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3.xml" ContentType="application/vnd.openxmlformats-officedocument.theme+xml"/>
  <Override PartName="/ppt/tags/tag5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22" r:id="rId2"/>
  </p:sldMasterIdLst>
  <p:notesMasterIdLst>
    <p:notesMasterId r:id="rId19"/>
  </p:notesMasterIdLst>
  <p:sldIdLst>
    <p:sldId id="4528" r:id="rId3"/>
    <p:sldId id="332" r:id="rId4"/>
    <p:sldId id="2147482443" r:id="rId5"/>
    <p:sldId id="2147482448" r:id="rId6"/>
    <p:sldId id="2147482434" r:id="rId7"/>
    <p:sldId id="2147482444" r:id="rId8"/>
    <p:sldId id="442" r:id="rId9"/>
    <p:sldId id="2147482438" r:id="rId10"/>
    <p:sldId id="2147482447" r:id="rId11"/>
    <p:sldId id="2147482450" r:id="rId12"/>
    <p:sldId id="304" r:id="rId13"/>
    <p:sldId id="415" r:id="rId14"/>
    <p:sldId id="409" r:id="rId15"/>
    <p:sldId id="407" r:id="rId16"/>
    <p:sldId id="411" r:id="rId17"/>
    <p:sldId id="214748243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065D49-D6C6-4840-A28B-17C596E3A0F9}" name="Melia, Chris" initials="CM" userId="S::chris.melia@cadentgas.com::b44e26eb-71c5-4dc9-8e63-c34f94c31ec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2F2F2"/>
    <a:srgbClr val="FA46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AE5F44-D378-4C69-ACD8-6F5100907B33}" v="9" dt="2025-09-08T10:26:06.6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9565" autoAdjust="0"/>
  </p:normalViewPr>
  <p:slideViewPr>
    <p:cSldViewPr snapToGrid="0">
      <p:cViewPr varScale="1">
        <p:scale>
          <a:sx n="44" d="100"/>
          <a:sy n="44" d="100"/>
        </p:scale>
        <p:origin x="1524"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B289A4-6CFE-4BDF-957D-C063F4434A84}" type="datetimeFigureOut">
              <a:rPr lang="en-GB" smtClean="0"/>
              <a:t>07/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FBE68D-1C5D-47C8-BDCA-D9F5E3BF9FC0}" type="slidenum">
              <a:rPr lang="en-GB" smtClean="0"/>
              <a:t>‹#›</a:t>
            </a:fld>
            <a:endParaRPr lang="en-GB"/>
          </a:p>
        </p:txBody>
      </p:sp>
    </p:spTree>
    <p:extLst>
      <p:ext uri="{BB962C8B-B14F-4D97-AF65-F5344CB8AC3E}">
        <p14:creationId xmlns:p14="http://schemas.microsoft.com/office/powerpoint/2010/main" val="23452931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are aware that with the cost-of-living crisis people are being forced into positions where they are having to make decisions about ways to save money, and some of these decisions could have potentially catastrophic consequences. </a:t>
            </a:r>
          </a:p>
          <a:p>
            <a:endParaRPr lang="en-GB" dirty="0"/>
          </a:p>
          <a:p>
            <a:r>
              <a:rPr lang="en-GB" dirty="0"/>
              <a:t>Some statistics for you from Stay Energy Safe:  </a:t>
            </a:r>
          </a:p>
          <a:p>
            <a:endParaRPr lang="en-GB" dirty="0"/>
          </a:p>
          <a:p>
            <a:r>
              <a:rPr lang="en-GB" dirty="0"/>
              <a:t>Since 2017 it has been reported that </a:t>
            </a:r>
            <a:r>
              <a:rPr lang="en-GB" dirty="0" err="1"/>
              <a:t>theres</a:t>
            </a:r>
            <a:r>
              <a:rPr lang="en-GB" dirty="0"/>
              <a:t> a 400% increase in tampering with energy supplies, which is predicted to keep rising </a:t>
            </a:r>
          </a:p>
          <a:p>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61% increase in reports over the last 2 years with over 1,000 reports a month and a 25% uplift in confirmed cases of gas theft in the past year (</a:t>
            </a:r>
            <a:r>
              <a:rPr lang="en-GB" sz="1200" dirty="0">
                <a:solidFill>
                  <a:srgbClr val="000000"/>
                </a:solidFill>
                <a:effectLst/>
                <a:highlight>
                  <a:srgbClr val="FFFFFF"/>
                </a:highlight>
                <a:latin typeface="Arial" panose="020B0604020202020204" pitchFamily="34" charset="0"/>
                <a:ea typeface="Aptos" panose="020B0004020202020204" pitchFamily="34" charset="0"/>
              </a:rPr>
              <a:t>*April 2</a:t>
            </a:r>
            <a:r>
              <a:rPr lang="en-GB" sz="1200" dirty="0">
                <a:solidFill>
                  <a:srgbClr val="000000"/>
                </a:solidFill>
                <a:highlight>
                  <a:srgbClr val="FFFFFF"/>
                </a:highlight>
                <a:latin typeface="Arial" panose="020B0604020202020204" pitchFamily="34" charset="0"/>
                <a:ea typeface="Aptos" panose="020B0004020202020204" pitchFamily="34" charset="0"/>
              </a:rPr>
              <a:t>1</a:t>
            </a:r>
            <a:r>
              <a:rPr lang="en-GB" sz="1200" dirty="0">
                <a:solidFill>
                  <a:srgbClr val="000000"/>
                </a:solidFill>
                <a:effectLst/>
                <a:highlight>
                  <a:srgbClr val="FFFFFF"/>
                </a:highlight>
                <a:latin typeface="Arial" panose="020B0604020202020204" pitchFamily="34" charset="0"/>
                <a:ea typeface="Aptos" panose="020B0004020202020204" pitchFamily="34" charset="0"/>
              </a:rPr>
              <a:t> - January 22, to April 23 - January 24.)</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a:p>
            <a:endParaRPr lang="en-GB" dirty="0"/>
          </a:p>
          <a:p>
            <a:r>
              <a:rPr lang="en-GB" dirty="0"/>
              <a:t>A study by Direct Line published in June 2023 found that 43% of electricians and gas engineers have been asked by customers to tamper with their meters</a:t>
            </a:r>
          </a:p>
          <a:p>
            <a:endParaRPr lang="en-GB" dirty="0"/>
          </a:p>
          <a:p>
            <a:r>
              <a:rPr lang="en-GB" dirty="0"/>
              <a:t>Hotspot areas are London, Birmingham, Liverpool and Manchester. </a:t>
            </a:r>
          </a:p>
          <a:p>
            <a:endParaRPr lang="en-GB" dirty="0"/>
          </a:p>
          <a:p>
            <a:r>
              <a:rPr lang="en-GB" dirty="0"/>
              <a:t>The main concern that we have is the </a:t>
            </a:r>
            <a:r>
              <a:rPr lang="en-GB" b="1" dirty="0"/>
              <a:t>safety</a:t>
            </a:r>
            <a:r>
              <a:rPr lang="en-GB" dirty="0"/>
              <a:t> of those people who are exposed to theft/tampering, either directly or as a result of being near it.  We also know that the cost of theft is estimated to be adding an addition £50 to each bill payer every year. </a:t>
            </a:r>
          </a:p>
          <a:p>
            <a:endParaRPr lang="en-GB" dirty="0"/>
          </a:p>
          <a:p>
            <a:r>
              <a:rPr lang="en-GB" dirty="0"/>
              <a:t>We are joining forces with the Centres for Warmth to provide education and information about things to look for to keep the people in our communities safe. </a:t>
            </a:r>
          </a:p>
        </p:txBody>
      </p:sp>
      <p:sp>
        <p:nvSpPr>
          <p:cNvPr id="4" name="Slide Number Placeholder 3"/>
          <p:cNvSpPr>
            <a:spLocks noGrp="1"/>
          </p:cNvSpPr>
          <p:nvPr>
            <p:ph type="sldNum" sz="quarter" idx="5"/>
          </p:nvPr>
        </p:nvSpPr>
        <p:spPr/>
        <p:txBody>
          <a:bodyPr/>
          <a:lstStyle/>
          <a:p>
            <a:fld id="{4AFBE68D-1C5D-47C8-BDCA-D9F5E3BF9FC0}" type="slidenum">
              <a:rPr lang="en-GB" smtClean="0"/>
              <a:t>2</a:t>
            </a:fld>
            <a:endParaRPr lang="en-GB"/>
          </a:p>
        </p:txBody>
      </p:sp>
    </p:spTree>
    <p:extLst>
      <p:ext uri="{BB962C8B-B14F-4D97-AF65-F5344CB8AC3E}">
        <p14:creationId xmlns:p14="http://schemas.microsoft.com/office/powerpoint/2010/main" val="36655258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AFBE68D-1C5D-47C8-BDCA-D9F5E3BF9FC0}" type="slidenum">
              <a:rPr lang="en-GB" smtClean="0"/>
              <a:t>14</a:t>
            </a:fld>
            <a:endParaRPr lang="en-GB"/>
          </a:p>
        </p:txBody>
      </p:sp>
    </p:spTree>
    <p:extLst>
      <p:ext uri="{BB962C8B-B14F-4D97-AF65-F5344CB8AC3E}">
        <p14:creationId xmlns:p14="http://schemas.microsoft.com/office/powerpoint/2010/main" val="30845308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AFBE68D-1C5D-47C8-BDCA-D9F5E3BF9FC0}" type="slidenum">
              <a:rPr lang="en-GB" smtClean="0"/>
              <a:t>16</a:t>
            </a:fld>
            <a:endParaRPr lang="en-GB"/>
          </a:p>
        </p:txBody>
      </p:sp>
    </p:spTree>
    <p:extLst>
      <p:ext uri="{BB962C8B-B14F-4D97-AF65-F5344CB8AC3E}">
        <p14:creationId xmlns:p14="http://schemas.microsoft.com/office/powerpoint/2010/main" val="994432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AFBE68D-1C5D-47C8-BDCA-D9F5E3BF9FC0}" type="slidenum">
              <a:rPr lang="en-GB" smtClean="0"/>
              <a:t>4</a:t>
            </a:fld>
            <a:endParaRPr lang="en-GB"/>
          </a:p>
        </p:txBody>
      </p:sp>
    </p:spTree>
    <p:extLst>
      <p:ext uri="{BB962C8B-B14F-4D97-AF65-F5344CB8AC3E}">
        <p14:creationId xmlns:p14="http://schemas.microsoft.com/office/powerpoint/2010/main" val="2387999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eople are savvy with finding ways to take gas without paying for it. Here are some examples of ways that people achieve this. Each one of these is unsafe and can cause catastrophic results. </a:t>
            </a:r>
          </a:p>
          <a:p>
            <a:endParaRPr lang="en-GB" dirty="0"/>
          </a:p>
          <a:p>
            <a:r>
              <a:rPr lang="en-GB" dirty="0"/>
              <a:t>Regardless of whether you believe there is potential theft happening at a property, if you/anyone believes that they can smell gas they should call the gas emergency service on 0800 111 999, this service is provided 365/24/7. </a:t>
            </a:r>
          </a:p>
          <a:p>
            <a:endParaRPr lang="en-GB" dirty="0"/>
          </a:p>
          <a:p>
            <a:r>
              <a:rPr lang="en-GB" dirty="0"/>
              <a:t>We also see what we call </a:t>
            </a:r>
            <a:r>
              <a:rPr lang="en-GB" dirty="0" err="1"/>
              <a:t>Unathorised</a:t>
            </a:r>
            <a:r>
              <a:rPr lang="en-GB" dirty="0"/>
              <a:t> Connections, this is where a connection has been made onto the gas network, or existing pipework has been altered, without a licence to do so, or consent. These compromise the safety and integrity of the gas network. </a:t>
            </a:r>
          </a:p>
          <a:p>
            <a:endParaRPr lang="en-GB" dirty="0"/>
          </a:p>
          <a:p>
            <a:r>
              <a:rPr lang="en-GB" dirty="0"/>
              <a:t>The images above show: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Image 1, examples of a m</a:t>
            </a:r>
            <a:r>
              <a:rPr lang="en-GB" sz="1200" b="1" dirty="0">
                <a:effectLst/>
                <a:latin typeface="Arial" panose="020B0604020202020204" pitchFamily="34" charset="0"/>
                <a:ea typeface="Times New Roman" panose="02020603050405020304" pitchFamily="18" charset="0"/>
                <a:cs typeface="Aptos" panose="020B0004020202020204" pitchFamily="34" charset="0"/>
              </a:rPr>
              <a:t>eter being tilted and a meter being  turned around, reversed or tilted </a:t>
            </a:r>
            <a:r>
              <a:rPr lang="en-GB" sz="1200" b="0" dirty="0">
                <a:effectLst/>
                <a:latin typeface="Arial" panose="020B0604020202020204" pitchFamily="34" charset="0"/>
                <a:ea typeface="Times New Roman" panose="02020603050405020304" pitchFamily="18" charset="0"/>
                <a:cs typeface="Aptos" panose="020B0004020202020204" pitchFamily="34" charset="0"/>
              </a:rPr>
              <a:t>– If the meter has been turned back-to-front, there’s a chance this has been done to hide the original dials or prevent the registration of gas usage and is a sure sign of meter tampering.</a:t>
            </a:r>
            <a:endParaRPr lang="en-GB" sz="1200" b="0" dirty="0">
              <a:effectLst/>
              <a:latin typeface="Aptos" panose="020B0004020202020204" pitchFamily="34" charset="0"/>
              <a:ea typeface="Aptos" panose="020B0004020202020204" pitchFamily="34" charset="0"/>
              <a:cs typeface="Aptos" panose="020B0004020202020204" pitchFamily="34" charset="0"/>
            </a:endParaRP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Image 2 an example of a bypassed or bridged meter </a:t>
            </a:r>
            <a:r>
              <a:rPr lang="en-GB" dirty="0"/>
              <a:t> </a:t>
            </a:r>
            <a:r>
              <a:rPr lang="en-GB" sz="1200" b="0" dirty="0">
                <a:effectLst/>
              </a:rPr>
              <a:t>– If the meter has been bypassed by a pipe made specially for the purpose it is to avoid the registration of gas through the meter</a:t>
            </a:r>
          </a:p>
          <a:p>
            <a:endParaRPr lang="en-GB" dirty="0"/>
          </a:p>
          <a:p>
            <a:r>
              <a:rPr lang="en-GB" b="1" dirty="0"/>
              <a:t>Image 3 an example of a substituted meter </a:t>
            </a:r>
            <a:r>
              <a:rPr lang="en-GB" dirty="0"/>
              <a:t>- </a:t>
            </a:r>
            <a:r>
              <a:rPr lang="en-GB" sz="1200" b="0" dirty="0">
                <a:effectLst/>
              </a:rPr>
              <a:t>A substitute meter being used in replacement of the official meter provided by the supplier and registered in Xoserve</a:t>
            </a:r>
          </a:p>
          <a:p>
            <a:endParaRPr lang="en-GB" sz="1200" b="0" dirty="0">
              <a:effectLst/>
            </a:endParaRPr>
          </a:p>
          <a:p>
            <a:r>
              <a:rPr lang="en-GB" sz="1200" b="1" dirty="0">
                <a:effectLst/>
              </a:rPr>
              <a:t>Image 4 examples of evidence of poor workmanship </a:t>
            </a:r>
            <a:r>
              <a:rPr lang="en-GB" sz="1200" b="0" dirty="0">
                <a:effectLst/>
              </a:rPr>
              <a:t>- If apparatus appears not to be laid to gas industry standards (e.g. Polyethylene pipe laid above ground), with unsuitable fittings (e.g. water pipe or hose pipe) or obvious poor-quality workmanship.</a:t>
            </a:r>
          </a:p>
          <a:p>
            <a:endParaRPr lang="en-GB" sz="1200" b="0"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effectLst/>
              </a:rPr>
              <a:t>Image 5 example of pipework installed by an unregistered person </a:t>
            </a:r>
            <a:r>
              <a:rPr lang="en-GB" sz="1200" b="0" dirty="0">
                <a:effectLst/>
              </a:rPr>
              <a:t>- Only registered individuals can work on a service pipe, meter or installation pipework, if you know that pipework has been installed or altered by an unregistered person be sure to report it so that we can confirm it is safe</a:t>
            </a:r>
          </a:p>
          <a:p>
            <a:endParaRPr lang="en-GB" dirty="0"/>
          </a:p>
        </p:txBody>
      </p:sp>
      <p:sp>
        <p:nvSpPr>
          <p:cNvPr id="4" name="Slide Number Placeholder 3"/>
          <p:cNvSpPr>
            <a:spLocks noGrp="1"/>
          </p:cNvSpPr>
          <p:nvPr>
            <p:ph type="sldNum" sz="quarter" idx="5"/>
          </p:nvPr>
        </p:nvSpPr>
        <p:spPr/>
        <p:txBody>
          <a:bodyPr/>
          <a:lstStyle/>
          <a:p>
            <a:fld id="{4AFBE68D-1C5D-47C8-BDCA-D9F5E3BF9FC0}" type="slidenum">
              <a:rPr lang="en-GB" smtClean="0"/>
              <a:t>5</a:t>
            </a:fld>
            <a:endParaRPr lang="en-GB"/>
          </a:p>
        </p:txBody>
      </p:sp>
    </p:spTree>
    <p:extLst>
      <p:ext uri="{BB962C8B-B14F-4D97-AF65-F5344CB8AC3E}">
        <p14:creationId xmlns:p14="http://schemas.microsoft.com/office/powerpoint/2010/main" val="24228852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r>
              <a:rPr lang="en-GB" dirty="0" err="1"/>
              <a:t>Illford</a:t>
            </a:r>
            <a:r>
              <a:rPr lang="en-GB" dirty="0"/>
              <a:t> </a:t>
            </a:r>
          </a:p>
          <a:p>
            <a:endParaRPr lang="en-GB" dirty="0"/>
          </a:p>
          <a:p>
            <a:r>
              <a:rPr lang="en-GB" dirty="0"/>
              <a:t>https://www.youtube.com/results?search_query=illford+gas+explosion – Ilford – what we believe to be a gas explosion following alleged theft of gas </a:t>
            </a:r>
          </a:p>
          <a:p>
            <a:endParaRPr lang="en-GB" dirty="0"/>
          </a:p>
          <a:p>
            <a:endParaRPr lang="en-GB" b="0" i="0" dirty="0">
              <a:solidFill>
                <a:srgbClr val="001D35"/>
              </a:solidFill>
              <a:effectLst/>
              <a:latin typeface="Google Sans"/>
            </a:endParaRPr>
          </a:p>
          <a:p>
            <a:r>
              <a:rPr lang="en-GB" b="0" i="0" dirty="0">
                <a:solidFill>
                  <a:srgbClr val="001D35"/>
                </a:solidFill>
                <a:effectLst/>
                <a:latin typeface="Google Sans"/>
              </a:rPr>
              <a:t>Croydon </a:t>
            </a:r>
          </a:p>
          <a:p>
            <a:endParaRPr lang="en-GB" b="0" i="0" dirty="0">
              <a:solidFill>
                <a:srgbClr val="001D35"/>
              </a:solidFill>
              <a:effectLst/>
              <a:latin typeface="Google Sans"/>
            </a:endParaRPr>
          </a:p>
          <a:p>
            <a:r>
              <a:rPr lang="en-GB" b="0" i="0" dirty="0">
                <a:solidFill>
                  <a:srgbClr val="001D35"/>
                </a:solidFill>
                <a:effectLst/>
                <a:latin typeface="Google Sans"/>
              </a:rPr>
              <a:t>In August 2022, a fatal gas explosion occurred in Thornton Heath, South London, resulting in the death of a four-year-old girl and injuries to three other people. The explosion occurred on Galpin's Road, damaging a house and causing a neighbouring terraced house to collapse. </a:t>
            </a:r>
            <a:r>
              <a:rPr lang="en-GB" b="0" i="0" dirty="0">
                <a:solidFill>
                  <a:srgbClr val="545D7E"/>
                </a:solidFill>
                <a:effectLst/>
                <a:latin typeface="Google Sans"/>
              </a:rPr>
              <a:t>The exact cause of the explosion is still under investigation, but it is believed to be related to a gas leak caused by theft/tampering. </a:t>
            </a:r>
            <a:endParaRPr lang="en-GB" dirty="0"/>
          </a:p>
        </p:txBody>
      </p:sp>
      <p:sp>
        <p:nvSpPr>
          <p:cNvPr id="4" name="Slide Number Placeholder 3"/>
          <p:cNvSpPr>
            <a:spLocks noGrp="1"/>
          </p:cNvSpPr>
          <p:nvPr>
            <p:ph type="sldNum" sz="quarter" idx="5"/>
          </p:nvPr>
        </p:nvSpPr>
        <p:spPr/>
        <p:txBody>
          <a:bodyPr/>
          <a:lstStyle/>
          <a:p>
            <a:fld id="{4AFBE68D-1C5D-47C8-BDCA-D9F5E3BF9FC0}" type="slidenum">
              <a:rPr lang="en-GB" smtClean="0"/>
              <a:t>6</a:t>
            </a:fld>
            <a:endParaRPr lang="en-GB"/>
          </a:p>
        </p:txBody>
      </p:sp>
    </p:spTree>
    <p:extLst>
      <p:ext uri="{BB962C8B-B14F-4D97-AF65-F5344CB8AC3E}">
        <p14:creationId xmlns:p14="http://schemas.microsoft.com/office/powerpoint/2010/main" val="2499227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also achieved some great media coverage, with out campaign we had 6 television and 9 radio placements all with interviews; these included BBC breakfast, ITV News, BBC Midlands Today, BBC North West Tonight, GB news, London Live and 3 greatest Hits radio stations. We also had pre recorded audio placements in three formats 30” bulletin, lunchtime news programme and evening news programme. 346 stations were reached, 1,327 additional items of coverage, with nationwide reach on a local level. </a:t>
            </a:r>
          </a:p>
          <a:p>
            <a:endParaRPr lang="en-GB" dirty="0"/>
          </a:p>
        </p:txBody>
      </p:sp>
      <p:sp>
        <p:nvSpPr>
          <p:cNvPr id="4" name="Slide Number Placeholder 3"/>
          <p:cNvSpPr>
            <a:spLocks noGrp="1"/>
          </p:cNvSpPr>
          <p:nvPr>
            <p:ph type="sldNum" sz="quarter" idx="5"/>
          </p:nvPr>
        </p:nvSpPr>
        <p:spPr/>
        <p:txBody>
          <a:bodyPr/>
          <a:lstStyle/>
          <a:p>
            <a:fld id="{4AFBE68D-1C5D-47C8-BDCA-D9F5E3BF9FC0}" type="slidenum">
              <a:rPr lang="en-GB" smtClean="0"/>
              <a:t>7</a:t>
            </a:fld>
            <a:endParaRPr lang="en-GB"/>
          </a:p>
        </p:txBody>
      </p:sp>
    </p:spTree>
    <p:extLst>
      <p:ext uri="{BB962C8B-B14F-4D97-AF65-F5344CB8AC3E}">
        <p14:creationId xmlns:p14="http://schemas.microsoft.com/office/powerpoint/2010/main" val="2180412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e are asking you to stay vigilant for signs that there could be potential theft as/when you are dealing with your clients at CFW. </a:t>
            </a:r>
          </a:p>
          <a:p>
            <a:endParaRPr lang="en-GB" dirty="0"/>
          </a:p>
          <a:p>
            <a:endParaRPr lang="en-GB" dirty="0"/>
          </a:p>
          <a:p>
            <a:r>
              <a:rPr lang="en-GB" dirty="0"/>
              <a:t>There are many reasons as to why someone may choose to steal energy, there are signs/indications to look for, </a:t>
            </a:r>
          </a:p>
          <a:p>
            <a:r>
              <a:rPr lang="en-GB" dirty="0"/>
              <a:t>	</a:t>
            </a:r>
          </a:p>
          <a:p>
            <a:r>
              <a:rPr lang="en-GB" dirty="0"/>
              <a:t>	for domestic users it's normally that they find themselves in a vulnerable situation, often deprived and unable to pay their bills</a:t>
            </a:r>
          </a:p>
          <a:p>
            <a:r>
              <a:rPr lang="en-GB" dirty="0"/>
              <a:t>	</a:t>
            </a:r>
          </a:p>
          <a:p>
            <a:r>
              <a:rPr lang="en-GB" dirty="0"/>
              <a:t>	If someone is reluctant to let people into the home or near to their meters may  </a:t>
            </a:r>
          </a:p>
          <a:p>
            <a:r>
              <a:rPr lang="en-GB" dirty="0"/>
              <a:t>	</a:t>
            </a:r>
          </a:p>
          <a:p>
            <a:r>
              <a:rPr lang="en-GB" dirty="0"/>
              <a:t>	there are links to energy theft and organised crime, energy for marijuana grows etc </a:t>
            </a:r>
          </a:p>
          <a:p>
            <a:r>
              <a:rPr lang="en-GB" dirty="0"/>
              <a:t>	</a:t>
            </a:r>
          </a:p>
          <a:p>
            <a:r>
              <a:rPr lang="en-GB" dirty="0"/>
              <a:t>	Criminal or rogue tradespeople – “I know a man” – Mr G from Leicester </a:t>
            </a:r>
          </a:p>
          <a:p>
            <a:r>
              <a:rPr lang="en-GB" dirty="0"/>
              <a:t>	</a:t>
            </a:r>
          </a:p>
          <a:p>
            <a:r>
              <a:rPr lang="en-GB" dirty="0"/>
              <a:t>	There are many groups/pages on social media that promote tampering or ways to not pay bills, they often share information that’s factually incorrect that allow people to think that “alternative” methods of gaining energy are safe 	and legal. They also often promote a “pay once” service where you can pay to have meters changed and therefore you don’t need to pay. </a:t>
            </a:r>
          </a:p>
          <a:p>
            <a:endParaRPr lang="en-GB" dirty="0"/>
          </a:p>
          <a:p>
            <a:r>
              <a:rPr lang="en-GB" dirty="0"/>
              <a:t>We do see theft in nondomestic properties too, often businesses like take aways etc, however, although you can be vigilant for these, we are focusing on domestic properties in our work with the CFW. </a:t>
            </a:r>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4AFBE68D-1C5D-47C8-BDCA-D9F5E3BF9FC0}" type="slidenum">
              <a:rPr lang="en-GB" smtClean="0"/>
              <a:t>8</a:t>
            </a:fld>
            <a:endParaRPr lang="en-GB"/>
          </a:p>
        </p:txBody>
      </p:sp>
    </p:spTree>
    <p:extLst>
      <p:ext uri="{BB962C8B-B14F-4D97-AF65-F5344CB8AC3E}">
        <p14:creationId xmlns:p14="http://schemas.microsoft.com/office/powerpoint/2010/main" val="2939329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as is very safe and reliable, if it’s respected and used in a safe way. </a:t>
            </a:r>
          </a:p>
          <a:p>
            <a:endParaRPr lang="en-GB" dirty="0"/>
          </a:p>
          <a:p>
            <a:r>
              <a:rPr lang="en-GB" dirty="0"/>
              <a:t>Our ultimate goal is to keep our communities safe and make theft socially unacceptable. There are organisations that can be approached for help and support if people need it, however if you suspect energy theft you can report this completely anonymously to Stay Energy Safe which is a service ran by Crimestoppers. </a:t>
            </a:r>
          </a:p>
          <a:p>
            <a:endParaRPr lang="en-GB" dirty="0"/>
          </a:p>
          <a:p>
            <a:r>
              <a:rPr lang="en-GB" dirty="0"/>
              <a:t>If you can smell gas, please report this to 0800 111 999, a completely free service. </a:t>
            </a:r>
          </a:p>
          <a:p>
            <a:endParaRPr lang="en-GB" dirty="0"/>
          </a:p>
          <a:p>
            <a:r>
              <a:rPr lang="en-GB" dirty="0"/>
              <a:t>We will be providing additional information to the CFW to help with education and supporting these conversations. </a:t>
            </a:r>
          </a:p>
          <a:p>
            <a:endParaRPr lang="en-GB" dirty="0"/>
          </a:p>
          <a:p>
            <a:r>
              <a:rPr lang="en-GB" dirty="0"/>
              <a:t>We will also be providing pre-created information that can be shared within your internal social media groups to help promote these conversations. </a:t>
            </a:r>
          </a:p>
          <a:p>
            <a:endParaRPr lang="en-GB" dirty="0"/>
          </a:p>
          <a:p>
            <a:endParaRPr lang="en-GB" dirty="0"/>
          </a:p>
        </p:txBody>
      </p:sp>
      <p:sp>
        <p:nvSpPr>
          <p:cNvPr id="4" name="Slide Number Placeholder 3"/>
          <p:cNvSpPr>
            <a:spLocks noGrp="1"/>
          </p:cNvSpPr>
          <p:nvPr>
            <p:ph type="sldNum" sz="quarter" idx="5"/>
          </p:nvPr>
        </p:nvSpPr>
        <p:spPr/>
        <p:txBody>
          <a:bodyPr/>
          <a:lstStyle/>
          <a:p>
            <a:fld id="{4AFBE68D-1C5D-47C8-BDCA-D9F5E3BF9FC0}" type="slidenum">
              <a:rPr lang="en-GB" smtClean="0"/>
              <a:t>9</a:t>
            </a:fld>
            <a:endParaRPr lang="en-GB"/>
          </a:p>
        </p:txBody>
      </p:sp>
    </p:spTree>
    <p:extLst>
      <p:ext uri="{BB962C8B-B14F-4D97-AF65-F5344CB8AC3E}">
        <p14:creationId xmlns:p14="http://schemas.microsoft.com/office/powerpoint/2010/main" val="1269716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B37D8-6D0D-E07E-F364-D73FF3EE96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72CFB3-F6A7-5795-4480-22E151D59D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821423-EA66-FAE6-991D-8051477EE19D}"/>
              </a:ext>
            </a:extLst>
          </p:cNvPr>
          <p:cNvSpPr>
            <a:spLocks noGrp="1"/>
          </p:cNvSpPr>
          <p:nvPr>
            <p:ph type="body" idx="1"/>
          </p:nvPr>
        </p:nvSpPr>
        <p:spPr/>
        <p:txBody>
          <a:bodyPr/>
          <a:lstStyle/>
          <a:p>
            <a:r>
              <a:rPr lang="en-GB" dirty="0"/>
              <a:t>PSR – is a free services for people who might need extra support e.g. medical condition</a:t>
            </a:r>
            <a:r>
              <a:rPr lang="en-GB"/>
              <a:t>, children, </a:t>
            </a:r>
            <a:r>
              <a:rPr lang="en-GB" dirty="0"/>
              <a:t>disability, pensionable age etc. </a:t>
            </a:r>
          </a:p>
          <a:p>
            <a:endParaRPr lang="en-GB" dirty="0"/>
          </a:p>
          <a:p>
            <a:r>
              <a:rPr lang="en-GB" dirty="0" err="1"/>
              <a:t>Carents</a:t>
            </a:r>
            <a:r>
              <a:rPr lang="en-GB" dirty="0"/>
              <a:t> – for those that are caring for elderly </a:t>
            </a:r>
            <a:r>
              <a:rPr lang="en-GB" dirty="0" err="1"/>
              <a:t>parets</a:t>
            </a:r>
            <a:r>
              <a:rPr lang="en-GB" dirty="0"/>
              <a:t>, they are able to offer support and advice for people in vulnerable situations or having financial difficulties </a:t>
            </a:r>
          </a:p>
          <a:p>
            <a:endParaRPr lang="en-GB" dirty="0"/>
          </a:p>
          <a:p>
            <a:r>
              <a:rPr lang="en-GB" dirty="0"/>
              <a:t>Safety devices – such as locking cooker valves and easy assist ECV </a:t>
            </a:r>
          </a:p>
          <a:p>
            <a:endParaRPr lang="en-GB" dirty="0"/>
          </a:p>
          <a:p>
            <a:r>
              <a:rPr lang="en-GB" dirty="0"/>
              <a:t>Green doctors – offer free impartial advice on how to save money on bills etc. </a:t>
            </a:r>
          </a:p>
          <a:p>
            <a:endParaRPr lang="en-GB" dirty="0"/>
          </a:p>
          <a:p>
            <a:r>
              <a:rPr lang="en-GB" dirty="0"/>
              <a:t>Shout – free text service for anything anxious or stressed about keeping their home warm </a:t>
            </a:r>
          </a:p>
          <a:p>
            <a:endParaRPr lang="en-GB" dirty="0"/>
          </a:p>
          <a:p>
            <a:r>
              <a:rPr lang="en-GB" dirty="0"/>
              <a:t>Centres for warmth – locations in the community that offer numerous services such as food pantries, energy advice, job clubs and benefit claim applications. </a:t>
            </a:r>
          </a:p>
          <a:p>
            <a:endParaRPr lang="en-GB" dirty="0"/>
          </a:p>
          <a:p>
            <a:endParaRPr lang="en-GB" dirty="0"/>
          </a:p>
          <a:p>
            <a:endParaRPr lang="en-GB" dirty="0"/>
          </a:p>
        </p:txBody>
      </p:sp>
      <p:sp>
        <p:nvSpPr>
          <p:cNvPr id="4" name="Slide Number Placeholder 3">
            <a:extLst>
              <a:ext uri="{FF2B5EF4-FFF2-40B4-BE49-F238E27FC236}">
                <a16:creationId xmlns:a16="http://schemas.microsoft.com/office/drawing/2014/main" id="{45BF5451-819A-6977-22D3-50FCCC098D63}"/>
              </a:ext>
            </a:extLst>
          </p:cNvPr>
          <p:cNvSpPr>
            <a:spLocks noGrp="1"/>
          </p:cNvSpPr>
          <p:nvPr>
            <p:ph type="sldNum" sz="quarter" idx="5"/>
          </p:nvPr>
        </p:nvSpPr>
        <p:spPr/>
        <p:txBody>
          <a:bodyPr/>
          <a:lstStyle/>
          <a:p>
            <a:fld id="{4AFBE68D-1C5D-47C8-BDCA-D9F5E3BF9FC0}" type="slidenum">
              <a:rPr lang="en-GB" smtClean="0"/>
              <a:t>10</a:t>
            </a:fld>
            <a:endParaRPr lang="en-GB"/>
          </a:p>
        </p:txBody>
      </p:sp>
    </p:spTree>
    <p:extLst>
      <p:ext uri="{BB962C8B-B14F-4D97-AF65-F5344CB8AC3E}">
        <p14:creationId xmlns:p14="http://schemas.microsoft.com/office/powerpoint/2010/main" val="406663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6FD8F6-8A3B-47B7-8617-AB3A60BF0FB9}" type="slidenum">
              <a:rPr lang="en-GB" smtClean="0"/>
              <a:t>12</a:t>
            </a:fld>
            <a:endParaRPr lang="en-GB"/>
          </a:p>
        </p:txBody>
      </p:sp>
    </p:spTree>
    <p:extLst>
      <p:ext uri="{BB962C8B-B14F-4D97-AF65-F5344CB8AC3E}">
        <p14:creationId xmlns:p14="http://schemas.microsoft.com/office/powerpoint/2010/main" val="38364864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oleObject" Target="../embeddings/oleObject7.bin"/><Relationship Id="rId7"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23.pn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oleObject" Target="../embeddings/oleObject12.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4.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5.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6.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7.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18.bin"/><Relationship Id="rId7" Type="http://schemas.openxmlformats.org/officeDocument/2006/relationships/image" Target="../media/image22.svg"/><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21.png"/><Relationship Id="rId5" Type="http://schemas.openxmlformats.org/officeDocument/2006/relationships/image" Target="../media/image33.png"/><Relationship Id="rId4" Type="http://schemas.openxmlformats.org/officeDocument/2006/relationships/image" Target="../media/image6.emf"/><Relationship Id="rId9" Type="http://schemas.openxmlformats.org/officeDocument/2006/relationships/image" Target="../media/image12.sv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19.bin"/><Relationship Id="rId7" Type="http://schemas.openxmlformats.org/officeDocument/2006/relationships/image" Target="../media/image22.svg"/><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21.png"/><Relationship Id="rId5" Type="http://schemas.openxmlformats.org/officeDocument/2006/relationships/image" Target="../media/image33.png"/><Relationship Id="rId4" Type="http://schemas.openxmlformats.org/officeDocument/2006/relationships/image" Target="../media/image6.emf"/><Relationship Id="rId9" Type="http://schemas.openxmlformats.org/officeDocument/2006/relationships/image" Target="../media/image12.sv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20.bin"/><Relationship Id="rId7" Type="http://schemas.openxmlformats.org/officeDocument/2006/relationships/image" Target="../media/image22.svg"/><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1.png"/><Relationship Id="rId5" Type="http://schemas.openxmlformats.org/officeDocument/2006/relationships/image" Target="../media/image33.png"/><Relationship Id="rId4" Type="http://schemas.openxmlformats.org/officeDocument/2006/relationships/image" Target="../media/image6.emf"/><Relationship Id="rId9" Type="http://schemas.openxmlformats.org/officeDocument/2006/relationships/image" Target="../media/image12.sv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21.bin"/><Relationship Id="rId7" Type="http://schemas.openxmlformats.org/officeDocument/2006/relationships/image" Target="../media/image22.svg"/><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21.png"/><Relationship Id="rId5" Type="http://schemas.openxmlformats.org/officeDocument/2006/relationships/image" Target="../media/image33.png"/><Relationship Id="rId4" Type="http://schemas.openxmlformats.org/officeDocument/2006/relationships/image" Target="../media/image6.emf"/><Relationship Id="rId9" Type="http://schemas.openxmlformats.org/officeDocument/2006/relationships/image" Target="../media/image12.sv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22.bin"/><Relationship Id="rId7" Type="http://schemas.openxmlformats.org/officeDocument/2006/relationships/image" Target="../media/image22.sv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21.png"/><Relationship Id="rId5" Type="http://schemas.openxmlformats.org/officeDocument/2006/relationships/image" Target="../media/image33.png"/><Relationship Id="rId4" Type="http://schemas.openxmlformats.org/officeDocument/2006/relationships/image" Target="../media/image6.emf"/><Relationship Id="rId9" Type="http://schemas.openxmlformats.org/officeDocument/2006/relationships/image" Target="../media/image12.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2.xml"/><Relationship Id="rId5" Type="http://schemas.openxmlformats.org/officeDocument/2006/relationships/image" Target="../media/image34.png"/><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35.png"/><Relationship Id="rId4" Type="http://schemas.openxmlformats.org/officeDocument/2006/relationships/image" Target="../media/image6.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36.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5.xml"/><Relationship Id="rId5" Type="http://schemas.openxmlformats.org/officeDocument/2006/relationships/image" Target="../media/image37.png"/><Relationship Id="rId4" Type="http://schemas.openxmlformats.org/officeDocument/2006/relationships/image" Target="../media/image6.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38.png"/><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7.xml"/><Relationship Id="rId5" Type="http://schemas.openxmlformats.org/officeDocument/2006/relationships/image" Target="../media/image39.png"/><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40.png"/><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6.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0.xml"/><Relationship Id="rId6" Type="http://schemas.openxmlformats.org/officeDocument/2006/relationships/image" Target="../media/image41.png"/><Relationship Id="rId5" Type="http://schemas.openxmlformats.org/officeDocument/2006/relationships/image" Target="../media/image43.png"/><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44.png"/><Relationship Id="rId4"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44.png"/><Relationship Id="rId4" Type="http://schemas.openxmlformats.org/officeDocument/2006/relationships/image" Target="../media/image6.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45.png"/><Relationship Id="rId4" Type="http://schemas.openxmlformats.org/officeDocument/2006/relationships/image" Target="../media/image6.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46.png"/><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47.png"/><Relationship Id="rId4" Type="http://schemas.openxmlformats.org/officeDocument/2006/relationships/image" Target="../media/image6.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48.png"/><Relationship Id="rId4" Type="http://schemas.openxmlformats.org/officeDocument/2006/relationships/image" Target="../media/image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6.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oleObject" Target="../embeddings/oleObject43.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6.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6.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069014" y="1447801"/>
            <a:ext cx="4821361" cy="1492639"/>
          </a:xfrm>
        </p:spPr>
        <p:txBody>
          <a:bodyPr anchor="b" anchorCtr="0">
            <a:noAutofit/>
          </a:bodyPr>
          <a:lstStyle>
            <a:lvl1pPr algn="l">
              <a:defRPr sz="3600"/>
            </a:lvl1pPr>
          </a:lstStyle>
          <a:p>
            <a:r>
              <a:rPr lang="en-US"/>
              <a:t>Click to edit Master title style</a:t>
            </a:r>
            <a:endParaRPr lang="en-GB" dirty="0"/>
          </a:p>
        </p:txBody>
      </p:sp>
      <p:sp>
        <p:nvSpPr>
          <p:cNvPr id="3" name="Subtitle 2"/>
          <p:cNvSpPr>
            <a:spLocks noGrp="1"/>
          </p:cNvSpPr>
          <p:nvPr>
            <p:ph type="subTitle" idx="1"/>
          </p:nvPr>
        </p:nvSpPr>
        <p:spPr>
          <a:xfrm>
            <a:off x="7069014" y="3070284"/>
            <a:ext cx="4821361" cy="1748459"/>
          </a:xfrm>
        </p:spPr>
        <p:txBody>
          <a:bodyPr>
            <a:noAutofit/>
          </a:bodyPr>
          <a:lstStyle>
            <a:lvl1pPr marL="0" indent="0" algn="l">
              <a:lnSpc>
                <a:spcPct val="100000"/>
              </a:lnSpc>
              <a:spcBef>
                <a:spcPts val="0"/>
              </a:spcBef>
              <a:buNone/>
              <a:tabLst>
                <a:tab pos="261932" algn="l"/>
              </a:tabLst>
              <a:defRPr sz="1600"/>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dirty="0"/>
          </a:p>
        </p:txBody>
      </p:sp>
      <p:pic>
        <p:nvPicPr>
          <p:cNvPr id="8" name="Picture 7"/>
          <p:cNvPicPr>
            <a:picLocks noChangeAspect="1"/>
          </p:cNvPicPr>
          <p:nvPr userDrawn="1"/>
        </p:nvPicPr>
        <p:blipFill>
          <a:blip r:embed="rId2"/>
          <a:stretch>
            <a:fillRect/>
          </a:stretch>
        </p:blipFill>
        <p:spPr>
          <a:xfrm>
            <a:off x="9697287" y="5092398"/>
            <a:ext cx="1800000" cy="728573"/>
          </a:xfrm>
          <a:prstGeom prst="rect">
            <a:avLst/>
          </a:prstGeom>
        </p:spPr>
      </p:pic>
      <p:sp>
        <p:nvSpPr>
          <p:cNvPr id="12" name="Picture Placeholder 11"/>
          <p:cNvSpPr>
            <a:spLocks noGrp="1"/>
          </p:cNvSpPr>
          <p:nvPr>
            <p:ph type="pic" sz="quarter" idx="10"/>
          </p:nvPr>
        </p:nvSpPr>
        <p:spPr>
          <a:xfrm>
            <a:off x="2914650" y="0"/>
            <a:ext cx="3181351" cy="1447800"/>
          </a:xfrm>
        </p:spPr>
        <p:txBody>
          <a:bodyPr/>
          <a:lstStyle/>
          <a:p>
            <a:r>
              <a:rPr lang="en-US" dirty="0"/>
              <a:t>Click icon to add picture</a:t>
            </a:r>
            <a:endParaRPr lang="en-GB" dirty="0"/>
          </a:p>
        </p:txBody>
      </p:sp>
      <p:sp>
        <p:nvSpPr>
          <p:cNvPr id="14" name="Picture Placeholder 13"/>
          <p:cNvSpPr>
            <a:spLocks noGrp="1"/>
          </p:cNvSpPr>
          <p:nvPr>
            <p:ph type="pic" sz="quarter" idx="11"/>
          </p:nvPr>
        </p:nvSpPr>
        <p:spPr>
          <a:xfrm>
            <a:off x="0" y="1447800"/>
            <a:ext cx="6096000" cy="4057651"/>
          </a:xfrm>
        </p:spPr>
        <p:txBody>
          <a:bodyPr/>
          <a:lstStyle/>
          <a:p>
            <a:r>
              <a:rPr lang="en-US" dirty="0"/>
              <a:t>Click icon to add picture</a:t>
            </a:r>
            <a:endParaRPr lang="en-GB" dirty="0"/>
          </a:p>
        </p:txBody>
      </p:sp>
      <p:sp>
        <p:nvSpPr>
          <p:cNvPr id="15" name="Rectangle 14"/>
          <p:cNvSpPr/>
          <p:nvPr userDrawn="1"/>
        </p:nvSpPr>
        <p:spPr>
          <a:xfrm>
            <a:off x="3667125" y="5505450"/>
            <a:ext cx="2428875" cy="59055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ln>
                <a:noFill/>
              </a:ln>
            </a:endParaRPr>
          </a:p>
        </p:txBody>
      </p:sp>
      <p:sp>
        <p:nvSpPr>
          <p:cNvPr id="10" name="TextBox 9"/>
          <p:cNvSpPr txBox="1"/>
          <p:nvPr userDrawn="1"/>
        </p:nvSpPr>
        <p:spPr>
          <a:xfrm>
            <a:off x="733426" y="6372225"/>
            <a:ext cx="2430628" cy="273051"/>
          </a:xfrm>
          <a:prstGeom prst="rect">
            <a:avLst/>
          </a:prstGeom>
          <a:noFill/>
        </p:spPr>
        <p:txBody>
          <a:bodyPr wrap="square" lIns="0" tIns="0" rIns="0" bIns="0" rtlCol="0" anchor="b" anchorCtr="0">
            <a:noAutofit/>
          </a:bodyPr>
          <a:lstStyle/>
          <a:p>
            <a:r>
              <a:rPr lang="en-GB" sz="800" kern="1200" dirty="0">
                <a:solidFill>
                  <a:schemeClr val="tx2"/>
                </a:solidFill>
                <a:latin typeface="+mn-lt"/>
                <a:ea typeface="+mn-ea"/>
                <a:cs typeface="+mn-cs"/>
              </a:rPr>
              <a:t>© Cadent Gas Ltd 2018 </a:t>
            </a:r>
          </a:p>
        </p:txBody>
      </p:sp>
    </p:spTree>
    <p:extLst>
      <p:ext uri="{BB962C8B-B14F-4D97-AF65-F5344CB8AC3E}">
        <p14:creationId xmlns:p14="http://schemas.microsoft.com/office/powerpoint/2010/main" val="2223321824"/>
      </p:ext>
    </p:extLst>
  </p:cSld>
  <p:clrMapOvr>
    <a:masterClrMapping/>
  </p:clrMapOvr>
  <p:extLst>
    <p:ext uri="{DCECCB84-F9BA-43D5-87BE-67443E8EF086}">
      <p15:sldGuideLst xmlns:p15="http://schemas.microsoft.com/office/powerpoint/2012/main">
        <p15:guide id="1" pos="3840">
          <p15:clr>
            <a:srgbClr val="FBAE40"/>
          </p15:clr>
        </p15:guide>
        <p15:guide id="2" orient="horz" pos="3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sp>
        <p:nvSpPr>
          <p:cNvPr id="8" name="Chart Placeholder 7"/>
          <p:cNvSpPr>
            <a:spLocks noGrp="1"/>
          </p:cNvSpPr>
          <p:nvPr>
            <p:ph type="chart" sz="quarter" idx="17"/>
          </p:nvPr>
        </p:nvSpPr>
        <p:spPr>
          <a:xfrm>
            <a:off x="4711914" y="2136775"/>
            <a:ext cx="7178463" cy="4235451"/>
          </a:xfrm>
        </p:spPr>
        <p:txBody>
          <a:bodyPr/>
          <a:lstStyle/>
          <a:p>
            <a:r>
              <a:rPr lang="en-US" dirty="0"/>
              <a:t>Click icon to add chart</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733425" y="2138100"/>
            <a:ext cx="3502800" cy="4234125"/>
          </a:xfrm>
        </p:spPr>
        <p:txBody>
          <a:bodyPr/>
          <a:lstStyle>
            <a:lvl1pPr>
              <a:defRPr sz="1467"/>
            </a:lvl1pPr>
            <a:lvl2pPr marL="142871" indent="-142871">
              <a:defRPr sz="1200"/>
            </a:lvl2pPr>
            <a:lvl3pPr marL="312731" indent="-152396">
              <a:defRPr sz="1067"/>
            </a:lvl3pPr>
            <a:lvl4pPr marL="468302" indent="-134935">
              <a:defRPr sz="1067"/>
            </a:lvl4pPr>
            <a:lvl5pPr marL="636572" indent="-150810">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6064C687-E54E-4A59-A131-5441B095AAD8}" type="datetime1">
              <a:rPr lang="en-GB" smtClean="0"/>
              <a:t>07/10/2025</a:t>
            </a:fld>
            <a:endParaRPr lang="en-GB" dirty="0"/>
          </a:p>
        </p:txBody>
      </p:sp>
      <p:sp>
        <p:nvSpPr>
          <p:cNvPr id="5" name="Footer Placeholder 4"/>
          <p:cNvSpPr>
            <a:spLocks noGrp="1"/>
          </p:cNvSpPr>
          <p:nvPr>
            <p:ph type="ftr" sz="quarter" idx="11"/>
          </p:nvPr>
        </p:nvSpPr>
        <p:spPr/>
        <p:txBody>
          <a:bodyPr/>
          <a:lstStyle/>
          <a:p>
            <a:r>
              <a:rPr lang="en-GB" dirty="0"/>
              <a:t>Presentation info in footer</a:t>
            </a:r>
          </a:p>
        </p:txBody>
      </p:sp>
      <p:sp>
        <p:nvSpPr>
          <p:cNvPr id="6" name="Slide Number Placeholder 5"/>
          <p:cNvSpPr>
            <a:spLocks noGrp="1"/>
          </p:cNvSpPr>
          <p:nvPr>
            <p:ph type="sldNum" sz="quarter" idx="12"/>
          </p:nvPr>
        </p:nvSpPr>
        <p:spPr/>
        <p:txBody>
          <a:bodyPr/>
          <a:lstStyle/>
          <a:p>
            <a:fld id="{D5361521-EF7F-456B-A25F-4EAD8E019C37}" type="slidenum">
              <a:rPr lang="en-GB" smtClean="0"/>
              <a:t>‹#›</a:t>
            </a:fld>
            <a:endParaRPr lang="en-GB" dirty="0"/>
          </a:p>
        </p:txBody>
      </p:sp>
    </p:spTree>
    <p:extLst>
      <p:ext uri="{BB962C8B-B14F-4D97-AF65-F5344CB8AC3E}">
        <p14:creationId xmlns:p14="http://schemas.microsoft.com/office/powerpoint/2010/main" val="36490352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 Column Grey Bg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734645" y="2138100"/>
            <a:ext cx="3502800" cy="4234125"/>
          </a:xfrm>
        </p:spPr>
        <p:txBody>
          <a:bodyPr/>
          <a:lstStyle>
            <a:lvl1pPr>
              <a:defRPr sz="1467">
                <a:solidFill>
                  <a:schemeClr val="bg1"/>
                </a:solidFill>
              </a:defRPr>
            </a:lvl1pPr>
            <a:lvl2pPr marL="142871" indent="-142871">
              <a:defRPr sz="1200">
                <a:solidFill>
                  <a:schemeClr val="bg1"/>
                </a:solidFill>
              </a:defRPr>
            </a:lvl2pPr>
            <a:lvl3pPr marL="312731" indent="-152396">
              <a:defRPr sz="1067">
                <a:solidFill>
                  <a:schemeClr val="bg1"/>
                </a:solidFill>
              </a:defRPr>
            </a:lvl3pPr>
            <a:lvl4pPr marL="468302" indent="-134935">
              <a:defRPr sz="1067">
                <a:solidFill>
                  <a:schemeClr val="bg1"/>
                </a:solidFill>
              </a:defRPr>
            </a:lvl4pPr>
            <a:lvl5pPr marL="636572" indent="-150810">
              <a:defRPr sz="1067">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a:xfrm>
            <a:off x="8689181" y="6372225"/>
            <a:ext cx="635795" cy="273051"/>
          </a:xfrm>
        </p:spPr>
        <p:txBody>
          <a:bodyPr/>
          <a:lstStyle>
            <a:lvl1pPr>
              <a:defRPr>
                <a:solidFill>
                  <a:schemeClr val="bg1"/>
                </a:solidFill>
              </a:defRPr>
            </a:lvl1pPr>
          </a:lstStyle>
          <a:p>
            <a:fld id="{6064C687-E54E-4A59-A131-5441B095AAD8}" type="datetime1">
              <a:rPr lang="en-GB" smtClean="0"/>
              <a:pPr/>
              <a:t>07/10/2025</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t>Presentation info in footer</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D5361521-EF7F-456B-A25F-4EAD8E019C37}" type="slidenum">
              <a:rPr lang="en-GB" smtClean="0"/>
              <a:pPr/>
              <a:t>‹#›</a:t>
            </a:fld>
            <a:endParaRPr lang="en-GB" dirty="0"/>
          </a:p>
        </p:txBody>
      </p:sp>
      <p:sp>
        <p:nvSpPr>
          <p:cNvPr id="12" name="Content Placeholder 2"/>
          <p:cNvSpPr>
            <a:spLocks noGrp="1"/>
          </p:cNvSpPr>
          <p:nvPr>
            <p:ph idx="15"/>
          </p:nvPr>
        </p:nvSpPr>
        <p:spPr>
          <a:xfrm>
            <a:off x="4711913" y="2138100"/>
            <a:ext cx="3502800" cy="4234125"/>
          </a:xfrm>
        </p:spPr>
        <p:txBody>
          <a:bodyPr/>
          <a:lstStyle>
            <a:lvl1pPr>
              <a:defRPr sz="1467">
                <a:solidFill>
                  <a:schemeClr val="bg1"/>
                </a:solidFill>
              </a:defRPr>
            </a:lvl1pPr>
            <a:lvl2pPr marL="142871" indent="-142871">
              <a:defRPr sz="1200">
                <a:solidFill>
                  <a:schemeClr val="bg1"/>
                </a:solidFill>
              </a:defRPr>
            </a:lvl2pPr>
            <a:lvl3pPr marL="312731" indent="-152396">
              <a:defRPr sz="1067">
                <a:solidFill>
                  <a:schemeClr val="bg1"/>
                </a:solidFill>
              </a:defRPr>
            </a:lvl3pPr>
            <a:lvl4pPr marL="468302" indent="-134935">
              <a:defRPr sz="1067">
                <a:solidFill>
                  <a:schemeClr val="bg1"/>
                </a:solidFill>
              </a:defRPr>
            </a:lvl4pPr>
            <a:lvl5pPr marL="636572" indent="-150810">
              <a:defRPr sz="1067">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16"/>
          </p:nvPr>
        </p:nvSpPr>
        <p:spPr>
          <a:xfrm>
            <a:off x="8689181" y="2138100"/>
            <a:ext cx="3201195" cy="4234125"/>
          </a:xfrm>
        </p:spPr>
        <p:txBody>
          <a:bodyPr/>
          <a:lstStyle>
            <a:lvl1pPr>
              <a:defRPr sz="1467">
                <a:solidFill>
                  <a:schemeClr val="bg1"/>
                </a:solidFill>
              </a:defRPr>
            </a:lvl1pPr>
            <a:lvl2pPr marL="142871" indent="-142871">
              <a:defRPr sz="1200">
                <a:solidFill>
                  <a:schemeClr val="bg1"/>
                </a:solidFill>
              </a:defRPr>
            </a:lvl2pPr>
            <a:lvl3pPr marL="312731" indent="-152396">
              <a:defRPr sz="1067">
                <a:solidFill>
                  <a:schemeClr val="bg1"/>
                </a:solidFill>
              </a:defRPr>
            </a:lvl3pPr>
            <a:lvl4pPr marL="468302" indent="-134935">
              <a:defRPr sz="1067">
                <a:solidFill>
                  <a:schemeClr val="bg1"/>
                </a:solidFill>
              </a:defRPr>
            </a:lvl4pPr>
            <a:lvl5pPr marL="636572" indent="-150810">
              <a:defRPr sz="1067">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13" name="Group 12"/>
          <p:cNvGrpSpPr/>
          <p:nvPr userDrawn="1"/>
        </p:nvGrpSpPr>
        <p:grpSpPr>
          <a:xfrm>
            <a:off x="8689182" y="265823"/>
            <a:ext cx="1266823" cy="116103"/>
            <a:chOff x="226220" y="265823"/>
            <a:chExt cx="1266823" cy="116102"/>
          </a:xfrm>
        </p:grpSpPr>
        <p:pic>
          <p:nvPicPr>
            <p:cNvPr id="14" name="Picture 13"/>
            <p:cNvPicPr>
              <a:picLocks noChangeAspect="1"/>
            </p:cNvPicPr>
            <p:nvPr userDrawn="1"/>
          </p:nvPicPr>
          <p:blipFill>
            <a:blip r:embed="rId2"/>
            <a:stretch>
              <a:fillRect/>
            </a:stretch>
          </p:blipFill>
          <p:spPr>
            <a:xfrm>
              <a:off x="226220" y="265823"/>
              <a:ext cx="461962" cy="116102"/>
            </a:xfrm>
            <a:prstGeom prst="rect">
              <a:avLst/>
            </a:prstGeom>
          </p:spPr>
        </p:pic>
        <p:pic>
          <p:nvPicPr>
            <p:cNvPr id="16" name="Picture 15"/>
            <p:cNvPicPr>
              <a:picLocks noChangeAspect="1"/>
            </p:cNvPicPr>
            <p:nvPr userDrawn="1"/>
          </p:nvPicPr>
          <p:blipFill>
            <a:blip r:embed="rId3"/>
            <a:stretch>
              <a:fillRect/>
            </a:stretch>
          </p:blipFill>
          <p:spPr>
            <a:xfrm>
              <a:off x="733498" y="310374"/>
              <a:ext cx="759545" cy="71551"/>
            </a:xfrm>
            <a:prstGeom prst="rect">
              <a:avLst/>
            </a:prstGeom>
          </p:spPr>
        </p:pic>
      </p:grpSp>
      <p:sp>
        <p:nvSpPr>
          <p:cNvPr id="17" name="TextBox 16"/>
          <p:cNvSpPr txBox="1"/>
          <p:nvPr userDrawn="1"/>
        </p:nvSpPr>
        <p:spPr>
          <a:xfrm>
            <a:off x="733426" y="6372225"/>
            <a:ext cx="2430628" cy="273051"/>
          </a:xfrm>
          <a:prstGeom prst="rect">
            <a:avLst/>
          </a:prstGeom>
          <a:noFill/>
        </p:spPr>
        <p:txBody>
          <a:bodyPr wrap="square" lIns="0" tIns="0" rIns="0" bIns="0" rtlCol="0" anchor="b" anchorCtr="0">
            <a:noAutofit/>
          </a:bodyPr>
          <a:lstStyle/>
          <a:p>
            <a:r>
              <a:rPr lang="en-GB" sz="800" kern="1200" dirty="0">
                <a:solidFill>
                  <a:schemeClr val="bg1"/>
                </a:solidFill>
                <a:latin typeface="+mn-lt"/>
                <a:ea typeface="+mn-ea"/>
                <a:cs typeface="+mn-cs"/>
              </a:rPr>
              <a:t>© Cadent Gas Ltd 2017 </a:t>
            </a:r>
          </a:p>
        </p:txBody>
      </p:sp>
    </p:spTree>
    <p:extLst>
      <p:ext uri="{BB962C8B-B14F-4D97-AF65-F5344CB8AC3E}">
        <p14:creationId xmlns:p14="http://schemas.microsoft.com/office/powerpoint/2010/main" val="29189409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1203634" y="1454614"/>
            <a:ext cx="5085617" cy="4083063"/>
          </a:xfrm>
        </p:spPr>
        <p:txBody>
          <a:bodyPr/>
          <a:lstStyle>
            <a:lvl1pPr>
              <a:lnSpc>
                <a:spcPct val="80000"/>
              </a:lnSpc>
              <a:defRPr sz="4800"/>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6064C687-E54E-4A59-A131-5441B095AAD8}" type="datetime1">
              <a:rPr lang="en-GB" smtClean="0"/>
              <a:t>07/10/2025</a:t>
            </a:fld>
            <a:endParaRPr lang="en-GB" dirty="0"/>
          </a:p>
        </p:txBody>
      </p:sp>
      <p:sp>
        <p:nvSpPr>
          <p:cNvPr id="5" name="Footer Placeholder 4"/>
          <p:cNvSpPr>
            <a:spLocks noGrp="1"/>
          </p:cNvSpPr>
          <p:nvPr>
            <p:ph type="ftr" sz="quarter" idx="11"/>
          </p:nvPr>
        </p:nvSpPr>
        <p:spPr/>
        <p:txBody>
          <a:bodyPr/>
          <a:lstStyle/>
          <a:p>
            <a:r>
              <a:rPr lang="en-GB" dirty="0"/>
              <a:t>Presentation info in footer</a:t>
            </a:r>
          </a:p>
        </p:txBody>
      </p:sp>
      <p:sp>
        <p:nvSpPr>
          <p:cNvPr id="6" name="Slide Number Placeholder 5"/>
          <p:cNvSpPr>
            <a:spLocks noGrp="1"/>
          </p:cNvSpPr>
          <p:nvPr>
            <p:ph type="sldNum" sz="quarter" idx="12"/>
          </p:nvPr>
        </p:nvSpPr>
        <p:spPr/>
        <p:txBody>
          <a:bodyPr/>
          <a:lstStyle/>
          <a:p>
            <a:fld id="{D5361521-EF7F-456B-A25F-4EAD8E019C37}" type="slidenum">
              <a:rPr lang="en-GB" smtClean="0"/>
              <a:t>‹#›</a:t>
            </a:fld>
            <a:endParaRPr lang="en-GB" dirty="0"/>
          </a:p>
        </p:txBody>
      </p:sp>
      <p:sp>
        <p:nvSpPr>
          <p:cNvPr id="8" name="Picture Placeholder 7"/>
          <p:cNvSpPr>
            <a:spLocks noGrp="1"/>
          </p:cNvSpPr>
          <p:nvPr>
            <p:ph type="pic" sz="quarter" idx="13"/>
          </p:nvPr>
        </p:nvSpPr>
        <p:spPr>
          <a:xfrm>
            <a:off x="8689181" y="657225"/>
            <a:ext cx="3502819" cy="5715000"/>
          </a:xfrm>
        </p:spPr>
        <p:txBody>
          <a:bodyPr/>
          <a:lstStyle/>
          <a:p>
            <a:r>
              <a:rPr lang="en-US" dirty="0"/>
              <a:t>Click icon to add picture</a:t>
            </a:r>
            <a:endParaRPr lang="en-GB" dirty="0"/>
          </a:p>
        </p:txBody>
      </p:sp>
      <p:sp>
        <p:nvSpPr>
          <p:cNvPr id="9" name="Rectangle 8"/>
          <p:cNvSpPr/>
          <p:nvPr userDrawn="1"/>
        </p:nvSpPr>
        <p:spPr>
          <a:xfrm>
            <a:off x="733425" y="1031813"/>
            <a:ext cx="470208" cy="47020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ln>
                <a:noFill/>
              </a:ln>
            </a:endParaRPr>
          </a:p>
        </p:txBody>
      </p:sp>
    </p:spTree>
    <p:extLst>
      <p:ext uri="{BB962C8B-B14F-4D97-AF65-F5344CB8AC3E}">
        <p14:creationId xmlns:p14="http://schemas.microsoft.com/office/powerpoint/2010/main" val="316326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3426" y="1480213"/>
            <a:ext cx="7730637" cy="4293043"/>
          </a:xfrm>
        </p:spPr>
        <p:txBody>
          <a:bodyPr/>
          <a:lstStyle>
            <a:lvl1pPr>
              <a:lnSpc>
                <a:spcPct val="85000"/>
              </a:lnSpc>
              <a:defRPr sz="400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a:xfrm>
            <a:off x="8689181" y="6372225"/>
            <a:ext cx="635795" cy="273051"/>
          </a:xfrm>
        </p:spPr>
        <p:txBody>
          <a:bodyPr/>
          <a:lstStyle>
            <a:lvl1pPr>
              <a:defRPr>
                <a:solidFill>
                  <a:schemeClr val="bg1"/>
                </a:solidFill>
              </a:defRPr>
            </a:lvl1pPr>
          </a:lstStyle>
          <a:p>
            <a:fld id="{6064C687-E54E-4A59-A131-5441B095AAD8}" type="datetime1">
              <a:rPr lang="en-GB" smtClean="0"/>
              <a:pPr/>
              <a:t>07/10/2025</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t>Presentation info in footer</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D5361521-EF7F-456B-A25F-4EAD8E019C37}" type="slidenum">
              <a:rPr lang="en-GB" smtClean="0"/>
              <a:pPr/>
              <a:t>‹#›</a:t>
            </a:fld>
            <a:endParaRPr lang="en-GB" dirty="0"/>
          </a:p>
        </p:txBody>
      </p:sp>
      <p:grpSp>
        <p:nvGrpSpPr>
          <p:cNvPr id="14" name="Group 13"/>
          <p:cNvGrpSpPr/>
          <p:nvPr userDrawn="1"/>
        </p:nvGrpSpPr>
        <p:grpSpPr>
          <a:xfrm>
            <a:off x="8689182" y="265823"/>
            <a:ext cx="1266879" cy="116108"/>
            <a:chOff x="226220" y="265823"/>
            <a:chExt cx="1266878" cy="116108"/>
          </a:xfrm>
        </p:grpSpPr>
        <p:pic>
          <p:nvPicPr>
            <p:cNvPr id="15" name="Picture 14"/>
            <p:cNvPicPr>
              <a:picLocks noChangeAspect="1"/>
            </p:cNvPicPr>
            <p:nvPr userDrawn="1"/>
          </p:nvPicPr>
          <p:blipFill>
            <a:blip r:embed="rId2"/>
            <a:stretch>
              <a:fillRect/>
            </a:stretch>
          </p:blipFill>
          <p:spPr>
            <a:xfrm>
              <a:off x="226220" y="265823"/>
              <a:ext cx="460800" cy="115810"/>
            </a:xfrm>
            <a:prstGeom prst="rect">
              <a:avLst/>
            </a:prstGeom>
          </p:spPr>
        </p:pic>
        <p:pic>
          <p:nvPicPr>
            <p:cNvPr id="16" name="Picture 15"/>
            <p:cNvPicPr>
              <a:picLocks noChangeAspect="1"/>
            </p:cNvPicPr>
            <p:nvPr userDrawn="1"/>
          </p:nvPicPr>
          <p:blipFill>
            <a:blip r:embed="rId3"/>
            <a:stretch>
              <a:fillRect/>
            </a:stretch>
          </p:blipFill>
          <p:spPr>
            <a:xfrm>
              <a:off x="733498" y="310374"/>
              <a:ext cx="759600" cy="71557"/>
            </a:xfrm>
            <a:prstGeom prst="rect">
              <a:avLst/>
            </a:prstGeom>
          </p:spPr>
        </p:pic>
      </p:grpSp>
      <p:sp>
        <p:nvSpPr>
          <p:cNvPr id="17" name="TextBox 16"/>
          <p:cNvSpPr txBox="1"/>
          <p:nvPr userDrawn="1"/>
        </p:nvSpPr>
        <p:spPr>
          <a:xfrm>
            <a:off x="733426" y="6372225"/>
            <a:ext cx="2430628" cy="273051"/>
          </a:xfrm>
          <a:prstGeom prst="rect">
            <a:avLst/>
          </a:prstGeom>
          <a:noFill/>
        </p:spPr>
        <p:txBody>
          <a:bodyPr wrap="square" lIns="0" tIns="0" rIns="0" bIns="0" rtlCol="0" anchor="b" anchorCtr="0">
            <a:noAutofit/>
          </a:bodyPr>
          <a:lstStyle/>
          <a:p>
            <a:r>
              <a:rPr lang="en-GB" sz="800" kern="1200" dirty="0">
                <a:solidFill>
                  <a:schemeClr val="bg1"/>
                </a:solidFill>
                <a:latin typeface="+mn-lt"/>
                <a:ea typeface="+mn-ea"/>
                <a:cs typeface="+mn-cs"/>
              </a:rPr>
              <a:t>© Cadent Gas Ltd 2017 </a:t>
            </a:r>
          </a:p>
        </p:txBody>
      </p:sp>
    </p:spTree>
    <p:extLst>
      <p:ext uri="{BB962C8B-B14F-4D97-AF65-F5344CB8AC3E}">
        <p14:creationId xmlns:p14="http://schemas.microsoft.com/office/powerpoint/2010/main" val="19707544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078303" y="1758464"/>
            <a:ext cx="4654061" cy="4038112"/>
          </a:xfrm>
        </p:spPr>
        <p:txBody>
          <a:bodyPr/>
          <a:lstStyle>
            <a:lvl1pPr marL="0" indent="0" algn="r">
              <a:buNone/>
              <a:defRPr sz="28666" b="1">
                <a:solidFill>
                  <a:schemeClr val="bg1"/>
                </a:solidFill>
                <a:latin typeface="+mn-lt"/>
              </a:defRPr>
            </a:lvl1pPr>
            <a:lvl2pPr marL="457189" indent="0">
              <a:buNone/>
              <a:defRPr sz="2000">
                <a:solidFill>
                  <a:schemeClr val="tx1">
                    <a:tint val="75000"/>
                  </a:schemeClr>
                </a:solidFill>
              </a:defRPr>
            </a:lvl2pPr>
            <a:lvl3pPr marL="914377" indent="0">
              <a:buNone/>
              <a:defRPr sz="1867">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a:t>
            </a:r>
          </a:p>
        </p:txBody>
      </p:sp>
      <p:sp>
        <p:nvSpPr>
          <p:cNvPr id="4" name="Date Placeholder 3"/>
          <p:cNvSpPr>
            <a:spLocks noGrp="1"/>
          </p:cNvSpPr>
          <p:nvPr>
            <p:ph type="dt" sz="half" idx="10"/>
          </p:nvPr>
        </p:nvSpPr>
        <p:spPr>
          <a:xfrm>
            <a:off x="8689181" y="6372225"/>
            <a:ext cx="635795" cy="273051"/>
          </a:xfrm>
        </p:spPr>
        <p:txBody>
          <a:bodyPr/>
          <a:lstStyle>
            <a:lvl1pPr>
              <a:defRPr>
                <a:solidFill>
                  <a:schemeClr val="bg1"/>
                </a:solidFill>
              </a:defRPr>
            </a:lvl1pPr>
          </a:lstStyle>
          <a:p>
            <a:fld id="{38CB4A7A-8B33-441A-97FA-9F08F8996D5D}" type="datetime1">
              <a:rPr lang="en-GB" smtClean="0"/>
              <a:t>07/10/2025</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t>Presentation info in footer</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D5361521-EF7F-456B-A25F-4EAD8E019C37}" type="slidenum">
              <a:rPr lang="en-GB" smtClean="0"/>
              <a:pPr/>
              <a:t>‹#›</a:t>
            </a:fld>
            <a:endParaRPr lang="en-GB" dirty="0"/>
          </a:p>
        </p:txBody>
      </p:sp>
      <p:sp>
        <p:nvSpPr>
          <p:cNvPr id="7" name="Title 6"/>
          <p:cNvSpPr>
            <a:spLocks noGrp="1"/>
          </p:cNvSpPr>
          <p:nvPr>
            <p:ph type="title"/>
          </p:nvPr>
        </p:nvSpPr>
        <p:spPr>
          <a:xfrm>
            <a:off x="733425" y="2148785"/>
            <a:ext cx="4323619" cy="2153585"/>
          </a:xfrm>
        </p:spPr>
        <p:txBody>
          <a:bodyPr/>
          <a:lstStyle>
            <a:lvl1pPr>
              <a:defRPr>
                <a:solidFill>
                  <a:schemeClr val="bg1"/>
                </a:solidFill>
              </a:defRPr>
            </a:lvl1pPr>
          </a:lstStyle>
          <a:p>
            <a:r>
              <a:rPr lang="en-US"/>
              <a:t>Click to edit Master title style</a:t>
            </a:r>
            <a:endParaRPr lang="en-GB"/>
          </a:p>
        </p:txBody>
      </p:sp>
      <p:grpSp>
        <p:nvGrpSpPr>
          <p:cNvPr id="14" name="Group 13"/>
          <p:cNvGrpSpPr/>
          <p:nvPr userDrawn="1"/>
        </p:nvGrpSpPr>
        <p:grpSpPr>
          <a:xfrm>
            <a:off x="8689182" y="265823"/>
            <a:ext cx="1266879" cy="116108"/>
            <a:chOff x="226220" y="265823"/>
            <a:chExt cx="1266878" cy="116108"/>
          </a:xfrm>
        </p:grpSpPr>
        <p:pic>
          <p:nvPicPr>
            <p:cNvPr id="15" name="Picture 14"/>
            <p:cNvPicPr>
              <a:picLocks noChangeAspect="1"/>
            </p:cNvPicPr>
            <p:nvPr userDrawn="1"/>
          </p:nvPicPr>
          <p:blipFill>
            <a:blip r:embed="rId2"/>
            <a:stretch>
              <a:fillRect/>
            </a:stretch>
          </p:blipFill>
          <p:spPr>
            <a:xfrm>
              <a:off x="226220" y="265823"/>
              <a:ext cx="460800" cy="115810"/>
            </a:xfrm>
            <a:prstGeom prst="rect">
              <a:avLst/>
            </a:prstGeom>
          </p:spPr>
        </p:pic>
        <p:pic>
          <p:nvPicPr>
            <p:cNvPr id="16" name="Picture 15"/>
            <p:cNvPicPr>
              <a:picLocks noChangeAspect="1"/>
            </p:cNvPicPr>
            <p:nvPr userDrawn="1"/>
          </p:nvPicPr>
          <p:blipFill>
            <a:blip r:embed="rId3"/>
            <a:stretch>
              <a:fillRect/>
            </a:stretch>
          </p:blipFill>
          <p:spPr>
            <a:xfrm>
              <a:off x="733498" y="310374"/>
              <a:ext cx="759600" cy="71557"/>
            </a:xfrm>
            <a:prstGeom prst="rect">
              <a:avLst/>
            </a:prstGeom>
          </p:spPr>
        </p:pic>
      </p:grpSp>
      <p:sp>
        <p:nvSpPr>
          <p:cNvPr id="17" name="TextBox 16"/>
          <p:cNvSpPr txBox="1"/>
          <p:nvPr userDrawn="1"/>
        </p:nvSpPr>
        <p:spPr>
          <a:xfrm>
            <a:off x="733426" y="6372225"/>
            <a:ext cx="2430628" cy="273051"/>
          </a:xfrm>
          <a:prstGeom prst="rect">
            <a:avLst/>
          </a:prstGeom>
          <a:noFill/>
        </p:spPr>
        <p:txBody>
          <a:bodyPr wrap="square" lIns="0" tIns="0" rIns="0" bIns="0" rtlCol="0" anchor="b" anchorCtr="0">
            <a:noAutofit/>
          </a:bodyPr>
          <a:lstStyle/>
          <a:p>
            <a:r>
              <a:rPr lang="en-GB" sz="800" kern="1200" dirty="0">
                <a:solidFill>
                  <a:schemeClr val="bg1"/>
                </a:solidFill>
                <a:latin typeface="+mn-lt"/>
                <a:ea typeface="+mn-ea"/>
                <a:cs typeface="+mn-cs"/>
              </a:rPr>
              <a:t>© Cadent Gas Ltd 2017 </a:t>
            </a:r>
          </a:p>
        </p:txBody>
      </p:sp>
    </p:spTree>
    <p:extLst>
      <p:ext uri="{BB962C8B-B14F-4D97-AF65-F5344CB8AC3E}">
        <p14:creationId xmlns:p14="http://schemas.microsoft.com/office/powerpoint/2010/main" val="10933212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0F8C6DA9-8593-4CDD-827A-0F28E96CE0AF}" type="datetime1">
              <a:rPr lang="en-GB" smtClean="0"/>
              <a:t>07/10/2025</a:t>
            </a:fld>
            <a:endParaRPr lang="en-GB" dirty="0"/>
          </a:p>
        </p:txBody>
      </p:sp>
      <p:sp>
        <p:nvSpPr>
          <p:cNvPr id="4" name="Footer Placeholder 3"/>
          <p:cNvSpPr>
            <a:spLocks noGrp="1"/>
          </p:cNvSpPr>
          <p:nvPr>
            <p:ph type="ftr" sz="quarter" idx="11"/>
          </p:nvPr>
        </p:nvSpPr>
        <p:spPr/>
        <p:txBody>
          <a:bodyPr/>
          <a:lstStyle/>
          <a:p>
            <a:r>
              <a:rPr lang="en-GB" dirty="0"/>
              <a:t>Presentation info in footer</a:t>
            </a:r>
          </a:p>
        </p:txBody>
      </p:sp>
    </p:spTree>
    <p:extLst>
      <p:ext uri="{BB962C8B-B14F-4D97-AF65-F5344CB8AC3E}">
        <p14:creationId xmlns:p14="http://schemas.microsoft.com/office/powerpoint/2010/main" val="37432540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663B99-1F51-443F-BEFA-8245376294C7}" type="datetime1">
              <a:rPr lang="en-GB" smtClean="0"/>
              <a:t>07/10/2025</a:t>
            </a:fld>
            <a:endParaRPr lang="en-GB" dirty="0"/>
          </a:p>
        </p:txBody>
      </p:sp>
      <p:sp>
        <p:nvSpPr>
          <p:cNvPr id="3" name="Footer Placeholder 2"/>
          <p:cNvSpPr>
            <a:spLocks noGrp="1"/>
          </p:cNvSpPr>
          <p:nvPr>
            <p:ph type="ftr" sz="quarter" idx="11"/>
          </p:nvPr>
        </p:nvSpPr>
        <p:spPr/>
        <p:txBody>
          <a:bodyPr/>
          <a:lstStyle/>
          <a:p>
            <a:r>
              <a:rPr lang="en-GB" dirty="0"/>
              <a:t>Presentation info in footer</a:t>
            </a:r>
          </a:p>
        </p:txBody>
      </p:sp>
      <p:sp>
        <p:nvSpPr>
          <p:cNvPr id="4" name="Slide Number Placeholder 3"/>
          <p:cNvSpPr>
            <a:spLocks noGrp="1"/>
          </p:cNvSpPr>
          <p:nvPr>
            <p:ph type="sldNum" sz="quarter" idx="12"/>
          </p:nvPr>
        </p:nvSpPr>
        <p:spPr/>
        <p:txBody>
          <a:bodyPr/>
          <a:lstStyle/>
          <a:p>
            <a:fld id="{D5361521-EF7F-456B-A25F-4EAD8E019C37}" type="slidenum">
              <a:rPr lang="en-GB" smtClean="0"/>
              <a:t>‹#›</a:t>
            </a:fld>
            <a:endParaRPr lang="en-GB" dirty="0"/>
          </a:p>
        </p:txBody>
      </p:sp>
    </p:spTree>
    <p:extLst>
      <p:ext uri="{BB962C8B-B14F-4D97-AF65-F5344CB8AC3E}">
        <p14:creationId xmlns:p14="http://schemas.microsoft.com/office/powerpoint/2010/main" val="28045530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ran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E01662-D38D-4B2F-9481-086DE5E5E275}"/>
              </a:ext>
            </a:extLst>
          </p:cNvPr>
          <p:cNvGraphicFramePr>
            <a:graphicFrameLocks noChangeAspect="1"/>
          </p:cNvGraphicFramePr>
          <p:nvPr userDrawn="1">
            <p:custDataLst>
              <p:tags r:id="rId1"/>
            </p:custDataLst>
            <p:extLst>
              <p:ext uri="{D42A27DB-BD31-4B8C-83A1-F6EECF244321}">
                <p14:modId xmlns:p14="http://schemas.microsoft.com/office/powerpoint/2010/main" val="4006421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A8E01662-D38D-4B2F-9481-086DE5E5E2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44B05E4-95FF-4C70-9A0F-D7F233E7F011}"/>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endParaRPr lang="en-GB"/>
          </a:p>
        </p:txBody>
      </p:sp>
      <p:pic>
        <p:nvPicPr>
          <p:cNvPr id="35" name="Graphic 34">
            <a:extLst>
              <a:ext uri="{FF2B5EF4-FFF2-40B4-BE49-F238E27FC236}">
                <a16:creationId xmlns:a16="http://schemas.microsoft.com/office/drawing/2014/main" id="{03A2F144-BB6E-45AD-9977-56E13084D865}"/>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sp>
        <p:nvSpPr>
          <p:cNvPr id="2" name="Title 1">
            <a:extLst>
              <a:ext uri="{FF2B5EF4-FFF2-40B4-BE49-F238E27FC236}">
                <a16:creationId xmlns:a16="http://schemas.microsoft.com/office/drawing/2014/main" id="{251BA626-BF6D-4627-BECB-E2DC0EA20DBF}"/>
              </a:ext>
            </a:extLst>
          </p:cNvPr>
          <p:cNvSpPr>
            <a:spLocks noGrp="1"/>
          </p:cNvSpPr>
          <p:nvPr>
            <p:ph type="ctrTitle"/>
          </p:nvPr>
        </p:nvSpPr>
        <p:spPr>
          <a:xfrm>
            <a:off x="515937" y="2060574"/>
            <a:ext cx="5220000" cy="2090511"/>
          </a:xfrm>
        </p:spPr>
        <p:txBody>
          <a:bodyPr vert="horz" anchor="b">
            <a:normAutofit/>
          </a:bodyPr>
          <a:lstStyle>
            <a:lvl1pPr algn="l">
              <a:lnSpc>
                <a:spcPct val="90000"/>
              </a:lnSpc>
              <a:defRPr sz="4000" spc="-150">
                <a:solidFill>
                  <a:schemeClr val="bg1"/>
                </a:solidFill>
                <a:latin typeface="+mj-lt"/>
              </a:defRPr>
            </a:lvl1pPr>
          </a:lstStyle>
          <a:p>
            <a:r>
              <a:rPr lang="en-US" dirty="0"/>
              <a:t>Click to edit Master title style</a:t>
            </a:r>
            <a:endParaRPr lang="en-GB" dirty="0"/>
          </a:p>
        </p:txBody>
      </p:sp>
      <p:sp>
        <p:nvSpPr>
          <p:cNvPr id="5" name="Footer Placeholder 4">
            <a:extLst>
              <a:ext uri="{FF2B5EF4-FFF2-40B4-BE49-F238E27FC236}">
                <a16:creationId xmlns:a16="http://schemas.microsoft.com/office/drawing/2014/main" id="{07D63AD2-493A-40BC-942E-22F1C2128045}"/>
              </a:ext>
            </a:extLst>
          </p:cNvPr>
          <p:cNvSpPr>
            <a:spLocks noGrp="1"/>
          </p:cNvSpPr>
          <p:nvPr>
            <p:ph type="ftr" sz="quarter" idx="11"/>
          </p:nvPr>
        </p:nvSpPr>
        <p:spPr>
          <a:xfrm>
            <a:off x="515937" y="6498430"/>
            <a:ext cx="5220000" cy="108000"/>
          </a:xfrm>
        </p:spPr>
        <p:txBody>
          <a:bodyPr/>
          <a:lstStyle>
            <a:lvl1pPr>
              <a:defRPr>
                <a:solidFill>
                  <a:schemeClr val="bg1"/>
                </a:solidFill>
                <a:latin typeface="+mj-lt"/>
              </a:defRPr>
            </a:lvl1pPr>
          </a:lstStyle>
          <a:p>
            <a:r>
              <a:rPr lang="en-US"/>
              <a:t>To change the footer go to menu "Insert" &gt; "Header and Footer" &gt; "Apply to All"</a:t>
            </a:r>
            <a:endParaRPr lang="en-GB" dirty="0"/>
          </a:p>
        </p:txBody>
      </p:sp>
      <p:sp>
        <p:nvSpPr>
          <p:cNvPr id="22" name="Text Placeholder 21">
            <a:extLst>
              <a:ext uri="{FF2B5EF4-FFF2-40B4-BE49-F238E27FC236}">
                <a16:creationId xmlns:a16="http://schemas.microsoft.com/office/drawing/2014/main" id="{9C58B583-4DDF-431F-8E2D-57430F7F465A}"/>
              </a:ext>
            </a:extLst>
          </p:cNvPr>
          <p:cNvSpPr>
            <a:spLocks noGrp="1"/>
          </p:cNvSpPr>
          <p:nvPr>
            <p:ph type="body" sz="quarter" idx="12"/>
          </p:nvPr>
        </p:nvSpPr>
        <p:spPr>
          <a:xfrm>
            <a:off x="515937" y="4911726"/>
            <a:ext cx="5220000" cy="1477962"/>
          </a:xfrm>
        </p:spPr>
        <p:txBody>
          <a:bodyPr>
            <a:norm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spcBef>
                <a:spcPts val="0"/>
              </a:spcBef>
              <a:buNone/>
              <a:defRPr sz="1600" b="1">
                <a:solidFill>
                  <a:schemeClr val="bg1">
                    <a:alpha val="50000"/>
                  </a:schemeClr>
                </a:solidFill>
                <a:latin typeface="+mj-lt"/>
              </a:defRPr>
            </a:lvl2pPr>
            <a:lvl3pPr marL="0" indent="0">
              <a:lnSpc>
                <a:spcPct val="90000"/>
              </a:lnSpc>
              <a:spcBef>
                <a:spcPts val="0"/>
              </a:spcBef>
              <a:buNone/>
              <a:defRPr sz="1600" b="1">
                <a:solidFill>
                  <a:schemeClr val="bg1">
                    <a:alpha val="50000"/>
                  </a:schemeClr>
                </a:solidFill>
                <a:latin typeface="+mj-lt"/>
              </a:defRPr>
            </a:lvl3pPr>
            <a:lvl4pPr marL="0" indent="0">
              <a:lnSpc>
                <a:spcPct val="90000"/>
              </a:lnSpc>
              <a:spcBef>
                <a:spcPts val="0"/>
              </a:spcBef>
              <a:buNone/>
              <a:defRPr sz="1600" b="1">
                <a:solidFill>
                  <a:schemeClr val="bg1">
                    <a:alpha val="50000"/>
                  </a:schemeClr>
                </a:solidFill>
                <a:latin typeface="+mj-lt"/>
              </a:defRPr>
            </a:lvl4pPr>
            <a:lvl5pPr marL="0" indent="0">
              <a:lnSpc>
                <a:spcPct val="90000"/>
              </a:lnSpc>
              <a:spcBef>
                <a:spcPts val="0"/>
              </a:spcBef>
              <a:buNone/>
              <a:defRPr sz="1600" b="1">
                <a:solidFill>
                  <a:schemeClr val="bg1">
                    <a:alpha val="50000"/>
                  </a:schemeClr>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45" name="Graphic 44">
            <a:extLst>
              <a:ext uri="{FF2B5EF4-FFF2-40B4-BE49-F238E27FC236}">
                <a16:creationId xmlns:a16="http://schemas.microsoft.com/office/drawing/2014/main" id="{348EA8CE-96DD-4907-9CDF-773CCE54933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Tree>
    <p:extLst>
      <p:ext uri="{BB962C8B-B14F-4D97-AF65-F5344CB8AC3E}">
        <p14:creationId xmlns:p14="http://schemas.microsoft.com/office/powerpoint/2010/main" val="101237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hank you +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321185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5937" y="5536950"/>
            <a:ext cx="1774776" cy="709910"/>
          </a:xfrm>
          <a:prstGeom prst="rect">
            <a:avLst/>
          </a:prstGeom>
        </p:spPr>
      </p:pic>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6" y="512763"/>
            <a:ext cx="5580063" cy="1693109"/>
          </a:xfrm>
        </p:spPr>
        <p:txBody>
          <a:bodyPr vert="horz" anchor="b">
            <a:noAutofit/>
          </a:bodyPr>
          <a:lstStyle>
            <a:lvl1pPr algn="l">
              <a:lnSpc>
                <a:spcPct val="90000"/>
              </a:lnSpc>
              <a:defRPr sz="4800" spc="-150">
                <a:solidFill>
                  <a:schemeClr val="tx1"/>
                </a:solidFill>
                <a:latin typeface="+mj-lt"/>
              </a:defRPr>
            </a:lvl1pPr>
          </a:lstStyle>
          <a:p>
            <a:r>
              <a:rPr lang="en-US" dirty="0"/>
              <a:t>Click to edit Master title style</a:t>
            </a:r>
            <a:endParaRPr lang="en-GB" dirty="0"/>
          </a:p>
        </p:txBody>
      </p:sp>
      <p:sp>
        <p:nvSpPr>
          <p:cNvPr id="757" name="Picture Placeholder 756">
            <a:extLst>
              <a:ext uri="{FF2B5EF4-FFF2-40B4-BE49-F238E27FC236}">
                <a16:creationId xmlns:a16="http://schemas.microsoft.com/office/drawing/2014/main" id="{5378036C-A4C5-46FF-89F8-371916555FF0}"/>
              </a:ext>
            </a:extLst>
          </p:cNvPr>
          <p:cNvSpPr>
            <a:spLocks noGrp="1"/>
          </p:cNvSpPr>
          <p:nvPr>
            <p:ph type="pic" sz="quarter" idx="15"/>
          </p:nvPr>
        </p:nvSpPr>
        <p:spPr>
          <a:xfrm>
            <a:off x="5410044" y="1"/>
            <a:ext cx="6781956" cy="6858000"/>
          </a:xfrm>
          <a:custGeom>
            <a:avLst/>
            <a:gdLst>
              <a:gd name="connsiteX0" fmla="*/ 5318 w 6781956"/>
              <a:gd name="connsiteY0" fmla="*/ 6849189 h 6858000"/>
              <a:gd name="connsiteX1" fmla="*/ 3938 w 6781956"/>
              <a:gd name="connsiteY1" fmla="*/ 6858000 h 6858000"/>
              <a:gd name="connsiteX2" fmla="*/ 0 w 6781956"/>
              <a:gd name="connsiteY2" fmla="*/ 6858000 h 6858000"/>
              <a:gd name="connsiteX3" fmla="*/ 1829 w 6781956"/>
              <a:gd name="connsiteY3" fmla="*/ 6850174 h 6858000"/>
              <a:gd name="connsiteX4" fmla="*/ 85864 w 6781956"/>
              <a:gd name="connsiteY4" fmla="*/ 6848921 h 6858000"/>
              <a:gd name="connsiteX5" fmla="*/ 91398 w 6781956"/>
              <a:gd name="connsiteY5" fmla="*/ 6853661 h 6858000"/>
              <a:gd name="connsiteX6" fmla="*/ 87373 w 6781956"/>
              <a:gd name="connsiteY6" fmla="*/ 6858000 h 6858000"/>
              <a:gd name="connsiteX7" fmla="*/ 78877 w 6781956"/>
              <a:gd name="connsiteY7" fmla="*/ 6858000 h 6858000"/>
              <a:gd name="connsiteX8" fmla="*/ 78409 w 6781956"/>
              <a:gd name="connsiteY8" fmla="*/ 6855604 h 6858000"/>
              <a:gd name="connsiteX9" fmla="*/ 85864 w 6781956"/>
              <a:gd name="connsiteY9" fmla="*/ 6848921 h 6858000"/>
              <a:gd name="connsiteX10" fmla="*/ 265547 w 6781956"/>
              <a:gd name="connsiteY10" fmla="*/ 6843162 h 6858000"/>
              <a:gd name="connsiteX11" fmla="*/ 262297 w 6781956"/>
              <a:gd name="connsiteY11" fmla="*/ 6852499 h 6858000"/>
              <a:gd name="connsiteX12" fmla="*/ 259252 w 6781956"/>
              <a:gd name="connsiteY12" fmla="*/ 6858000 h 6858000"/>
              <a:gd name="connsiteX13" fmla="*/ 257206 w 6781956"/>
              <a:gd name="connsiteY13" fmla="*/ 6858000 h 6858000"/>
              <a:gd name="connsiteX14" fmla="*/ 257331 w 6781956"/>
              <a:gd name="connsiteY14" fmla="*/ 6849661 h 6858000"/>
              <a:gd name="connsiteX15" fmla="*/ 265547 w 6781956"/>
              <a:gd name="connsiteY15" fmla="*/ 6843162 h 6858000"/>
              <a:gd name="connsiteX16" fmla="*/ 243765 w 6781956"/>
              <a:gd name="connsiteY16" fmla="*/ 6795534 h 6858000"/>
              <a:gd name="connsiteX17" fmla="*/ 238619 w 6781956"/>
              <a:gd name="connsiteY17" fmla="*/ 6816460 h 6858000"/>
              <a:gd name="connsiteX18" fmla="*/ 243765 w 6781956"/>
              <a:gd name="connsiteY18" fmla="*/ 6795534 h 6858000"/>
              <a:gd name="connsiteX19" fmla="*/ 355983 w 6781956"/>
              <a:gd name="connsiteY19" fmla="*/ 6783909 h 6858000"/>
              <a:gd name="connsiteX20" fmla="*/ 342599 w 6781956"/>
              <a:gd name="connsiteY20" fmla="*/ 6799023 h 6858000"/>
              <a:gd name="connsiteX21" fmla="*/ 355983 w 6781956"/>
              <a:gd name="connsiteY21" fmla="*/ 6783909 h 6858000"/>
              <a:gd name="connsiteX22" fmla="*/ 301420 w 6781956"/>
              <a:gd name="connsiteY22" fmla="*/ 6775771 h 6858000"/>
              <a:gd name="connsiteX23" fmla="*/ 295241 w 6781956"/>
              <a:gd name="connsiteY23" fmla="*/ 6808323 h 6858000"/>
              <a:gd name="connsiteX24" fmla="*/ 274651 w 6781956"/>
              <a:gd name="connsiteY24" fmla="*/ 6836223 h 6858000"/>
              <a:gd name="connsiteX25" fmla="*/ 273622 w 6781956"/>
              <a:gd name="connsiteY25" fmla="*/ 6817624 h 6858000"/>
              <a:gd name="connsiteX26" fmla="*/ 287005 w 6781956"/>
              <a:gd name="connsiteY26" fmla="*/ 6802511 h 6858000"/>
              <a:gd name="connsiteX27" fmla="*/ 301420 w 6781956"/>
              <a:gd name="connsiteY27" fmla="*/ 6775771 h 6858000"/>
              <a:gd name="connsiteX28" fmla="*/ 58621 w 6781956"/>
              <a:gd name="connsiteY28" fmla="*/ 6758366 h 6858000"/>
              <a:gd name="connsiteX29" fmla="*/ 50555 w 6781956"/>
              <a:gd name="connsiteY29" fmla="*/ 6771466 h 6858000"/>
              <a:gd name="connsiteX30" fmla="*/ 55365 w 6781956"/>
              <a:gd name="connsiteY30" fmla="*/ 6759497 h 6858000"/>
              <a:gd name="connsiteX31" fmla="*/ 157287 w 6781956"/>
              <a:gd name="connsiteY31" fmla="*/ 6745546 h 6858000"/>
              <a:gd name="connsiteX32" fmla="*/ 138756 w 6781956"/>
              <a:gd name="connsiteY32" fmla="*/ 6781585 h 6858000"/>
              <a:gd name="connsiteX33" fmla="*/ 140815 w 6781956"/>
              <a:gd name="connsiteY33" fmla="*/ 6758334 h 6858000"/>
              <a:gd name="connsiteX34" fmla="*/ 157287 w 6781956"/>
              <a:gd name="connsiteY34" fmla="*/ 6745546 h 6858000"/>
              <a:gd name="connsiteX35" fmla="*/ 308786 w 6781956"/>
              <a:gd name="connsiteY35" fmla="*/ 6712505 h 6858000"/>
              <a:gd name="connsiteX36" fmla="*/ 317890 w 6781956"/>
              <a:gd name="connsiteY36" fmla="*/ 6714158 h 6858000"/>
              <a:gd name="connsiteX37" fmla="*/ 255091 w 6781956"/>
              <a:gd name="connsiteY37" fmla="*/ 6793210 h 6858000"/>
              <a:gd name="connsiteX38" fmla="*/ 260239 w 6781956"/>
              <a:gd name="connsiteY38" fmla="*/ 6783909 h 6858000"/>
              <a:gd name="connsiteX39" fmla="*/ 291123 w 6781956"/>
              <a:gd name="connsiteY39" fmla="*/ 6744383 h 6858000"/>
              <a:gd name="connsiteX40" fmla="*/ 308786 w 6781956"/>
              <a:gd name="connsiteY40" fmla="*/ 6712505 h 6858000"/>
              <a:gd name="connsiteX41" fmla="*/ 241707 w 6781956"/>
              <a:gd name="connsiteY41" fmla="*/ 6707182 h 6858000"/>
              <a:gd name="connsiteX42" fmla="*/ 245825 w 6781956"/>
              <a:gd name="connsiteY42" fmla="*/ 6709508 h 6858000"/>
              <a:gd name="connsiteX43" fmla="*/ 241707 w 6781956"/>
              <a:gd name="connsiteY43" fmla="*/ 6707182 h 6858000"/>
              <a:gd name="connsiteX44" fmla="*/ 270534 w 6781956"/>
              <a:gd name="connsiteY44" fmla="*/ 6692071 h 6858000"/>
              <a:gd name="connsiteX45" fmla="*/ 250973 w 6781956"/>
              <a:gd name="connsiteY45" fmla="*/ 6739734 h 6858000"/>
              <a:gd name="connsiteX46" fmla="*/ 235530 w 6781956"/>
              <a:gd name="connsiteY46" fmla="*/ 6759497 h 6858000"/>
              <a:gd name="connsiteX47" fmla="*/ 219058 w 6781956"/>
              <a:gd name="connsiteY47" fmla="*/ 6790885 h 6858000"/>
              <a:gd name="connsiteX48" fmla="*/ 201557 w 6781956"/>
              <a:gd name="connsiteY48" fmla="*/ 6815298 h 6858000"/>
              <a:gd name="connsiteX49" fmla="*/ 185598 w 6781956"/>
              <a:gd name="connsiteY49" fmla="*/ 6847122 h 6858000"/>
              <a:gd name="connsiteX50" fmla="*/ 176958 w 6781956"/>
              <a:gd name="connsiteY50" fmla="*/ 6858000 h 6858000"/>
              <a:gd name="connsiteX51" fmla="*/ 167869 w 6781956"/>
              <a:gd name="connsiteY51" fmla="*/ 6858000 h 6858000"/>
              <a:gd name="connsiteX52" fmla="*/ 167968 w 6781956"/>
              <a:gd name="connsiteY52" fmla="*/ 6857003 h 6858000"/>
              <a:gd name="connsiteX53" fmla="*/ 174790 w 6781956"/>
              <a:gd name="connsiteY53" fmla="*/ 6845523 h 6858000"/>
              <a:gd name="connsiteX54" fmla="*/ 186114 w 6781956"/>
              <a:gd name="connsiteY54" fmla="*/ 6823435 h 6858000"/>
              <a:gd name="connsiteX55" fmla="*/ 192291 w 6781956"/>
              <a:gd name="connsiteY55" fmla="*/ 6822273 h 6858000"/>
              <a:gd name="connsiteX56" fmla="*/ 270534 w 6781956"/>
              <a:gd name="connsiteY56" fmla="*/ 6692071 h 6858000"/>
              <a:gd name="connsiteX57" fmla="*/ 478495 w 6781956"/>
              <a:gd name="connsiteY57" fmla="*/ 6680445 h 6858000"/>
              <a:gd name="connsiteX58" fmla="*/ 478543 w 6781956"/>
              <a:gd name="connsiteY58" fmla="*/ 6682295 h 6858000"/>
              <a:gd name="connsiteX59" fmla="*/ 475020 w 6781956"/>
              <a:gd name="connsiteY59" fmla="*/ 6687129 h 6858000"/>
              <a:gd name="connsiteX60" fmla="*/ 472739 w 6781956"/>
              <a:gd name="connsiteY60" fmla="*/ 6689891 h 6858000"/>
              <a:gd name="connsiteX61" fmla="*/ 471256 w 6781956"/>
              <a:gd name="connsiteY61" fmla="*/ 6686821 h 6858000"/>
              <a:gd name="connsiteX62" fmla="*/ 478495 w 6781956"/>
              <a:gd name="connsiteY62" fmla="*/ 6680445 h 6858000"/>
              <a:gd name="connsiteX63" fmla="*/ 377811 w 6781956"/>
              <a:gd name="connsiteY63" fmla="*/ 6678936 h 6858000"/>
              <a:gd name="connsiteX64" fmla="*/ 363189 w 6781956"/>
              <a:gd name="connsiteY64" fmla="*/ 6709508 h 6858000"/>
              <a:gd name="connsiteX65" fmla="*/ 344659 w 6781956"/>
              <a:gd name="connsiteY65" fmla="*/ 6745546 h 6858000"/>
              <a:gd name="connsiteX66" fmla="*/ 338481 w 6781956"/>
              <a:gd name="connsiteY66" fmla="*/ 6746709 h 6858000"/>
              <a:gd name="connsiteX67" fmla="*/ 332305 w 6781956"/>
              <a:gd name="connsiteY67" fmla="*/ 6760658 h 6858000"/>
              <a:gd name="connsiteX68" fmla="*/ 352895 w 6781956"/>
              <a:gd name="connsiteY68" fmla="*/ 6719970 h 6858000"/>
              <a:gd name="connsiteX69" fmla="*/ 373485 w 6781956"/>
              <a:gd name="connsiteY69" fmla="*/ 6679281 h 6858000"/>
              <a:gd name="connsiteX70" fmla="*/ 377811 w 6781956"/>
              <a:gd name="connsiteY70" fmla="*/ 6678936 h 6858000"/>
              <a:gd name="connsiteX71" fmla="*/ 285107 w 6781956"/>
              <a:gd name="connsiteY71" fmla="*/ 6652017 h 6858000"/>
              <a:gd name="connsiteX72" fmla="*/ 281858 w 6781956"/>
              <a:gd name="connsiteY72" fmla="*/ 6661844 h 6858000"/>
              <a:gd name="connsiteX73" fmla="*/ 276710 w 6781956"/>
              <a:gd name="connsiteY73" fmla="*/ 6671144 h 6858000"/>
              <a:gd name="connsiteX74" fmla="*/ 285107 w 6781956"/>
              <a:gd name="connsiteY74" fmla="*/ 6652017 h 6858000"/>
              <a:gd name="connsiteX75" fmla="*/ 434226 w 6781956"/>
              <a:gd name="connsiteY75" fmla="*/ 6640918 h 6858000"/>
              <a:gd name="connsiteX76" fmla="*/ 417754 w 6781956"/>
              <a:gd name="connsiteY76" fmla="*/ 6672306 h 6858000"/>
              <a:gd name="connsiteX77" fmla="*/ 383779 w 6781956"/>
              <a:gd name="connsiteY77" fmla="*/ 6728108 h 6858000"/>
              <a:gd name="connsiteX78" fmla="*/ 340540 w 6781956"/>
              <a:gd name="connsiteY78" fmla="*/ 6790885 h 6858000"/>
              <a:gd name="connsiteX79" fmla="*/ 341570 w 6781956"/>
              <a:gd name="connsiteY79" fmla="*/ 6809485 h 6858000"/>
              <a:gd name="connsiteX80" fmla="*/ 336422 w 6781956"/>
              <a:gd name="connsiteY80" fmla="*/ 6830411 h 6858000"/>
              <a:gd name="connsiteX81" fmla="*/ 325355 w 6781956"/>
              <a:gd name="connsiteY81" fmla="*/ 6842763 h 6858000"/>
              <a:gd name="connsiteX82" fmla="*/ 316670 w 6781956"/>
              <a:gd name="connsiteY82" fmla="*/ 6858000 h 6858000"/>
              <a:gd name="connsiteX83" fmla="*/ 277295 w 6781956"/>
              <a:gd name="connsiteY83" fmla="*/ 6858000 h 6858000"/>
              <a:gd name="connsiteX84" fmla="*/ 284947 w 6781956"/>
              <a:gd name="connsiteY84" fmla="*/ 6845523 h 6858000"/>
              <a:gd name="connsiteX85" fmla="*/ 319950 w 6781956"/>
              <a:gd name="connsiteY85" fmla="*/ 6808323 h 6858000"/>
              <a:gd name="connsiteX86" fmla="*/ 328186 w 6781956"/>
              <a:gd name="connsiteY86" fmla="*/ 6782747 h 6858000"/>
              <a:gd name="connsiteX87" fmla="*/ 345689 w 6781956"/>
              <a:gd name="connsiteY87" fmla="*/ 6769959 h 6858000"/>
              <a:gd name="connsiteX88" fmla="*/ 352895 w 6781956"/>
              <a:gd name="connsiteY88" fmla="*/ 6756009 h 6858000"/>
              <a:gd name="connsiteX89" fmla="*/ 361130 w 6781956"/>
              <a:gd name="connsiteY89" fmla="*/ 6750196 h 6858000"/>
              <a:gd name="connsiteX90" fmla="*/ 377602 w 6781956"/>
              <a:gd name="connsiteY90" fmla="*/ 6718807 h 6858000"/>
              <a:gd name="connsiteX91" fmla="*/ 434226 w 6781956"/>
              <a:gd name="connsiteY91" fmla="*/ 6640918 h 6858000"/>
              <a:gd name="connsiteX92" fmla="*/ 226264 w 6781956"/>
              <a:gd name="connsiteY92" fmla="*/ 6633944 h 6858000"/>
              <a:gd name="connsiteX93" fmla="*/ 225234 w 6781956"/>
              <a:gd name="connsiteY93" fmla="*/ 6645569 h 6858000"/>
              <a:gd name="connsiteX94" fmla="*/ 220088 w 6781956"/>
              <a:gd name="connsiteY94" fmla="*/ 6654869 h 6858000"/>
              <a:gd name="connsiteX95" fmla="*/ 226264 w 6781956"/>
              <a:gd name="connsiteY95" fmla="*/ 6633944 h 6858000"/>
              <a:gd name="connsiteX96" fmla="*/ 413635 w 6781956"/>
              <a:gd name="connsiteY96" fmla="*/ 6621155 h 6858000"/>
              <a:gd name="connsiteX97" fmla="*/ 412606 w 6781956"/>
              <a:gd name="connsiteY97" fmla="*/ 6632780 h 6858000"/>
              <a:gd name="connsiteX98" fmla="*/ 405399 w 6781956"/>
              <a:gd name="connsiteY98" fmla="*/ 6646731 h 6858000"/>
              <a:gd name="connsiteX99" fmla="*/ 413635 w 6781956"/>
              <a:gd name="connsiteY99" fmla="*/ 6621155 h 6858000"/>
              <a:gd name="connsiteX100" fmla="*/ 322009 w 6781956"/>
              <a:gd name="connsiteY100" fmla="*/ 6603717 h 6858000"/>
              <a:gd name="connsiteX101" fmla="*/ 307596 w 6781956"/>
              <a:gd name="connsiteY101" fmla="*/ 6643243 h 6858000"/>
              <a:gd name="connsiteX102" fmla="*/ 322009 w 6781956"/>
              <a:gd name="connsiteY102" fmla="*/ 6603717 h 6858000"/>
              <a:gd name="connsiteX103" fmla="*/ 558796 w 6781956"/>
              <a:gd name="connsiteY103" fmla="*/ 6595580 h 6858000"/>
              <a:gd name="connsiteX104" fmla="*/ 527910 w 6781956"/>
              <a:gd name="connsiteY104" fmla="*/ 6666494 h 6858000"/>
              <a:gd name="connsiteX105" fmla="*/ 541294 w 6781956"/>
              <a:gd name="connsiteY105" fmla="*/ 6639756 h 6858000"/>
              <a:gd name="connsiteX106" fmla="*/ 558796 w 6781956"/>
              <a:gd name="connsiteY106" fmla="*/ 6626968 h 6858000"/>
              <a:gd name="connsiteX107" fmla="*/ 558796 w 6781956"/>
              <a:gd name="connsiteY107" fmla="*/ 6595580 h 6858000"/>
              <a:gd name="connsiteX108" fmla="*/ 453787 w 6781956"/>
              <a:gd name="connsiteY108" fmla="*/ 6594416 h 6858000"/>
              <a:gd name="connsiteX109" fmla="*/ 443491 w 6781956"/>
              <a:gd name="connsiteY109" fmla="*/ 6624642 h 6858000"/>
              <a:gd name="connsiteX110" fmla="*/ 453787 w 6781956"/>
              <a:gd name="connsiteY110" fmla="*/ 6594416 h 6858000"/>
              <a:gd name="connsiteX111" fmla="*/ 387302 w 6781956"/>
              <a:gd name="connsiteY111" fmla="*/ 6552420 h 6858000"/>
              <a:gd name="connsiteX112" fmla="*/ 382750 w 6781956"/>
              <a:gd name="connsiteY112" fmla="*/ 6566515 h 6858000"/>
              <a:gd name="connsiteX113" fmla="*/ 373485 w 6781956"/>
              <a:gd name="connsiteY113" fmla="*/ 6585116 h 6858000"/>
              <a:gd name="connsiteX114" fmla="*/ 336422 w 6781956"/>
              <a:gd name="connsiteY114" fmla="*/ 6637431 h 6858000"/>
              <a:gd name="connsiteX115" fmla="*/ 347746 w 6781956"/>
              <a:gd name="connsiteY115" fmla="*/ 6615343 h 6858000"/>
              <a:gd name="connsiteX116" fmla="*/ 368337 w 6781956"/>
              <a:gd name="connsiteY116" fmla="*/ 6574653 h 6858000"/>
              <a:gd name="connsiteX117" fmla="*/ 387302 w 6781956"/>
              <a:gd name="connsiteY117" fmla="*/ 6552420 h 6858000"/>
              <a:gd name="connsiteX118" fmla="*/ 458934 w 6781956"/>
              <a:gd name="connsiteY118" fmla="*/ 6543265 h 6858000"/>
              <a:gd name="connsiteX119" fmla="*/ 442461 w 6781956"/>
              <a:gd name="connsiteY119" fmla="*/ 6574653 h 6858000"/>
              <a:gd name="connsiteX120" fmla="*/ 431138 w 6781956"/>
              <a:gd name="connsiteY120" fmla="*/ 6596742 h 6858000"/>
              <a:gd name="connsiteX121" fmla="*/ 424960 w 6781956"/>
              <a:gd name="connsiteY121" fmla="*/ 6597905 h 6858000"/>
              <a:gd name="connsiteX122" fmla="*/ 458934 w 6781956"/>
              <a:gd name="connsiteY122" fmla="*/ 6543265 h 6858000"/>
              <a:gd name="connsiteX123" fmla="*/ 513498 w 6781956"/>
              <a:gd name="connsiteY123" fmla="*/ 6506065 h 6858000"/>
              <a:gd name="connsiteX124" fmla="*/ 505262 w 6781956"/>
              <a:gd name="connsiteY124" fmla="*/ 6531639 h 6858000"/>
              <a:gd name="connsiteX125" fmla="*/ 506291 w 6781956"/>
              <a:gd name="connsiteY125" fmla="*/ 6538616 h 6858000"/>
              <a:gd name="connsiteX126" fmla="*/ 494967 w 6781956"/>
              <a:gd name="connsiteY126" fmla="*/ 6549078 h 6858000"/>
              <a:gd name="connsiteX127" fmla="*/ 495996 w 6781956"/>
              <a:gd name="connsiteY127" fmla="*/ 6556054 h 6858000"/>
              <a:gd name="connsiteX128" fmla="*/ 484671 w 6781956"/>
              <a:gd name="connsiteY128" fmla="*/ 6566515 h 6858000"/>
              <a:gd name="connsiteX129" fmla="*/ 467171 w 6781956"/>
              <a:gd name="connsiteY129" fmla="*/ 6596742 h 6858000"/>
              <a:gd name="connsiteX130" fmla="*/ 472317 w 6781956"/>
              <a:gd name="connsiteY130" fmla="*/ 6575818 h 6858000"/>
              <a:gd name="connsiteX131" fmla="*/ 513498 w 6781956"/>
              <a:gd name="connsiteY131" fmla="*/ 6506065 h 6858000"/>
              <a:gd name="connsiteX132" fmla="*/ 494323 w 6781956"/>
              <a:gd name="connsiteY132" fmla="*/ 6500834 h 6858000"/>
              <a:gd name="connsiteX133" fmla="*/ 489820 w 6781956"/>
              <a:gd name="connsiteY133" fmla="*/ 6514202 h 6858000"/>
              <a:gd name="connsiteX134" fmla="*/ 477465 w 6781956"/>
              <a:gd name="connsiteY134" fmla="*/ 6517690 h 6858000"/>
              <a:gd name="connsiteX135" fmla="*/ 485701 w 6781956"/>
              <a:gd name="connsiteY135" fmla="*/ 6511877 h 6858000"/>
              <a:gd name="connsiteX136" fmla="*/ 494323 w 6781956"/>
              <a:gd name="connsiteY136" fmla="*/ 6500834 h 6858000"/>
              <a:gd name="connsiteX137" fmla="*/ 466302 w 6781956"/>
              <a:gd name="connsiteY137" fmla="*/ 6485104 h 6858000"/>
              <a:gd name="connsiteX138" fmla="*/ 463053 w 6781956"/>
              <a:gd name="connsiteY138" fmla="*/ 6494440 h 6858000"/>
              <a:gd name="connsiteX139" fmla="*/ 457904 w 6781956"/>
              <a:gd name="connsiteY139" fmla="*/ 6503740 h 6858000"/>
              <a:gd name="connsiteX140" fmla="*/ 466302 w 6781956"/>
              <a:gd name="connsiteY140" fmla="*/ 6485104 h 6858000"/>
              <a:gd name="connsiteX141" fmla="*/ 333109 w 6781956"/>
              <a:gd name="connsiteY141" fmla="*/ 6483433 h 6858000"/>
              <a:gd name="connsiteX142" fmla="*/ 324068 w 6781956"/>
              <a:gd name="connsiteY142" fmla="*/ 6506065 h 6858000"/>
              <a:gd name="connsiteX143" fmla="*/ 309655 w 6781956"/>
              <a:gd name="connsiteY143" fmla="*/ 6532804 h 6858000"/>
              <a:gd name="connsiteX144" fmla="*/ 333109 w 6781956"/>
              <a:gd name="connsiteY144" fmla="*/ 6483433 h 6858000"/>
              <a:gd name="connsiteX145" fmla="*/ 398192 w 6781956"/>
              <a:gd name="connsiteY145" fmla="*/ 6467701 h 6858000"/>
              <a:gd name="connsiteX146" fmla="*/ 378632 w 6781956"/>
              <a:gd name="connsiteY146" fmla="*/ 6515365 h 6858000"/>
              <a:gd name="connsiteX147" fmla="*/ 333333 w 6781956"/>
              <a:gd name="connsiteY147" fmla="*/ 6581629 h 6858000"/>
              <a:gd name="connsiteX148" fmla="*/ 338481 w 6781956"/>
              <a:gd name="connsiteY148" fmla="*/ 6560704 h 6858000"/>
              <a:gd name="connsiteX149" fmla="*/ 351864 w 6781956"/>
              <a:gd name="connsiteY149" fmla="*/ 6545591 h 6858000"/>
              <a:gd name="connsiteX150" fmla="*/ 362159 w 6781956"/>
              <a:gd name="connsiteY150" fmla="*/ 6515365 h 6858000"/>
              <a:gd name="connsiteX151" fmla="*/ 398192 w 6781956"/>
              <a:gd name="connsiteY151" fmla="*/ 6467701 h 6858000"/>
              <a:gd name="connsiteX152" fmla="*/ 541623 w 6781956"/>
              <a:gd name="connsiteY152" fmla="*/ 6453384 h 6858000"/>
              <a:gd name="connsiteX153" fmla="*/ 546442 w 6781956"/>
              <a:gd name="connsiteY153" fmla="*/ 6456075 h 6858000"/>
              <a:gd name="connsiteX154" fmla="*/ 521734 w 6781956"/>
              <a:gd name="connsiteY154" fmla="*/ 6494440 h 6858000"/>
              <a:gd name="connsiteX155" fmla="*/ 541623 w 6781956"/>
              <a:gd name="connsiteY155" fmla="*/ 6453384 h 6858000"/>
              <a:gd name="connsiteX156" fmla="*/ 407459 w 6781956"/>
              <a:gd name="connsiteY156" fmla="*/ 6449100 h 6858000"/>
              <a:gd name="connsiteX157" fmla="*/ 408488 w 6781956"/>
              <a:gd name="connsiteY157" fmla="*/ 6467701 h 6858000"/>
              <a:gd name="connsiteX158" fmla="*/ 407459 w 6781956"/>
              <a:gd name="connsiteY158" fmla="*/ 6449100 h 6858000"/>
              <a:gd name="connsiteX159" fmla="*/ 562255 w 6781956"/>
              <a:gd name="connsiteY159" fmla="*/ 6411282 h 6858000"/>
              <a:gd name="connsiteX160" fmla="*/ 574240 w 6781956"/>
              <a:gd name="connsiteY160" fmla="*/ 6414225 h 6858000"/>
              <a:gd name="connsiteX161" fmla="*/ 557767 w 6781956"/>
              <a:gd name="connsiteY161" fmla="*/ 6445613 h 6858000"/>
              <a:gd name="connsiteX162" fmla="*/ 562255 w 6781956"/>
              <a:gd name="connsiteY162" fmla="*/ 6411282 h 6858000"/>
              <a:gd name="connsiteX163" fmla="*/ 713975 w 6781956"/>
              <a:gd name="connsiteY163" fmla="*/ 6384142 h 6858000"/>
              <a:gd name="connsiteX164" fmla="*/ 712451 w 6781956"/>
              <a:gd name="connsiteY164" fmla="*/ 6387487 h 6858000"/>
              <a:gd name="connsiteX165" fmla="*/ 704052 w 6781956"/>
              <a:gd name="connsiteY165" fmla="*/ 6403098 h 6858000"/>
              <a:gd name="connsiteX166" fmla="*/ 707046 w 6781956"/>
              <a:gd name="connsiteY166" fmla="*/ 6392137 h 6858000"/>
              <a:gd name="connsiteX167" fmla="*/ 585275 w 6781956"/>
              <a:gd name="connsiteY167" fmla="*/ 6380529 h 6858000"/>
              <a:gd name="connsiteX168" fmla="*/ 594829 w 6781956"/>
              <a:gd name="connsiteY168" fmla="*/ 6383998 h 6858000"/>
              <a:gd name="connsiteX169" fmla="*/ 585564 w 6781956"/>
              <a:gd name="connsiteY169" fmla="*/ 6402599 h 6858000"/>
              <a:gd name="connsiteX170" fmla="*/ 585275 w 6781956"/>
              <a:gd name="connsiteY170" fmla="*/ 6380529 h 6858000"/>
              <a:gd name="connsiteX171" fmla="*/ 582476 w 6781956"/>
              <a:gd name="connsiteY171" fmla="*/ 6345636 h 6858000"/>
              <a:gd name="connsiteX172" fmla="*/ 567033 w 6781956"/>
              <a:gd name="connsiteY172" fmla="*/ 6365398 h 6858000"/>
              <a:gd name="connsiteX173" fmla="*/ 582476 w 6781956"/>
              <a:gd name="connsiteY173" fmla="*/ 6345636 h 6858000"/>
              <a:gd name="connsiteX174" fmla="*/ 351864 w 6781956"/>
              <a:gd name="connsiteY174" fmla="*/ 6339822 h 6858000"/>
              <a:gd name="connsiteX175" fmla="*/ 348776 w 6781956"/>
              <a:gd name="connsiteY175" fmla="*/ 6356099 h 6858000"/>
              <a:gd name="connsiteX176" fmla="*/ 341570 w 6781956"/>
              <a:gd name="connsiteY176" fmla="*/ 6370049 h 6858000"/>
              <a:gd name="connsiteX177" fmla="*/ 351864 w 6781956"/>
              <a:gd name="connsiteY177" fmla="*/ 6339822 h 6858000"/>
              <a:gd name="connsiteX178" fmla="*/ 553970 w 6781956"/>
              <a:gd name="connsiteY178" fmla="*/ 6336807 h 6858000"/>
              <a:gd name="connsiteX179" fmla="*/ 546442 w 6781956"/>
              <a:gd name="connsiteY179" fmla="*/ 6356099 h 6858000"/>
              <a:gd name="connsiteX180" fmla="*/ 532028 w 6781956"/>
              <a:gd name="connsiteY180" fmla="*/ 6382836 h 6858000"/>
              <a:gd name="connsiteX181" fmla="*/ 527911 w 6781956"/>
              <a:gd name="connsiteY181" fmla="*/ 6380511 h 6858000"/>
              <a:gd name="connsiteX182" fmla="*/ 535118 w 6781956"/>
              <a:gd name="connsiteY182" fmla="*/ 6366562 h 6858000"/>
              <a:gd name="connsiteX183" fmla="*/ 549531 w 6781956"/>
              <a:gd name="connsiteY183" fmla="*/ 6339822 h 6858000"/>
              <a:gd name="connsiteX184" fmla="*/ 553970 w 6781956"/>
              <a:gd name="connsiteY184" fmla="*/ 6336807 h 6858000"/>
              <a:gd name="connsiteX185" fmla="*/ 419813 w 6781956"/>
              <a:gd name="connsiteY185" fmla="*/ 6332847 h 6858000"/>
              <a:gd name="connsiteX186" fmla="*/ 406429 w 6781956"/>
              <a:gd name="connsiteY186" fmla="*/ 6347960 h 6858000"/>
              <a:gd name="connsiteX187" fmla="*/ 419813 w 6781956"/>
              <a:gd name="connsiteY187" fmla="*/ 6332847 h 6858000"/>
              <a:gd name="connsiteX188" fmla="*/ 728965 w 6781956"/>
              <a:gd name="connsiteY188" fmla="*/ 6328133 h 6858000"/>
              <a:gd name="connsiteX189" fmla="*/ 722489 w 6781956"/>
              <a:gd name="connsiteY189" fmla="*/ 6339822 h 6858000"/>
              <a:gd name="connsiteX190" fmla="*/ 721005 w 6781956"/>
              <a:gd name="connsiteY190" fmla="*/ 6340101 h 6858000"/>
              <a:gd name="connsiteX191" fmla="*/ 381318 w 6781956"/>
              <a:gd name="connsiteY191" fmla="*/ 6289579 h 6858000"/>
              <a:gd name="connsiteX192" fmla="*/ 374514 w 6781956"/>
              <a:gd name="connsiteY192" fmla="*/ 6307272 h 6858000"/>
              <a:gd name="connsiteX193" fmla="*/ 365248 w 6781956"/>
              <a:gd name="connsiteY193" fmla="*/ 6325872 h 6858000"/>
              <a:gd name="connsiteX194" fmla="*/ 381318 w 6781956"/>
              <a:gd name="connsiteY194" fmla="*/ 6289579 h 6858000"/>
              <a:gd name="connsiteX195" fmla="*/ 272994 w 6781956"/>
              <a:gd name="connsiteY195" fmla="*/ 6284948 h 6858000"/>
              <a:gd name="connsiteX196" fmla="*/ 271622 w 6781956"/>
              <a:gd name="connsiteY196" fmla="*/ 6288934 h 6858000"/>
              <a:gd name="connsiteX197" fmla="*/ 270798 w 6781956"/>
              <a:gd name="connsiteY197" fmla="*/ 6286967 h 6858000"/>
              <a:gd name="connsiteX198" fmla="*/ 649394 w 6781956"/>
              <a:gd name="connsiteY198" fmla="*/ 6268909 h 6858000"/>
              <a:gd name="connsiteX199" fmla="*/ 641158 w 6781956"/>
              <a:gd name="connsiteY199" fmla="*/ 6294484 h 6858000"/>
              <a:gd name="connsiteX200" fmla="*/ 620568 w 6781956"/>
              <a:gd name="connsiteY200" fmla="*/ 6335173 h 6858000"/>
              <a:gd name="connsiteX201" fmla="*/ 630863 w 6781956"/>
              <a:gd name="connsiteY201" fmla="*/ 6304946 h 6858000"/>
              <a:gd name="connsiteX202" fmla="*/ 649394 w 6781956"/>
              <a:gd name="connsiteY202" fmla="*/ 6268909 h 6858000"/>
              <a:gd name="connsiteX203" fmla="*/ 617479 w 6781956"/>
              <a:gd name="connsiteY203" fmla="*/ 6258445 h 6858000"/>
              <a:gd name="connsiteX204" fmla="*/ 599977 w 6781956"/>
              <a:gd name="connsiteY204" fmla="*/ 6301459 h 6858000"/>
              <a:gd name="connsiteX205" fmla="*/ 617479 w 6781956"/>
              <a:gd name="connsiteY205" fmla="*/ 6258445 h 6858000"/>
              <a:gd name="connsiteX206" fmla="*/ 291539 w 6781956"/>
              <a:gd name="connsiteY206" fmla="*/ 6249451 h 6858000"/>
              <a:gd name="connsiteX207" fmla="*/ 291639 w 6781956"/>
              <a:gd name="connsiteY207" fmla="*/ 6251470 h 6858000"/>
              <a:gd name="connsiteX208" fmla="*/ 285977 w 6781956"/>
              <a:gd name="connsiteY208" fmla="*/ 6261934 h 6858000"/>
              <a:gd name="connsiteX209" fmla="*/ 284303 w 6781956"/>
              <a:gd name="connsiteY209" fmla="*/ 6251470 h 6858000"/>
              <a:gd name="connsiteX210" fmla="*/ 284416 w 6781956"/>
              <a:gd name="connsiteY210" fmla="*/ 6251298 h 6858000"/>
              <a:gd name="connsiteX211" fmla="*/ 290093 w 6781956"/>
              <a:gd name="connsiteY211" fmla="*/ 6252634 h 6858000"/>
              <a:gd name="connsiteX212" fmla="*/ 5879913 w 6781956"/>
              <a:gd name="connsiteY212" fmla="*/ 6208744 h 6858000"/>
              <a:gd name="connsiteX213" fmla="*/ 5879913 w 6781956"/>
              <a:gd name="connsiteY213" fmla="*/ 6233575 h 6858000"/>
              <a:gd name="connsiteX214" fmla="*/ 5904744 w 6781956"/>
              <a:gd name="connsiteY214" fmla="*/ 6233575 h 6858000"/>
              <a:gd name="connsiteX215" fmla="*/ 5904744 w 6781956"/>
              <a:gd name="connsiteY215" fmla="*/ 6208744 h 6858000"/>
              <a:gd name="connsiteX216" fmla="*/ 595859 w 6781956"/>
              <a:gd name="connsiteY216" fmla="*/ 6200319 h 6858000"/>
              <a:gd name="connsiteX217" fmla="*/ 590710 w 6781956"/>
              <a:gd name="connsiteY217" fmla="*/ 6221246 h 6858000"/>
              <a:gd name="connsiteX218" fmla="*/ 585564 w 6781956"/>
              <a:gd name="connsiteY218" fmla="*/ 6242170 h 6858000"/>
              <a:gd name="connsiteX219" fmla="*/ 580416 w 6781956"/>
              <a:gd name="connsiteY219" fmla="*/ 6251470 h 6858000"/>
              <a:gd name="connsiteX220" fmla="*/ 569092 w 6781956"/>
              <a:gd name="connsiteY220" fmla="*/ 6261934 h 6858000"/>
              <a:gd name="connsiteX221" fmla="*/ 560857 w 6781956"/>
              <a:gd name="connsiteY221" fmla="*/ 6287509 h 6858000"/>
              <a:gd name="connsiteX222" fmla="*/ 549531 w 6781956"/>
              <a:gd name="connsiteY222" fmla="*/ 6297971 h 6858000"/>
              <a:gd name="connsiteX223" fmla="*/ 539236 w 6781956"/>
              <a:gd name="connsiteY223" fmla="*/ 6328198 h 6858000"/>
              <a:gd name="connsiteX224" fmla="*/ 521734 w 6781956"/>
              <a:gd name="connsiteY224" fmla="*/ 6352610 h 6858000"/>
              <a:gd name="connsiteX225" fmla="*/ 471288 w 6781956"/>
              <a:gd name="connsiteY225" fmla="*/ 6439801 h 6858000"/>
              <a:gd name="connsiteX226" fmla="*/ 455845 w 6781956"/>
              <a:gd name="connsiteY226" fmla="*/ 6459563 h 6858000"/>
              <a:gd name="connsiteX227" fmla="*/ 454815 w 6781956"/>
              <a:gd name="connsiteY227" fmla="*/ 6471189 h 6858000"/>
              <a:gd name="connsiteX228" fmla="*/ 448639 w 6781956"/>
              <a:gd name="connsiteY228" fmla="*/ 6472352 h 6858000"/>
              <a:gd name="connsiteX229" fmla="*/ 414665 w 6781956"/>
              <a:gd name="connsiteY229" fmla="*/ 6521178 h 6858000"/>
              <a:gd name="connsiteX230" fmla="*/ 449669 w 6781956"/>
              <a:gd name="connsiteY230" fmla="*/ 6453751 h 6858000"/>
              <a:gd name="connsiteX231" fmla="*/ 458934 w 6781956"/>
              <a:gd name="connsiteY231" fmla="*/ 6435151 h 6858000"/>
              <a:gd name="connsiteX232" fmla="*/ 467171 w 6781956"/>
              <a:gd name="connsiteY232" fmla="*/ 6429338 h 6858000"/>
              <a:gd name="connsiteX233" fmla="*/ 483643 w 6781956"/>
              <a:gd name="connsiteY233" fmla="*/ 6397949 h 6858000"/>
              <a:gd name="connsiteX234" fmla="*/ 526882 w 6781956"/>
              <a:gd name="connsiteY234" fmla="*/ 6323548 h 6858000"/>
              <a:gd name="connsiteX235" fmla="*/ 595859 w 6781956"/>
              <a:gd name="connsiteY235" fmla="*/ 6200319 h 6858000"/>
              <a:gd name="connsiteX236" fmla="*/ 5731671 w 6781956"/>
              <a:gd name="connsiteY236" fmla="*/ 6188508 h 6858000"/>
              <a:gd name="connsiteX237" fmla="*/ 5731671 w 6781956"/>
              <a:gd name="connsiteY237" fmla="*/ 6193457 h 6858000"/>
              <a:gd name="connsiteX238" fmla="*/ 5730699 w 6781956"/>
              <a:gd name="connsiteY238" fmla="*/ 6205563 h 6858000"/>
              <a:gd name="connsiteX239" fmla="*/ 5724778 w 6781956"/>
              <a:gd name="connsiteY239" fmla="*/ 6213781 h 6858000"/>
              <a:gd name="connsiteX240" fmla="*/ 5711965 w 6781956"/>
              <a:gd name="connsiteY240" fmla="*/ 6218199 h 6858000"/>
              <a:gd name="connsiteX241" fmla="*/ 5702068 w 6781956"/>
              <a:gd name="connsiteY241" fmla="*/ 6214400 h 6858000"/>
              <a:gd name="connsiteX242" fmla="*/ 5698180 w 6781956"/>
              <a:gd name="connsiteY242" fmla="*/ 6205386 h 6858000"/>
              <a:gd name="connsiteX243" fmla="*/ 5703040 w 6781956"/>
              <a:gd name="connsiteY243" fmla="*/ 6196638 h 6858000"/>
              <a:gd name="connsiteX244" fmla="*/ 5716560 w 6781956"/>
              <a:gd name="connsiteY244" fmla="*/ 6192308 h 6858000"/>
              <a:gd name="connsiteX245" fmla="*/ 5731671 w 6781956"/>
              <a:gd name="connsiteY245" fmla="*/ 6188508 h 6858000"/>
              <a:gd name="connsiteX246" fmla="*/ 5131596 w 6781956"/>
              <a:gd name="connsiteY246" fmla="*/ 6188508 h 6858000"/>
              <a:gd name="connsiteX247" fmla="*/ 5131596 w 6781956"/>
              <a:gd name="connsiteY247" fmla="*/ 6193457 h 6858000"/>
              <a:gd name="connsiteX248" fmla="*/ 5130624 w 6781956"/>
              <a:gd name="connsiteY248" fmla="*/ 6205563 h 6858000"/>
              <a:gd name="connsiteX249" fmla="*/ 5124703 w 6781956"/>
              <a:gd name="connsiteY249" fmla="*/ 6213781 h 6858000"/>
              <a:gd name="connsiteX250" fmla="*/ 5111890 w 6781956"/>
              <a:gd name="connsiteY250" fmla="*/ 6218199 h 6858000"/>
              <a:gd name="connsiteX251" fmla="*/ 5101993 w 6781956"/>
              <a:gd name="connsiteY251" fmla="*/ 6214400 h 6858000"/>
              <a:gd name="connsiteX252" fmla="*/ 5098105 w 6781956"/>
              <a:gd name="connsiteY252" fmla="*/ 6205386 h 6858000"/>
              <a:gd name="connsiteX253" fmla="*/ 5102965 w 6781956"/>
              <a:gd name="connsiteY253" fmla="*/ 6196638 h 6858000"/>
              <a:gd name="connsiteX254" fmla="*/ 5116485 w 6781956"/>
              <a:gd name="connsiteY254" fmla="*/ 6192308 h 6858000"/>
              <a:gd name="connsiteX255" fmla="*/ 5131596 w 6781956"/>
              <a:gd name="connsiteY255" fmla="*/ 6188508 h 6858000"/>
              <a:gd name="connsiteX256" fmla="*/ 382782 w 6781956"/>
              <a:gd name="connsiteY256" fmla="*/ 6181864 h 6858000"/>
              <a:gd name="connsiteX257" fmla="*/ 388928 w 6781956"/>
              <a:gd name="connsiteY257" fmla="*/ 6186370 h 6858000"/>
              <a:gd name="connsiteX258" fmla="*/ 375545 w 6781956"/>
              <a:gd name="connsiteY258" fmla="*/ 6201482 h 6858000"/>
              <a:gd name="connsiteX259" fmla="*/ 382782 w 6781956"/>
              <a:gd name="connsiteY259" fmla="*/ 6181864 h 6858000"/>
              <a:gd name="connsiteX260" fmla="*/ 358170 w 6781956"/>
              <a:gd name="connsiteY260" fmla="*/ 6172128 h 6858000"/>
              <a:gd name="connsiteX261" fmla="*/ 358042 w 6781956"/>
              <a:gd name="connsiteY261" fmla="*/ 6182881 h 6858000"/>
              <a:gd name="connsiteX262" fmla="*/ 340540 w 6781956"/>
              <a:gd name="connsiteY262" fmla="*/ 6207294 h 6858000"/>
              <a:gd name="connsiteX263" fmla="*/ 330246 w 6781956"/>
              <a:gd name="connsiteY263" fmla="*/ 6237521 h 6858000"/>
              <a:gd name="connsiteX264" fmla="*/ 295241 w 6781956"/>
              <a:gd name="connsiteY264" fmla="*/ 6293322 h 6858000"/>
              <a:gd name="connsiteX265" fmla="*/ 305536 w 6781956"/>
              <a:gd name="connsiteY265" fmla="*/ 6263096 h 6858000"/>
              <a:gd name="connsiteX266" fmla="*/ 349805 w 6781956"/>
              <a:gd name="connsiteY266" fmla="*/ 6177069 h 6858000"/>
              <a:gd name="connsiteX267" fmla="*/ 358170 w 6781956"/>
              <a:gd name="connsiteY267" fmla="*/ 6172128 h 6858000"/>
              <a:gd name="connsiteX268" fmla="*/ 711165 w 6781956"/>
              <a:gd name="connsiteY268" fmla="*/ 6158468 h 6858000"/>
              <a:gd name="connsiteX269" fmla="*/ 706017 w 6781956"/>
              <a:gd name="connsiteY269" fmla="*/ 6179393 h 6858000"/>
              <a:gd name="connsiteX270" fmla="*/ 693663 w 6781956"/>
              <a:gd name="connsiteY270" fmla="*/ 6214269 h 6858000"/>
              <a:gd name="connsiteX271" fmla="*/ 700869 w 6781956"/>
              <a:gd name="connsiteY271" fmla="*/ 6220082 h 6858000"/>
              <a:gd name="connsiteX272" fmla="*/ 691603 w 6781956"/>
              <a:gd name="connsiteY272" fmla="*/ 6237521 h 6858000"/>
              <a:gd name="connsiteX273" fmla="*/ 711165 w 6781956"/>
              <a:gd name="connsiteY273" fmla="*/ 6158468 h 6858000"/>
              <a:gd name="connsiteX274" fmla="*/ 6065469 w 6781956"/>
              <a:gd name="connsiteY274" fmla="*/ 6157845 h 6858000"/>
              <a:gd name="connsiteX275" fmla="*/ 6081773 w 6781956"/>
              <a:gd name="connsiteY275" fmla="*/ 6165268 h 6858000"/>
              <a:gd name="connsiteX276" fmla="*/ 6088356 w 6781956"/>
              <a:gd name="connsiteY276" fmla="*/ 6186476 h 6858000"/>
              <a:gd name="connsiteX277" fmla="*/ 6081773 w 6781956"/>
              <a:gd name="connsiteY277" fmla="*/ 6208037 h 6858000"/>
              <a:gd name="connsiteX278" fmla="*/ 6065469 w 6781956"/>
              <a:gd name="connsiteY278" fmla="*/ 6215460 h 6858000"/>
              <a:gd name="connsiteX279" fmla="*/ 6049121 w 6781956"/>
              <a:gd name="connsiteY279" fmla="*/ 6208037 h 6858000"/>
              <a:gd name="connsiteX280" fmla="*/ 6042494 w 6781956"/>
              <a:gd name="connsiteY280" fmla="*/ 6186653 h 6858000"/>
              <a:gd name="connsiteX281" fmla="*/ 6049121 w 6781956"/>
              <a:gd name="connsiteY281" fmla="*/ 6165268 h 6858000"/>
              <a:gd name="connsiteX282" fmla="*/ 6065469 w 6781956"/>
              <a:gd name="connsiteY282" fmla="*/ 6157845 h 6858000"/>
              <a:gd name="connsiteX283" fmla="*/ 822351 w 6781956"/>
              <a:gd name="connsiteY283" fmla="*/ 6157305 h 6858000"/>
              <a:gd name="connsiteX284" fmla="*/ 788378 w 6781956"/>
              <a:gd name="connsiteY284" fmla="*/ 6232870 h 6858000"/>
              <a:gd name="connsiteX285" fmla="*/ 754404 w 6781956"/>
              <a:gd name="connsiteY285" fmla="*/ 6288672 h 6858000"/>
              <a:gd name="connsiteX286" fmla="*/ 739991 w 6781956"/>
              <a:gd name="connsiteY286" fmla="*/ 6327035 h 6858000"/>
              <a:gd name="connsiteX287" fmla="*/ 725762 w 6781956"/>
              <a:gd name="connsiteY287" fmla="*/ 6358267 h 6858000"/>
              <a:gd name="connsiteX288" fmla="*/ 724484 w 6781956"/>
              <a:gd name="connsiteY288" fmla="*/ 6354990 h 6858000"/>
              <a:gd name="connsiteX289" fmla="*/ 729695 w 6781956"/>
              <a:gd name="connsiteY289" fmla="*/ 6327035 h 6858000"/>
              <a:gd name="connsiteX290" fmla="*/ 728965 w 6781956"/>
              <a:gd name="connsiteY290" fmla="*/ 6328133 h 6858000"/>
              <a:gd name="connsiteX291" fmla="*/ 732623 w 6781956"/>
              <a:gd name="connsiteY291" fmla="*/ 6321531 h 6858000"/>
              <a:gd name="connsiteX292" fmla="*/ 759551 w 6781956"/>
              <a:gd name="connsiteY292" fmla="*/ 6267746 h 6858000"/>
              <a:gd name="connsiteX293" fmla="*/ 758521 w 6781956"/>
              <a:gd name="connsiteY293" fmla="*/ 6260771 h 6858000"/>
              <a:gd name="connsiteX294" fmla="*/ 772935 w 6781956"/>
              <a:gd name="connsiteY294" fmla="*/ 6234033 h 6858000"/>
              <a:gd name="connsiteX295" fmla="*/ 797644 w 6781956"/>
              <a:gd name="connsiteY295" fmla="*/ 6195670 h 6858000"/>
              <a:gd name="connsiteX296" fmla="*/ 822351 w 6781956"/>
              <a:gd name="connsiteY296" fmla="*/ 6157305 h 6858000"/>
              <a:gd name="connsiteX297" fmla="*/ 5615496 w 6781956"/>
              <a:gd name="connsiteY297" fmla="*/ 6156608 h 6858000"/>
              <a:gd name="connsiteX298" fmla="*/ 5630696 w 6781956"/>
              <a:gd name="connsiteY298" fmla="*/ 6163677 h 6858000"/>
              <a:gd name="connsiteX299" fmla="*/ 5636704 w 6781956"/>
              <a:gd name="connsiteY299" fmla="*/ 6185327 h 6858000"/>
              <a:gd name="connsiteX300" fmla="*/ 5630430 w 6781956"/>
              <a:gd name="connsiteY300" fmla="*/ 6206402 h 6858000"/>
              <a:gd name="connsiteX301" fmla="*/ 5615055 w 6781956"/>
              <a:gd name="connsiteY301" fmla="*/ 6213516 h 6858000"/>
              <a:gd name="connsiteX302" fmla="*/ 5600783 w 6781956"/>
              <a:gd name="connsiteY302" fmla="*/ 6206579 h 6858000"/>
              <a:gd name="connsiteX303" fmla="*/ 5594995 w 6781956"/>
              <a:gd name="connsiteY303" fmla="*/ 6184708 h 6858000"/>
              <a:gd name="connsiteX304" fmla="*/ 5600783 w 6781956"/>
              <a:gd name="connsiteY304" fmla="*/ 6163545 h 6858000"/>
              <a:gd name="connsiteX305" fmla="*/ 5615496 w 6781956"/>
              <a:gd name="connsiteY305" fmla="*/ 6156608 h 6858000"/>
              <a:gd name="connsiteX306" fmla="*/ 5336179 w 6781956"/>
              <a:gd name="connsiteY306" fmla="*/ 6156608 h 6858000"/>
              <a:gd name="connsiteX307" fmla="*/ 5349080 w 6781956"/>
              <a:gd name="connsiteY307" fmla="*/ 6162219 h 6858000"/>
              <a:gd name="connsiteX308" fmla="*/ 5354647 w 6781956"/>
              <a:gd name="connsiteY308" fmla="*/ 6178611 h 6858000"/>
              <a:gd name="connsiteX309" fmla="*/ 5317533 w 6781956"/>
              <a:gd name="connsiteY309" fmla="*/ 6178611 h 6858000"/>
              <a:gd name="connsiteX310" fmla="*/ 5322747 w 6781956"/>
              <a:gd name="connsiteY310" fmla="*/ 6162528 h 6858000"/>
              <a:gd name="connsiteX311" fmla="*/ 5336179 w 6781956"/>
              <a:gd name="connsiteY311" fmla="*/ 6156608 h 6858000"/>
              <a:gd name="connsiteX312" fmla="*/ 5225148 w 6781956"/>
              <a:gd name="connsiteY312" fmla="*/ 6156608 h 6858000"/>
              <a:gd name="connsiteX313" fmla="*/ 5240082 w 6781956"/>
              <a:gd name="connsiteY313" fmla="*/ 6163721 h 6858000"/>
              <a:gd name="connsiteX314" fmla="*/ 5245914 w 6781956"/>
              <a:gd name="connsiteY314" fmla="*/ 6187006 h 6858000"/>
              <a:gd name="connsiteX315" fmla="*/ 5239906 w 6781956"/>
              <a:gd name="connsiteY315" fmla="*/ 6208788 h 6858000"/>
              <a:gd name="connsiteX316" fmla="*/ 5225325 w 6781956"/>
              <a:gd name="connsiteY316" fmla="*/ 6216079 h 6858000"/>
              <a:gd name="connsiteX317" fmla="*/ 5208535 w 6781956"/>
              <a:gd name="connsiteY317" fmla="*/ 6206358 h 6858000"/>
              <a:gd name="connsiteX318" fmla="*/ 5204382 w 6781956"/>
              <a:gd name="connsiteY318" fmla="*/ 6184620 h 6858000"/>
              <a:gd name="connsiteX319" fmla="*/ 5210347 w 6781956"/>
              <a:gd name="connsiteY319" fmla="*/ 6163633 h 6858000"/>
              <a:gd name="connsiteX320" fmla="*/ 5225148 w 6781956"/>
              <a:gd name="connsiteY320" fmla="*/ 6156608 h 6858000"/>
              <a:gd name="connsiteX321" fmla="*/ 535118 w 6781956"/>
              <a:gd name="connsiteY321" fmla="*/ 6149168 h 6858000"/>
              <a:gd name="connsiteX322" fmla="*/ 520704 w 6781956"/>
              <a:gd name="connsiteY322" fmla="*/ 6188693 h 6858000"/>
              <a:gd name="connsiteX323" fmla="*/ 535118 w 6781956"/>
              <a:gd name="connsiteY323" fmla="*/ 6149168 h 6858000"/>
              <a:gd name="connsiteX324" fmla="*/ 6187369 w 6781956"/>
              <a:gd name="connsiteY324" fmla="*/ 6137609 h 6858000"/>
              <a:gd name="connsiteX325" fmla="*/ 6158119 w 6781956"/>
              <a:gd name="connsiteY325" fmla="*/ 6152543 h 6858000"/>
              <a:gd name="connsiteX326" fmla="*/ 6158119 w 6781956"/>
              <a:gd name="connsiteY326" fmla="*/ 6139730 h 6858000"/>
              <a:gd name="connsiteX327" fmla="*/ 6135232 w 6781956"/>
              <a:gd name="connsiteY327" fmla="*/ 6139730 h 6858000"/>
              <a:gd name="connsiteX328" fmla="*/ 6135232 w 6781956"/>
              <a:gd name="connsiteY328" fmla="*/ 6233575 h 6858000"/>
              <a:gd name="connsiteX329" fmla="*/ 6160063 w 6781956"/>
              <a:gd name="connsiteY329" fmla="*/ 6233575 h 6858000"/>
              <a:gd name="connsiteX330" fmla="*/ 6160063 w 6781956"/>
              <a:gd name="connsiteY330" fmla="*/ 6187978 h 6858000"/>
              <a:gd name="connsiteX331" fmla="*/ 6162052 w 6781956"/>
              <a:gd name="connsiteY331" fmla="*/ 6168626 h 6858000"/>
              <a:gd name="connsiteX332" fmla="*/ 6168635 w 6781956"/>
              <a:gd name="connsiteY332" fmla="*/ 6159701 h 6858000"/>
              <a:gd name="connsiteX333" fmla="*/ 6178974 w 6781956"/>
              <a:gd name="connsiteY333" fmla="*/ 6156608 h 6858000"/>
              <a:gd name="connsiteX334" fmla="*/ 6186529 w 6781956"/>
              <a:gd name="connsiteY334" fmla="*/ 6158552 h 6858000"/>
              <a:gd name="connsiteX335" fmla="*/ 6190638 w 6781956"/>
              <a:gd name="connsiteY335" fmla="*/ 6164472 h 6858000"/>
              <a:gd name="connsiteX336" fmla="*/ 6191964 w 6781956"/>
              <a:gd name="connsiteY336" fmla="*/ 6182146 h 6858000"/>
              <a:gd name="connsiteX337" fmla="*/ 6191964 w 6781956"/>
              <a:gd name="connsiteY337" fmla="*/ 6233575 h 6858000"/>
              <a:gd name="connsiteX338" fmla="*/ 6216795 w 6781956"/>
              <a:gd name="connsiteY338" fmla="*/ 6233575 h 6858000"/>
              <a:gd name="connsiteX339" fmla="*/ 6216795 w 6781956"/>
              <a:gd name="connsiteY339" fmla="*/ 6188508 h 6858000"/>
              <a:gd name="connsiteX340" fmla="*/ 6218827 w 6781956"/>
              <a:gd name="connsiteY340" fmla="*/ 6169112 h 6858000"/>
              <a:gd name="connsiteX341" fmla="*/ 6225455 w 6781956"/>
              <a:gd name="connsiteY341" fmla="*/ 6159789 h 6858000"/>
              <a:gd name="connsiteX342" fmla="*/ 6235263 w 6781956"/>
              <a:gd name="connsiteY342" fmla="*/ 6156608 h 6858000"/>
              <a:gd name="connsiteX343" fmla="*/ 6245867 w 6781956"/>
              <a:gd name="connsiteY343" fmla="*/ 6161910 h 6858000"/>
              <a:gd name="connsiteX344" fmla="*/ 6248430 w 6781956"/>
              <a:gd name="connsiteY344" fmla="*/ 6179937 h 6858000"/>
              <a:gd name="connsiteX345" fmla="*/ 6248430 w 6781956"/>
              <a:gd name="connsiteY345" fmla="*/ 6233575 h 6858000"/>
              <a:gd name="connsiteX346" fmla="*/ 6273261 w 6781956"/>
              <a:gd name="connsiteY346" fmla="*/ 6233575 h 6858000"/>
              <a:gd name="connsiteX347" fmla="*/ 6273261 w 6781956"/>
              <a:gd name="connsiteY347" fmla="*/ 6173574 h 6858000"/>
              <a:gd name="connsiteX348" fmla="*/ 6270698 w 6781956"/>
              <a:gd name="connsiteY348" fmla="*/ 6154134 h 6858000"/>
              <a:gd name="connsiteX349" fmla="*/ 6260006 w 6781956"/>
              <a:gd name="connsiteY349" fmla="*/ 6141806 h 6858000"/>
              <a:gd name="connsiteX350" fmla="*/ 6242509 w 6781956"/>
              <a:gd name="connsiteY350" fmla="*/ 6137609 h 6858000"/>
              <a:gd name="connsiteX351" fmla="*/ 6227222 w 6781956"/>
              <a:gd name="connsiteY351" fmla="*/ 6141320 h 6858000"/>
              <a:gd name="connsiteX352" fmla="*/ 6213879 w 6781956"/>
              <a:gd name="connsiteY352" fmla="*/ 6152543 h 6858000"/>
              <a:gd name="connsiteX353" fmla="*/ 6203010 w 6781956"/>
              <a:gd name="connsiteY353" fmla="*/ 6141320 h 6858000"/>
              <a:gd name="connsiteX354" fmla="*/ 6187369 w 6781956"/>
              <a:gd name="connsiteY354" fmla="*/ 6137609 h 6858000"/>
              <a:gd name="connsiteX355" fmla="*/ 6065381 w 6781956"/>
              <a:gd name="connsiteY355" fmla="*/ 6137609 h 6858000"/>
              <a:gd name="connsiteX356" fmla="*/ 6040417 w 6781956"/>
              <a:gd name="connsiteY356" fmla="*/ 6143706 h 6858000"/>
              <a:gd name="connsiteX357" fmla="*/ 6023141 w 6781956"/>
              <a:gd name="connsiteY357" fmla="*/ 6161380 h 6858000"/>
              <a:gd name="connsiteX358" fmla="*/ 6017044 w 6781956"/>
              <a:gd name="connsiteY358" fmla="*/ 6185327 h 6858000"/>
              <a:gd name="connsiteX359" fmla="*/ 6023141 w 6781956"/>
              <a:gd name="connsiteY359" fmla="*/ 6212765 h 6858000"/>
              <a:gd name="connsiteX360" fmla="*/ 6040947 w 6781956"/>
              <a:gd name="connsiteY360" fmla="*/ 6229864 h 6858000"/>
              <a:gd name="connsiteX361" fmla="*/ 6065558 w 6781956"/>
              <a:gd name="connsiteY361" fmla="*/ 6235696 h 6858000"/>
              <a:gd name="connsiteX362" fmla="*/ 6100153 w 6781956"/>
              <a:gd name="connsiteY362" fmla="*/ 6221690 h 6858000"/>
              <a:gd name="connsiteX363" fmla="*/ 6113894 w 6781956"/>
              <a:gd name="connsiteY363" fmla="*/ 6186387 h 6858000"/>
              <a:gd name="connsiteX364" fmla="*/ 6100286 w 6781956"/>
              <a:gd name="connsiteY364" fmla="*/ 6151438 h 6858000"/>
              <a:gd name="connsiteX365" fmla="*/ 6065381 w 6781956"/>
              <a:gd name="connsiteY365" fmla="*/ 6137609 h 6858000"/>
              <a:gd name="connsiteX366" fmla="*/ 5967568 w 6781956"/>
              <a:gd name="connsiteY366" fmla="*/ 6137609 h 6858000"/>
              <a:gd name="connsiteX367" fmla="*/ 5934342 w 6781956"/>
              <a:gd name="connsiteY367" fmla="*/ 6150555 h 6858000"/>
              <a:gd name="connsiteX368" fmla="*/ 5922059 w 6781956"/>
              <a:gd name="connsiteY368" fmla="*/ 6186741 h 6858000"/>
              <a:gd name="connsiteX369" fmla="*/ 5934298 w 6781956"/>
              <a:gd name="connsiteY369" fmla="*/ 6222706 h 6858000"/>
              <a:gd name="connsiteX370" fmla="*/ 5967126 w 6781956"/>
              <a:gd name="connsiteY370" fmla="*/ 6235696 h 6858000"/>
              <a:gd name="connsiteX371" fmla="*/ 5996022 w 6781956"/>
              <a:gd name="connsiteY371" fmla="*/ 6227124 h 6858000"/>
              <a:gd name="connsiteX372" fmla="*/ 6010603 w 6781956"/>
              <a:gd name="connsiteY372" fmla="*/ 6201763 h 6858000"/>
              <a:gd name="connsiteX373" fmla="*/ 5986214 w 6781956"/>
              <a:gd name="connsiteY373" fmla="*/ 6197610 h 6858000"/>
              <a:gd name="connsiteX374" fmla="*/ 5979851 w 6781956"/>
              <a:gd name="connsiteY374" fmla="*/ 6211439 h 6858000"/>
              <a:gd name="connsiteX375" fmla="*/ 5968275 w 6781956"/>
              <a:gd name="connsiteY375" fmla="*/ 6215460 h 6858000"/>
              <a:gd name="connsiteX376" fmla="*/ 5953208 w 6781956"/>
              <a:gd name="connsiteY376" fmla="*/ 6208567 h 6858000"/>
              <a:gd name="connsiteX377" fmla="*/ 5947597 w 6781956"/>
              <a:gd name="connsiteY377" fmla="*/ 6184974 h 6858000"/>
              <a:gd name="connsiteX378" fmla="*/ 5953120 w 6781956"/>
              <a:gd name="connsiteY378" fmla="*/ 6163545 h 6858000"/>
              <a:gd name="connsiteX379" fmla="*/ 5967922 w 6781956"/>
              <a:gd name="connsiteY379" fmla="*/ 6157138 h 6858000"/>
              <a:gd name="connsiteX380" fmla="*/ 5979277 w 6781956"/>
              <a:gd name="connsiteY380" fmla="*/ 6160849 h 6858000"/>
              <a:gd name="connsiteX381" fmla="*/ 5984888 w 6781956"/>
              <a:gd name="connsiteY381" fmla="*/ 6171895 h 6858000"/>
              <a:gd name="connsiteX382" fmla="*/ 6009366 w 6781956"/>
              <a:gd name="connsiteY382" fmla="*/ 6167477 h 6858000"/>
              <a:gd name="connsiteX383" fmla="*/ 5994829 w 6781956"/>
              <a:gd name="connsiteY383" fmla="*/ 6144988 h 6858000"/>
              <a:gd name="connsiteX384" fmla="*/ 5967568 w 6781956"/>
              <a:gd name="connsiteY384" fmla="*/ 6137609 h 6858000"/>
              <a:gd name="connsiteX385" fmla="*/ 5809336 w 6781956"/>
              <a:gd name="connsiteY385" fmla="*/ 6137609 h 6858000"/>
              <a:gd name="connsiteX386" fmla="*/ 5779468 w 6781956"/>
              <a:gd name="connsiteY386" fmla="*/ 6145915 h 6858000"/>
              <a:gd name="connsiteX387" fmla="*/ 5769836 w 6781956"/>
              <a:gd name="connsiteY387" fmla="*/ 6166417 h 6858000"/>
              <a:gd name="connsiteX388" fmla="*/ 5780970 w 6781956"/>
              <a:gd name="connsiteY388" fmla="*/ 6187536 h 6858000"/>
              <a:gd name="connsiteX389" fmla="*/ 5819056 w 6781956"/>
              <a:gd name="connsiteY389" fmla="*/ 6199642 h 6858000"/>
              <a:gd name="connsiteX390" fmla="*/ 5827363 w 6781956"/>
              <a:gd name="connsiteY390" fmla="*/ 6202912 h 6858000"/>
              <a:gd name="connsiteX391" fmla="*/ 5829130 w 6781956"/>
              <a:gd name="connsiteY391" fmla="*/ 6207595 h 6858000"/>
              <a:gd name="connsiteX392" fmla="*/ 5825860 w 6781956"/>
              <a:gd name="connsiteY392" fmla="*/ 6214223 h 6858000"/>
              <a:gd name="connsiteX393" fmla="*/ 5811368 w 6781956"/>
              <a:gd name="connsiteY393" fmla="*/ 6217758 h 6858000"/>
              <a:gd name="connsiteX394" fmla="*/ 5797760 w 6781956"/>
              <a:gd name="connsiteY394" fmla="*/ 6214002 h 6858000"/>
              <a:gd name="connsiteX395" fmla="*/ 5791309 w 6781956"/>
              <a:gd name="connsiteY395" fmla="*/ 6203000 h 6858000"/>
              <a:gd name="connsiteX396" fmla="*/ 5766390 w 6781956"/>
              <a:gd name="connsiteY396" fmla="*/ 6206800 h 6858000"/>
              <a:gd name="connsiteX397" fmla="*/ 5781014 w 6781956"/>
              <a:gd name="connsiteY397" fmla="*/ 6227920 h 6858000"/>
              <a:gd name="connsiteX398" fmla="*/ 5811368 w 6781956"/>
              <a:gd name="connsiteY398" fmla="*/ 6235696 h 6858000"/>
              <a:gd name="connsiteX399" fmla="*/ 5843269 w 6781956"/>
              <a:gd name="connsiteY399" fmla="*/ 6226418 h 6858000"/>
              <a:gd name="connsiteX400" fmla="*/ 5854049 w 6781956"/>
              <a:gd name="connsiteY400" fmla="*/ 6204237 h 6858000"/>
              <a:gd name="connsiteX401" fmla="*/ 5846273 w 6781956"/>
              <a:gd name="connsiteY401" fmla="*/ 6185769 h 6858000"/>
              <a:gd name="connsiteX402" fmla="*/ 5818570 w 6781956"/>
              <a:gd name="connsiteY402" fmla="*/ 6174723 h 6858000"/>
              <a:gd name="connsiteX403" fmla="*/ 5795374 w 6781956"/>
              <a:gd name="connsiteY403" fmla="*/ 6167742 h 6858000"/>
              <a:gd name="connsiteX404" fmla="*/ 5792900 w 6781956"/>
              <a:gd name="connsiteY404" fmla="*/ 6163235 h 6858000"/>
              <a:gd name="connsiteX405" fmla="*/ 5795727 w 6781956"/>
              <a:gd name="connsiteY405" fmla="*/ 6158198 h 6858000"/>
              <a:gd name="connsiteX406" fmla="*/ 5809778 w 6781956"/>
              <a:gd name="connsiteY406" fmla="*/ 6155459 h 6858000"/>
              <a:gd name="connsiteX407" fmla="*/ 5821751 w 6781956"/>
              <a:gd name="connsiteY407" fmla="*/ 6158375 h 6858000"/>
              <a:gd name="connsiteX408" fmla="*/ 5827451 w 6781956"/>
              <a:gd name="connsiteY408" fmla="*/ 6166770 h 6858000"/>
              <a:gd name="connsiteX409" fmla="*/ 5850868 w 6781956"/>
              <a:gd name="connsiteY409" fmla="*/ 6162440 h 6858000"/>
              <a:gd name="connsiteX410" fmla="*/ 5837967 w 6781956"/>
              <a:gd name="connsiteY410" fmla="*/ 6143883 h 6858000"/>
              <a:gd name="connsiteX411" fmla="*/ 5809336 w 6781956"/>
              <a:gd name="connsiteY411" fmla="*/ 6137609 h 6858000"/>
              <a:gd name="connsiteX412" fmla="*/ 5716560 w 6781956"/>
              <a:gd name="connsiteY412" fmla="*/ 6137609 h 6858000"/>
              <a:gd name="connsiteX413" fmla="*/ 5688990 w 6781956"/>
              <a:gd name="connsiteY413" fmla="*/ 6144148 h 6858000"/>
              <a:gd name="connsiteX414" fmla="*/ 5675911 w 6781956"/>
              <a:gd name="connsiteY414" fmla="*/ 6164296 h 6858000"/>
              <a:gd name="connsiteX415" fmla="*/ 5698445 w 6781956"/>
              <a:gd name="connsiteY415" fmla="*/ 6168361 h 6858000"/>
              <a:gd name="connsiteX416" fmla="*/ 5704454 w 6781956"/>
              <a:gd name="connsiteY416" fmla="*/ 6159215 h 6858000"/>
              <a:gd name="connsiteX417" fmla="*/ 5714793 w 6781956"/>
              <a:gd name="connsiteY417" fmla="*/ 6156608 h 6858000"/>
              <a:gd name="connsiteX418" fmla="*/ 5728136 w 6781956"/>
              <a:gd name="connsiteY418" fmla="*/ 6159657 h 6858000"/>
              <a:gd name="connsiteX419" fmla="*/ 5731671 w 6781956"/>
              <a:gd name="connsiteY419" fmla="*/ 6169863 h 6858000"/>
              <a:gd name="connsiteX420" fmla="*/ 5731671 w 6781956"/>
              <a:gd name="connsiteY420" fmla="*/ 6172337 h 6858000"/>
              <a:gd name="connsiteX421" fmla="*/ 5707547 w 6781956"/>
              <a:gd name="connsiteY421" fmla="*/ 6178434 h 6858000"/>
              <a:gd name="connsiteX422" fmla="*/ 5687797 w 6781956"/>
              <a:gd name="connsiteY422" fmla="*/ 6184222 h 6858000"/>
              <a:gd name="connsiteX423" fmla="*/ 5677148 w 6781956"/>
              <a:gd name="connsiteY423" fmla="*/ 6193766 h 6858000"/>
              <a:gd name="connsiteX424" fmla="*/ 5673349 w 6781956"/>
              <a:gd name="connsiteY424" fmla="*/ 6207949 h 6858000"/>
              <a:gd name="connsiteX425" fmla="*/ 5681699 w 6781956"/>
              <a:gd name="connsiteY425" fmla="*/ 6227831 h 6858000"/>
              <a:gd name="connsiteX426" fmla="*/ 5704542 w 6781956"/>
              <a:gd name="connsiteY426" fmla="*/ 6235696 h 6858000"/>
              <a:gd name="connsiteX427" fmla="*/ 5720006 w 6781956"/>
              <a:gd name="connsiteY427" fmla="*/ 6232603 h 6858000"/>
              <a:gd name="connsiteX428" fmla="*/ 5733615 w 6781956"/>
              <a:gd name="connsiteY428" fmla="*/ 6223325 h 6858000"/>
              <a:gd name="connsiteX429" fmla="*/ 5734498 w 6781956"/>
              <a:gd name="connsiteY429" fmla="*/ 6226241 h 6858000"/>
              <a:gd name="connsiteX430" fmla="*/ 5736884 w 6781956"/>
              <a:gd name="connsiteY430" fmla="*/ 6233575 h 6858000"/>
              <a:gd name="connsiteX431" fmla="*/ 5761450 w 6781956"/>
              <a:gd name="connsiteY431" fmla="*/ 6233575 h 6858000"/>
              <a:gd name="connsiteX432" fmla="*/ 5756988 w 6781956"/>
              <a:gd name="connsiteY432" fmla="*/ 6220983 h 6858000"/>
              <a:gd name="connsiteX433" fmla="*/ 5755795 w 6781956"/>
              <a:gd name="connsiteY433" fmla="*/ 6202735 h 6858000"/>
              <a:gd name="connsiteX434" fmla="*/ 5756060 w 6781956"/>
              <a:gd name="connsiteY434" fmla="*/ 6173751 h 6858000"/>
              <a:gd name="connsiteX435" fmla="*/ 5752746 w 6781956"/>
              <a:gd name="connsiteY435" fmla="*/ 6151527 h 6858000"/>
              <a:gd name="connsiteX436" fmla="*/ 5741303 w 6781956"/>
              <a:gd name="connsiteY436" fmla="*/ 6141541 h 6858000"/>
              <a:gd name="connsiteX437" fmla="*/ 5716560 w 6781956"/>
              <a:gd name="connsiteY437" fmla="*/ 6137609 h 6858000"/>
              <a:gd name="connsiteX438" fmla="*/ 5609134 w 6781956"/>
              <a:gd name="connsiteY438" fmla="*/ 6137609 h 6858000"/>
              <a:gd name="connsiteX439" fmla="*/ 5580901 w 6781956"/>
              <a:gd name="connsiteY439" fmla="*/ 6150069 h 6858000"/>
              <a:gd name="connsiteX440" fmla="*/ 5569546 w 6781956"/>
              <a:gd name="connsiteY440" fmla="*/ 6186122 h 6858000"/>
              <a:gd name="connsiteX441" fmla="*/ 5578206 w 6781956"/>
              <a:gd name="connsiteY441" fmla="*/ 6217581 h 6858000"/>
              <a:gd name="connsiteX442" fmla="*/ 5608162 w 6781956"/>
              <a:gd name="connsiteY442" fmla="*/ 6233575 h 6858000"/>
              <a:gd name="connsiteX443" fmla="*/ 5636263 w 6781956"/>
              <a:gd name="connsiteY443" fmla="*/ 6218376 h 6858000"/>
              <a:gd name="connsiteX444" fmla="*/ 5636263 w 6781956"/>
              <a:gd name="connsiteY444" fmla="*/ 6232073 h 6858000"/>
              <a:gd name="connsiteX445" fmla="*/ 5635114 w 6781956"/>
              <a:gd name="connsiteY445" fmla="*/ 6243472 h 6858000"/>
              <a:gd name="connsiteX446" fmla="*/ 5630165 w 6781956"/>
              <a:gd name="connsiteY446" fmla="*/ 6249746 h 6858000"/>
              <a:gd name="connsiteX447" fmla="*/ 5615585 w 6781956"/>
              <a:gd name="connsiteY447" fmla="*/ 6252662 h 6858000"/>
              <a:gd name="connsiteX448" fmla="*/ 5604451 w 6781956"/>
              <a:gd name="connsiteY448" fmla="*/ 6250011 h 6858000"/>
              <a:gd name="connsiteX449" fmla="*/ 5601181 w 6781956"/>
              <a:gd name="connsiteY449" fmla="*/ 6243207 h 6858000"/>
              <a:gd name="connsiteX450" fmla="*/ 5572815 w 6781956"/>
              <a:gd name="connsiteY450" fmla="*/ 6239761 h 6858000"/>
              <a:gd name="connsiteX451" fmla="*/ 5572727 w 6781956"/>
              <a:gd name="connsiteY451" fmla="*/ 6242765 h 6858000"/>
              <a:gd name="connsiteX452" fmla="*/ 5582712 w 6781956"/>
              <a:gd name="connsiteY452" fmla="*/ 6263487 h 6858000"/>
              <a:gd name="connsiteX453" fmla="*/ 5616557 w 6781956"/>
              <a:gd name="connsiteY453" fmla="*/ 6271661 h 6858000"/>
              <a:gd name="connsiteX454" fmla="*/ 5637456 w 6781956"/>
              <a:gd name="connsiteY454" fmla="*/ 6269010 h 6858000"/>
              <a:gd name="connsiteX455" fmla="*/ 5650666 w 6781956"/>
              <a:gd name="connsiteY455" fmla="*/ 6261676 h 6858000"/>
              <a:gd name="connsiteX456" fmla="*/ 5658354 w 6781956"/>
              <a:gd name="connsiteY456" fmla="*/ 6248774 h 6858000"/>
              <a:gd name="connsiteX457" fmla="*/ 5661094 w 6781956"/>
              <a:gd name="connsiteY457" fmla="*/ 6223943 h 6858000"/>
              <a:gd name="connsiteX458" fmla="*/ 5661094 w 6781956"/>
              <a:gd name="connsiteY458" fmla="*/ 6139730 h 6858000"/>
              <a:gd name="connsiteX459" fmla="*/ 5637853 w 6781956"/>
              <a:gd name="connsiteY459" fmla="*/ 6139730 h 6858000"/>
              <a:gd name="connsiteX460" fmla="*/ 5637853 w 6781956"/>
              <a:gd name="connsiteY460" fmla="*/ 6152896 h 6858000"/>
              <a:gd name="connsiteX461" fmla="*/ 5609134 w 6781956"/>
              <a:gd name="connsiteY461" fmla="*/ 6137609 h 6858000"/>
              <a:gd name="connsiteX462" fmla="*/ 5457478 w 6781956"/>
              <a:gd name="connsiteY462" fmla="*/ 6137609 h 6858000"/>
              <a:gd name="connsiteX463" fmla="*/ 5426550 w 6781956"/>
              <a:gd name="connsiteY463" fmla="*/ 6153515 h 6858000"/>
              <a:gd name="connsiteX464" fmla="*/ 5426550 w 6781956"/>
              <a:gd name="connsiteY464" fmla="*/ 6139730 h 6858000"/>
              <a:gd name="connsiteX465" fmla="*/ 5403486 w 6781956"/>
              <a:gd name="connsiteY465" fmla="*/ 6139730 h 6858000"/>
              <a:gd name="connsiteX466" fmla="*/ 5403486 w 6781956"/>
              <a:gd name="connsiteY466" fmla="*/ 6233575 h 6858000"/>
              <a:gd name="connsiteX467" fmla="*/ 5428317 w 6781956"/>
              <a:gd name="connsiteY467" fmla="*/ 6233575 h 6858000"/>
              <a:gd name="connsiteX468" fmla="*/ 5428317 w 6781956"/>
              <a:gd name="connsiteY468" fmla="*/ 6191071 h 6858000"/>
              <a:gd name="connsiteX469" fmla="*/ 5430217 w 6781956"/>
              <a:gd name="connsiteY469" fmla="*/ 6169509 h 6858000"/>
              <a:gd name="connsiteX470" fmla="*/ 5437242 w 6781956"/>
              <a:gd name="connsiteY470" fmla="*/ 6160143 h 6858000"/>
              <a:gd name="connsiteX471" fmla="*/ 5448818 w 6781956"/>
              <a:gd name="connsiteY471" fmla="*/ 6156608 h 6858000"/>
              <a:gd name="connsiteX472" fmla="*/ 5457434 w 6781956"/>
              <a:gd name="connsiteY472" fmla="*/ 6159082 h 6858000"/>
              <a:gd name="connsiteX473" fmla="*/ 5462604 w 6781956"/>
              <a:gd name="connsiteY473" fmla="*/ 6166019 h 6858000"/>
              <a:gd name="connsiteX474" fmla="*/ 5464194 w 6781956"/>
              <a:gd name="connsiteY474" fmla="*/ 6185681 h 6858000"/>
              <a:gd name="connsiteX475" fmla="*/ 5464194 w 6781956"/>
              <a:gd name="connsiteY475" fmla="*/ 6233575 h 6858000"/>
              <a:gd name="connsiteX476" fmla="*/ 5489025 w 6781956"/>
              <a:gd name="connsiteY476" fmla="*/ 6233575 h 6858000"/>
              <a:gd name="connsiteX477" fmla="*/ 5489025 w 6781956"/>
              <a:gd name="connsiteY477" fmla="*/ 6175253 h 6858000"/>
              <a:gd name="connsiteX478" fmla="*/ 5487655 w 6781956"/>
              <a:gd name="connsiteY478" fmla="*/ 6158552 h 6858000"/>
              <a:gd name="connsiteX479" fmla="*/ 5482795 w 6781956"/>
              <a:gd name="connsiteY479" fmla="*/ 6148125 h 6858000"/>
              <a:gd name="connsiteX480" fmla="*/ 5472501 w 6781956"/>
              <a:gd name="connsiteY480" fmla="*/ 6140569 h 6858000"/>
              <a:gd name="connsiteX481" fmla="*/ 5457478 w 6781956"/>
              <a:gd name="connsiteY481" fmla="*/ 6137609 h 6858000"/>
              <a:gd name="connsiteX482" fmla="*/ 5334676 w 6781956"/>
              <a:gd name="connsiteY482" fmla="*/ 6137609 h 6858000"/>
              <a:gd name="connsiteX483" fmla="*/ 5303836 w 6781956"/>
              <a:gd name="connsiteY483" fmla="*/ 6150820 h 6858000"/>
              <a:gd name="connsiteX484" fmla="*/ 5291642 w 6781956"/>
              <a:gd name="connsiteY484" fmla="*/ 6187359 h 6858000"/>
              <a:gd name="connsiteX485" fmla="*/ 5300920 w 6781956"/>
              <a:gd name="connsiteY485" fmla="*/ 6219702 h 6858000"/>
              <a:gd name="connsiteX486" fmla="*/ 5337151 w 6781956"/>
              <a:gd name="connsiteY486" fmla="*/ 6235696 h 6858000"/>
              <a:gd name="connsiteX487" fmla="*/ 5362910 w 6781956"/>
              <a:gd name="connsiteY487" fmla="*/ 6228583 h 6858000"/>
              <a:gd name="connsiteX488" fmla="*/ 5377976 w 6781956"/>
              <a:gd name="connsiteY488" fmla="*/ 6207861 h 6858000"/>
              <a:gd name="connsiteX489" fmla="*/ 5353234 w 6781956"/>
              <a:gd name="connsiteY489" fmla="*/ 6203707 h 6858000"/>
              <a:gd name="connsiteX490" fmla="*/ 5347225 w 6781956"/>
              <a:gd name="connsiteY490" fmla="*/ 6213958 h 6858000"/>
              <a:gd name="connsiteX491" fmla="*/ 5337416 w 6781956"/>
              <a:gd name="connsiteY491" fmla="*/ 6217139 h 6858000"/>
              <a:gd name="connsiteX492" fmla="*/ 5323100 w 6781956"/>
              <a:gd name="connsiteY492" fmla="*/ 6210998 h 6858000"/>
              <a:gd name="connsiteX493" fmla="*/ 5317092 w 6781956"/>
              <a:gd name="connsiteY493" fmla="*/ 6193810 h 6858000"/>
              <a:gd name="connsiteX494" fmla="*/ 5379302 w 6781956"/>
              <a:gd name="connsiteY494" fmla="*/ 6193810 h 6858000"/>
              <a:gd name="connsiteX495" fmla="*/ 5367726 w 6781956"/>
              <a:gd name="connsiteY495" fmla="*/ 6151438 h 6858000"/>
              <a:gd name="connsiteX496" fmla="*/ 5334676 w 6781956"/>
              <a:gd name="connsiteY496" fmla="*/ 6137609 h 6858000"/>
              <a:gd name="connsiteX497" fmla="*/ 5116485 w 6781956"/>
              <a:gd name="connsiteY497" fmla="*/ 6137609 h 6858000"/>
              <a:gd name="connsiteX498" fmla="*/ 5088915 w 6781956"/>
              <a:gd name="connsiteY498" fmla="*/ 6144148 h 6858000"/>
              <a:gd name="connsiteX499" fmla="*/ 5075836 w 6781956"/>
              <a:gd name="connsiteY499" fmla="*/ 6164296 h 6858000"/>
              <a:gd name="connsiteX500" fmla="*/ 5098370 w 6781956"/>
              <a:gd name="connsiteY500" fmla="*/ 6168361 h 6858000"/>
              <a:gd name="connsiteX501" fmla="*/ 5104379 w 6781956"/>
              <a:gd name="connsiteY501" fmla="*/ 6159215 h 6858000"/>
              <a:gd name="connsiteX502" fmla="*/ 5114718 w 6781956"/>
              <a:gd name="connsiteY502" fmla="*/ 6156608 h 6858000"/>
              <a:gd name="connsiteX503" fmla="*/ 5128061 w 6781956"/>
              <a:gd name="connsiteY503" fmla="*/ 6159657 h 6858000"/>
              <a:gd name="connsiteX504" fmla="*/ 5131596 w 6781956"/>
              <a:gd name="connsiteY504" fmla="*/ 6169863 h 6858000"/>
              <a:gd name="connsiteX505" fmla="*/ 5131596 w 6781956"/>
              <a:gd name="connsiteY505" fmla="*/ 6172337 h 6858000"/>
              <a:gd name="connsiteX506" fmla="*/ 5107472 w 6781956"/>
              <a:gd name="connsiteY506" fmla="*/ 6178434 h 6858000"/>
              <a:gd name="connsiteX507" fmla="*/ 5087722 w 6781956"/>
              <a:gd name="connsiteY507" fmla="*/ 6184222 h 6858000"/>
              <a:gd name="connsiteX508" fmla="*/ 5077074 w 6781956"/>
              <a:gd name="connsiteY508" fmla="*/ 6193766 h 6858000"/>
              <a:gd name="connsiteX509" fmla="*/ 5073274 w 6781956"/>
              <a:gd name="connsiteY509" fmla="*/ 6207949 h 6858000"/>
              <a:gd name="connsiteX510" fmla="*/ 5081624 w 6781956"/>
              <a:gd name="connsiteY510" fmla="*/ 6227831 h 6858000"/>
              <a:gd name="connsiteX511" fmla="*/ 5104467 w 6781956"/>
              <a:gd name="connsiteY511" fmla="*/ 6235696 h 6858000"/>
              <a:gd name="connsiteX512" fmla="*/ 5119931 w 6781956"/>
              <a:gd name="connsiteY512" fmla="*/ 6232603 h 6858000"/>
              <a:gd name="connsiteX513" fmla="*/ 5133540 w 6781956"/>
              <a:gd name="connsiteY513" fmla="*/ 6223325 h 6858000"/>
              <a:gd name="connsiteX514" fmla="*/ 5134424 w 6781956"/>
              <a:gd name="connsiteY514" fmla="*/ 6226241 h 6858000"/>
              <a:gd name="connsiteX515" fmla="*/ 5136809 w 6781956"/>
              <a:gd name="connsiteY515" fmla="*/ 6233575 h 6858000"/>
              <a:gd name="connsiteX516" fmla="*/ 5161375 w 6781956"/>
              <a:gd name="connsiteY516" fmla="*/ 6233575 h 6858000"/>
              <a:gd name="connsiteX517" fmla="*/ 5156913 w 6781956"/>
              <a:gd name="connsiteY517" fmla="*/ 6220983 h 6858000"/>
              <a:gd name="connsiteX518" fmla="*/ 5155720 w 6781956"/>
              <a:gd name="connsiteY518" fmla="*/ 6202735 h 6858000"/>
              <a:gd name="connsiteX519" fmla="*/ 5155985 w 6781956"/>
              <a:gd name="connsiteY519" fmla="*/ 6173751 h 6858000"/>
              <a:gd name="connsiteX520" fmla="*/ 5152671 w 6781956"/>
              <a:gd name="connsiteY520" fmla="*/ 6151527 h 6858000"/>
              <a:gd name="connsiteX521" fmla="*/ 5141228 w 6781956"/>
              <a:gd name="connsiteY521" fmla="*/ 6141541 h 6858000"/>
              <a:gd name="connsiteX522" fmla="*/ 5116485 w 6781956"/>
              <a:gd name="connsiteY522" fmla="*/ 6137609 h 6858000"/>
              <a:gd name="connsiteX523" fmla="*/ 5015068 w 6781956"/>
              <a:gd name="connsiteY523" fmla="*/ 6137609 h 6858000"/>
              <a:gd name="connsiteX524" fmla="*/ 4981842 w 6781956"/>
              <a:gd name="connsiteY524" fmla="*/ 6150555 h 6858000"/>
              <a:gd name="connsiteX525" fmla="*/ 4969559 w 6781956"/>
              <a:gd name="connsiteY525" fmla="*/ 6186741 h 6858000"/>
              <a:gd name="connsiteX526" fmla="*/ 4981798 w 6781956"/>
              <a:gd name="connsiteY526" fmla="*/ 6222706 h 6858000"/>
              <a:gd name="connsiteX527" fmla="*/ 5014626 w 6781956"/>
              <a:gd name="connsiteY527" fmla="*/ 6235696 h 6858000"/>
              <a:gd name="connsiteX528" fmla="*/ 5043522 w 6781956"/>
              <a:gd name="connsiteY528" fmla="*/ 6227124 h 6858000"/>
              <a:gd name="connsiteX529" fmla="*/ 5058103 w 6781956"/>
              <a:gd name="connsiteY529" fmla="*/ 6201763 h 6858000"/>
              <a:gd name="connsiteX530" fmla="*/ 5033713 w 6781956"/>
              <a:gd name="connsiteY530" fmla="*/ 6197610 h 6858000"/>
              <a:gd name="connsiteX531" fmla="*/ 5027351 w 6781956"/>
              <a:gd name="connsiteY531" fmla="*/ 6211439 h 6858000"/>
              <a:gd name="connsiteX532" fmla="*/ 5015775 w 6781956"/>
              <a:gd name="connsiteY532" fmla="*/ 6215460 h 6858000"/>
              <a:gd name="connsiteX533" fmla="*/ 5000708 w 6781956"/>
              <a:gd name="connsiteY533" fmla="*/ 6208567 h 6858000"/>
              <a:gd name="connsiteX534" fmla="*/ 4995097 w 6781956"/>
              <a:gd name="connsiteY534" fmla="*/ 6184974 h 6858000"/>
              <a:gd name="connsiteX535" fmla="*/ 5000620 w 6781956"/>
              <a:gd name="connsiteY535" fmla="*/ 6163545 h 6858000"/>
              <a:gd name="connsiteX536" fmla="*/ 5015422 w 6781956"/>
              <a:gd name="connsiteY536" fmla="*/ 6157138 h 6858000"/>
              <a:gd name="connsiteX537" fmla="*/ 5026777 w 6781956"/>
              <a:gd name="connsiteY537" fmla="*/ 6160849 h 6858000"/>
              <a:gd name="connsiteX538" fmla="*/ 5032388 w 6781956"/>
              <a:gd name="connsiteY538" fmla="*/ 6171895 h 6858000"/>
              <a:gd name="connsiteX539" fmla="*/ 5056866 w 6781956"/>
              <a:gd name="connsiteY539" fmla="*/ 6167477 h 6858000"/>
              <a:gd name="connsiteX540" fmla="*/ 5042329 w 6781956"/>
              <a:gd name="connsiteY540" fmla="*/ 6144988 h 6858000"/>
              <a:gd name="connsiteX541" fmla="*/ 5015068 w 6781956"/>
              <a:gd name="connsiteY541" fmla="*/ 6137609 h 6858000"/>
              <a:gd name="connsiteX542" fmla="*/ 666896 w 6781956"/>
              <a:gd name="connsiteY542" fmla="*/ 6132892 h 6858000"/>
              <a:gd name="connsiteX543" fmla="*/ 654541 w 6781956"/>
              <a:gd name="connsiteY543" fmla="*/ 6167769 h 6858000"/>
              <a:gd name="connsiteX544" fmla="*/ 666896 w 6781956"/>
              <a:gd name="connsiteY544" fmla="*/ 6132892 h 6858000"/>
              <a:gd name="connsiteX545" fmla="*/ 464082 w 6781956"/>
              <a:gd name="connsiteY545" fmla="*/ 6123592 h 6858000"/>
              <a:gd name="connsiteX546" fmla="*/ 432167 w 6781956"/>
              <a:gd name="connsiteY546" fmla="*/ 6206132 h 6858000"/>
              <a:gd name="connsiteX547" fmla="*/ 393045 w 6781956"/>
              <a:gd name="connsiteY547" fmla="*/ 6271234 h 6858000"/>
              <a:gd name="connsiteX548" fmla="*/ 389957 w 6781956"/>
              <a:gd name="connsiteY548" fmla="*/ 6256122 h 6858000"/>
              <a:gd name="connsiteX549" fmla="*/ 314803 w 6781956"/>
              <a:gd name="connsiteY549" fmla="*/ 6381675 h 6858000"/>
              <a:gd name="connsiteX550" fmla="*/ 332305 w 6781956"/>
              <a:gd name="connsiteY550" fmla="*/ 6368887 h 6858000"/>
              <a:gd name="connsiteX551" fmla="*/ 305536 w 6781956"/>
              <a:gd name="connsiteY551" fmla="*/ 6430500 h 6858000"/>
              <a:gd name="connsiteX552" fmla="*/ 295241 w 6781956"/>
              <a:gd name="connsiteY552" fmla="*/ 6429338 h 6858000"/>
              <a:gd name="connsiteX553" fmla="*/ 282889 w 6781956"/>
              <a:gd name="connsiteY553" fmla="*/ 6464214 h 6858000"/>
              <a:gd name="connsiteX554" fmla="*/ 265386 w 6781956"/>
              <a:gd name="connsiteY554" fmla="*/ 6477001 h 6858000"/>
              <a:gd name="connsiteX555" fmla="*/ 260239 w 6781956"/>
              <a:gd name="connsiteY555" fmla="*/ 6486302 h 6858000"/>
              <a:gd name="connsiteX556" fmla="*/ 266415 w 6781956"/>
              <a:gd name="connsiteY556" fmla="*/ 6485139 h 6858000"/>
              <a:gd name="connsiteX557" fmla="*/ 264357 w 6781956"/>
              <a:gd name="connsiteY557" fmla="*/ 6489790 h 6858000"/>
              <a:gd name="connsiteX558" fmla="*/ 258179 w 6781956"/>
              <a:gd name="connsiteY558" fmla="*/ 6490951 h 6858000"/>
              <a:gd name="connsiteX559" fmla="*/ 243765 w 6781956"/>
              <a:gd name="connsiteY559" fmla="*/ 6530478 h 6858000"/>
              <a:gd name="connsiteX560" fmla="*/ 203615 w 6781956"/>
              <a:gd name="connsiteY560" fmla="*/ 6588605 h 6858000"/>
              <a:gd name="connsiteX561" fmla="*/ 171700 w 6781956"/>
              <a:gd name="connsiteY561" fmla="*/ 6639756 h 6858000"/>
              <a:gd name="connsiteX562" fmla="*/ 160376 w 6781956"/>
              <a:gd name="connsiteY562" fmla="*/ 6650218 h 6858000"/>
              <a:gd name="connsiteX563" fmla="*/ 121254 w 6781956"/>
              <a:gd name="connsiteY563" fmla="*/ 6715321 h 6858000"/>
              <a:gd name="connsiteX564" fmla="*/ 56396 w 6781956"/>
              <a:gd name="connsiteY564" fmla="*/ 6799023 h 6858000"/>
              <a:gd name="connsiteX565" fmla="*/ 24480 w 6781956"/>
              <a:gd name="connsiteY565" fmla="*/ 6850174 h 6858000"/>
              <a:gd name="connsiteX566" fmla="*/ 18303 w 6781956"/>
              <a:gd name="connsiteY566" fmla="*/ 6851335 h 6858000"/>
              <a:gd name="connsiteX567" fmla="*/ 14886 w 6781956"/>
              <a:gd name="connsiteY567" fmla="*/ 6858000 h 6858000"/>
              <a:gd name="connsiteX568" fmla="*/ 4095 w 6781956"/>
              <a:gd name="connsiteY568" fmla="*/ 6858000 h 6858000"/>
              <a:gd name="connsiteX569" fmla="*/ 11301 w 6781956"/>
              <a:gd name="connsiteY569" fmla="*/ 6847139 h 6858000"/>
              <a:gd name="connsiteX570" fmla="*/ 15214 w 6781956"/>
              <a:gd name="connsiteY570" fmla="*/ 6845523 h 6858000"/>
              <a:gd name="connsiteX571" fmla="*/ 16027 w 6781956"/>
              <a:gd name="connsiteY571" fmla="*/ 6840014 h 6858000"/>
              <a:gd name="connsiteX572" fmla="*/ 28855 w 6781956"/>
              <a:gd name="connsiteY572" fmla="*/ 6820676 h 6858000"/>
              <a:gd name="connsiteX573" fmla="*/ 52277 w 6781956"/>
              <a:gd name="connsiteY573" fmla="*/ 6787397 h 6858000"/>
              <a:gd name="connsiteX574" fmla="*/ 95516 w 6781956"/>
              <a:gd name="connsiteY574" fmla="*/ 6712995 h 6858000"/>
              <a:gd name="connsiteX575" fmla="*/ 108900 w 6781956"/>
              <a:gd name="connsiteY575" fmla="*/ 6697882 h 6858000"/>
              <a:gd name="connsiteX576" fmla="*/ 120223 w 6781956"/>
              <a:gd name="connsiteY576" fmla="*/ 6675794 h 6858000"/>
              <a:gd name="connsiteX577" fmla="*/ 134637 w 6781956"/>
              <a:gd name="connsiteY577" fmla="*/ 6636268 h 6858000"/>
              <a:gd name="connsiteX578" fmla="*/ 121253 w 6781956"/>
              <a:gd name="connsiteY578" fmla="*/ 6651382 h 6858000"/>
              <a:gd name="connsiteX579" fmla="*/ 99119 w 6781956"/>
              <a:gd name="connsiteY579" fmla="*/ 6696284 h 6858000"/>
              <a:gd name="connsiteX580" fmla="*/ 81124 w 6781956"/>
              <a:gd name="connsiteY580" fmla="*/ 6723164 h 6858000"/>
              <a:gd name="connsiteX581" fmla="*/ 86024 w 6781956"/>
              <a:gd name="connsiteY581" fmla="*/ 6700789 h 6858000"/>
              <a:gd name="connsiteX582" fmla="*/ 95190 w 6781956"/>
              <a:gd name="connsiteY582" fmla="*/ 6684329 h 6858000"/>
              <a:gd name="connsiteX583" fmla="*/ 96546 w 6781956"/>
              <a:gd name="connsiteY583" fmla="*/ 6685094 h 6858000"/>
              <a:gd name="connsiteX584" fmla="*/ 99354 w 6781956"/>
              <a:gd name="connsiteY584" fmla="*/ 6676851 h 6858000"/>
              <a:gd name="connsiteX585" fmla="*/ 102208 w 6781956"/>
              <a:gd name="connsiteY585" fmla="*/ 6671725 h 6858000"/>
              <a:gd name="connsiteX586" fmla="*/ 118390 w 6781956"/>
              <a:gd name="connsiteY586" fmla="*/ 6642662 h 6858000"/>
              <a:gd name="connsiteX587" fmla="*/ 119248 w 6781956"/>
              <a:gd name="connsiteY587" fmla="*/ 6638748 h 6858000"/>
              <a:gd name="connsiteX588" fmla="*/ 125630 w 6781956"/>
              <a:gd name="connsiteY588" fmla="*/ 6630456 h 6858000"/>
              <a:gd name="connsiteX589" fmla="*/ 142874 w 6781956"/>
              <a:gd name="connsiteY589" fmla="*/ 6606042 h 6858000"/>
              <a:gd name="connsiteX590" fmla="*/ 150080 w 6781956"/>
              <a:gd name="connsiteY590" fmla="*/ 6623481 h 6858000"/>
              <a:gd name="connsiteX591" fmla="*/ 148022 w 6781956"/>
              <a:gd name="connsiteY591" fmla="*/ 6596742 h 6858000"/>
              <a:gd name="connsiteX592" fmla="*/ 196408 w 6781956"/>
              <a:gd name="connsiteY592" fmla="*/ 6514202 h 6858000"/>
              <a:gd name="connsiteX593" fmla="*/ 177878 w 6781956"/>
              <a:gd name="connsiteY593" fmla="*/ 6550241 h 6858000"/>
              <a:gd name="connsiteX594" fmla="*/ 159347 w 6781956"/>
              <a:gd name="connsiteY594" fmla="*/ 6586279 h 6858000"/>
              <a:gd name="connsiteX595" fmla="*/ 179937 w 6781956"/>
              <a:gd name="connsiteY595" fmla="*/ 6576979 h 6858000"/>
              <a:gd name="connsiteX596" fmla="*/ 203615 w 6781956"/>
              <a:gd name="connsiteY596" fmla="*/ 6531639 h 6858000"/>
              <a:gd name="connsiteX597" fmla="*/ 214940 w 6781956"/>
              <a:gd name="connsiteY597" fmla="*/ 6521178 h 6858000"/>
              <a:gd name="connsiteX598" fmla="*/ 239648 w 6781956"/>
              <a:gd name="connsiteY598" fmla="*/ 6464214 h 6858000"/>
              <a:gd name="connsiteX599" fmla="*/ 245825 w 6781956"/>
              <a:gd name="connsiteY599" fmla="*/ 6463052 h 6858000"/>
              <a:gd name="connsiteX600" fmla="*/ 253032 w 6781956"/>
              <a:gd name="connsiteY600" fmla="*/ 6449100 h 6858000"/>
              <a:gd name="connsiteX601" fmla="*/ 282889 w 6781956"/>
              <a:gd name="connsiteY601" fmla="*/ 6402599 h 6858000"/>
              <a:gd name="connsiteX602" fmla="*/ 297301 w 6781956"/>
              <a:gd name="connsiteY602" fmla="*/ 6363073 h 6858000"/>
              <a:gd name="connsiteX603" fmla="*/ 308626 w 6781956"/>
              <a:gd name="connsiteY603" fmla="*/ 6352610 h 6858000"/>
              <a:gd name="connsiteX604" fmla="*/ 317890 w 6781956"/>
              <a:gd name="connsiteY604" fmla="*/ 6334010 h 6858000"/>
              <a:gd name="connsiteX605" fmla="*/ 329216 w 6781956"/>
              <a:gd name="connsiteY605" fmla="*/ 6323548 h 6858000"/>
              <a:gd name="connsiteX606" fmla="*/ 352895 w 6781956"/>
              <a:gd name="connsiteY606" fmla="*/ 6297971 h 6858000"/>
              <a:gd name="connsiteX607" fmla="*/ 404371 w 6781956"/>
              <a:gd name="connsiteY607" fmla="*/ 6197995 h 6858000"/>
              <a:gd name="connsiteX608" fmla="*/ 404371 w 6781956"/>
              <a:gd name="connsiteY608" fmla="*/ 6229382 h 6858000"/>
              <a:gd name="connsiteX609" fmla="*/ 421872 w 6781956"/>
              <a:gd name="connsiteY609" fmla="*/ 6204969 h 6858000"/>
              <a:gd name="connsiteX610" fmla="*/ 437315 w 6781956"/>
              <a:gd name="connsiteY610" fmla="*/ 6185206 h 6858000"/>
              <a:gd name="connsiteX611" fmla="*/ 464082 w 6781956"/>
              <a:gd name="connsiteY611" fmla="*/ 6123592 h 6858000"/>
              <a:gd name="connsiteX612" fmla="*/ 5544031 w 6781956"/>
              <a:gd name="connsiteY612" fmla="*/ 6106592 h 6858000"/>
              <a:gd name="connsiteX613" fmla="*/ 5519112 w 6781956"/>
              <a:gd name="connsiteY613" fmla="*/ 6121084 h 6858000"/>
              <a:gd name="connsiteX614" fmla="*/ 5519112 w 6781956"/>
              <a:gd name="connsiteY614" fmla="*/ 6139730 h 6858000"/>
              <a:gd name="connsiteX615" fmla="*/ 5507712 w 6781956"/>
              <a:gd name="connsiteY615" fmla="*/ 6139730 h 6858000"/>
              <a:gd name="connsiteX616" fmla="*/ 5507712 w 6781956"/>
              <a:gd name="connsiteY616" fmla="*/ 6159524 h 6858000"/>
              <a:gd name="connsiteX617" fmla="*/ 5519112 w 6781956"/>
              <a:gd name="connsiteY617" fmla="*/ 6159524 h 6858000"/>
              <a:gd name="connsiteX618" fmla="*/ 5519112 w 6781956"/>
              <a:gd name="connsiteY618" fmla="*/ 6200438 h 6858000"/>
              <a:gd name="connsiteX619" fmla="*/ 5519907 w 6781956"/>
              <a:gd name="connsiteY619" fmla="*/ 6217934 h 6858000"/>
              <a:gd name="connsiteX620" fmla="*/ 5523397 w 6781956"/>
              <a:gd name="connsiteY620" fmla="*/ 6227610 h 6858000"/>
              <a:gd name="connsiteX621" fmla="*/ 5531306 w 6781956"/>
              <a:gd name="connsiteY621" fmla="*/ 6233443 h 6858000"/>
              <a:gd name="connsiteX622" fmla="*/ 5543413 w 6781956"/>
              <a:gd name="connsiteY622" fmla="*/ 6235696 h 6858000"/>
              <a:gd name="connsiteX623" fmla="*/ 5563030 w 6781956"/>
              <a:gd name="connsiteY623" fmla="*/ 6231985 h 6858000"/>
              <a:gd name="connsiteX624" fmla="*/ 5560909 w 6781956"/>
              <a:gd name="connsiteY624" fmla="*/ 6212721 h 6858000"/>
              <a:gd name="connsiteX625" fmla="*/ 5550924 w 6781956"/>
              <a:gd name="connsiteY625" fmla="*/ 6215107 h 6858000"/>
              <a:gd name="connsiteX626" fmla="*/ 5546726 w 6781956"/>
              <a:gd name="connsiteY626" fmla="*/ 6213869 h 6858000"/>
              <a:gd name="connsiteX627" fmla="*/ 5544517 w 6781956"/>
              <a:gd name="connsiteY627" fmla="*/ 6210732 h 6858000"/>
              <a:gd name="connsiteX628" fmla="*/ 5544031 w 6781956"/>
              <a:gd name="connsiteY628" fmla="*/ 6197345 h 6858000"/>
              <a:gd name="connsiteX629" fmla="*/ 5544031 w 6781956"/>
              <a:gd name="connsiteY629" fmla="*/ 6159524 h 6858000"/>
              <a:gd name="connsiteX630" fmla="*/ 5560998 w 6781956"/>
              <a:gd name="connsiteY630" fmla="*/ 6159524 h 6858000"/>
              <a:gd name="connsiteX631" fmla="*/ 5560998 w 6781956"/>
              <a:gd name="connsiteY631" fmla="*/ 6139730 h 6858000"/>
              <a:gd name="connsiteX632" fmla="*/ 5544031 w 6781956"/>
              <a:gd name="connsiteY632" fmla="*/ 6139730 h 6858000"/>
              <a:gd name="connsiteX633" fmla="*/ 5245826 w 6781956"/>
              <a:gd name="connsiteY633" fmla="*/ 6104030 h 6858000"/>
              <a:gd name="connsiteX634" fmla="*/ 5245826 w 6781956"/>
              <a:gd name="connsiteY634" fmla="*/ 6150687 h 6858000"/>
              <a:gd name="connsiteX635" fmla="*/ 5218609 w 6781956"/>
              <a:gd name="connsiteY635" fmla="*/ 6137609 h 6858000"/>
              <a:gd name="connsiteX636" fmla="*/ 5190243 w 6781956"/>
              <a:gd name="connsiteY636" fmla="*/ 6150025 h 6858000"/>
              <a:gd name="connsiteX637" fmla="*/ 5179021 w 6781956"/>
              <a:gd name="connsiteY637" fmla="*/ 6186299 h 6858000"/>
              <a:gd name="connsiteX638" fmla="*/ 5190553 w 6781956"/>
              <a:gd name="connsiteY638" fmla="*/ 6222662 h 6858000"/>
              <a:gd name="connsiteX639" fmla="*/ 5218256 w 6781956"/>
              <a:gd name="connsiteY639" fmla="*/ 6235696 h 6858000"/>
              <a:gd name="connsiteX640" fmla="*/ 5234029 w 6781956"/>
              <a:gd name="connsiteY640" fmla="*/ 6231764 h 6858000"/>
              <a:gd name="connsiteX641" fmla="*/ 5247593 w 6781956"/>
              <a:gd name="connsiteY641" fmla="*/ 6219790 h 6858000"/>
              <a:gd name="connsiteX642" fmla="*/ 5247593 w 6781956"/>
              <a:gd name="connsiteY642" fmla="*/ 6233575 h 6858000"/>
              <a:gd name="connsiteX643" fmla="*/ 5270657 w 6781956"/>
              <a:gd name="connsiteY643" fmla="*/ 6233575 h 6858000"/>
              <a:gd name="connsiteX644" fmla="*/ 5270657 w 6781956"/>
              <a:gd name="connsiteY644" fmla="*/ 6104030 h 6858000"/>
              <a:gd name="connsiteX645" fmla="*/ 741021 w 6781956"/>
              <a:gd name="connsiteY645" fmla="*/ 6093367 h 6858000"/>
              <a:gd name="connsiteX646" fmla="*/ 736902 w 6781956"/>
              <a:gd name="connsiteY646" fmla="*/ 6121267 h 6858000"/>
              <a:gd name="connsiteX647" fmla="*/ 741021 w 6781956"/>
              <a:gd name="connsiteY647" fmla="*/ 6093367 h 6858000"/>
              <a:gd name="connsiteX648" fmla="*/ 686456 w 6781956"/>
              <a:gd name="connsiteY648" fmla="*/ 6085229 h 6858000"/>
              <a:gd name="connsiteX649" fmla="*/ 694692 w 6781956"/>
              <a:gd name="connsiteY649" fmla="*/ 6091041 h 6858000"/>
              <a:gd name="connsiteX650" fmla="*/ 685426 w 6781956"/>
              <a:gd name="connsiteY650" fmla="*/ 6109642 h 6858000"/>
              <a:gd name="connsiteX651" fmla="*/ 677191 w 6781956"/>
              <a:gd name="connsiteY651" fmla="*/ 6103828 h 6858000"/>
              <a:gd name="connsiteX652" fmla="*/ 686456 w 6781956"/>
              <a:gd name="connsiteY652" fmla="*/ 6085229 h 6858000"/>
              <a:gd name="connsiteX653" fmla="*/ 484671 w 6781956"/>
              <a:gd name="connsiteY653" fmla="*/ 6063140 h 6858000"/>
              <a:gd name="connsiteX654" fmla="*/ 492908 w 6781956"/>
              <a:gd name="connsiteY654" fmla="*/ 6068953 h 6858000"/>
              <a:gd name="connsiteX655" fmla="*/ 485701 w 6781956"/>
              <a:gd name="connsiteY655" fmla="*/ 6082903 h 6858000"/>
              <a:gd name="connsiteX656" fmla="*/ 477465 w 6781956"/>
              <a:gd name="connsiteY656" fmla="*/ 6077092 h 6858000"/>
              <a:gd name="connsiteX657" fmla="*/ 484671 w 6781956"/>
              <a:gd name="connsiteY657" fmla="*/ 6063140 h 6858000"/>
              <a:gd name="connsiteX658" fmla="*/ 379661 w 6781956"/>
              <a:gd name="connsiteY658" fmla="*/ 6061979 h 6858000"/>
              <a:gd name="connsiteX659" fmla="*/ 381657 w 6781956"/>
              <a:gd name="connsiteY659" fmla="*/ 6072771 h 6858000"/>
              <a:gd name="connsiteX660" fmla="*/ 380690 w 6781956"/>
              <a:gd name="connsiteY660" fmla="*/ 6074766 h 6858000"/>
              <a:gd name="connsiteX661" fmla="*/ 375104 w 6781956"/>
              <a:gd name="connsiteY661" fmla="*/ 6070179 h 6858000"/>
              <a:gd name="connsiteX662" fmla="*/ 765728 w 6781956"/>
              <a:gd name="connsiteY662" fmla="*/ 6050080 h 6858000"/>
              <a:gd name="connsiteX663" fmla="*/ 774994 w 6781956"/>
              <a:gd name="connsiteY663" fmla="*/ 6056165 h 6858000"/>
              <a:gd name="connsiteX664" fmla="*/ 765728 w 6781956"/>
              <a:gd name="connsiteY664" fmla="*/ 6074766 h 6858000"/>
              <a:gd name="connsiteX665" fmla="*/ 765728 w 6781956"/>
              <a:gd name="connsiteY665" fmla="*/ 6050080 h 6858000"/>
              <a:gd name="connsiteX666" fmla="*/ 664836 w 6781956"/>
              <a:gd name="connsiteY666" fmla="*/ 6044540 h 6858000"/>
              <a:gd name="connsiteX667" fmla="*/ 661748 w 6781956"/>
              <a:gd name="connsiteY667" fmla="*/ 6060814 h 6858000"/>
              <a:gd name="connsiteX668" fmla="*/ 654541 w 6781956"/>
              <a:gd name="connsiteY668" fmla="*/ 6074766 h 6858000"/>
              <a:gd name="connsiteX669" fmla="*/ 664836 w 6781956"/>
              <a:gd name="connsiteY669" fmla="*/ 6044540 h 6858000"/>
              <a:gd name="connsiteX670" fmla="*/ 797644 w 6781956"/>
              <a:gd name="connsiteY670" fmla="*/ 6022452 h 6858000"/>
              <a:gd name="connsiteX671" fmla="*/ 791466 w 6781956"/>
              <a:gd name="connsiteY671" fmla="*/ 6055003 h 6858000"/>
              <a:gd name="connsiteX672" fmla="*/ 797644 w 6781956"/>
              <a:gd name="connsiteY672" fmla="*/ 6022452 h 6858000"/>
              <a:gd name="connsiteX673" fmla="*/ 694692 w 6781956"/>
              <a:gd name="connsiteY673" fmla="*/ 6016639 h 6858000"/>
              <a:gd name="connsiteX674" fmla="*/ 702928 w 6781956"/>
              <a:gd name="connsiteY674" fmla="*/ 6022452 h 6858000"/>
              <a:gd name="connsiteX675" fmla="*/ 697782 w 6781956"/>
              <a:gd name="connsiteY675" fmla="*/ 6031752 h 6858000"/>
              <a:gd name="connsiteX676" fmla="*/ 689545 w 6781956"/>
              <a:gd name="connsiteY676" fmla="*/ 6025939 h 6858000"/>
              <a:gd name="connsiteX677" fmla="*/ 694692 w 6781956"/>
              <a:gd name="connsiteY677" fmla="*/ 6016639 h 6858000"/>
              <a:gd name="connsiteX678" fmla="*/ 726608 w 6781956"/>
              <a:gd name="connsiteY678" fmla="*/ 5995714 h 6858000"/>
              <a:gd name="connsiteX679" fmla="*/ 735873 w 6781956"/>
              <a:gd name="connsiteY679" fmla="*/ 5996876 h 6858000"/>
              <a:gd name="connsiteX680" fmla="*/ 724548 w 6781956"/>
              <a:gd name="connsiteY680" fmla="*/ 6018965 h 6858000"/>
              <a:gd name="connsiteX681" fmla="*/ 726608 w 6781956"/>
              <a:gd name="connsiteY681" fmla="*/ 5995714 h 6858000"/>
              <a:gd name="connsiteX682" fmla="*/ 524823 w 6781956"/>
              <a:gd name="connsiteY682" fmla="*/ 5986414 h 6858000"/>
              <a:gd name="connsiteX683" fmla="*/ 502173 w 6781956"/>
              <a:gd name="connsiteY683" fmla="*/ 6050353 h 6858000"/>
              <a:gd name="connsiteX684" fmla="*/ 524823 w 6781956"/>
              <a:gd name="connsiteY684" fmla="*/ 5986414 h 6858000"/>
              <a:gd name="connsiteX685" fmla="*/ 445551 w 6781956"/>
              <a:gd name="connsiteY685" fmla="*/ 5985250 h 6858000"/>
              <a:gd name="connsiteX686" fmla="*/ 425989 w 6781956"/>
              <a:gd name="connsiteY686" fmla="*/ 6032915 h 6858000"/>
              <a:gd name="connsiteX687" fmla="*/ 382750 w 6781956"/>
              <a:gd name="connsiteY687" fmla="*/ 6125917 h 6858000"/>
              <a:gd name="connsiteX688" fmla="*/ 366278 w 6781956"/>
              <a:gd name="connsiteY688" fmla="*/ 6170093 h 6858000"/>
              <a:gd name="connsiteX689" fmla="*/ 372455 w 6781956"/>
              <a:gd name="connsiteY689" fmla="*/ 6137543 h 6858000"/>
              <a:gd name="connsiteX690" fmla="*/ 445551 w 6781956"/>
              <a:gd name="connsiteY690" fmla="*/ 5985250 h 6858000"/>
              <a:gd name="connsiteX691" fmla="*/ 538207 w 6781956"/>
              <a:gd name="connsiteY691" fmla="*/ 5959675 h 6858000"/>
              <a:gd name="connsiteX692" fmla="*/ 536147 w 6781956"/>
              <a:gd name="connsiteY692" fmla="*/ 5982926 h 6858000"/>
              <a:gd name="connsiteX693" fmla="*/ 538207 w 6781956"/>
              <a:gd name="connsiteY693" fmla="*/ 5959675 h 6858000"/>
              <a:gd name="connsiteX694" fmla="*/ 432374 w 6781956"/>
              <a:gd name="connsiteY694" fmla="*/ 5958281 h 6858000"/>
              <a:gd name="connsiteX695" fmla="*/ 428048 w 6781956"/>
              <a:gd name="connsiteY695" fmla="*/ 5966650 h 6858000"/>
              <a:gd name="connsiteX696" fmla="*/ 422902 w 6781956"/>
              <a:gd name="connsiteY696" fmla="*/ 5987576 h 6858000"/>
              <a:gd name="connsiteX697" fmla="*/ 418398 w 6781956"/>
              <a:gd name="connsiteY697" fmla="*/ 5994260 h 6858000"/>
              <a:gd name="connsiteX698" fmla="*/ 412520 w 6781956"/>
              <a:gd name="connsiteY698" fmla="*/ 6007536 h 6858000"/>
              <a:gd name="connsiteX699" fmla="*/ 419812 w 6781956"/>
              <a:gd name="connsiteY699" fmla="*/ 5975951 h 6858000"/>
              <a:gd name="connsiteX700" fmla="*/ 428047 w 6781956"/>
              <a:gd name="connsiteY700" fmla="*/ 5963162 h 6858000"/>
              <a:gd name="connsiteX701" fmla="*/ 431651 w 6781956"/>
              <a:gd name="connsiteY701" fmla="*/ 5958513 h 6858000"/>
              <a:gd name="connsiteX702" fmla="*/ 786480 w 6781956"/>
              <a:gd name="connsiteY702" fmla="*/ 5908487 h 6858000"/>
              <a:gd name="connsiteX703" fmla="*/ 783230 w 6781956"/>
              <a:gd name="connsiteY703" fmla="*/ 5917825 h 6858000"/>
              <a:gd name="connsiteX704" fmla="*/ 778083 w 6781956"/>
              <a:gd name="connsiteY704" fmla="*/ 5927124 h 6858000"/>
              <a:gd name="connsiteX705" fmla="*/ 786480 w 6781956"/>
              <a:gd name="connsiteY705" fmla="*/ 5908487 h 6858000"/>
              <a:gd name="connsiteX706" fmla="*/ 754404 w 6781956"/>
              <a:gd name="connsiteY706" fmla="*/ 5903873 h 6858000"/>
              <a:gd name="connsiteX707" fmla="*/ 750285 w 6781956"/>
              <a:gd name="connsiteY707" fmla="*/ 5931774 h 6858000"/>
              <a:gd name="connsiteX708" fmla="*/ 736902 w 6781956"/>
              <a:gd name="connsiteY708" fmla="*/ 5946887 h 6858000"/>
              <a:gd name="connsiteX709" fmla="*/ 716312 w 6781956"/>
              <a:gd name="connsiteY709" fmla="*/ 5987576 h 6858000"/>
              <a:gd name="connsiteX710" fmla="*/ 733814 w 6781956"/>
              <a:gd name="connsiteY710" fmla="*/ 5944562 h 6858000"/>
              <a:gd name="connsiteX711" fmla="*/ 754404 w 6781956"/>
              <a:gd name="connsiteY711" fmla="*/ 5903873 h 6858000"/>
              <a:gd name="connsiteX712" fmla="*/ 720944 w 6781956"/>
              <a:gd name="connsiteY712" fmla="*/ 5903437 h 6858000"/>
              <a:gd name="connsiteX713" fmla="*/ 718371 w 6781956"/>
              <a:gd name="connsiteY713" fmla="*/ 5910850 h 6858000"/>
              <a:gd name="connsiteX714" fmla="*/ 698809 w 6781956"/>
              <a:gd name="connsiteY714" fmla="*/ 5958513 h 6858000"/>
              <a:gd name="connsiteX715" fmla="*/ 629833 w 6781956"/>
              <a:gd name="connsiteY715" fmla="*/ 6081741 h 6858000"/>
              <a:gd name="connsiteX716" fmla="*/ 623656 w 6781956"/>
              <a:gd name="connsiteY716" fmla="*/ 6082903 h 6858000"/>
              <a:gd name="connsiteX717" fmla="*/ 717341 w 6781956"/>
              <a:gd name="connsiteY717" fmla="*/ 5903873 h 6858000"/>
              <a:gd name="connsiteX718" fmla="*/ 720944 w 6781956"/>
              <a:gd name="connsiteY718" fmla="*/ 5903437 h 6858000"/>
              <a:gd name="connsiteX719" fmla="*/ 463053 w 6781956"/>
              <a:gd name="connsiteY719" fmla="*/ 5879461 h 6858000"/>
              <a:gd name="connsiteX720" fmla="*/ 455332 w 6781956"/>
              <a:gd name="connsiteY720" fmla="*/ 5915645 h 6858000"/>
              <a:gd name="connsiteX721" fmla="*/ 436781 w 6781956"/>
              <a:gd name="connsiteY721" fmla="*/ 5949886 h 6858000"/>
              <a:gd name="connsiteX722" fmla="*/ 438729 w 6781956"/>
              <a:gd name="connsiteY722" fmla="*/ 5940348 h 6858000"/>
              <a:gd name="connsiteX723" fmla="*/ 441431 w 6781956"/>
              <a:gd name="connsiteY723" fmla="*/ 5922474 h 6858000"/>
              <a:gd name="connsiteX724" fmla="*/ 448638 w 6781956"/>
              <a:gd name="connsiteY724" fmla="*/ 5916662 h 6858000"/>
              <a:gd name="connsiteX725" fmla="*/ 457903 w 6781956"/>
              <a:gd name="connsiteY725" fmla="*/ 5896898 h 6858000"/>
              <a:gd name="connsiteX726" fmla="*/ 460319 w 6781956"/>
              <a:gd name="connsiteY726" fmla="*/ 5884626 h 6858000"/>
              <a:gd name="connsiteX727" fmla="*/ 731754 w 6781956"/>
              <a:gd name="connsiteY727" fmla="*/ 5874811 h 6858000"/>
              <a:gd name="connsiteX728" fmla="*/ 738961 w 6781956"/>
              <a:gd name="connsiteY728" fmla="*/ 5880623 h 6858000"/>
              <a:gd name="connsiteX729" fmla="*/ 731754 w 6781956"/>
              <a:gd name="connsiteY729" fmla="*/ 5894573 h 6858000"/>
              <a:gd name="connsiteX730" fmla="*/ 724548 w 6781956"/>
              <a:gd name="connsiteY730" fmla="*/ 5888761 h 6858000"/>
              <a:gd name="connsiteX731" fmla="*/ 731754 w 6781956"/>
              <a:gd name="connsiteY731" fmla="*/ 5874811 h 6858000"/>
              <a:gd name="connsiteX732" fmla="*/ 832647 w 6781956"/>
              <a:gd name="connsiteY732" fmla="*/ 5853884 h 6858000"/>
              <a:gd name="connsiteX733" fmla="*/ 831617 w 6781956"/>
              <a:gd name="connsiteY733" fmla="*/ 5865510 h 6858000"/>
              <a:gd name="connsiteX734" fmla="*/ 820292 w 6781956"/>
              <a:gd name="connsiteY734" fmla="*/ 5918987 h 6858000"/>
              <a:gd name="connsiteX735" fmla="*/ 800733 w 6781956"/>
              <a:gd name="connsiteY735" fmla="*/ 5936425 h 6858000"/>
              <a:gd name="connsiteX736" fmla="*/ 773964 w 6781956"/>
              <a:gd name="connsiteY736" fmla="*/ 5998038 h 6858000"/>
              <a:gd name="connsiteX737" fmla="*/ 756464 w 6781956"/>
              <a:gd name="connsiteY737" fmla="*/ 6010828 h 6858000"/>
              <a:gd name="connsiteX738" fmla="*/ 757492 w 6781956"/>
              <a:gd name="connsiteY738" fmla="*/ 6029428 h 6858000"/>
              <a:gd name="connsiteX739" fmla="*/ 750285 w 6781956"/>
              <a:gd name="connsiteY739" fmla="*/ 6043378 h 6858000"/>
              <a:gd name="connsiteX740" fmla="*/ 730725 w 6781956"/>
              <a:gd name="connsiteY740" fmla="*/ 6060814 h 6858000"/>
              <a:gd name="connsiteX741" fmla="*/ 745138 w 6781956"/>
              <a:gd name="connsiteY741" fmla="*/ 6021290 h 6858000"/>
              <a:gd name="connsiteX742" fmla="*/ 755434 w 6781956"/>
              <a:gd name="connsiteY742" fmla="*/ 5991063 h 6858000"/>
              <a:gd name="connsiteX743" fmla="*/ 791466 w 6781956"/>
              <a:gd name="connsiteY743" fmla="*/ 5942238 h 6858000"/>
              <a:gd name="connsiteX744" fmla="*/ 790437 w 6781956"/>
              <a:gd name="connsiteY744" fmla="*/ 5935263 h 6858000"/>
              <a:gd name="connsiteX745" fmla="*/ 800733 w 6781956"/>
              <a:gd name="connsiteY745" fmla="*/ 5905036 h 6858000"/>
              <a:gd name="connsiteX746" fmla="*/ 832647 w 6781956"/>
              <a:gd name="connsiteY746" fmla="*/ 5853884 h 6858000"/>
              <a:gd name="connsiteX747" fmla="*/ 867650 w 6781956"/>
              <a:gd name="connsiteY747" fmla="*/ 5849235 h 6858000"/>
              <a:gd name="connsiteX748" fmla="*/ 845001 w 6781956"/>
              <a:gd name="connsiteY748" fmla="*/ 5913175 h 6858000"/>
              <a:gd name="connsiteX749" fmla="*/ 846031 w 6781956"/>
              <a:gd name="connsiteY749" fmla="*/ 5920149 h 6858000"/>
              <a:gd name="connsiteX750" fmla="*/ 828529 w 6781956"/>
              <a:gd name="connsiteY750" fmla="*/ 5944562 h 6858000"/>
              <a:gd name="connsiteX751" fmla="*/ 818234 w 6781956"/>
              <a:gd name="connsiteY751" fmla="*/ 5974788 h 6858000"/>
              <a:gd name="connsiteX752" fmla="*/ 804850 w 6781956"/>
              <a:gd name="connsiteY752" fmla="*/ 5989901 h 6858000"/>
              <a:gd name="connsiteX753" fmla="*/ 791466 w 6781956"/>
              <a:gd name="connsiteY753" fmla="*/ 6005014 h 6858000"/>
              <a:gd name="connsiteX754" fmla="*/ 788378 w 6781956"/>
              <a:gd name="connsiteY754" fmla="*/ 6021290 h 6858000"/>
              <a:gd name="connsiteX755" fmla="*/ 784260 w 6781956"/>
              <a:gd name="connsiteY755" fmla="*/ 6030590 h 6858000"/>
              <a:gd name="connsiteX756" fmla="*/ 795584 w 6781956"/>
              <a:gd name="connsiteY756" fmla="*/ 5977114 h 6858000"/>
              <a:gd name="connsiteX757" fmla="*/ 822351 w 6781956"/>
              <a:gd name="connsiteY757" fmla="*/ 5946887 h 6858000"/>
              <a:gd name="connsiteX758" fmla="*/ 825440 w 6781956"/>
              <a:gd name="connsiteY758" fmla="*/ 5930612 h 6858000"/>
              <a:gd name="connsiteX759" fmla="*/ 836765 w 6781956"/>
              <a:gd name="connsiteY759" fmla="*/ 5920149 h 6858000"/>
              <a:gd name="connsiteX760" fmla="*/ 839853 w 6781956"/>
              <a:gd name="connsiteY760" fmla="*/ 5903873 h 6858000"/>
              <a:gd name="connsiteX761" fmla="*/ 853237 w 6781956"/>
              <a:gd name="connsiteY761" fmla="*/ 5888761 h 6858000"/>
              <a:gd name="connsiteX762" fmla="*/ 867650 w 6781956"/>
              <a:gd name="connsiteY762" fmla="*/ 5849235 h 6858000"/>
              <a:gd name="connsiteX763" fmla="*/ 486731 w 6781956"/>
              <a:gd name="connsiteY763" fmla="*/ 5834121 h 6858000"/>
              <a:gd name="connsiteX764" fmla="*/ 483643 w 6781956"/>
              <a:gd name="connsiteY764" fmla="*/ 5850398 h 6858000"/>
              <a:gd name="connsiteX765" fmla="*/ 476436 w 6781956"/>
              <a:gd name="connsiteY765" fmla="*/ 5864348 h 6858000"/>
              <a:gd name="connsiteX766" fmla="*/ 486731 w 6781956"/>
              <a:gd name="connsiteY766" fmla="*/ 5834121 h 6858000"/>
              <a:gd name="connsiteX767" fmla="*/ 715283 w 6781956"/>
              <a:gd name="connsiteY767" fmla="*/ 5813197 h 6858000"/>
              <a:gd name="connsiteX768" fmla="*/ 698809 w 6781956"/>
              <a:gd name="connsiteY768" fmla="*/ 5863185 h 6858000"/>
              <a:gd name="connsiteX769" fmla="*/ 710135 w 6781956"/>
              <a:gd name="connsiteY769" fmla="*/ 5821334 h 6858000"/>
              <a:gd name="connsiteX770" fmla="*/ 709106 w 6781956"/>
              <a:gd name="connsiteY770" fmla="*/ 5814359 h 6858000"/>
              <a:gd name="connsiteX771" fmla="*/ 715283 w 6781956"/>
              <a:gd name="connsiteY771" fmla="*/ 5813197 h 6858000"/>
              <a:gd name="connsiteX772" fmla="*/ 559827 w 6781956"/>
              <a:gd name="connsiteY772" fmla="*/ 5794597 h 6858000"/>
              <a:gd name="connsiteX773" fmla="*/ 543354 w 6781956"/>
              <a:gd name="connsiteY773" fmla="*/ 5825985 h 6858000"/>
              <a:gd name="connsiteX774" fmla="*/ 534088 w 6781956"/>
              <a:gd name="connsiteY774" fmla="*/ 5844584 h 6858000"/>
              <a:gd name="connsiteX775" fmla="*/ 539236 w 6781956"/>
              <a:gd name="connsiteY775" fmla="*/ 5823659 h 6858000"/>
              <a:gd name="connsiteX776" fmla="*/ 559827 w 6781956"/>
              <a:gd name="connsiteY776" fmla="*/ 5794597 h 6858000"/>
              <a:gd name="connsiteX777" fmla="*/ 940617 w 6781956"/>
              <a:gd name="connsiteY777" fmla="*/ 5788348 h 6858000"/>
              <a:gd name="connsiteX778" fmla="*/ 948982 w 6781956"/>
              <a:gd name="connsiteY778" fmla="*/ 5789946 h 6858000"/>
              <a:gd name="connsiteX779" fmla="*/ 906772 w 6781956"/>
              <a:gd name="connsiteY779" fmla="*/ 5871323 h 6858000"/>
              <a:gd name="connsiteX780" fmla="*/ 898535 w 6781956"/>
              <a:gd name="connsiteY780" fmla="*/ 5896898 h 6858000"/>
              <a:gd name="connsiteX781" fmla="*/ 838823 w 6781956"/>
              <a:gd name="connsiteY781" fmla="*/ 6021290 h 6858000"/>
              <a:gd name="connsiteX782" fmla="*/ 826470 w 6781956"/>
              <a:gd name="connsiteY782" fmla="*/ 6024777 h 6858000"/>
              <a:gd name="connsiteX783" fmla="*/ 801761 w 6781956"/>
              <a:gd name="connsiteY783" fmla="*/ 6093367 h 6858000"/>
              <a:gd name="connsiteX784" fmla="*/ 784260 w 6781956"/>
              <a:gd name="connsiteY784" fmla="*/ 6106154 h 6858000"/>
              <a:gd name="connsiteX785" fmla="*/ 762640 w 6781956"/>
              <a:gd name="connsiteY785" fmla="*/ 6158468 h 6858000"/>
              <a:gd name="connsiteX786" fmla="*/ 757492 w 6781956"/>
              <a:gd name="connsiteY786" fmla="*/ 6167769 h 6858000"/>
              <a:gd name="connsiteX787" fmla="*/ 758521 w 6781956"/>
              <a:gd name="connsiteY787" fmla="*/ 6174744 h 6858000"/>
              <a:gd name="connsiteX788" fmla="*/ 743078 w 6781956"/>
              <a:gd name="connsiteY788" fmla="*/ 6194507 h 6858000"/>
              <a:gd name="connsiteX789" fmla="*/ 732784 w 6781956"/>
              <a:gd name="connsiteY789" fmla="*/ 6224732 h 6858000"/>
              <a:gd name="connsiteX790" fmla="*/ 717341 w 6781956"/>
              <a:gd name="connsiteY790" fmla="*/ 6244496 h 6858000"/>
              <a:gd name="connsiteX791" fmla="*/ 682339 w 6781956"/>
              <a:gd name="connsiteY791" fmla="*/ 6311923 h 6858000"/>
              <a:gd name="connsiteX792" fmla="*/ 666896 w 6781956"/>
              <a:gd name="connsiteY792" fmla="*/ 6331686 h 6858000"/>
              <a:gd name="connsiteX793" fmla="*/ 594829 w 6781956"/>
              <a:gd name="connsiteY793" fmla="*/ 6459563 h 6858000"/>
              <a:gd name="connsiteX794" fmla="*/ 587623 w 6781956"/>
              <a:gd name="connsiteY794" fmla="*/ 6473513 h 6858000"/>
              <a:gd name="connsiteX795" fmla="*/ 579387 w 6781956"/>
              <a:gd name="connsiteY795" fmla="*/ 6479327 h 6858000"/>
              <a:gd name="connsiteX796" fmla="*/ 560857 w 6781956"/>
              <a:gd name="connsiteY796" fmla="*/ 6515365 h 6858000"/>
              <a:gd name="connsiteX797" fmla="*/ 549531 w 6781956"/>
              <a:gd name="connsiteY797" fmla="*/ 6525828 h 6858000"/>
              <a:gd name="connsiteX798" fmla="*/ 550560 w 6781956"/>
              <a:gd name="connsiteY798" fmla="*/ 6532804 h 6858000"/>
              <a:gd name="connsiteX799" fmla="*/ 537177 w 6781956"/>
              <a:gd name="connsiteY799" fmla="*/ 6547917 h 6858000"/>
              <a:gd name="connsiteX800" fmla="*/ 527911 w 6781956"/>
              <a:gd name="connsiteY800" fmla="*/ 6566515 h 6858000"/>
              <a:gd name="connsiteX801" fmla="*/ 402311 w 6781956"/>
              <a:gd name="connsiteY801" fmla="*/ 6767635 h 6858000"/>
              <a:gd name="connsiteX802" fmla="*/ 365248 w 6781956"/>
              <a:gd name="connsiteY802" fmla="*/ 6828085 h 6858000"/>
              <a:gd name="connsiteX803" fmla="*/ 360102 w 6781956"/>
              <a:gd name="connsiteY803" fmla="*/ 6837386 h 6858000"/>
              <a:gd name="connsiteX804" fmla="*/ 345689 w 6781956"/>
              <a:gd name="connsiteY804" fmla="*/ 6845523 h 6858000"/>
              <a:gd name="connsiteX805" fmla="*/ 338624 w 6781956"/>
              <a:gd name="connsiteY805" fmla="*/ 6858000 h 6858000"/>
              <a:gd name="connsiteX806" fmla="*/ 318102 w 6781956"/>
              <a:gd name="connsiteY806" fmla="*/ 6858000 h 6858000"/>
              <a:gd name="connsiteX807" fmla="*/ 328829 w 6781956"/>
              <a:gd name="connsiteY807" fmla="*/ 6851045 h 6858000"/>
              <a:gd name="connsiteX808" fmla="*/ 339511 w 6781956"/>
              <a:gd name="connsiteY808" fmla="*/ 6833898 h 6858000"/>
              <a:gd name="connsiteX809" fmla="*/ 345689 w 6781956"/>
              <a:gd name="connsiteY809" fmla="*/ 6832736 h 6858000"/>
              <a:gd name="connsiteX810" fmla="*/ 368337 w 6781956"/>
              <a:gd name="connsiteY810" fmla="*/ 6799023 h 6858000"/>
              <a:gd name="connsiteX811" fmla="*/ 372455 w 6781956"/>
              <a:gd name="connsiteY811" fmla="*/ 6771122 h 6858000"/>
              <a:gd name="connsiteX812" fmla="*/ 402311 w 6781956"/>
              <a:gd name="connsiteY812" fmla="*/ 6743221 h 6858000"/>
              <a:gd name="connsiteX813" fmla="*/ 410546 w 6781956"/>
              <a:gd name="connsiteY813" fmla="*/ 6717645 h 6858000"/>
              <a:gd name="connsiteX814" fmla="*/ 432167 w 6781956"/>
              <a:gd name="connsiteY814" fmla="*/ 6695557 h 6858000"/>
              <a:gd name="connsiteX815" fmla="*/ 452758 w 6781956"/>
              <a:gd name="connsiteY815" fmla="*/ 6666494 h 6858000"/>
              <a:gd name="connsiteX816" fmla="*/ 462022 w 6781956"/>
              <a:gd name="connsiteY816" fmla="*/ 6647894 h 6858000"/>
              <a:gd name="connsiteX817" fmla="*/ 463053 w 6781956"/>
              <a:gd name="connsiteY817" fmla="*/ 6636268 h 6858000"/>
              <a:gd name="connsiteX818" fmla="*/ 477465 w 6781956"/>
              <a:gd name="connsiteY818" fmla="*/ 6628130 h 6858000"/>
              <a:gd name="connsiteX819" fmla="*/ 481584 w 6781956"/>
              <a:gd name="connsiteY819" fmla="*/ 6600229 h 6858000"/>
              <a:gd name="connsiteX820" fmla="*/ 498055 w 6781956"/>
              <a:gd name="connsiteY820" fmla="*/ 6568841 h 6858000"/>
              <a:gd name="connsiteX821" fmla="*/ 501144 w 6781956"/>
              <a:gd name="connsiteY821" fmla="*/ 6583954 h 6858000"/>
              <a:gd name="connsiteX822" fmla="*/ 525853 w 6781956"/>
              <a:gd name="connsiteY822" fmla="*/ 6545591 h 6858000"/>
              <a:gd name="connsiteX823" fmla="*/ 514528 w 6781956"/>
              <a:gd name="connsiteY823" fmla="*/ 6556054 h 6858000"/>
              <a:gd name="connsiteX824" fmla="*/ 522764 w 6781956"/>
              <a:gd name="connsiteY824" fmla="*/ 6530478 h 6858000"/>
              <a:gd name="connsiteX825" fmla="*/ 541295 w 6781956"/>
              <a:gd name="connsiteY825" fmla="*/ 6525828 h 6858000"/>
              <a:gd name="connsiteX826" fmla="*/ 595859 w 6781956"/>
              <a:gd name="connsiteY826" fmla="*/ 6440962 h 6858000"/>
              <a:gd name="connsiteX827" fmla="*/ 641158 w 6781956"/>
              <a:gd name="connsiteY827" fmla="*/ 6374698 h 6858000"/>
              <a:gd name="connsiteX828" fmla="*/ 647335 w 6781956"/>
              <a:gd name="connsiteY828" fmla="*/ 6342148 h 6858000"/>
              <a:gd name="connsiteX829" fmla="*/ 668954 w 6781956"/>
              <a:gd name="connsiteY829" fmla="*/ 6320060 h 6858000"/>
              <a:gd name="connsiteX830" fmla="*/ 672043 w 6781956"/>
              <a:gd name="connsiteY830" fmla="*/ 6303785 h 6858000"/>
              <a:gd name="connsiteX831" fmla="*/ 678220 w 6781956"/>
              <a:gd name="connsiteY831" fmla="*/ 6302623 h 6858000"/>
              <a:gd name="connsiteX832" fmla="*/ 697782 w 6781956"/>
              <a:gd name="connsiteY832" fmla="*/ 6254957 h 6858000"/>
              <a:gd name="connsiteX833" fmla="*/ 718371 w 6781956"/>
              <a:gd name="connsiteY833" fmla="*/ 6225895 h 6858000"/>
              <a:gd name="connsiteX834" fmla="*/ 830588 w 6781956"/>
              <a:gd name="connsiteY834" fmla="*/ 6008502 h 6858000"/>
              <a:gd name="connsiteX835" fmla="*/ 848090 w 6781956"/>
              <a:gd name="connsiteY835" fmla="*/ 5984089 h 6858000"/>
              <a:gd name="connsiteX836" fmla="*/ 860444 w 6781956"/>
              <a:gd name="connsiteY836" fmla="*/ 5949213 h 6858000"/>
              <a:gd name="connsiteX837" fmla="*/ 872798 w 6781956"/>
              <a:gd name="connsiteY837" fmla="*/ 5914337 h 6858000"/>
              <a:gd name="connsiteX838" fmla="*/ 878975 w 6781956"/>
              <a:gd name="connsiteY838" fmla="*/ 5913175 h 6858000"/>
              <a:gd name="connsiteX839" fmla="*/ 887210 w 6781956"/>
              <a:gd name="connsiteY839" fmla="*/ 5887598 h 6858000"/>
              <a:gd name="connsiteX840" fmla="*/ 912948 w 6781956"/>
              <a:gd name="connsiteY840" fmla="*/ 5837611 h 6858000"/>
              <a:gd name="connsiteX841" fmla="*/ 913978 w 6781956"/>
              <a:gd name="connsiteY841" fmla="*/ 5825985 h 6858000"/>
              <a:gd name="connsiteX842" fmla="*/ 925303 w 6781956"/>
              <a:gd name="connsiteY842" fmla="*/ 5815521 h 6858000"/>
              <a:gd name="connsiteX843" fmla="*/ 928391 w 6781956"/>
              <a:gd name="connsiteY843" fmla="*/ 5799246 h 6858000"/>
              <a:gd name="connsiteX844" fmla="*/ 934569 w 6781956"/>
              <a:gd name="connsiteY844" fmla="*/ 5798084 h 6858000"/>
              <a:gd name="connsiteX845" fmla="*/ 940617 w 6781956"/>
              <a:gd name="connsiteY845" fmla="*/ 5788348 h 6858000"/>
              <a:gd name="connsiteX846" fmla="*/ 510410 w 6781956"/>
              <a:gd name="connsiteY846" fmla="*/ 5778320 h 6858000"/>
              <a:gd name="connsiteX847" fmla="*/ 490848 w 6781956"/>
              <a:gd name="connsiteY847" fmla="*/ 5825985 h 6858000"/>
              <a:gd name="connsiteX848" fmla="*/ 495773 w 6781956"/>
              <a:gd name="connsiteY848" fmla="*/ 5808057 h 6858000"/>
              <a:gd name="connsiteX849" fmla="*/ 499085 w 6781956"/>
              <a:gd name="connsiteY849" fmla="*/ 5805059 h 6858000"/>
              <a:gd name="connsiteX850" fmla="*/ 498746 w 6781956"/>
              <a:gd name="connsiteY850" fmla="*/ 5800057 h 6858000"/>
              <a:gd name="connsiteX851" fmla="*/ 921185 w 6781956"/>
              <a:gd name="connsiteY851" fmla="*/ 5775995 h 6858000"/>
              <a:gd name="connsiteX852" fmla="*/ 919126 w 6781956"/>
              <a:gd name="connsiteY852" fmla="*/ 5799246 h 6858000"/>
              <a:gd name="connsiteX853" fmla="*/ 921185 w 6781956"/>
              <a:gd name="connsiteY853" fmla="*/ 5775995 h 6858000"/>
              <a:gd name="connsiteX854" fmla="*/ 824410 w 6781956"/>
              <a:gd name="connsiteY854" fmla="*/ 5756232 h 6858000"/>
              <a:gd name="connsiteX855" fmla="*/ 832647 w 6781956"/>
              <a:gd name="connsiteY855" fmla="*/ 5762046 h 6858000"/>
              <a:gd name="connsiteX856" fmla="*/ 825440 w 6781956"/>
              <a:gd name="connsiteY856" fmla="*/ 5775995 h 6858000"/>
              <a:gd name="connsiteX857" fmla="*/ 817204 w 6781956"/>
              <a:gd name="connsiteY857" fmla="*/ 5770183 h 6858000"/>
              <a:gd name="connsiteX858" fmla="*/ 824410 w 6781956"/>
              <a:gd name="connsiteY858" fmla="*/ 5756232 h 6858000"/>
              <a:gd name="connsiteX859" fmla="*/ 682339 w 6781956"/>
              <a:gd name="connsiteY859" fmla="*/ 5734145 h 6858000"/>
              <a:gd name="connsiteX860" fmla="*/ 681309 w 6781956"/>
              <a:gd name="connsiteY860" fmla="*/ 5745769 h 6858000"/>
              <a:gd name="connsiteX861" fmla="*/ 665866 w 6781956"/>
              <a:gd name="connsiteY861" fmla="*/ 5777159 h 6858000"/>
              <a:gd name="connsiteX862" fmla="*/ 658659 w 6781956"/>
              <a:gd name="connsiteY862" fmla="*/ 5759721 h 6858000"/>
              <a:gd name="connsiteX863" fmla="*/ 682339 w 6781956"/>
              <a:gd name="connsiteY863" fmla="*/ 5734145 h 6858000"/>
              <a:gd name="connsiteX864" fmla="*/ 556738 w 6781956"/>
              <a:gd name="connsiteY864" fmla="*/ 5729494 h 6858000"/>
              <a:gd name="connsiteX865" fmla="*/ 542325 w 6781956"/>
              <a:gd name="connsiteY865" fmla="*/ 5769019 h 6858000"/>
              <a:gd name="connsiteX866" fmla="*/ 556738 w 6781956"/>
              <a:gd name="connsiteY866" fmla="*/ 5729494 h 6858000"/>
              <a:gd name="connsiteX867" fmla="*/ 802791 w 6781956"/>
              <a:gd name="connsiteY867" fmla="*/ 5728332 h 6858000"/>
              <a:gd name="connsiteX868" fmla="*/ 785290 w 6781956"/>
              <a:gd name="connsiteY868" fmla="*/ 5771345 h 6858000"/>
              <a:gd name="connsiteX869" fmla="*/ 790437 w 6781956"/>
              <a:gd name="connsiteY869" fmla="*/ 5750421 h 6858000"/>
              <a:gd name="connsiteX870" fmla="*/ 802791 w 6781956"/>
              <a:gd name="connsiteY870" fmla="*/ 5728332 h 6858000"/>
              <a:gd name="connsiteX871" fmla="*/ 586400 w 6781956"/>
              <a:gd name="connsiteY871" fmla="*/ 5728132 h 6858000"/>
              <a:gd name="connsiteX872" fmla="*/ 574240 w 6781956"/>
              <a:gd name="connsiteY872" fmla="*/ 5767858 h 6858000"/>
              <a:gd name="connsiteX873" fmla="*/ 580416 w 6781956"/>
              <a:gd name="connsiteY873" fmla="*/ 5735307 h 6858000"/>
              <a:gd name="connsiteX874" fmla="*/ 586400 w 6781956"/>
              <a:gd name="connsiteY874" fmla="*/ 5728132 h 6858000"/>
              <a:gd name="connsiteX875" fmla="*/ 925303 w 6781956"/>
              <a:gd name="connsiteY875" fmla="*/ 5716707 h 6858000"/>
              <a:gd name="connsiteX876" fmla="*/ 896476 w 6781956"/>
              <a:gd name="connsiteY876" fmla="*/ 5782971 h 6858000"/>
              <a:gd name="connsiteX877" fmla="*/ 906772 w 6781956"/>
              <a:gd name="connsiteY877" fmla="*/ 5752744 h 6858000"/>
              <a:gd name="connsiteX878" fmla="*/ 925303 w 6781956"/>
              <a:gd name="connsiteY878" fmla="*/ 5716707 h 6858000"/>
              <a:gd name="connsiteX879" fmla="*/ 511664 w 6781956"/>
              <a:gd name="connsiteY879" fmla="*/ 5700921 h 6858000"/>
              <a:gd name="connsiteX880" fmla="*/ 521734 w 6781956"/>
              <a:gd name="connsiteY880" fmla="*/ 5705081 h 6858000"/>
              <a:gd name="connsiteX881" fmla="*/ 507321 w 6781956"/>
              <a:gd name="connsiteY881" fmla="*/ 5731820 h 6858000"/>
              <a:gd name="connsiteX882" fmla="*/ 511664 w 6781956"/>
              <a:gd name="connsiteY882" fmla="*/ 5700921 h 6858000"/>
              <a:gd name="connsiteX883" fmla="*/ 569092 w 6781956"/>
              <a:gd name="connsiteY883" fmla="*/ 5695781 h 6858000"/>
              <a:gd name="connsiteX884" fmla="*/ 557767 w 6781956"/>
              <a:gd name="connsiteY884" fmla="*/ 5717868 h 6858000"/>
              <a:gd name="connsiteX885" fmla="*/ 569092 w 6781956"/>
              <a:gd name="connsiteY885" fmla="*/ 5695781 h 6858000"/>
              <a:gd name="connsiteX886" fmla="*/ 553810 w 6781956"/>
              <a:gd name="connsiteY886" fmla="*/ 5691094 h 6858000"/>
              <a:gd name="connsiteX887" fmla="*/ 550560 w 6781956"/>
              <a:gd name="connsiteY887" fmla="*/ 5700431 h 6858000"/>
              <a:gd name="connsiteX888" fmla="*/ 545414 w 6781956"/>
              <a:gd name="connsiteY888" fmla="*/ 5709732 h 6858000"/>
              <a:gd name="connsiteX889" fmla="*/ 553810 w 6781956"/>
              <a:gd name="connsiteY889" fmla="*/ 5691094 h 6858000"/>
              <a:gd name="connsiteX890" fmla="*/ 770876 w 6781956"/>
              <a:gd name="connsiteY890" fmla="*/ 5685318 h 6858000"/>
              <a:gd name="connsiteX891" fmla="*/ 757492 w 6781956"/>
              <a:gd name="connsiteY891" fmla="*/ 5731820 h 6858000"/>
              <a:gd name="connsiteX892" fmla="*/ 731754 w 6781956"/>
              <a:gd name="connsiteY892" fmla="*/ 5780645 h 6858000"/>
              <a:gd name="connsiteX893" fmla="*/ 743078 w 6781956"/>
              <a:gd name="connsiteY893" fmla="*/ 5738795 h 6858000"/>
              <a:gd name="connsiteX894" fmla="*/ 748227 w 6781956"/>
              <a:gd name="connsiteY894" fmla="*/ 5717868 h 6858000"/>
              <a:gd name="connsiteX895" fmla="*/ 754404 w 6781956"/>
              <a:gd name="connsiteY895" fmla="*/ 5716707 h 6858000"/>
              <a:gd name="connsiteX896" fmla="*/ 770876 w 6781956"/>
              <a:gd name="connsiteY896" fmla="*/ 5685318 h 6858000"/>
              <a:gd name="connsiteX897" fmla="*/ 820292 w 6781956"/>
              <a:gd name="connsiteY897" fmla="*/ 5672531 h 6858000"/>
              <a:gd name="connsiteX898" fmla="*/ 809997 w 6781956"/>
              <a:gd name="connsiteY898" fmla="*/ 5721356 h 6858000"/>
              <a:gd name="connsiteX899" fmla="*/ 812057 w 6781956"/>
              <a:gd name="connsiteY899" fmla="*/ 5698106 h 6858000"/>
              <a:gd name="connsiteX900" fmla="*/ 811027 w 6781956"/>
              <a:gd name="connsiteY900" fmla="*/ 5691131 h 6858000"/>
              <a:gd name="connsiteX901" fmla="*/ 820292 w 6781956"/>
              <a:gd name="connsiteY901" fmla="*/ 5672531 h 6858000"/>
              <a:gd name="connsiteX902" fmla="*/ 520321 w 6781956"/>
              <a:gd name="connsiteY902" fmla="*/ 5670603 h 6858000"/>
              <a:gd name="connsiteX903" fmla="*/ 518680 w 6781956"/>
              <a:gd name="connsiteY903" fmla="*/ 5674602 h 6858000"/>
              <a:gd name="connsiteX904" fmla="*/ 518131 w 6781956"/>
              <a:gd name="connsiteY904" fmla="*/ 5672676 h 6858000"/>
              <a:gd name="connsiteX905" fmla="*/ 524029 w 6781956"/>
              <a:gd name="connsiteY905" fmla="*/ 5667094 h 6858000"/>
              <a:gd name="connsiteX906" fmla="*/ 527692 w 6781956"/>
              <a:gd name="connsiteY906" fmla="*/ 5667578 h 6858000"/>
              <a:gd name="connsiteX907" fmla="*/ 530099 w 6781956"/>
              <a:gd name="connsiteY907" fmla="*/ 5677035 h 6858000"/>
              <a:gd name="connsiteX908" fmla="*/ 521734 w 6781956"/>
              <a:gd name="connsiteY908" fmla="*/ 5685318 h 6858000"/>
              <a:gd name="connsiteX909" fmla="*/ 519700 w 6781956"/>
              <a:gd name="connsiteY909" fmla="*/ 5678179 h 6858000"/>
              <a:gd name="connsiteX910" fmla="*/ 520898 w 6781956"/>
              <a:gd name="connsiteY910" fmla="*/ 5670059 h 6858000"/>
              <a:gd name="connsiteX911" fmla="*/ 612332 w 6781956"/>
              <a:gd name="connsiteY911" fmla="*/ 5664393 h 6858000"/>
              <a:gd name="connsiteX912" fmla="*/ 606153 w 6781956"/>
              <a:gd name="connsiteY912" fmla="*/ 5696944 h 6858000"/>
              <a:gd name="connsiteX913" fmla="*/ 612332 w 6781956"/>
              <a:gd name="connsiteY913" fmla="*/ 5664393 h 6858000"/>
              <a:gd name="connsiteX914" fmla="*/ 587881 w 6781956"/>
              <a:gd name="connsiteY914" fmla="*/ 5652876 h 6858000"/>
              <a:gd name="connsiteX915" fmla="*/ 593800 w 6781956"/>
              <a:gd name="connsiteY915" fmla="*/ 5657418 h 6858000"/>
              <a:gd name="connsiteX916" fmla="*/ 587623 w 6781956"/>
              <a:gd name="connsiteY916" fmla="*/ 5678343 h 6858000"/>
              <a:gd name="connsiteX917" fmla="*/ 576299 w 6781956"/>
              <a:gd name="connsiteY917" fmla="*/ 5670205 h 6858000"/>
              <a:gd name="connsiteX918" fmla="*/ 583505 w 6781956"/>
              <a:gd name="connsiteY918" fmla="*/ 5655963 h 6858000"/>
              <a:gd name="connsiteX919" fmla="*/ 587881 w 6781956"/>
              <a:gd name="connsiteY919" fmla="*/ 5652876 h 6858000"/>
              <a:gd name="connsiteX920" fmla="*/ 956189 w 6781956"/>
              <a:gd name="connsiteY920" fmla="*/ 5645792 h 6858000"/>
              <a:gd name="connsiteX921" fmla="*/ 944864 w 6781956"/>
              <a:gd name="connsiteY921" fmla="*/ 5687644 h 6858000"/>
              <a:gd name="connsiteX922" fmla="*/ 937657 w 6781956"/>
              <a:gd name="connsiteY922" fmla="*/ 5713219 h 6858000"/>
              <a:gd name="connsiteX923" fmla="*/ 943833 w 6781956"/>
              <a:gd name="connsiteY923" fmla="*/ 5680668 h 6858000"/>
              <a:gd name="connsiteX924" fmla="*/ 956189 w 6781956"/>
              <a:gd name="connsiteY924" fmla="*/ 5645792 h 6858000"/>
              <a:gd name="connsiteX925" fmla="*/ 723519 w 6781956"/>
              <a:gd name="connsiteY925" fmla="*/ 5633004 h 6858000"/>
              <a:gd name="connsiteX926" fmla="*/ 707046 w 6781956"/>
              <a:gd name="connsiteY926" fmla="*/ 5695781 h 6858000"/>
              <a:gd name="connsiteX927" fmla="*/ 713224 w 6781956"/>
              <a:gd name="connsiteY927" fmla="*/ 5663230 h 6858000"/>
              <a:gd name="connsiteX928" fmla="*/ 723519 w 6781956"/>
              <a:gd name="connsiteY928" fmla="*/ 5633004 h 6858000"/>
              <a:gd name="connsiteX929" fmla="*/ 574240 w 6781956"/>
              <a:gd name="connsiteY929" fmla="*/ 5623704 h 6858000"/>
              <a:gd name="connsiteX930" fmla="*/ 571152 w 6781956"/>
              <a:gd name="connsiteY930" fmla="*/ 5639979 h 6858000"/>
              <a:gd name="connsiteX931" fmla="*/ 563944 w 6781956"/>
              <a:gd name="connsiteY931" fmla="*/ 5653930 h 6858000"/>
              <a:gd name="connsiteX932" fmla="*/ 574240 w 6781956"/>
              <a:gd name="connsiteY932" fmla="*/ 5623704 h 6858000"/>
              <a:gd name="connsiteX933" fmla="*/ 920751 w 6781956"/>
              <a:gd name="connsiteY933" fmla="*/ 5615548 h 6858000"/>
              <a:gd name="connsiteX934" fmla="*/ 913978 w 6781956"/>
              <a:gd name="connsiteY934" fmla="*/ 5634168 h 6858000"/>
              <a:gd name="connsiteX935" fmla="*/ 902653 w 6781956"/>
              <a:gd name="connsiteY935" fmla="*/ 5656255 h 6858000"/>
              <a:gd name="connsiteX936" fmla="*/ 920751 w 6781956"/>
              <a:gd name="connsiteY936" fmla="*/ 5615548 h 6858000"/>
              <a:gd name="connsiteX937" fmla="*/ 741021 w 6781956"/>
              <a:gd name="connsiteY937" fmla="*/ 5608592 h 6858000"/>
              <a:gd name="connsiteX938" fmla="*/ 731754 w 6781956"/>
              <a:gd name="connsiteY938" fmla="*/ 5627191 h 6858000"/>
              <a:gd name="connsiteX939" fmla="*/ 741021 w 6781956"/>
              <a:gd name="connsiteY939" fmla="*/ 5608592 h 6858000"/>
              <a:gd name="connsiteX940" fmla="*/ 882080 w 6781956"/>
              <a:gd name="connsiteY940" fmla="*/ 5592278 h 6858000"/>
              <a:gd name="connsiteX941" fmla="*/ 878975 w 6781956"/>
              <a:gd name="connsiteY941" fmla="*/ 5601615 h 6858000"/>
              <a:gd name="connsiteX942" fmla="*/ 873827 w 6781956"/>
              <a:gd name="connsiteY942" fmla="*/ 5610917 h 6858000"/>
              <a:gd name="connsiteX943" fmla="*/ 882080 w 6781956"/>
              <a:gd name="connsiteY943" fmla="*/ 5592278 h 6858000"/>
              <a:gd name="connsiteX944" fmla="*/ 622626 w 6781956"/>
              <a:gd name="connsiteY944" fmla="*/ 5572553 h 6858000"/>
              <a:gd name="connsiteX945" fmla="*/ 624685 w 6781956"/>
              <a:gd name="connsiteY945" fmla="*/ 5599292 h 6858000"/>
              <a:gd name="connsiteX946" fmla="*/ 606153 w 6781956"/>
              <a:gd name="connsiteY946" fmla="*/ 5635329 h 6858000"/>
              <a:gd name="connsiteX947" fmla="*/ 612332 w 6781956"/>
              <a:gd name="connsiteY947" fmla="*/ 5602779 h 6858000"/>
              <a:gd name="connsiteX948" fmla="*/ 622626 w 6781956"/>
              <a:gd name="connsiteY948" fmla="*/ 5572553 h 6858000"/>
              <a:gd name="connsiteX949" fmla="*/ 1033401 w 6781956"/>
              <a:gd name="connsiteY949" fmla="*/ 5559765 h 6858000"/>
              <a:gd name="connsiteX950" fmla="*/ 1034431 w 6781956"/>
              <a:gd name="connsiteY950" fmla="*/ 5578365 h 6858000"/>
              <a:gd name="connsiteX951" fmla="*/ 1035460 w 6781956"/>
              <a:gd name="connsiteY951" fmla="*/ 5585340 h 6858000"/>
              <a:gd name="connsiteX952" fmla="*/ 1004575 w 6781956"/>
              <a:gd name="connsiteY952" fmla="*/ 5644629 h 6858000"/>
              <a:gd name="connsiteX953" fmla="*/ 1001488 w 6781956"/>
              <a:gd name="connsiteY953" fmla="*/ 5660905 h 6858000"/>
              <a:gd name="connsiteX954" fmla="*/ 944864 w 6781956"/>
              <a:gd name="connsiteY954" fmla="*/ 5780645 h 6858000"/>
              <a:gd name="connsiteX955" fmla="*/ 953100 w 6781956"/>
              <a:gd name="connsiteY955" fmla="*/ 5743444 h 6858000"/>
              <a:gd name="connsiteX956" fmla="*/ 933539 w 6781956"/>
              <a:gd name="connsiteY956" fmla="*/ 5760882 h 6858000"/>
              <a:gd name="connsiteX957" fmla="*/ 958247 w 6781956"/>
              <a:gd name="connsiteY957" fmla="*/ 5703919 h 6858000"/>
              <a:gd name="connsiteX958" fmla="*/ 961335 w 6781956"/>
              <a:gd name="connsiteY958" fmla="*/ 5719033 h 6858000"/>
              <a:gd name="connsiteX959" fmla="*/ 976778 w 6781956"/>
              <a:gd name="connsiteY959" fmla="*/ 5699269 h 6858000"/>
              <a:gd name="connsiteX960" fmla="*/ 1033401 w 6781956"/>
              <a:gd name="connsiteY960" fmla="*/ 5559765 h 6858000"/>
              <a:gd name="connsiteX961" fmla="*/ 754404 w 6781956"/>
              <a:gd name="connsiteY961" fmla="*/ 5543489 h 6858000"/>
              <a:gd name="connsiteX962" fmla="*/ 746168 w 6781956"/>
              <a:gd name="connsiteY962" fmla="*/ 5569065 h 6858000"/>
              <a:gd name="connsiteX963" fmla="*/ 753375 w 6781956"/>
              <a:gd name="connsiteY963" fmla="*/ 5555114 h 6858000"/>
              <a:gd name="connsiteX964" fmla="*/ 754404 w 6781956"/>
              <a:gd name="connsiteY964" fmla="*/ 5543489 h 6858000"/>
              <a:gd name="connsiteX965" fmla="*/ 1097231 w 6781956"/>
              <a:gd name="connsiteY965" fmla="*/ 5541165 h 6858000"/>
              <a:gd name="connsiteX966" fmla="*/ 1092084 w 6781956"/>
              <a:gd name="connsiteY966" fmla="*/ 5550465 h 6858000"/>
              <a:gd name="connsiteX967" fmla="*/ 1045756 w 6781956"/>
              <a:gd name="connsiteY967" fmla="*/ 5659742 h 6858000"/>
              <a:gd name="connsiteX968" fmla="*/ 1055021 w 6781956"/>
              <a:gd name="connsiteY968" fmla="*/ 5672531 h 6858000"/>
              <a:gd name="connsiteX969" fmla="*/ 1040608 w 6781956"/>
              <a:gd name="connsiteY969" fmla="*/ 5669044 h 6858000"/>
              <a:gd name="connsiteX970" fmla="*/ 1020018 w 6781956"/>
              <a:gd name="connsiteY970" fmla="*/ 5709732 h 6858000"/>
              <a:gd name="connsiteX971" fmla="*/ 1032372 w 6781956"/>
              <a:gd name="connsiteY971" fmla="*/ 5706244 h 6858000"/>
              <a:gd name="connsiteX972" fmla="*/ 1023106 w 6781956"/>
              <a:gd name="connsiteY972" fmla="*/ 5724845 h 6858000"/>
              <a:gd name="connsiteX973" fmla="*/ 995309 w 6781956"/>
              <a:gd name="connsiteY973" fmla="*/ 5766696 h 6858000"/>
              <a:gd name="connsiteX974" fmla="*/ 987072 w 6781956"/>
              <a:gd name="connsiteY974" fmla="*/ 5792271 h 6858000"/>
              <a:gd name="connsiteX975" fmla="*/ 994281 w 6781956"/>
              <a:gd name="connsiteY975" fmla="*/ 5802734 h 6858000"/>
              <a:gd name="connsiteX976" fmla="*/ 970602 w 6781956"/>
              <a:gd name="connsiteY976" fmla="*/ 5828309 h 6858000"/>
              <a:gd name="connsiteX977" fmla="*/ 973689 w 6781956"/>
              <a:gd name="connsiteY977" fmla="*/ 5843423 h 6858000"/>
              <a:gd name="connsiteX978" fmla="*/ 960306 w 6781956"/>
              <a:gd name="connsiteY978" fmla="*/ 5858535 h 6858000"/>
              <a:gd name="connsiteX979" fmla="*/ 957219 w 6781956"/>
              <a:gd name="connsiteY979" fmla="*/ 5874811 h 6858000"/>
              <a:gd name="connsiteX980" fmla="*/ 951040 w 6781956"/>
              <a:gd name="connsiteY980" fmla="*/ 5875974 h 6858000"/>
              <a:gd name="connsiteX981" fmla="*/ 945893 w 6781956"/>
              <a:gd name="connsiteY981" fmla="*/ 5885274 h 6858000"/>
              <a:gd name="connsiteX982" fmla="*/ 927362 w 6781956"/>
              <a:gd name="connsiteY982" fmla="*/ 5921312 h 6858000"/>
              <a:gd name="connsiteX983" fmla="*/ 945893 w 6781956"/>
              <a:gd name="connsiteY983" fmla="*/ 5865510 h 6858000"/>
              <a:gd name="connsiteX984" fmla="*/ 954129 w 6781956"/>
              <a:gd name="connsiteY984" fmla="*/ 5839935 h 6858000"/>
              <a:gd name="connsiteX985" fmla="*/ 973689 w 6781956"/>
              <a:gd name="connsiteY985" fmla="*/ 5792271 h 6858000"/>
              <a:gd name="connsiteX986" fmla="*/ 978838 w 6781956"/>
              <a:gd name="connsiteY986" fmla="*/ 5771345 h 6858000"/>
              <a:gd name="connsiteX987" fmla="*/ 985015 w 6781956"/>
              <a:gd name="connsiteY987" fmla="*/ 5770183 h 6858000"/>
              <a:gd name="connsiteX988" fmla="*/ 1002515 w 6781956"/>
              <a:gd name="connsiteY988" fmla="*/ 5745769 h 6858000"/>
              <a:gd name="connsiteX989" fmla="*/ 1024136 w 6781956"/>
              <a:gd name="connsiteY989" fmla="*/ 5693455 h 6858000"/>
              <a:gd name="connsiteX990" fmla="*/ 1021047 w 6781956"/>
              <a:gd name="connsiteY990" fmla="*/ 5678343 h 6858000"/>
              <a:gd name="connsiteX991" fmla="*/ 1061198 w 6781956"/>
              <a:gd name="connsiteY991" fmla="*/ 5601615 h 6858000"/>
              <a:gd name="connsiteX992" fmla="*/ 1088996 w 6781956"/>
              <a:gd name="connsiteY992" fmla="*/ 5546977 h 6858000"/>
              <a:gd name="connsiteX993" fmla="*/ 1097231 w 6781956"/>
              <a:gd name="connsiteY993" fmla="*/ 5541165 h 6858000"/>
              <a:gd name="connsiteX994" fmla="*/ 628803 w 6781956"/>
              <a:gd name="connsiteY994" fmla="*/ 5540003 h 6858000"/>
              <a:gd name="connsiteX995" fmla="*/ 628803 w 6781956"/>
              <a:gd name="connsiteY995" fmla="*/ 5571391 h 6858000"/>
              <a:gd name="connsiteX996" fmla="*/ 628803 w 6781956"/>
              <a:gd name="connsiteY996" fmla="*/ 5540003 h 6858000"/>
              <a:gd name="connsiteX997" fmla="*/ 608213 w 6781956"/>
              <a:gd name="connsiteY997" fmla="*/ 5537677 h 6858000"/>
              <a:gd name="connsiteX998" fmla="*/ 582476 w 6781956"/>
              <a:gd name="connsiteY998" fmla="*/ 5617891 h 6858000"/>
              <a:gd name="connsiteX999" fmla="*/ 590710 w 6781956"/>
              <a:gd name="connsiteY999" fmla="*/ 5580691 h 6858000"/>
              <a:gd name="connsiteX1000" fmla="*/ 608213 w 6781956"/>
              <a:gd name="connsiteY1000" fmla="*/ 5537677 h 6858000"/>
              <a:gd name="connsiteX1001" fmla="*/ 1033562 w 6781956"/>
              <a:gd name="connsiteY1001" fmla="*/ 5534825 h 6858000"/>
              <a:gd name="connsiteX1002" fmla="*/ 1030314 w 6781956"/>
              <a:gd name="connsiteY1002" fmla="*/ 5544652 h 6858000"/>
              <a:gd name="connsiteX1003" fmla="*/ 1025165 w 6781956"/>
              <a:gd name="connsiteY1003" fmla="*/ 5553952 h 6858000"/>
              <a:gd name="connsiteX1004" fmla="*/ 1033562 w 6781956"/>
              <a:gd name="connsiteY1004" fmla="*/ 5534825 h 6858000"/>
              <a:gd name="connsiteX1005" fmla="*/ 1059139 w 6781956"/>
              <a:gd name="connsiteY1005" fmla="*/ 5509776 h 6858000"/>
              <a:gd name="connsiteX1006" fmla="*/ 1039579 w 6781956"/>
              <a:gd name="connsiteY1006" fmla="*/ 5557440 h 6858000"/>
              <a:gd name="connsiteX1007" fmla="*/ 1059139 w 6781956"/>
              <a:gd name="connsiteY1007" fmla="*/ 5509776 h 6858000"/>
              <a:gd name="connsiteX1008" fmla="*/ 1011782 w 6781956"/>
              <a:gd name="connsiteY1008" fmla="*/ 5506289 h 6858000"/>
              <a:gd name="connsiteX1009" fmla="*/ 1018988 w 6781956"/>
              <a:gd name="connsiteY1009" fmla="*/ 5523726 h 6858000"/>
              <a:gd name="connsiteX1010" fmla="*/ 976778 w 6781956"/>
              <a:gd name="connsiteY1010" fmla="*/ 5613241 h 6858000"/>
              <a:gd name="connsiteX1011" fmla="*/ 980897 w 6781956"/>
              <a:gd name="connsiteY1011" fmla="*/ 5585340 h 6858000"/>
              <a:gd name="connsiteX1012" fmla="*/ 993251 w 6781956"/>
              <a:gd name="connsiteY1012" fmla="*/ 5550465 h 6858000"/>
              <a:gd name="connsiteX1013" fmla="*/ 998398 w 6781956"/>
              <a:gd name="connsiteY1013" fmla="*/ 5541165 h 6858000"/>
              <a:gd name="connsiteX1014" fmla="*/ 1005604 w 6781956"/>
              <a:gd name="connsiteY1014" fmla="*/ 5527213 h 6858000"/>
              <a:gd name="connsiteX1015" fmla="*/ 1004575 w 6781956"/>
              <a:gd name="connsiteY1015" fmla="*/ 5520239 h 6858000"/>
              <a:gd name="connsiteX1016" fmla="*/ 1011782 w 6781956"/>
              <a:gd name="connsiteY1016" fmla="*/ 5506289 h 6858000"/>
              <a:gd name="connsiteX1017" fmla="*/ 935598 w 6781956"/>
              <a:gd name="connsiteY1017" fmla="*/ 5501638 h 6858000"/>
              <a:gd name="connsiteX1018" fmla="*/ 930450 w 6781956"/>
              <a:gd name="connsiteY1018" fmla="*/ 5541165 h 6858000"/>
              <a:gd name="connsiteX1019" fmla="*/ 845001 w 6781956"/>
              <a:gd name="connsiteY1019" fmla="*/ 5727170 h 6858000"/>
              <a:gd name="connsiteX1020" fmla="*/ 849120 w 6781956"/>
              <a:gd name="connsiteY1020" fmla="*/ 5699269 h 6858000"/>
              <a:gd name="connsiteX1021" fmla="*/ 887210 w 6781956"/>
              <a:gd name="connsiteY1021" fmla="*/ 5615567 h 6858000"/>
              <a:gd name="connsiteX1022" fmla="*/ 935598 w 6781956"/>
              <a:gd name="connsiteY1022" fmla="*/ 5501638 h 6858000"/>
              <a:gd name="connsiteX1023" fmla="*/ 1053702 w 6781956"/>
              <a:gd name="connsiteY1023" fmla="*/ 5481331 h 6858000"/>
              <a:gd name="connsiteX1024" fmla="*/ 1057081 w 6781956"/>
              <a:gd name="connsiteY1024" fmla="*/ 5483039 h 6858000"/>
              <a:gd name="connsiteX1025" fmla="*/ 1053991 w 6781956"/>
              <a:gd name="connsiteY1025" fmla="*/ 5499312 h 6858000"/>
              <a:gd name="connsiteX1026" fmla="*/ 1053702 w 6781956"/>
              <a:gd name="connsiteY1026" fmla="*/ 5481331 h 6858000"/>
              <a:gd name="connsiteX1027" fmla="*/ 1080920 w 6781956"/>
              <a:gd name="connsiteY1027" fmla="*/ 5474863 h 6858000"/>
              <a:gd name="connsiteX1028" fmla="*/ 1077671 w 6781956"/>
              <a:gd name="connsiteY1028" fmla="*/ 5484200 h 6858000"/>
              <a:gd name="connsiteX1029" fmla="*/ 1072523 w 6781956"/>
              <a:gd name="connsiteY1029" fmla="*/ 5493501 h 6858000"/>
              <a:gd name="connsiteX1030" fmla="*/ 1080920 w 6781956"/>
              <a:gd name="connsiteY1030" fmla="*/ 5474863 h 6858000"/>
              <a:gd name="connsiteX1031" fmla="*/ 1116792 w 6781956"/>
              <a:gd name="connsiteY1031" fmla="*/ 5470250 h 6858000"/>
              <a:gd name="connsiteX1032" fmla="*/ 1100320 w 6781956"/>
              <a:gd name="connsiteY1032" fmla="*/ 5533027 h 6858000"/>
              <a:gd name="connsiteX1033" fmla="*/ 1101350 w 6781956"/>
              <a:gd name="connsiteY1033" fmla="*/ 5521402 h 6858000"/>
              <a:gd name="connsiteX1034" fmla="*/ 1116792 w 6781956"/>
              <a:gd name="connsiteY1034" fmla="*/ 5470250 h 6858000"/>
              <a:gd name="connsiteX1035" fmla="*/ 661748 w 6781956"/>
              <a:gd name="connsiteY1035" fmla="*/ 5465600 h 6858000"/>
              <a:gd name="connsiteX1036" fmla="*/ 662777 w 6781956"/>
              <a:gd name="connsiteY1036" fmla="*/ 5484200 h 6858000"/>
              <a:gd name="connsiteX1037" fmla="*/ 644246 w 6781956"/>
              <a:gd name="connsiteY1037" fmla="*/ 5520239 h 6858000"/>
              <a:gd name="connsiteX1038" fmla="*/ 649394 w 6781956"/>
              <a:gd name="connsiteY1038" fmla="*/ 5499312 h 6858000"/>
              <a:gd name="connsiteX1039" fmla="*/ 661748 w 6781956"/>
              <a:gd name="connsiteY1039" fmla="*/ 5465600 h 6858000"/>
              <a:gd name="connsiteX1040" fmla="*/ 638970 w 6781956"/>
              <a:gd name="connsiteY1040" fmla="*/ 5462548 h 6858000"/>
              <a:gd name="connsiteX1041" fmla="*/ 640128 w 6781956"/>
              <a:gd name="connsiteY1041" fmla="*/ 5466762 h 6858000"/>
              <a:gd name="connsiteX1042" fmla="*/ 636010 w 6781956"/>
              <a:gd name="connsiteY1042" fmla="*/ 5483039 h 6858000"/>
              <a:gd name="connsiteX1043" fmla="*/ 615420 w 6781956"/>
              <a:gd name="connsiteY1043" fmla="*/ 5523726 h 6858000"/>
              <a:gd name="connsiteX1044" fmla="*/ 607185 w 6781956"/>
              <a:gd name="connsiteY1044" fmla="*/ 5529539 h 6858000"/>
              <a:gd name="connsiteX1045" fmla="*/ 633952 w 6781956"/>
              <a:gd name="connsiteY1045" fmla="*/ 5467925 h 6858000"/>
              <a:gd name="connsiteX1046" fmla="*/ 638970 w 6781956"/>
              <a:gd name="connsiteY1046" fmla="*/ 5462548 h 6858000"/>
              <a:gd name="connsiteX1047" fmla="*/ 1047815 w 6781956"/>
              <a:gd name="connsiteY1047" fmla="*/ 5458625 h 6858000"/>
              <a:gd name="connsiteX1048" fmla="*/ 1027225 w 6781956"/>
              <a:gd name="connsiteY1048" fmla="*/ 5499312 h 6858000"/>
              <a:gd name="connsiteX1049" fmla="*/ 1047815 w 6781956"/>
              <a:gd name="connsiteY1049" fmla="*/ 5458625 h 6858000"/>
              <a:gd name="connsiteX1050" fmla="*/ 1005604 w 6781956"/>
              <a:gd name="connsiteY1050" fmla="*/ 5458625 h 6858000"/>
              <a:gd name="connsiteX1051" fmla="*/ 999428 w 6781956"/>
              <a:gd name="connsiteY1051" fmla="*/ 5491175 h 6858000"/>
              <a:gd name="connsiteX1052" fmla="*/ 1005604 w 6781956"/>
              <a:gd name="connsiteY1052" fmla="*/ 5458625 h 6858000"/>
              <a:gd name="connsiteX1053" fmla="*/ 712195 w 6781956"/>
              <a:gd name="connsiteY1053" fmla="*/ 5451649 h 6858000"/>
              <a:gd name="connsiteX1054" fmla="*/ 710135 w 6781956"/>
              <a:gd name="connsiteY1054" fmla="*/ 5474901 h 6858000"/>
              <a:gd name="connsiteX1055" fmla="*/ 667925 w 6781956"/>
              <a:gd name="connsiteY1055" fmla="*/ 5556278 h 6858000"/>
              <a:gd name="connsiteX1056" fmla="*/ 694692 w 6781956"/>
              <a:gd name="connsiteY1056" fmla="*/ 5494663 h 6858000"/>
              <a:gd name="connsiteX1057" fmla="*/ 712195 w 6781956"/>
              <a:gd name="connsiteY1057" fmla="*/ 5451649 h 6858000"/>
              <a:gd name="connsiteX1058" fmla="*/ 1095671 w 6781956"/>
              <a:gd name="connsiteY1058" fmla="*/ 5419734 h 6858000"/>
              <a:gd name="connsiteX1059" fmla="*/ 1103408 w 6781956"/>
              <a:gd name="connsiteY1059" fmla="*/ 5423748 h 6858000"/>
              <a:gd name="connsiteX1060" fmla="*/ 1088996 w 6781956"/>
              <a:gd name="connsiteY1060" fmla="*/ 5450487 h 6858000"/>
              <a:gd name="connsiteX1061" fmla="*/ 1090025 w 6781956"/>
              <a:gd name="connsiteY1061" fmla="*/ 5438862 h 6858000"/>
              <a:gd name="connsiteX1062" fmla="*/ 1095671 w 6781956"/>
              <a:gd name="connsiteY1062" fmla="*/ 5419734 h 6858000"/>
              <a:gd name="connsiteX1063" fmla="*/ 684397 w 6781956"/>
              <a:gd name="connsiteY1063" fmla="*/ 5412124 h 6858000"/>
              <a:gd name="connsiteX1064" fmla="*/ 669984 w 6781956"/>
              <a:gd name="connsiteY1064" fmla="*/ 5451649 h 6858000"/>
              <a:gd name="connsiteX1065" fmla="*/ 684397 w 6781956"/>
              <a:gd name="connsiteY1065" fmla="*/ 5412124 h 6858000"/>
              <a:gd name="connsiteX1066" fmla="*/ 739991 w 6781956"/>
              <a:gd name="connsiteY1066" fmla="*/ 5397011 h 6858000"/>
              <a:gd name="connsiteX1067" fmla="*/ 728667 w 6781956"/>
              <a:gd name="connsiteY1067" fmla="*/ 5438862 h 6858000"/>
              <a:gd name="connsiteX1068" fmla="*/ 739991 w 6781956"/>
              <a:gd name="connsiteY1068" fmla="*/ 5397011 h 6858000"/>
              <a:gd name="connsiteX1069" fmla="*/ 1112835 w 6781956"/>
              <a:gd name="connsiteY1069" fmla="*/ 5392997 h 6858000"/>
              <a:gd name="connsiteX1070" fmla="*/ 1109586 w 6781956"/>
              <a:gd name="connsiteY1070" fmla="*/ 5402823 h 6858000"/>
              <a:gd name="connsiteX1071" fmla="*/ 1104438 w 6781956"/>
              <a:gd name="connsiteY1071" fmla="*/ 5412124 h 6858000"/>
              <a:gd name="connsiteX1072" fmla="*/ 1112835 w 6781956"/>
              <a:gd name="connsiteY1072" fmla="*/ 5392997 h 6858000"/>
              <a:gd name="connsiteX1073" fmla="*/ 833677 w 6781956"/>
              <a:gd name="connsiteY1073" fmla="*/ 5370273 h 6858000"/>
              <a:gd name="connsiteX1074" fmla="*/ 825440 w 6781956"/>
              <a:gd name="connsiteY1074" fmla="*/ 5407474 h 6858000"/>
              <a:gd name="connsiteX1075" fmla="*/ 817204 w 6781956"/>
              <a:gd name="connsiteY1075" fmla="*/ 5433048 h 6858000"/>
              <a:gd name="connsiteX1076" fmla="*/ 790437 w 6781956"/>
              <a:gd name="connsiteY1076" fmla="*/ 5494663 h 6858000"/>
              <a:gd name="connsiteX1077" fmla="*/ 769847 w 6781956"/>
              <a:gd name="connsiteY1077" fmla="*/ 5523726 h 6858000"/>
              <a:gd name="connsiteX1078" fmla="*/ 760581 w 6781956"/>
              <a:gd name="connsiteY1078" fmla="*/ 5583016 h 6858000"/>
              <a:gd name="connsiteX1079" fmla="*/ 744108 w 6781956"/>
              <a:gd name="connsiteY1079" fmla="*/ 5584178 h 6858000"/>
              <a:gd name="connsiteX1080" fmla="*/ 720430 w 6781956"/>
              <a:gd name="connsiteY1080" fmla="*/ 5629517 h 6858000"/>
              <a:gd name="connsiteX1081" fmla="*/ 719401 w 6781956"/>
              <a:gd name="connsiteY1081" fmla="*/ 5610917 h 6858000"/>
              <a:gd name="connsiteX1082" fmla="*/ 786319 w 6781956"/>
              <a:gd name="connsiteY1082" fmla="*/ 5460949 h 6858000"/>
              <a:gd name="connsiteX1083" fmla="*/ 791466 w 6781956"/>
              <a:gd name="connsiteY1083" fmla="*/ 5451649 h 6858000"/>
              <a:gd name="connsiteX1084" fmla="*/ 799702 w 6781956"/>
              <a:gd name="connsiteY1084" fmla="*/ 5457462 h 6858000"/>
              <a:gd name="connsiteX1085" fmla="*/ 804850 w 6781956"/>
              <a:gd name="connsiteY1085" fmla="*/ 5436537 h 6858000"/>
              <a:gd name="connsiteX1086" fmla="*/ 833677 w 6781956"/>
              <a:gd name="connsiteY1086" fmla="*/ 5370273 h 6858000"/>
              <a:gd name="connsiteX1087" fmla="*/ 916890 w 6781956"/>
              <a:gd name="connsiteY1087" fmla="*/ 5369818 h 6858000"/>
              <a:gd name="connsiteX1088" fmla="*/ 905742 w 6781956"/>
              <a:gd name="connsiteY1088" fmla="*/ 5393523 h 6858000"/>
              <a:gd name="connsiteX1089" fmla="*/ 909860 w 6781956"/>
              <a:gd name="connsiteY1089" fmla="*/ 5395849 h 6858000"/>
              <a:gd name="connsiteX1090" fmla="*/ 889270 w 6781956"/>
              <a:gd name="connsiteY1090" fmla="*/ 5436537 h 6858000"/>
              <a:gd name="connsiteX1091" fmla="*/ 901624 w 6781956"/>
              <a:gd name="connsiteY1091" fmla="*/ 5401660 h 6858000"/>
              <a:gd name="connsiteX1092" fmla="*/ 910890 w 6781956"/>
              <a:gd name="connsiteY1092" fmla="*/ 5372598 h 6858000"/>
              <a:gd name="connsiteX1093" fmla="*/ 916890 w 6781956"/>
              <a:gd name="connsiteY1093" fmla="*/ 5369818 h 6858000"/>
              <a:gd name="connsiteX1094" fmla="*/ 1117821 w 6781956"/>
              <a:gd name="connsiteY1094" fmla="*/ 5365622 h 6858000"/>
              <a:gd name="connsiteX1095" fmla="*/ 1112674 w 6781956"/>
              <a:gd name="connsiteY1095" fmla="*/ 5386548 h 6858000"/>
              <a:gd name="connsiteX1096" fmla="*/ 1117821 w 6781956"/>
              <a:gd name="connsiteY1096" fmla="*/ 5365622 h 6858000"/>
              <a:gd name="connsiteX1097" fmla="*/ 728667 w 6781956"/>
              <a:gd name="connsiteY1097" fmla="*/ 5356322 h 6858000"/>
              <a:gd name="connsiteX1098" fmla="*/ 725578 w 6781956"/>
              <a:gd name="connsiteY1098" fmla="*/ 5372598 h 6858000"/>
              <a:gd name="connsiteX1099" fmla="*/ 718371 w 6781956"/>
              <a:gd name="connsiteY1099" fmla="*/ 5386548 h 6858000"/>
              <a:gd name="connsiteX1100" fmla="*/ 728667 w 6781956"/>
              <a:gd name="connsiteY1100" fmla="*/ 5356322 h 6858000"/>
              <a:gd name="connsiteX1101" fmla="*/ 1093114 w 6781956"/>
              <a:gd name="connsiteY1101" fmla="*/ 5341210 h 6858000"/>
              <a:gd name="connsiteX1102" fmla="*/ 1074582 w 6781956"/>
              <a:gd name="connsiteY1102" fmla="*/ 5397011 h 6858000"/>
              <a:gd name="connsiteX1103" fmla="*/ 1052963 w 6781956"/>
              <a:gd name="connsiteY1103" fmla="*/ 5438862 h 6858000"/>
              <a:gd name="connsiteX1104" fmla="*/ 1065316 w 6781956"/>
              <a:gd name="connsiteY1104" fmla="*/ 5403986 h 6858000"/>
              <a:gd name="connsiteX1105" fmla="*/ 1073553 w 6781956"/>
              <a:gd name="connsiteY1105" fmla="*/ 5378410 h 6858000"/>
              <a:gd name="connsiteX1106" fmla="*/ 1068405 w 6781956"/>
              <a:gd name="connsiteY1106" fmla="*/ 5367947 h 6858000"/>
              <a:gd name="connsiteX1107" fmla="*/ 1075613 w 6781956"/>
              <a:gd name="connsiteY1107" fmla="*/ 5353997 h 6858000"/>
              <a:gd name="connsiteX1108" fmla="*/ 1083847 w 6781956"/>
              <a:gd name="connsiteY1108" fmla="*/ 5359809 h 6858000"/>
              <a:gd name="connsiteX1109" fmla="*/ 1093114 w 6781956"/>
              <a:gd name="connsiteY1109" fmla="*/ 5341210 h 6858000"/>
              <a:gd name="connsiteX1110" fmla="*/ 1061360 w 6781956"/>
              <a:gd name="connsiteY1110" fmla="*/ 5337194 h 6858000"/>
              <a:gd name="connsiteX1111" fmla="*/ 1058110 w 6781956"/>
              <a:gd name="connsiteY1111" fmla="*/ 5347022 h 6858000"/>
              <a:gd name="connsiteX1112" fmla="*/ 1052963 w 6781956"/>
              <a:gd name="connsiteY1112" fmla="*/ 5356322 h 6858000"/>
              <a:gd name="connsiteX1113" fmla="*/ 1061360 w 6781956"/>
              <a:gd name="connsiteY1113" fmla="*/ 5337194 h 6858000"/>
              <a:gd name="connsiteX1114" fmla="*/ 929421 w 6781956"/>
              <a:gd name="connsiteY1114" fmla="*/ 5328421 h 6858000"/>
              <a:gd name="connsiteX1115" fmla="*/ 931529 w 6781956"/>
              <a:gd name="connsiteY1115" fmla="*/ 5329738 h 6858000"/>
              <a:gd name="connsiteX1116" fmla="*/ 930450 w 6781956"/>
              <a:gd name="connsiteY1116" fmla="*/ 5336559 h 6858000"/>
              <a:gd name="connsiteX1117" fmla="*/ 934691 w 6781956"/>
              <a:gd name="connsiteY1117" fmla="*/ 5331714 h 6858000"/>
              <a:gd name="connsiteX1118" fmla="*/ 935759 w 6781956"/>
              <a:gd name="connsiteY1118" fmla="*/ 5332381 h 6858000"/>
              <a:gd name="connsiteX1119" fmla="*/ 927362 w 6781956"/>
              <a:gd name="connsiteY1119" fmla="*/ 5351672 h 6858000"/>
              <a:gd name="connsiteX1120" fmla="*/ 929421 w 6781956"/>
              <a:gd name="connsiteY1120" fmla="*/ 5328421 h 6858000"/>
              <a:gd name="connsiteX1121" fmla="*/ 1132235 w 6781956"/>
              <a:gd name="connsiteY1121" fmla="*/ 5326096 h 6858000"/>
              <a:gd name="connsiteX1122" fmla="*/ 1123998 w 6781956"/>
              <a:gd name="connsiteY1122" fmla="*/ 5363297 h 6858000"/>
              <a:gd name="connsiteX1123" fmla="*/ 1132235 w 6781956"/>
              <a:gd name="connsiteY1123" fmla="*/ 5326096 h 6858000"/>
              <a:gd name="connsiteX1124" fmla="*/ 685426 w 6781956"/>
              <a:gd name="connsiteY1124" fmla="*/ 5326096 h 6858000"/>
              <a:gd name="connsiteX1125" fmla="*/ 672043 w 6781956"/>
              <a:gd name="connsiteY1125" fmla="*/ 5372598 h 6858000"/>
              <a:gd name="connsiteX1126" fmla="*/ 676161 w 6781956"/>
              <a:gd name="connsiteY1126" fmla="*/ 5374922 h 6858000"/>
              <a:gd name="connsiteX1127" fmla="*/ 657629 w 6781956"/>
              <a:gd name="connsiteY1127" fmla="*/ 5410960 h 6858000"/>
              <a:gd name="connsiteX1128" fmla="*/ 660719 w 6781956"/>
              <a:gd name="connsiteY1128" fmla="*/ 5394685 h 6858000"/>
              <a:gd name="connsiteX1129" fmla="*/ 685426 w 6781956"/>
              <a:gd name="connsiteY1129" fmla="*/ 5326096 h 6858000"/>
              <a:gd name="connsiteX1130" fmla="*/ 721669 w 6781956"/>
              <a:gd name="connsiteY1130" fmla="*/ 5316015 h 6858000"/>
              <a:gd name="connsiteX1131" fmla="*/ 724548 w 6781956"/>
              <a:gd name="connsiteY1131" fmla="*/ 5323772 h 6858000"/>
              <a:gd name="connsiteX1132" fmla="*/ 716312 w 6781956"/>
              <a:gd name="connsiteY1132" fmla="*/ 5329585 h 6858000"/>
              <a:gd name="connsiteX1133" fmla="*/ 721669 w 6781956"/>
              <a:gd name="connsiteY1133" fmla="*/ 5316015 h 6858000"/>
              <a:gd name="connsiteX1134" fmla="*/ 894675 w 6781956"/>
              <a:gd name="connsiteY1134" fmla="*/ 5249514 h 6858000"/>
              <a:gd name="connsiteX1135" fmla="*/ 889270 w 6781956"/>
              <a:gd name="connsiteY1135" fmla="*/ 5262157 h 6858000"/>
              <a:gd name="connsiteX1136" fmla="*/ 894675 w 6781956"/>
              <a:gd name="connsiteY1136" fmla="*/ 5249514 h 6858000"/>
              <a:gd name="connsiteX1137" fmla="*/ 1088996 w 6781956"/>
              <a:gd name="connsiteY1137" fmla="*/ 5245882 h 6858000"/>
              <a:gd name="connsiteX1138" fmla="*/ 1073553 w 6781956"/>
              <a:gd name="connsiteY1138" fmla="*/ 5297033 h 6858000"/>
              <a:gd name="connsiteX1139" fmla="*/ 1088996 w 6781956"/>
              <a:gd name="connsiteY1139" fmla="*/ 5245882 h 6858000"/>
              <a:gd name="connsiteX1140" fmla="*/ 720430 w 6781956"/>
              <a:gd name="connsiteY1140" fmla="*/ 5238907 h 6858000"/>
              <a:gd name="connsiteX1141" fmla="*/ 717341 w 6781956"/>
              <a:gd name="connsiteY1141" fmla="*/ 5255182 h 6858000"/>
              <a:gd name="connsiteX1142" fmla="*/ 710135 w 6781956"/>
              <a:gd name="connsiteY1142" fmla="*/ 5269132 h 6858000"/>
              <a:gd name="connsiteX1143" fmla="*/ 720430 w 6781956"/>
              <a:gd name="connsiteY1143" fmla="*/ 5238907 h 6858000"/>
              <a:gd name="connsiteX1144" fmla="*/ 1132235 w 6781956"/>
              <a:gd name="connsiteY1144" fmla="*/ 5226119 h 6858000"/>
              <a:gd name="connsiteX1145" fmla="*/ 1123998 w 6781956"/>
              <a:gd name="connsiteY1145" fmla="*/ 5251695 h 6858000"/>
              <a:gd name="connsiteX1146" fmla="*/ 1103408 w 6781956"/>
              <a:gd name="connsiteY1146" fmla="*/ 5310984 h 6858000"/>
              <a:gd name="connsiteX1147" fmla="*/ 1112674 w 6781956"/>
              <a:gd name="connsiteY1147" fmla="*/ 5262157 h 6858000"/>
              <a:gd name="connsiteX1148" fmla="*/ 1117821 w 6781956"/>
              <a:gd name="connsiteY1148" fmla="*/ 5252857 h 6858000"/>
              <a:gd name="connsiteX1149" fmla="*/ 1132235 w 6781956"/>
              <a:gd name="connsiteY1149" fmla="*/ 5226119 h 6858000"/>
              <a:gd name="connsiteX1150" fmla="*/ 1023706 w 6781956"/>
              <a:gd name="connsiteY1150" fmla="*/ 5213289 h 6858000"/>
              <a:gd name="connsiteX1151" fmla="*/ 1024603 w 6781956"/>
              <a:gd name="connsiteY1151" fmla="*/ 5214384 h 6858000"/>
              <a:gd name="connsiteX1152" fmla="*/ 1007664 w 6781956"/>
              <a:gd name="connsiteY1152" fmla="*/ 5249369 h 6858000"/>
              <a:gd name="connsiteX1153" fmla="*/ 1002515 w 6781956"/>
              <a:gd name="connsiteY1153" fmla="*/ 5270295 h 6858000"/>
              <a:gd name="connsiteX1154" fmla="*/ 991191 w 6781956"/>
              <a:gd name="connsiteY1154" fmla="*/ 5292383 h 6858000"/>
              <a:gd name="connsiteX1155" fmla="*/ 992221 w 6781956"/>
              <a:gd name="connsiteY1155" fmla="*/ 5299358 h 6858000"/>
              <a:gd name="connsiteX1156" fmla="*/ 962365 w 6781956"/>
              <a:gd name="connsiteY1156" fmla="*/ 5378410 h 6858000"/>
              <a:gd name="connsiteX1157" fmla="*/ 986045 w 6781956"/>
              <a:gd name="connsiteY1157" fmla="*/ 5301683 h 6858000"/>
              <a:gd name="connsiteX1158" fmla="*/ 999814 w 6781956"/>
              <a:gd name="connsiteY1158" fmla="*/ 5253728 h 6858000"/>
              <a:gd name="connsiteX1159" fmla="*/ 1015549 w 6781956"/>
              <a:gd name="connsiteY1159" fmla="*/ 5215806 h 6858000"/>
              <a:gd name="connsiteX1160" fmla="*/ 1010752 w 6781956"/>
              <a:gd name="connsiteY1160" fmla="*/ 5229607 h 6858000"/>
              <a:gd name="connsiteX1161" fmla="*/ 1022849 w 6781956"/>
              <a:gd name="connsiteY1161" fmla="*/ 5216964 h 6858000"/>
              <a:gd name="connsiteX1162" fmla="*/ 820292 w 6781956"/>
              <a:gd name="connsiteY1162" fmla="*/ 5200542 h 6858000"/>
              <a:gd name="connsiteX1163" fmla="*/ 796614 w 6781956"/>
              <a:gd name="connsiteY1163" fmla="*/ 5295871 h 6858000"/>
              <a:gd name="connsiteX1164" fmla="*/ 801761 w 6781956"/>
              <a:gd name="connsiteY1164" fmla="*/ 5256344 h 6858000"/>
              <a:gd name="connsiteX1165" fmla="*/ 820292 w 6781956"/>
              <a:gd name="connsiteY1165" fmla="*/ 5200542 h 6858000"/>
              <a:gd name="connsiteX1166" fmla="*/ 1105709 w 6781956"/>
              <a:gd name="connsiteY1166" fmla="*/ 5199694 h 6858000"/>
              <a:gd name="connsiteX1167" fmla="*/ 1107719 w 6781956"/>
              <a:gd name="connsiteY1167" fmla="*/ 5201814 h 6858000"/>
              <a:gd name="connsiteX1168" fmla="*/ 1092084 w 6781956"/>
              <a:gd name="connsiteY1168" fmla="*/ 5229607 h 6858000"/>
              <a:gd name="connsiteX1169" fmla="*/ 1100320 w 6781956"/>
              <a:gd name="connsiteY1169" fmla="*/ 5204031 h 6858000"/>
              <a:gd name="connsiteX1170" fmla="*/ 1105709 w 6781956"/>
              <a:gd name="connsiteY1170" fmla="*/ 5199694 h 6858000"/>
              <a:gd name="connsiteX1171" fmla="*/ 1174445 w 6781956"/>
              <a:gd name="connsiteY1171" fmla="*/ 5194731 h 6858000"/>
              <a:gd name="connsiteX1172" fmla="*/ 1170326 w 6781956"/>
              <a:gd name="connsiteY1172" fmla="*/ 5254020 h 6858000"/>
              <a:gd name="connsiteX1173" fmla="*/ 1156943 w 6781956"/>
              <a:gd name="connsiteY1173" fmla="*/ 5269132 h 6858000"/>
              <a:gd name="connsiteX1174" fmla="*/ 1174445 w 6781956"/>
              <a:gd name="connsiteY1174" fmla="*/ 5194731 h 6858000"/>
              <a:gd name="connsiteX1175" fmla="*/ 1164391 w 6781956"/>
              <a:gd name="connsiteY1175" fmla="*/ 5188754 h 6858000"/>
              <a:gd name="connsiteX1176" fmla="*/ 1161061 w 6781956"/>
              <a:gd name="connsiteY1176" fmla="*/ 5209843 h 6858000"/>
              <a:gd name="connsiteX1177" fmla="*/ 1160031 w 6781956"/>
              <a:gd name="connsiteY1177" fmla="*/ 5191242 h 6858000"/>
              <a:gd name="connsiteX1178" fmla="*/ 1164391 w 6781956"/>
              <a:gd name="connsiteY1178" fmla="*/ 5188754 h 6858000"/>
              <a:gd name="connsiteX1179" fmla="*/ 1145619 w 6781956"/>
              <a:gd name="connsiteY1179" fmla="*/ 5186593 h 6858000"/>
              <a:gd name="connsiteX1180" fmla="*/ 1133264 w 6781956"/>
              <a:gd name="connsiteY1180" fmla="*/ 5221469 h 6858000"/>
              <a:gd name="connsiteX1181" fmla="*/ 1145619 w 6781956"/>
              <a:gd name="connsiteY1181" fmla="*/ 5186593 h 6858000"/>
              <a:gd name="connsiteX1182" fmla="*/ 902653 w 6781956"/>
              <a:gd name="connsiteY1182" fmla="*/ 5173805 h 6858000"/>
              <a:gd name="connsiteX1183" fmla="*/ 896476 w 6781956"/>
              <a:gd name="connsiteY1183" fmla="*/ 5206356 h 6858000"/>
              <a:gd name="connsiteX1184" fmla="*/ 910890 w 6781956"/>
              <a:gd name="connsiteY1184" fmla="*/ 5209843 h 6858000"/>
              <a:gd name="connsiteX1185" fmla="*/ 892359 w 6781956"/>
              <a:gd name="connsiteY1185" fmla="*/ 5214493 h 6858000"/>
              <a:gd name="connsiteX1186" fmla="*/ 883093 w 6781956"/>
              <a:gd name="connsiteY1186" fmla="*/ 5233094 h 6858000"/>
              <a:gd name="connsiteX1187" fmla="*/ 882063 w 6781956"/>
              <a:gd name="connsiteY1187" fmla="*/ 5244720 h 6858000"/>
              <a:gd name="connsiteX1188" fmla="*/ 876916 w 6781956"/>
              <a:gd name="connsiteY1188" fmla="*/ 5254020 h 6858000"/>
              <a:gd name="connsiteX1189" fmla="*/ 873827 w 6781956"/>
              <a:gd name="connsiteY1189" fmla="*/ 5270295 h 6858000"/>
              <a:gd name="connsiteX1190" fmla="*/ 868679 w 6781956"/>
              <a:gd name="connsiteY1190" fmla="*/ 5291220 h 6858000"/>
              <a:gd name="connsiteX1191" fmla="*/ 863533 w 6781956"/>
              <a:gd name="connsiteY1191" fmla="*/ 5300520 h 6858000"/>
              <a:gd name="connsiteX1192" fmla="*/ 867650 w 6781956"/>
              <a:gd name="connsiteY1192" fmla="*/ 5302846 h 6858000"/>
              <a:gd name="connsiteX1193" fmla="*/ 859415 w 6781956"/>
              <a:gd name="connsiteY1193" fmla="*/ 5308658 h 6858000"/>
              <a:gd name="connsiteX1194" fmla="*/ 843972 w 6781956"/>
              <a:gd name="connsiteY1194" fmla="*/ 5349347 h 6858000"/>
              <a:gd name="connsiteX1195" fmla="*/ 855296 w 6781956"/>
              <a:gd name="connsiteY1195" fmla="*/ 5307495 h 6858000"/>
              <a:gd name="connsiteX1196" fmla="*/ 902653 w 6781956"/>
              <a:gd name="connsiteY1196" fmla="*/ 5173805 h 6858000"/>
              <a:gd name="connsiteX1197" fmla="*/ 811526 w 6781956"/>
              <a:gd name="connsiteY1197" fmla="*/ 5171080 h 6858000"/>
              <a:gd name="connsiteX1198" fmla="*/ 805879 w 6781956"/>
              <a:gd name="connsiteY1198" fmla="*/ 5177292 h 6858000"/>
              <a:gd name="connsiteX1199" fmla="*/ 766758 w 6781956"/>
              <a:gd name="connsiteY1199" fmla="*/ 5260995 h 6858000"/>
              <a:gd name="connsiteX1200" fmla="*/ 770876 w 6781956"/>
              <a:gd name="connsiteY1200" fmla="*/ 5233094 h 6858000"/>
              <a:gd name="connsiteX1201" fmla="*/ 769847 w 6781956"/>
              <a:gd name="connsiteY1201" fmla="*/ 5226119 h 6858000"/>
              <a:gd name="connsiteX1202" fmla="*/ 783230 w 6781956"/>
              <a:gd name="connsiteY1202" fmla="*/ 5211006 h 6858000"/>
              <a:gd name="connsiteX1203" fmla="*/ 795584 w 6781956"/>
              <a:gd name="connsiteY1203" fmla="*/ 5176130 h 6858000"/>
              <a:gd name="connsiteX1204" fmla="*/ 807939 w 6781956"/>
              <a:gd name="connsiteY1204" fmla="*/ 5172643 h 6858000"/>
              <a:gd name="connsiteX1205" fmla="*/ 811526 w 6781956"/>
              <a:gd name="connsiteY1205" fmla="*/ 5171080 h 6858000"/>
              <a:gd name="connsiteX1206" fmla="*/ 720429 w 6781956"/>
              <a:gd name="connsiteY1206" fmla="*/ 5161017 h 6858000"/>
              <a:gd name="connsiteX1207" fmla="*/ 720731 w 6781956"/>
              <a:gd name="connsiteY1207" fmla="*/ 5161018 h 6858000"/>
              <a:gd name="connsiteX1208" fmla="*/ 720367 w 6781956"/>
              <a:gd name="connsiteY1208" fmla="*/ 5162067 h 6858000"/>
              <a:gd name="connsiteX1209" fmla="*/ 839853 w 6781956"/>
              <a:gd name="connsiteY1209" fmla="*/ 5151717 h 6858000"/>
              <a:gd name="connsiteX1210" fmla="*/ 828529 w 6781956"/>
              <a:gd name="connsiteY1210" fmla="*/ 5193568 h 6858000"/>
              <a:gd name="connsiteX1211" fmla="*/ 839853 w 6781956"/>
              <a:gd name="connsiteY1211" fmla="*/ 5151717 h 6858000"/>
              <a:gd name="connsiteX1212" fmla="*/ 1194006 w 6781956"/>
              <a:gd name="connsiteY1212" fmla="*/ 5147068 h 6858000"/>
              <a:gd name="connsiteX1213" fmla="*/ 1185769 w 6781956"/>
              <a:gd name="connsiteY1213" fmla="*/ 5184267 h 6858000"/>
              <a:gd name="connsiteX1214" fmla="*/ 1194006 w 6781956"/>
              <a:gd name="connsiteY1214" fmla="*/ 5147068 h 6858000"/>
              <a:gd name="connsiteX1215" fmla="*/ 930450 w 6781956"/>
              <a:gd name="connsiteY1215" fmla="*/ 5142416 h 6858000"/>
              <a:gd name="connsiteX1216" fmla="*/ 922215 w 6781956"/>
              <a:gd name="connsiteY1216" fmla="*/ 5179618 h 6858000"/>
              <a:gd name="connsiteX1217" fmla="*/ 930450 w 6781956"/>
              <a:gd name="connsiteY1217" fmla="*/ 5142416 h 6858000"/>
              <a:gd name="connsiteX1218" fmla="*/ 1210478 w 6781956"/>
              <a:gd name="connsiteY1218" fmla="*/ 5102890 h 6858000"/>
              <a:gd name="connsiteX1219" fmla="*/ 1204301 w 6781956"/>
              <a:gd name="connsiteY1219" fmla="*/ 5135442 h 6858000"/>
              <a:gd name="connsiteX1220" fmla="*/ 1210478 w 6781956"/>
              <a:gd name="connsiteY1220" fmla="*/ 5102890 h 6858000"/>
              <a:gd name="connsiteX1221" fmla="*/ 1153854 w 6781956"/>
              <a:gd name="connsiteY1221" fmla="*/ 5099402 h 6858000"/>
              <a:gd name="connsiteX1222" fmla="*/ 1138413 w 6781956"/>
              <a:gd name="connsiteY1222" fmla="*/ 5150555 h 6858000"/>
              <a:gd name="connsiteX1223" fmla="*/ 1141500 w 6781956"/>
              <a:gd name="connsiteY1223" fmla="*/ 5134278 h 6858000"/>
              <a:gd name="connsiteX1224" fmla="*/ 1153854 w 6781956"/>
              <a:gd name="connsiteY1224" fmla="*/ 5099402 h 6858000"/>
              <a:gd name="connsiteX1225" fmla="*/ 833677 w 6781956"/>
              <a:gd name="connsiteY1225" fmla="*/ 5091265 h 6858000"/>
              <a:gd name="connsiteX1226" fmla="*/ 823382 w 6781956"/>
              <a:gd name="connsiteY1226" fmla="*/ 5133116 h 6858000"/>
              <a:gd name="connsiteX1227" fmla="*/ 828529 w 6781956"/>
              <a:gd name="connsiteY1227" fmla="*/ 5112191 h 6858000"/>
              <a:gd name="connsiteX1228" fmla="*/ 833677 w 6781956"/>
              <a:gd name="connsiteY1228" fmla="*/ 5091265 h 6858000"/>
              <a:gd name="connsiteX1229" fmla="*/ 1165179 w 6781956"/>
              <a:gd name="connsiteY1229" fmla="*/ 5069178 h 6858000"/>
              <a:gd name="connsiteX1230" fmla="*/ 1164150 w 6781956"/>
              <a:gd name="connsiteY1230" fmla="*/ 5080802 h 6858000"/>
              <a:gd name="connsiteX1231" fmla="*/ 1156943 w 6781956"/>
              <a:gd name="connsiteY1231" fmla="*/ 5094753 h 6858000"/>
              <a:gd name="connsiteX1232" fmla="*/ 1165179 w 6781956"/>
              <a:gd name="connsiteY1232" fmla="*/ 5069178 h 6858000"/>
              <a:gd name="connsiteX1233" fmla="*/ 868679 w 6781956"/>
              <a:gd name="connsiteY1233" fmla="*/ 5066852 h 6858000"/>
              <a:gd name="connsiteX1234" fmla="*/ 860444 w 6781956"/>
              <a:gd name="connsiteY1234" fmla="*/ 5104054 h 6858000"/>
              <a:gd name="connsiteX1235" fmla="*/ 868679 w 6781956"/>
              <a:gd name="connsiteY1235" fmla="*/ 5066852 h 6858000"/>
              <a:gd name="connsiteX1236" fmla="*/ 954129 w 6781956"/>
              <a:gd name="connsiteY1236" fmla="*/ 5065689 h 6858000"/>
              <a:gd name="connsiteX1237" fmla="*/ 958247 w 6781956"/>
              <a:gd name="connsiteY1237" fmla="*/ 5087778 h 6858000"/>
              <a:gd name="connsiteX1238" fmla="*/ 951040 w 6781956"/>
              <a:gd name="connsiteY1238" fmla="*/ 5101728 h 6858000"/>
              <a:gd name="connsiteX1239" fmla="*/ 940746 w 6781956"/>
              <a:gd name="connsiteY1239" fmla="*/ 5142416 h 6858000"/>
              <a:gd name="connsiteX1240" fmla="*/ 944864 w 6781956"/>
              <a:gd name="connsiteY1240" fmla="*/ 5114516 h 6858000"/>
              <a:gd name="connsiteX1241" fmla="*/ 954129 w 6781956"/>
              <a:gd name="connsiteY1241" fmla="*/ 5065689 h 6858000"/>
              <a:gd name="connsiteX1242" fmla="*/ 851177 w 6781956"/>
              <a:gd name="connsiteY1242" fmla="*/ 5048251 h 6858000"/>
              <a:gd name="connsiteX1243" fmla="*/ 842941 w 6781956"/>
              <a:gd name="connsiteY1243" fmla="*/ 5085453 h 6858000"/>
              <a:gd name="connsiteX1244" fmla="*/ 851177 w 6781956"/>
              <a:gd name="connsiteY1244" fmla="*/ 5048251 h 6858000"/>
              <a:gd name="connsiteX1245" fmla="*/ 801761 w 6781956"/>
              <a:gd name="connsiteY1245" fmla="*/ 5041276 h 6858000"/>
              <a:gd name="connsiteX1246" fmla="*/ 808968 w 6781956"/>
              <a:gd name="connsiteY1246" fmla="*/ 5058714 h 6858000"/>
              <a:gd name="connsiteX1247" fmla="*/ 790437 w 6781956"/>
              <a:gd name="connsiteY1247" fmla="*/ 5114516 h 6858000"/>
              <a:gd name="connsiteX1248" fmla="*/ 785290 w 6781956"/>
              <a:gd name="connsiteY1248" fmla="*/ 5135442 h 6858000"/>
              <a:gd name="connsiteX1249" fmla="*/ 780141 w 6781956"/>
              <a:gd name="connsiteY1249" fmla="*/ 5144742 h 6858000"/>
              <a:gd name="connsiteX1250" fmla="*/ 739991 w 6781956"/>
              <a:gd name="connsiteY1250" fmla="*/ 5252857 h 6858000"/>
              <a:gd name="connsiteX1251" fmla="*/ 734843 w 6781956"/>
              <a:gd name="connsiteY1251" fmla="*/ 5285407 h 6858000"/>
              <a:gd name="connsiteX1252" fmla="*/ 753375 w 6781956"/>
              <a:gd name="connsiteY1252" fmla="*/ 5217981 h 6858000"/>
              <a:gd name="connsiteX1253" fmla="*/ 753375 w 6781956"/>
              <a:gd name="connsiteY1253" fmla="*/ 5186593 h 6858000"/>
              <a:gd name="connsiteX1254" fmla="*/ 801761 w 6781956"/>
              <a:gd name="connsiteY1254" fmla="*/ 5041276 h 6858000"/>
              <a:gd name="connsiteX1255" fmla="*/ 1234156 w 6781956"/>
              <a:gd name="connsiteY1255" fmla="*/ 5027326 h 6858000"/>
              <a:gd name="connsiteX1256" fmla="*/ 1232096 w 6781956"/>
              <a:gd name="connsiteY1256" fmla="*/ 5050577 h 6858000"/>
              <a:gd name="connsiteX1257" fmla="*/ 1234156 w 6781956"/>
              <a:gd name="connsiteY1257" fmla="*/ 5027326 h 6858000"/>
              <a:gd name="connsiteX1258" fmla="*/ 1289751 w 6781956"/>
              <a:gd name="connsiteY1258" fmla="*/ 5004076 h 6858000"/>
              <a:gd name="connsiteX1259" fmla="*/ 1270189 w 6781956"/>
              <a:gd name="connsiteY1259" fmla="*/ 5083127 h 6858000"/>
              <a:gd name="connsiteX1260" fmla="*/ 1265041 w 6781956"/>
              <a:gd name="connsiteY1260" fmla="*/ 5092428 h 6858000"/>
              <a:gd name="connsiteX1261" fmla="*/ 1266071 w 6781956"/>
              <a:gd name="connsiteY1261" fmla="*/ 5099402 h 6858000"/>
              <a:gd name="connsiteX1262" fmla="*/ 1252688 w 6781956"/>
              <a:gd name="connsiteY1262" fmla="*/ 5114516 h 6858000"/>
              <a:gd name="connsiteX1263" fmla="*/ 1250628 w 6781956"/>
              <a:gd name="connsiteY1263" fmla="*/ 5137767 h 6858000"/>
              <a:gd name="connsiteX1264" fmla="*/ 1243422 w 6781956"/>
              <a:gd name="connsiteY1264" fmla="*/ 5151717 h 6858000"/>
              <a:gd name="connsiteX1265" fmla="*/ 1244452 w 6781956"/>
              <a:gd name="connsiteY1265" fmla="*/ 5158692 h 6858000"/>
              <a:gd name="connsiteX1266" fmla="*/ 1229009 w 6781956"/>
              <a:gd name="connsiteY1266" fmla="*/ 5178455 h 6858000"/>
              <a:gd name="connsiteX1267" fmla="*/ 1230039 w 6781956"/>
              <a:gd name="connsiteY1267" fmla="*/ 5197054 h 6858000"/>
              <a:gd name="connsiteX1268" fmla="*/ 1201212 w 6781956"/>
              <a:gd name="connsiteY1268" fmla="*/ 5263321 h 6858000"/>
              <a:gd name="connsiteX1269" fmla="*/ 1201212 w 6781956"/>
              <a:gd name="connsiteY1269" fmla="*/ 5294708 h 6858000"/>
              <a:gd name="connsiteX1270" fmla="*/ 1200183 w 6781956"/>
              <a:gd name="connsiteY1270" fmla="*/ 5306334 h 6858000"/>
              <a:gd name="connsiteX1271" fmla="*/ 1177533 w 6781956"/>
              <a:gd name="connsiteY1271" fmla="*/ 5340047 h 6858000"/>
              <a:gd name="connsiteX1272" fmla="*/ 1172385 w 6781956"/>
              <a:gd name="connsiteY1272" fmla="*/ 5360973 h 6858000"/>
              <a:gd name="connsiteX1273" fmla="*/ 1154883 w 6781956"/>
              <a:gd name="connsiteY1273" fmla="*/ 5416774 h 6858000"/>
              <a:gd name="connsiteX1274" fmla="*/ 1137383 w 6781956"/>
              <a:gd name="connsiteY1274" fmla="*/ 5429561 h 6858000"/>
              <a:gd name="connsiteX1275" fmla="*/ 1127087 w 6781956"/>
              <a:gd name="connsiteY1275" fmla="*/ 5459788 h 6858000"/>
              <a:gd name="connsiteX1276" fmla="*/ 1142530 w 6781956"/>
              <a:gd name="connsiteY1276" fmla="*/ 5440025 h 6858000"/>
              <a:gd name="connsiteX1277" fmla="*/ 1134294 w 6781956"/>
              <a:gd name="connsiteY1277" fmla="*/ 5477225 h 6858000"/>
              <a:gd name="connsiteX1278" fmla="*/ 1123998 w 6781956"/>
              <a:gd name="connsiteY1278" fmla="*/ 5457462 h 6858000"/>
              <a:gd name="connsiteX1279" fmla="*/ 1125029 w 6781956"/>
              <a:gd name="connsiteY1279" fmla="*/ 5445837 h 6858000"/>
              <a:gd name="connsiteX1280" fmla="*/ 1130176 w 6781956"/>
              <a:gd name="connsiteY1280" fmla="*/ 5436537 h 6858000"/>
              <a:gd name="connsiteX1281" fmla="*/ 1163120 w 6781956"/>
              <a:gd name="connsiteY1281" fmla="*/ 5342372 h 6858000"/>
              <a:gd name="connsiteX1282" fmla="*/ 1164150 w 6781956"/>
              <a:gd name="connsiteY1282" fmla="*/ 5330747 h 6858000"/>
              <a:gd name="connsiteX1283" fmla="*/ 1180622 w 6781956"/>
              <a:gd name="connsiteY1283" fmla="*/ 5299358 h 6858000"/>
              <a:gd name="connsiteX1284" fmla="*/ 1202241 w 6781956"/>
              <a:gd name="connsiteY1284" fmla="*/ 5227281 h 6858000"/>
              <a:gd name="connsiteX1285" fmla="*/ 1239304 w 6781956"/>
              <a:gd name="connsiteY1285" fmla="*/ 5123816 h 6858000"/>
              <a:gd name="connsiteX1286" fmla="*/ 1242393 w 6781956"/>
              <a:gd name="connsiteY1286" fmla="*/ 5107540 h 6858000"/>
              <a:gd name="connsiteX1287" fmla="*/ 1262982 w 6781956"/>
              <a:gd name="connsiteY1287" fmla="*/ 5078478 h 6858000"/>
              <a:gd name="connsiteX1288" fmla="*/ 1268130 w 6781956"/>
              <a:gd name="connsiteY1288" fmla="*/ 5026164 h 6858000"/>
              <a:gd name="connsiteX1289" fmla="*/ 1289751 w 6781956"/>
              <a:gd name="connsiteY1289" fmla="*/ 5004076 h 6858000"/>
              <a:gd name="connsiteX1290" fmla="*/ 1210123 w 6781956"/>
              <a:gd name="connsiteY1290" fmla="*/ 5001059 h 6858000"/>
              <a:gd name="connsiteX1291" fmla="*/ 1206359 w 6781956"/>
              <a:gd name="connsiteY1291" fmla="*/ 5020351 h 6858000"/>
              <a:gd name="connsiteX1292" fmla="*/ 1210478 w 6781956"/>
              <a:gd name="connsiteY1292" fmla="*/ 5022676 h 6858000"/>
              <a:gd name="connsiteX1293" fmla="*/ 1176503 w 6781956"/>
              <a:gd name="connsiteY1293" fmla="*/ 5091265 h 6858000"/>
              <a:gd name="connsiteX1294" fmla="*/ 1174445 w 6781956"/>
              <a:gd name="connsiteY1294" fmla="*/ 5127304 h 6858000"/>
              <a:gd name="connsiteX1295" fmla="*/ 1175474 w 6781956"/>
              <a:gd name="connsiteY1295" fmla="*/ 5134278 h 6858000"/>
              <a:gd name="connsiteX1296" fmla="*/ 1168269 w 6781956"/>
              <a:gd name="connsiteY1296" fmla="*/ 5148229 h 6858000"/>
              <a:gd name="connsiteX1297" fmla="*/ 1169297 w 6781956"/>
              <a:gd name="connsiteY1297" fmla="*/ 5155205 h 6858000"/>
              <a:gd name="connsiteX1298" fmla="*/ 1163120 w 6781956"/>
              <a:gd name="connsiteY1298" fmla="*/ 5156366 h 6858000"/>
              <a:gd name="connsiteX1299" fmla="*/ 1165179 w 6781956"/>
              <a:gd name="connsiteY1299" fmla="*/ 5120329 h 6858000"/>
              <a:gd name="connsiteX1300" fmla="*/ 1173415 w 6781956"/>
              <a:gd name="connsiteY1300" fmla="*/ 5083127 h 6858000"/>
              <a:gd name="connsiteX1301" fmla="*/ 1203271 w 6781956"/>
              <a:gd name="connsiteY1301" fmla="*/ 5005237 h 6858000"/>
              <a:gd name="connsiteX1302" fmla="*/ 1210123 w 6781956"/>
              <a:gd name="connsiteY1302" fmla="*/ 5001059 h 6858000"/>
              <a:gd name="connsiteX1303" fmla="*/ 825440 w 6781956"/>
              <a:gd name="connsiteY1303" fmla="*/ 4985475 h 6858000"/>
              <a:gd name="connsiteX1304" fmla="*/ 812057 w 6781956"/>
              <a:gd name="connsiteY1304" fmla="*/ 5031976 h 6858000"/>
              <a:gd name="connsiteX1305" fmla="*/ 825440 w 6781956"/>
              <a:gd name="connsiteY1305" fmla="*/ 4985475 h 6858000"/>
              <a:gd name="connsiteX1306" fmla="*/ 980510 w 6781956"/>
              <a:gd name="connsiteY1306" fmla="*/ 4979571 h 6858000"/>
              <a:gd name="connsiteX1307" fmla="*/ 986045 w 6781956"/>
              <a:gd name="connsiteY1307" fmla="*/ 4984313 h 6858000"/>
              <a:gd name="connsiteX1308" fmla="*/ 974719 w 6781956"/>
              <a:gd name="connsiteY1308" fmla="*/ 4994776 h 6858000"/>
              <a:gd name="connsiteX1309" fmla="*/ 980510 w 6781956"/>
              <a:gd name="connsiteY1309" fmla="*/ 4979571 h 6858000"/>
              <a:gd name="connsiteX1310" fmla="*/ 846031 w 6781956"/>
              <a:gd name="connsiteY1310" fmla="*/ 4976175 h 6858000"/>
              <a:gd name="connsiteX1311" fmla="*/ 848090 w 6781956"/>
              <a:gd name="connsiteY1311" fmla="*/ 5002914 h 6858000"/>
              <a:gd name="connsiteX1312" fmla="*/ 846031 w 6781956"/>
              <a:gd name="connsiteY1312" fmla="*/ 4976175 h 6858000"/>
              <a:gd name="connsiteX1313" fmla="*/ 1260409 w 6781956"/>
              <a:gd name="connsiteY1313" fmla="*/ 4969636 h 6858000"/>
              <a:gd name="connsiteX1314" fmla="*/ 1249599 w 6781956"/>
              <a:gd name="connsiteY1314" fmla="*/ 4994776 h 6858000"/>
              <a:gd name="connsiteX1315" fmla="*/ 1247539 w 6781956"/>
              <a:gd name="connsiteY1315" fmla="*/ 4999425 h 6858000"/>
              <a:gd name="connsiteX1316" fmla="*/ 1246511 w 6781956"/>
              <a:gd name="connsiteY1316" fmla="*/ 4992450 h 6858000"/>
              <a:gd name="connsiteX1317" fmla="*/ 1260409 w 6781956"/>
              <a:gd name="connsiteY1317" fmla="*/ 4969636 h 6858000"/>
              <a:gd name="connsiteX1318" fmla="*/ 843103 w 6781956"/>
              <a:gd name="connsiteY1318" fmla="*/ 4948911 h 6858000"/>
              <a:gd name="connsiteX1319" fmla="*/ 839853 w 6781956"/>
              <a:gd name="connsiteY1319" fmla="*/ 4958736 h 6858000"/>
              <a:gd name="connsiteX1320" fmla="*/ 834707 w 6781956"/>
              <a:gd name="connsiteY1320" fmla="*/ 4968037 h 6858000"/>
              <a:gd name="connsiteX1321" fmla="*/ 843103 w 6781956"/>
              <a:gd name="connsiteY1321" fmla="*/ 4948911 h 6858000"/>
              <a:gd name="connsiteX1322" fmla="*/ 1181652 w 6781956"/>
              <a:gd name="connsiteY1322" fmla="*/ 4944787 h 6858000"/>
              <a:gd name="connsiteX1323" fmla="*/ 1177533 w 6781956"/>
              <a:gd name="connsiteY1323" fmla="*/ 4972687 h 6858000"/>
              <a:gd name="connsiteX1324" fmla="*/ 1181652 w 6781956"/>
              <a:gd name="connsiteY1324" fmla="*/ 4944787 h 6858000"/>
              <a:gd name="connsiteX1325" fmla="*/ 1230039 w 6781956"/>
              <a:gd name="connsiteY1325" fmla="*/ 4943624 h 6858000"/>
              <a:gd name="connsiteX1326" fmla="*/ 1224891 w 6781956"/>
              <a:gd name="connsiteY1326" fmla="*/ 4976175 h 6858000"/>
              <a:gd name="connsiteX1327" fmla="*/ 1230039 w 6781956"/>
              <a:gd name="connsiteY1327" fmla="*/ 4955248 h 6858000"/>
              <a:gd name="connsiteX1328" fmla="*/ 1221802 w 6781956"/>
              <a:gd name="connsiteY1328" fmla="*/ 4949436 h 6858000"/>
              <a:gd name="connsiteX1329" fmla="*/ 1230039 w 6781956"/>
              <a:gd name="connsiteY1329" fmla="*/ 4943624 h 6858000"/>
              <a:gd name="connsiteX1330" fmla="*/ 858384 w 6781956"/>
              <a:gd name="connsiteY1330" fmla="*/ 4941299 h 6858000"/>
              <a:gd name="connsiteX1331" fmla="*/ 866620 w 6781956"/>
              <a:gd name="connsiteY1331" fmla="*/ 4947111 h 6858000"/>
              <a:gd name="connsiteX1332" fmla="*/ 861473 w 6781956"/>
              <a:gd name="connsiteY1332" fmla="*/ 4956412 h 6858000"/>
              <a:gd name="connsiteX1333" fmla="*/ 853237 w 6781956"/>
              <a:gd name="connsiteY1333" fmla="*/ 4950599 h 6858000"/>
              <a:gd name="connsiteX1334" fmla="*/ 858384 w 6781956"/>
              <a:gd name="connsiteY1334" fmla="*/ 4941299 h 6858000"/>
              <a:gd name="connsiteX1335" fmla="*/ 813086 w 6781956"/>
              <a:gd name="connsiteY1335" fmla="*/ 4938973 h 6858000"/>
              <a:gd name="connsiteX1336" fmla="*/ 807939 w 6781956"/>
              <a:gd name="connsiteY1336" fmla="*/ 4948274 h 6858000"/>
              <a:gd name="connsiteX1337" fmla="*/ 797644 w 6781956"/>
              <a:gd name="connsiteY1337" fmla="*/ 4978500 h 6858000"/>
              <a:gd name="connsiteX1338" fmla="*/ 793532 w 6781956"/>
              <a:gd name="connsiteY1338" fmla="*/ 4971326 h 6858000"/>
              <a:gd name="connsiteX1339" fmla="*/ 797336 w 6781956"/>
              <a:gd name="connsiteY1339" fmla="*/ 4956900 h 6858000"/>
              <a:gd name="connsiteX1340" fmla="*/ 1210478 w 6781956"/>
              <a:gd name="connsiteY1340" fmla="*/ 4929673 h 6858000"/>
              <a:gd name="connsiteX1341" fmla="*/ 1199153 w 6781956"/>
              <a:gd name="connsiteY1341" fmla="*/ 4983150 h 6858000"/>
              <a:gd name="connsiteX1342" fmla="*/ 1167239 w 6781956"/>
              <a:gd name="connsiteY1342" fmla="*/ 5059877 h 6858000"/>
              <a:gd name="connsiteX1343" fmla="*/ 1192976 w 6781956"/>
              <a:gd name="connsiteY1343" fmla="*/ 4979662 h 6858000"/>
              <a:gd name="connsiteX1344" fmla="*/ 1191946 w 6781956"/>
              <a:gd name="connsiteY1344" fmla="*/ 4972687 h 6858000"/>
              <a:gd name="connsiteX1345" fmla="*/ 1192976 w 6781956"/>
              <a:gd name="connsiteY1345" fmla="*/ 4961062 h 6858000"/>
              <a:gd name="connsiteX1346" fmla="*/ 1206359 w 6781956"/>
              <a:gd name="connsiteY1346" fmla="*/ 4945949 h 6858000"/>
              <a:gd name="connsiteX1347" fmla="*/ 1205330 w 6781956"/>
              <a:gd name="connsiteY1347" fmla="*/ 4938973 h 6858000"/>
              <a:gd name="connsiteX1348" fmla="*/ 1210478 w 6781956"/>
              <a:gd name="connsiteY1348" fmla="*/ 4929673 h 6858000"/>
              <a:gd name="connsiteX1349" fmla="*/ 1259895 w 6781956"/>
              <a:gd name="connsiteY1349" fmla="*/ 4915723 h 6858000"/>
              <a:gd name="connsiteX1350" fmla="*/ 1249599 w 6781956"/>
              <a:gd name="connsiteY1350" fmla="*/ 4957574 h 6858000"/>
              <a:gd name="connsiteX1351" fmla="*/ 1254746 w 6781956"/>
              <a:gd name="connsiteY1351" fmla="*/ 4936649 h 6858000"/>
              <a:gd name="connsiteX1352" fmla="*/ 1259895 w 6781956"/>
              <a:gd name="connsiteY1352" fmla="*/ 4915723 h 6858000"/>
              <a:gd name="connsiteX1353" fmla="*/ 1022077 w 6781956"/>
              <a:gd name="connsiteY1353" fmla="*/ 4904098 h 6858000"/>
              <a:gd name="connsiteX1354" fmla="*/ 1005604 w 6781956"/>
              <a:gd name="connsiteY1354" fmla="*/ 4966874 h 6858000"/>
              <a:gd name="connsiteX1355" fmla="*/ 993251 w 6781956"/>
              <a:gd name="connsiteY1355" fmla="*/ 5001750 h 6858000"/>
              <a:gd name="connsiteX1356" fmla="*/ 972661 w 6781956"/>
              <a:gd name="connsiteY1356" fmla="*/ 5030813 h 6858000"/>
              <a:gd name="connsiteX1357" fmla="*/ 961335 w 6781956"/>
              <a:gd name="connsiteY1357" fmla="*/ 5041276 h 6858000"/>
              <a:gd name="connsiteX1358" fmla="*/ 974719 w 6781956"/>
              <a:gd name="connsiteY1358" fmla="*/ 5026164 h 6858000"/>
              <a:gd name="connsiteX1359" fmla="*/ 992221 w 6781956"/>
              <a:gd name="connsiteY1359" fmla="*/ 4983150 h 6858000"/>
              <a:gd name="connsiteX1360" fmla="*/ 989132 w 6781956"/>
              <a:gd name="connsiteY1360" fmla="*/ 4968037 h 6858000"/>
              <a:gd name="connsiteX1361" fmla="*/ 1006634 w 6781956"/>
              <a:gd name="connsiteY1361" fmla="*/ 4943624 h 6858000"/>
              <a:gd name="connsiteX1362" fmla="*/ 1022077 w 6781956"/>
              <a:gd name="connsiteY1362" fmla="*/ 4904098 h 6858000"/>
              <a:gd name="connsiteX1363" fmla="*/ 1252688 w 6781956"/>
              <a:gd name="connsiteY1363" fmla="*/ 4878522 h 6858000"/>
              <a:gd name="connsiteX1364" fmla="*/ 1238275 w 6781956"/>
              <a:gd name="connsiteY1364" fmla="*/ 4916886 h 6858000"/>
              <a:gd name="connsiteX1365" fmla="*/ 1252688 w 6781956"/>
              <a:gd name="connsiteY1365" fmla="*/ 4878522 h 6858000"/>
              <a:gd name="connsiteX1366" fmla="*/ 1287691 w 6781956"/>
              <a:gd name="connsiteY1366" fmla="*/ 4873871 h 6858000"/>
              <a:gd name="connsiteX1367" fmla="*/ 1278425 w 6781956"/>
              <a:gd name="connsiteY1367" fmla="*/ 4922698 h 6858000"/>
              <a:gd name="connsiteX1368" fmla="*/ 1266071 w 6781956"/>
              <a:gd name="connsiteY1368" fmla="*/ 4956412 h 6858000"/>
              <a:gd name="connsiteX1369" fmla="*/ 1276367 w 6781956"/>
              <a:gd name="connsiteY1369" fmla="*/ 4895959 h 6858000"/>
              <a:gd name="connsiteX1370" fmla="*/ 1287691 w 6781956"/>
              <a:gd name="connsiteY1370" fmla="*/ 4873871 h 6858000"/>
              <a:gd name="connsiteX1371" fmla="*/ 1206359 w 6781956"/>
              <a:gd name="connsiteY1371" fmla="*/ 4865734 h 6858000"/>
              <a:gd name="connsiteX1372" fmla="*/ 1214596 w 6781956"/>
              <a:gd name="connsiteY1372" fmla="*/ 4890148 h 6858000"/>
              <a:gd name="connsiteX1373" fmla="*/ 1227979 w 6781956"/>
              <a:gd name="connsiteY1373" fmla="*/ 4875035 h 6858000"/>
              <a:gd name="connsiteX1374" fmla="*/ 1229009 w 6781956"/>
              <a:gd name="connsiteY1374" fmla="*/ 4893636 h 6858000"/>
              <a:gd name="connsiteX1375" fmla="*/ 1220772 w 6781956"/>
              <a:gd name="connsiteY1375" fmla="*/ 4919211 h 6858000"/>
              <a:gd name="connsiteX1376" fmla="*/ 1219744 w 6781956"/>
              <a:gd name="connsiteY1376" fmla="*/ 4900610 h 6858000"/>
              <a:gd name="connsiteX1377" fmla="*/ 1206359 w 6781956"/>
              <a:gd name="connsiteY1377" fmla="*/ 4915723 h 6858000"/>
              <a:gd name="connsiteX1378" fmla="*/ 1204301 w 6781956"/>
              <a:gd name="connsiteY1378" fmla="*/ 4888984 h 6858000"/>
              <a:gd name="connsiteX1379" fmla="*/ 1206359 w 6781956"/>
              <a:gd name="connsiteY1379" fmla="*/ 4865734 h 6858000"/>
              <a:gd name="connsiteX1380" fmla="*/ 1022077 w 6781956"/>
              <a:gd name="connsiteY1380" fmla="*/ 4854108 h 6858000"/>
              <a:gd name="connsiteX1381" fmla="*/ 1018988 w 6781956"/>
              <a:gd name="connsiteY1381" fmla="*/ 4901773 h 6858000"/>
              <a:gd name="connsiteX1382" fmla="*/ 1007664 w 6781956"/>
              <a:gd name="connsiteY1382" fmla="*/ 4912235 h 6858000"/>
              <a:gd name="connsiteX1383" fmla="*/ 1000458 w 6781956"/>
              <a:gd name="connsiteY1383" fmla="*/ 4894797 h 6858000"/>
              <a:gd name="connsiteX1384" fmla="*/ 1008694 w 6781956"/>
              <a:gd name="connsiteY1384" fmla="*/ 4888984 h 6858000"/>
              <a:gd name="connsiteX1385" fmla="*/ 1022077 w 6781956"/>
              <a:gd name="connsiteY1385" fmla="*/ 4854108 h 6858000"/>
              <a:gd name="connsiteX1386" fmla="*/ 1264012 w 6781956"/>
              <a:gd name="connsiteY1386" fmla="*/ 4836670 h 6858000"/>
              <a:gd name="connsiteX1387" fmla="*/ 1255777 w 6781956"/>
              <a:gd name="connsiteY1387" fmla="*/ 4873871 h 6858000"/>
              <a:gd name="connsiteX1388" fmla="*/ 1264012 w 6781956"/>
              <a:gd name="connsiteY1388" fmla="*/ 4836670 h 6858000"/>
              <a:gd name="connsiteX1389" fmla="*/ 1375731 w 6781956"/>
              <a:gd name="connsiteY1389" fmla="*/ 4826324 h 6858000"/>
              <a:gd name="connsiteX1390" fmla="*/ 1376228 w 6781956"/>
              <a:gd name="connsiteY1390" fmla="*/ 4829695 h 6858000"/>
              <a:gd name="connsiteX1391" fmla="*/ 1374170 w 6781956"/>
              <a:gd name="connsiteY1391" fmla="*/ 4834346 h 6858000"/>
              <a:gd name="connsiteX1392" fmla="*/ 1365934 w 6781956"/>
              <a:gd name="connsiteY1392" fmla="*/ 4859922 h 6858000"/>
              <a:gd name="connsiteX1393" fmla="*/ 1366964 w 6781956"/>
              <a:gd name="connsiteY1393" fmla="*/ 4866897 h 6858000"/>
              <a:gd name="connsiteX1394" fmla="*/ 1364904 w 6781956"/>
              <a:gd name="connsiteY1394" fmla="*/ 4871547 h 6858000"/>
              <a:gd name="connsiteX1395" fmla="*/ 1362390 w 6781956"/>
              <a:gd name="connsiteY1395" fmla="*/ 4882515 h 6858000"/>
              <a:gd name="connsiteX1396" fmla="*/ 1358727 w 6781956"/>
              <a:gd name="connsiteY1396" fmla="*/ 4893636 h 6858000"/>
              <a:gd name="connsiteX1397" fmla="*/ 1355632 w 6781956"/>
              <a:gd name="connsiteY1397" fmla="*/ 4909614 h 6858000"/>
              <a:gd name="connsiteX1398" fmla="*/ 1348433 w 6781956"/>
              <a:gd name="connsiteY1398" fmla="*/ 4934324 h 6858000"/>
              <a:gd name="connsiteX1399" fmla="*/ 1336078 w 6781956"/>
              <a:gd name="connsiteY1399" fmla="*/ 4969200 h 6858000"/>
              <a:gd name="connsiteX1400" fmla="*/ 1327842 w 6781956"/>
              <a:gd name="connsiteY1400" fmla="*/ 4994776 h 6858000"/>
              <a:gd name="connsiteX1401" fmla="*/ 1328871 w 6781956"/>
              <a:gd name="connsiteY1401" fmla="*/ 5001750 h 6858000"/>
              <a:gd name="connsiteX1402" fmla="*/ 1326812 w 6781956"/>
              <a:gd name="connsiteY1402" fmla="*/ 5006401 h 6858000"/>
              <a:gd name="connsiteX1403" fmla="*/ 1314458 w 6781956"/>
              <a:gd name="connsiteY1403" fmla="*/ 5041276 h 6858000"/>
              <a:gd name="connsiteX1404" fmla="*/ 1304779 w 6781956"/>
              <a:gd name="connsiteY1404" fmla="*/ 5074917 h 6858000"/>
              <a:gd name="connsiteX1405" fmla="*/ 1304550 w 6781956"/>
              <a:gd name="connsiteY1405" fmla="*/ 5074989 h 6858000"/>
              <a:gd name="connsiteX1406" fmla="*/ 1300045 w 6781956"/>
              <a:gd name="connsiteY1406" fmla="*/ 5079640 h 6858000"/>
              <a:gd name="connsiteX1407" fmla="*/ 1300946 w 6781956"/>
              <a:gd name="connsiteY1407" fmla="*/ 5081820 h 6858000"/>
              <a:gd name="connsiteX1408" fmla="*/ 1301069 w 6781956"/>
              <a:gd name="connsiteY1408" fmla="*/ 5086404 h 6858000"/>
              <a:gd name="connsiteX1409" fmla="*/ 1300859 w 6781956"/>
              <a:gd name="connsiteY1409" fmla="*/ 5087048 h 6858000"/>
              <a:gd name="connsiteX1410" fmla="*/ 1291810 w 6781956"/>
              <a:gd name="connsiteY1410" fmla="*/ 5105215 h 6858000"/>
              <a:gd name="connsiteX1411" fmla="*/ 1283781 w 6781956"/>
              <a:gd name="connsiteY1411" fmla="*/ 5132054 h 6858000"/>
              <a:gd name="connsiteX1412" fmla="*/ 1281514 w 6781956"/>
              <a:gd name="connsiteY1412" fmla="*/ 5136604 h 6858000"/>
              <a:gd name="connsiteX1413" fmla="*/ 1281134 w 6781956"/>
              <a:gd name="connsiteY1413" fmla="*/ 5140901 h 6858000"/>
              <a:gd name="connsiteX1414" fmla="*/ 1277017 w 6781956"/>
              <a:gd name="connsiteY1414" fmla="*/ 5154661 h 6858000"/>
              <a:gd name="connsiteX1415" fmla="*/ 1266071 w 6781956"/>
              <a:gd name="connsiteY1415" fmla="*/ 5174967 h 6858000"/>
              <a:gd name="connsiteX1416" fmla="*/ 1262687 w 6781956"/>
              <a:gd name="connsiteY1416" fmla="*/ 5197894 h 6858000"/>
              <a:gd name="connsiteX1417" fmla="*/ 1252087 w 6781956"/>
              <a:gd name="connsiteY1417" fmla="*/ 5228222 h 6858000"/>
              <a:gd name="connsiteX1418" fmla="*/ 1242393 w 6781956"/>
              <a:gd name="connsiteY1418" fmla="*/ 5250531 h 6858000"/>
              <a:gd name="connsiteX1419" fmla="*/ 1237131 w 6781956"/>
              <a:gd name="connsiteY1419" fmla="*/ 5266594 h 6858000"/>
              <a:gd name="connsiteX1420" fmla="*/ 1227979 w 6781956"/>
              <a:gd name="connsiteY1420" fmla="*/ 5288896 h 6858000"/>
              <a:gd name="connsiteX1421" fmla="*/ 1219203 w 6781956"/>
              <a:gd name="connsiteY1421" fmla="*/ 5321329 h 6858000"/>
              <a:gd name="connsiteX1422" fmla="*/ 1215094 w 6781956"/>
              <a:gd name="connsiteY1422" fmla="*/ 5333874 h 6858000"/>
              <a:gd name="connsiteX1423" fmla="*/ 1203528 w 6781956"/>
              <a:gd name="connsiteY1423" fmla="*/ 5357048 h 6858000"/>
              <a:gd name="connsiteX1424" fmla="*/ 1201901 w 6781956"/>
              <a:gd name="connsiteY1424" fmla="*/ 5361356 h 6858000"/>
              <a:gd name="connsiteX1425" fmla="*/ 1201212 w 6781956"/>
              <a:gd name="connsiteY1425" fmla="*/ 5362135 h 6858000"/>
              <a:gd name="connsiteX1426" fmla="*/ 1201460 w 6781956"/>
              <a:gd name="connsiteY1426" fmla="*/ 5362523 h 6858000"/>
              <a:gd name="connsiteX1427" fmla="*/ 1191946 w 6781956"/>
              <a:gd name="connsiteY1427" fmla="*/ 5387710 h 6858000"/>
              <a:gd name="connsiteX1428" fmla="*/ 1189078 w 6781956"/>
              <a:gd name="connsiteY1428" fmla="*/ 5399368 h 6858000"/>
              <a:gd name="connsiteX1429" fmla="*/ 1173415 w 6781956"/>
              <a:gd name="connsiteY1429" fmla="*/ 5435374 h 6858000"/>
              <a:gd name="connsiteX1430" fmla="*/ 1174445 w 6781956"/>
              <a:gd name="connsiteY1430" fmla="*/ 5442350 h 6858000"/>
              <a:gd name="connsiteX1431" fmla="*/ 1169297 w 6781956"/>
              <a:gd name="connsiteY1431" fmla="*/ 5451649 h 6858000"/>
              <a:gd name="connsiteX1432" fmla="*/ 1164664 w 6781956"/>
              <a:gd name="connsiteY1432" fmla="*/ 5466472 h 6858000"/>
              <a:gd name="connsiteX1433" fmla="*/ 1163235 w 6781956"/>
              <a:gd name="connsiteY1433" fmla="*/ 5470183 h 6858000"/>
              <a:gd name="connsiteX1434" fmla="*/ 1147678 w 6781956"/>
              <a:gd name="connsiteY1434" fmla="*/ 5505126 h 6858000"/>
              <a:gd name="connsiteX1435" fmla="*/ 1118190 w 6781956"/>
              <a:gd name="connsiteY1435" fmla="*/ 5580802 h 6858000"/>
              <a:gd name="connsiteX1436" fmla="*/ 1101350 w 6781956"/>
              <a:gd name="connsiteY1436" fmla="*/ 5613241 h 6858000"/>
              <a:gd name="connsiteX1437" fmla="*/ 1100549 w 6781956"/>
              <a:gd name="connsiteY1437" fmla="*/ 5617459 h 6858000"/>
              <a:gd name="connsiteX1438" fmla="*/ 1088996 w 6781956"/>
              <a:gd name="connsiteY1438" fmla="*/ 5639543 h 6858000"/>
              <a:gd name="connsiteX1439" fmla="*/ 1064287 w 6781956"/>
              <a:gd name="connsiteY1439" fmla="*/ 5687644 h 6858000"/>
              <a:gd name="connsiteX1440" fmla="*/ 1065277 w 6781956"/>
              <a:gd name="connsiteY1440" fmla="*/ 5694351 h 6858000"/>
              <a:gd name="connsiteX1441" fmla="*/ 1053991 w 6781956"/>
              <a:gd name="connsiteY1441" fmla="*/ 5715545 h 6858000"/>
              <a:gd name="connsiteX1442" fmla="*/ 1052573 w 6781956"/>
              <a:gd name="connsiteY1442" fmla="*/ 5723019 h 6858000"/>
              <a:gd name="connsiteX1443" fmla="*/ 1035188 w 6781956"/>
              <a:gd name="connsiteY1443" fmla="*/ 5761764 h 6858000"/>
              <a:gd name="connsiteX1444" fmla="*/ 1034431 w 6781956"/>
              <a:gd name="connsiteY1444" fmla="*/ 5763208 h 6858000"/>
              <a:gd name="connsiteX1445" fmla="*/ 1034013 w 6781956"/>
              <a:gd name="connsiteY1445" fmla="*/ 5764384 h 6858000"/>
              <a:gd name="connsiteX1446" fmla="*/ 1026195 w 6781956"/>
              <a:gd name="connsiteY1446" fmla="*/ 5781809 h 6858000"/>
              <a:gd name="connsiteX1447" fmla="*/ 1006294 w 6781956"/>
              <a:gd name="connsiteY1447" fmla="*/ 5824559 h 6858000"/>
              <a:gd name="connsiteX1448" fmla="*/ 994281 w 6781956"/>
              <a:gd name="connsiteY1448" fmla="*/ 5839935 h 6858000"/>
              <a:gd name="connsiteX1449" fmla="*/ 989132 w 6781956"/>
              <a:gd name="connsiteY1449" fmla="*/ 5849235 h 6858000"/>
              <a:gd name="connsiteX1450" fmla="*/ 993251 w 6781956"/>
              <a:gd name="connsiteY1450" fmla="*/ 5852141 h 6858000"/>
              <a:gd name="connsiteX1451" fmla="*/ 993405 w 6781956"/>
              <a:gd name="connsiteY1451" fmla="*/ 5852249 h 6858000"/>
              <a:gd name="connsiteX1452" fmla="*/ 983985 w 6781956"/>
              <a:gd name="connsiteY1452" fmla="*/ 5872485 h 6858000"/>
              <a:gd name="connsiteX1453" fmla="*/ 983041 w 6781956"/>
              <a:gd name="connsiteY1453" fmla="*/ 5874293 h 6858000"/>
              <a:gd name="connsiteX1454" fmla="*/ 979866 w 6781956"/>
              <a:gd name="connsiteY1454" fmla="*/ 5879461 h 6858000"/>
              <a:gd name="connsiteX1455" fmla="*/ 979679 w 6781956"/>
              <a:gd name="connsiteY1455" fmla="*/ 5880730 h 6858000"/>
              <a:gd name="connsiteX1456" fmla="*/ 960306 w 6781956"/>
              <a:gd name="connsiteY1456" fmla="*/ 5917825 h 6858000"/>
              <a:gd name="connsiteX1457" fmla="*/ 946776 w 6781956"/>
              <a:gd name="connsiteY1457" fmla="*/ 5951079 h 6858000"/>
              <a:gd name="connsiteX1458" fmla="*/ 941003 w 6781956"/>
              <a:gd name="connsiteY1458" fmla="*/ 5961855 h 6858000"/>
              <a:gd name="connsiteX1459" fmla="*/ 937380 w 6781956"/>
              <a:gd name="connsiteY1459" fmla="*/ 5969005 h 6858000"/>
              <a:gd name="connsiteX1460" fmla="*/ 915007 w 6781956"/>
              <a:gd name="connsiteY1460" fmla="*/ 6002688 h 6858000"/>
              <a:gd name="connsiteX1461" fmla="*/ 876916 w 6781956"/>
              <a:gd name="connsiteY1461" fmla="*/ 6086392 h 6858000"/>
              <a:gd name="connsiteX1462" fmla="*/ 859415 w 6781956"/>
              <a:gd name="connsiteY1462" fmla="*/ 6094529 h 6858000"/>
              <a:gd name="connsiteX1463" fmla="*/ 901624 w 6781956"/>
              <a:gd name="connsiteY1463" fmla="*/ 6013151 h 6858000"/>
              <a:gd name="connsiteX1464" fmla="*/ 902653 w 6781956"/>
              <a:gd name="connsiteY1464" fmla="*/ 6001527 h 6858000"/>
              <a:gd name="connsiteX1465" fmla="*/ 908832 w 6781956"/>
              <a:gd name="connsiteY1465" fmla="*/ 6000364 h 6858000"/>
              <a:gd name="connsiteX1466" fmla="*/ 907801 w 6781956"/>
              <a:gd name="connsiteY1466" fmla="*/ 5993389 h 6858000"/>
              <a:gd name="connsiteX1467" fmla="*/ 913978 w 6781956"/>
              <a:gd name="connsiteY1467" fmla="*/ 5992227 h 6858000"/>
              <a:gd name="connsiteX1468" fmla="*/ 928391 w 6781956"/>
              <a:gd name="connsiteY1468" fmla="*/ 5952700 h 6858000"/>
              <a:gd name="connsiteX1469" fmla="*/ 945893 w 6781956"/>
              <a:gd name="connsiteY1469" fmla="*/ 5928287 h 6858000"/>
              <a:gd name="connsiteX1470" fmla="*/ 944864 w 6781956"/>
              <a:gd name="connsiteY1470" fmla="*/ 5921312 h 6858000"/>
              <a:gd name="connsiteX1471" fmla="*/ 977808 w 6781956"/>
              <a:gd name="connsiteY1471" fmla="*/ 5858535 h 6858000"/>
              <a:gd name="connsiteX1472" fmla="*/ 980897 w 6781956"/>
              <a:gd name="connsiteY1472" fmla="*/ 5842260 h 6858000"/>
              <a:gd name="connsiteX1473" fmla="*/ 1001488 w 6781956"/>
              <a:gd name="connsiteY1473" fmla="*/ 5813197 h 6858000"/>
              <a:gd name="connsiteX1474" fmla="*/ 1016930 w 6781956"/>
              <a:gd name="connsiteY1474" fmla="*/ 5762046 h 6858000"/>
              <a:gd name="connsiteX1475" fmla="*/ 1044727 w 6781956"/>
              <a:gd name="connsiteY1475" fmla="*/ 5720194 h 6858000"/>
              <a:gd name="connsiteX1476" fmla="*/ 1059139 w 6781956"/>
              <a:gd name="connsiteY1476" fmla="*/ 5680668 h 6858000"/>
              <a:gd name="connsiteX1477" fmla="*/ 1061198 w 6781956"/>
              <a:gd name="connsiteY1477" fmla="*/ 5657418 h 6858000"/>
              <a:gd name="connsiteX1478" fmla="*/ 1067375 w 6781956"/>
              <a:gd name="connsiteY1478" fmla="*/ 5656255 h 6858000"/>
              <a:gd name="connsiteX1479" fmla="*/ 1083847 w 6781956"/>
              <a:gd name="connsiteY1479" fmla="*/ 5624865 h 6858000"/>
              <a:gd name="connsiteX1480" fmla="*/ 1084877 w 6781956"/>
              <a:gd name="connsiteY1480" fmla="*/ 5613241 h 6858000"/>
              <a:gd name="connsiteX1481" fmla="*/ 1092084 w 6781956"/>
              <a:gd name="connsiteY1481" fmla="*/ 5599292 h 6858000"/>
              <a:gd name="connsiteX1482" fmla="*/ 1091054 w 6781956"/>
              <a:gd name="connsiteY1482" fmla="*/ 5592315 h 6858000"/>
              <a:gd name="connsiteX1483" fmla="*/ 1102379 w 6781956"/>
              <a:gd name="connsiteY1483" fmla="*/ 5581853 h 6858000"/>
              <a:gd name="connsiteX1484" fmla="*/ 1117821 w 6781956"/>
              <a:gd name="connsiteY1484" fmla="*/ 5530702 h 6858000"/>
              <a:gd name="connsiteX1485" fmla="*/ 1142530 w 6781956"/>
              <a:gd name="connsiteY1485" fmla="*/ 5492339 h 6858000"/>
              <a:gd name="connsiteX1486" fmla="*/ 1147678 w 6781956"/>
              <a:gd name="connsiteY1486" fmla="*/ 5483039 h 6858000"/>
              <a:gd name="connsiteX1487" fmla="*/ 1143559 w 6781956"/>
              <a:gd name="connsiteY1487" fmla="*/ 5480713 h 6858000"/>
              <a:gd name="connsiteX1488" fmla="*/ 1149737 w 6781956"/>
              <a:gd name="connsiteY1488" fmla="*/ 5479550 h 6858000"/>
              <a:gd name="connsiteX1489" fmla="*/ 1165179 w 6781956"/>
              <a:gd name="connsiteY1489" fmla="*/ 5428399 h 6858000"/>
              <a:gd name="connsiteX1490" fmla="*/ 1176503 w 6781956"/>
              <a:gd name="connsiteY1490" fmla="*/ 5406311 h 6858000"/>
              <a:gd name="connsiteX1491" fmla="*/ 1191946 w 6781956"/>
              <a:gd name="connsiteY1491" fmla="*/ 5355160 h 6858000"/>
              <a:gd name="connsiteX1492" fmla="*/ 1232096 w 6781956"/>
              <a:gd name="connsiteY1492" fmla="*/ 5247044 h 6858000"/>
              <a:gd name="connsiteX1493" fmla="*/ 1238275 w 6781956"/>
              <a:gd name="connsiteY1493" fmla="*/ 5214493 h 6858000"/>
              <a:gd name="connsiteX1494" fmla="*/ 1261952 w 6781956"/>
              <a:gd name="connsiteY1494" fmla="*/ 5169154 h 6858000"/>
              <a:gd name="connsiteX1495" fmla="*/ 1273278 w 6781956"/>
              <a:gd name="connsiteY1495" fmla="*/ 5127304 h 6858000"/>
              <a:gd name="connsiteX1496" fmla="*/ 1291810 w 6781956"/>
              <a:gd name="connsiteY1496" fmla="*/ 5071502 h 6858000"/>
              <a:gd name="connsiteX1497" fmla="*/ 1296957 w 6781956"/>
              <a:gd name="connsiteY1497" fmla="*/ 5062202 h 6858000"/>
              <a:gd name="connsiteX1498" fmla="*/ 1303134 w 6781956"/>
              <a:gd name="connsiteY1498" fmla="*/ 5061040 h 6858000"/>
              <a:gd name="connsiteX1499" fmla="*/ 1307252 w 6781956"/>
              <a:gd name="connsiteY1499" fmla="*/ 5033138 h 6858000"/>
              <a:gd name="connsiteX1500" fmla="*/ 1343284 w 6781956"/>
              <a:gd name="connsiteY1500" fmla="*/ 4922698 h 6858000"/>
              <a:gd name="connsiteX1501" fmla="*/ 1345344 w 6781956"/>
              <a:gd name="connsiteY1501" fmla="*/ 4899448 h 6858000"/>
              <a:gd name="connsiteX1502" fmla="*/ 1362845 w 6781956"/>
              <a:gd name="connsiteY1502" fmla="*/ 4856434 h 6858000"/>
              <a:gd name="connsiteX1503" fmla="*/ 1373012 w 6781956"/>
              <a:gd name="connsiteY1503" fmla="*/ 4833473 h 6858000"/>
              <a:gd name="connsiteX1504" fmla="*/ 1384706 w 6781956"/>
              <a:gd name="connsiteY1504" fmla="*/ 4796651 h 6858000"/>
              <a:gd name="connsiteX1505" fmla="*/ 1382407 w 6781956"/>
              <a:gd name="connsiteY1505" fmla="*/ 4808771 h 6858000"/>
              <a:gd name="connsiteX1506" fmla="*/ 1375731 w 6781956"/>
              <a:gd name="connsiteY1506" fmla="*/ 4826324 h 6858000"/>
              <a:gd name="connsiteX1507" fmla="*/ 1375200 w 6781956"/>
              <a:gd name="connsiteY1507" fmla="*/ 4822720 h 6858000"/>
              <a:gd name="connsiteX1508" fmla="*/ 859415 w 6781956"/>
              <a:gd name="connsiteY1508" fmla="*/ 4786682 h 6858000"/>
              <a:gd name="connsiteX1509" fmla="*/ 852207 w 6781956"/>
              <a:gd name="connsiteY1509" fmla="*/ 4830858 h 6858000"/>
              <a:gd name="connsiteX1510" fmla="*/ 814116 w 6781956"/>
              <a:gd name="connsiteY1510" fmla="*/ 4935486 h 6858000"/>
              <a:gd name="connsiteX1511" fmla="*/ 837794 w 6781956"/>
              <a:gd name="connsiteY1511" fmla="*/ 4858760 h 6858000"/>
              <a:gd name="connsiteX1512" fmla="*/ 859415 w 6781956"/>
              <a:gd name="connsiteY1512" fmla="*/ 4786682 h 6858000"/>
              <a:gd name="connsiteX1513" fmla="*/ 913978 w 6781956"/>
              <a:gd name="connsiteY1513" fmla="*/ 4783195 h 6858000"/>
              <a:gd name="connsiteX1514" fmla="*/ 887210 w 6781956"/>
              <a:gd name="connsiteY1514" fmla="*/ 4876197 h 6858000"/>
              <a:gd name="connsiteX1515" fmla="*/ 898535 w 6781956"/>
              <a:gd name="connsiteY1515" fmla="*/ 4834346 h 6858000"/>
              <a:gd name="connsiteX1516" fmla="*/ 913978 w 6781956"/>
              <a:gd name="connsiteY1516" fmla="*/ 4783195 h 6858000"/>
              <a:gd name="connsiteX1517" fmla="*/ 1239979 w 6781956"/>
              <a:gd name="connsiteY1517" fmla="*/ 4764939 h 6858000"/>
              <a:gd name="connsiteX1518" fmla="*/ 1246511 w 6781956"/>
              <a:gd name="connsiteY1518" fmla="*/ 4769245 h 6858000"/>
              <a:gd name="connsiteX1519" fmla="*/ 1235185 w 6781956"/>
              <a:gd name="connsiteY1519" fmla="*/ 4779706 h 6858000"/>
              <a:gd name="connsiteX1520" fmla="*/ 1230039 w 6781956"/>
              <a:gd name="connsiteY1520" fmla="*/ 4800633 h 6858000"/>
              <a:gd name="connsiteX1521" fmla="*/ 1224891 w 6781956"/>
              <a:gd name="connsiteY1521" fmla="*/ 4840159 h 6858000"/>
              <a:gd name="connsiteX1522" fmla="*/ 1212537 w 6781956"/>
              <a:gd name="connsiteY1522" fmla="*/ 4856434 h 6858000"/>
              <a:gd name="connsiteX1523" fmla="*/ 1211507 w 6781956"/>
              <a:gd name="connsiteY1523" fmla="*/ 4837833 h 6858000"/>
              <a:gd name="connsiteX1524" fmla="*/ 1226950 w 6781956"/>
              <a:gd name="connsiteY1524" fmla="*/ 4786682 h 6858000"/>
              <a:gd name="connsiteX1525" fmla="*/ 1239979 w 6781956"/>
              <a:gd name="connsiteY1525" fmla="*/ 4764939 h 6858000"/>
              <a:gd name="connsiteX1526" fmla="*/ 1262982 w 6781956"/>
              <a:gd name="connsiteY1526" fmla="*/ 4756456 h 6858000"/>
              <a:gd name="connsiteX1527" fmla="*/ 1261952 w 6781956"/>
              <a:gd name="connsiteY1527" fmla="*/ 4768082 h 6858000"/>
              <a:gd name="connsiteX1528" fmla="*/ 1258865 w 6781956"/>
              <a:gd name="connsiteY1528" fmla="*/ 4784357 h 6858000"/>
              <a:gd name="connsiteX1529" fmla="*/ 1238275 w 6781956"/>
              <a:gd name="connsiteY1529" fmla="*/ 4855271 h 6858000"/>
              <a:gd name="connsiteX1530" fmla="*/ 1248569 w 6781956"/>
              <a:gd name="connsiteY1530" fmla="*/ 4794820 h 6858000"/>
              <a:gd name="connsiteX1531" fmla="*/ 1262982 w 6781956"/>
              <a:gd name="connsiteY1531" fmla="*/ 4756456 h 6858000"/>
              <a:gd name="connsiteX1532" fmla="*/ 1304163 w 6781956"/>
              <a:gd name="connsiteY1532" fmla="*/ 4748318 h 6858000"/>
              <a:gd name="connsiteX1533" fmla="*/ 1304163 w 6781956"/>
              <a:gd name="connsiteY1533" fmla="*/ 4779706 h 6858000"/>
              <a:gd name="connsiteX1534" fmla="*/ 1304163 w 6781956"/>
              <a:gd name="connsiteY1534" fmla="*/ 4748318 h 6858000"/>
              <a:gd name="connsiteX1535" fmla="*/ 1325783 w 6781956"/>
              <a:gd name="connsiteY1535" fmla="*/ 4737856 h 6858000"/>
              <a:gd name="connsiteX1536" fmla="*/ 1323724 w 6781956"/>
              <a:gd name="connsiteY1536" fmla="*/ 4773895 h 6858000"/>
              <a:gd name="connsiteX1537" fmla="*/ 1318577 w 6781956"/>
              <a:gd name="connsiteY1537" fmla="*/ 4783195 h 6858000"/>
              <a:gd name="connsiteX1538" fmla="*/ 1308281 w 6781956"/>
              <a:gd name="connsiteY1538" fmla="*/ 4812259 h 6858000"/>
              <a:gd name="connsiteX1539" fmla="*/ 1312400 w 6781956"/>
              <a:gd name="connsiteY1539" fmla="*/ 4784357 h 6858000"/>
              <a:gd name="connsiteX1540" fmla="*/ 1325783 w 6781956"/>
              <a:gd name="connsiteY1540" fmla="*/ 4737856 h 6858000"/>
              <a:gd name="connsiteX1541" fmla="*/ 880166 w 6781956"/>
              <a:gd name="connsiteY1541" fmla="*/ 4733841 h 6858000"/>
              <a:gd name="connsiteX1542" fmla="*/ 876916 w 6781956"/>
              <a:gd name="connsiteY1542" fmla="*/ 4743668 h 6858000"/>
              <a:gd name="connsiteX1543" fmla="*/ 871768 w 6781956"/>
              <a:gd name="connsiteY1543" fmla="*/ 4752969 h 6858000"/>
              <a:gd name="connsiteX1544" fmla="*/ 880166 w 6781956"/>
              <a:gd name="connsiteY1544" fmla="*/ 4733841 h 6858000"/>
              <a:gd name="connsiteX1545" fmla="*/ 926333 w 6781956"/>
              <a:gd name="connsiteY1545" fmla="*/ 4729717 h 6858000"/>
              <a:gd name="connsiteX1546" fmla="*/ 922215 w 6781956"/>
              <a:gd name="connsiteY1546" fmla="*/ 4757619 h 6858000"/>
              <a:gd name="connsiteX1547" fmla="*/ 926333 w 6781956"/>
              <a:gd name="connsiteY1547" fmla="*/ 4729717 h 6858000"/>
              <a:gd name="connsiteX1548" fmla="*/ 1267101 w 6781956"/>
              <a:gd name="connsiteY1548" fmla="*/ 4727393 h 6858000"/>
              <a:gd name="connsiteX1549" fmla="*/ 1268130 w 6781956"/>
              <a:gd name="connsiteY1549" fmla="*/ 4745994 h 6858000"/>
              <a:gd name="connsiteX1550" fmla="*/ 1267101 w 6781956"/>
              <a:gd name="connsiteY1550" fmla="*/ 4727393 h 6858000"/>
              <a:gd name="connsiteX1551" fmla="*/ 1314458 w 6781956"/>
              <a:gd name="connsiteY1551" fmla="*/ 4718093 h 6858000"/>
              <a:gd name="connsiteX1552" fmla="*/ 1310340 w 6781956"/>
              <a:gd name="connsiteY1552" fmla="*/ 4745994 h 6858000"/>
              <a:gd name="connsiteX1553" fmla="*/ 1314458 w 6781956"/>
              <a:gd name="connsiteY1553" fmla="*/ 4718093 h 6858000"/>
              <a:gd name="connsiteX1554" fmla="*/ 1297986 w 6781956"/>
              <a:gd name="connsiteY1554" fmla="*/ 4700655 h 6858000"/>
              <a:gd name="connsiteX1555" fmla="*/ 1283572 w 6781956"/>
              <a:gd name="connsiteY1555" fmla="*/ 4758782 h 6858000"/>
              <a:gd name="connsiteX1556" fmla="*/ 1297986 w 6781956"/>
              <a:gd name="connsiteY1556" fmla="*/ 4700655 h 6858000"/>
              <a:gd name="connsiteX1557" fmla="*/ 905806 w 6781956"/>
              <a:gd name="connsiteY1557" fmla="*/ 4693262 h 6858000"/>
              <a:gd name="connsiteX1558" fmla="*/ 900595 w 6781956"/>
              <a:gd name="connsiteY1558" fmla="*/ 4729717 h 6858000"/>
              <a:gd name="connsiteX1559" fmla="*/ 902653 w 6781956"/>
              <a:gd name="connsiteY1559" fmla="*/ 4693680 h 6858000"/>
              <a:gd name="connsiteX1560" fmla="*/ 905806 w 6781956"/>
              <a:gd name="connsiteY1560" fmla="*/ 4693262 h 6858000"/>
              <a:gd name="connsiteX1561" fmla="*/ 890300 w 6781956"/>
              <a:gd name="connsiteY1561" fmla="*/ 4685541 h 6858000"/>
              <a:gd name="connsiteX1562" fmla="*/ 884122 w 6781956"/>
              <a:gd name="connsiteY1562" fmla="*/ 4718093 h 6858000"/>
              <a:gd name="connsiteX1563" fmla="*/ 890300 w 6781956"/>
              <a:gd name="connsiteY1563" fmla="*/ 4685541 h 6858000"/>
              <a:gd name="connsiteX1564" fmla="*/ 1344314 w 6781956"/>
              <a:gd name="connsiteY1564" fmla="*/ 4671591 h 6858000"/>
              <a:gd name="connsiteX1565" fmla="*/ 1344314 w 6781956"/>
              <a:gd name="connsiteY1565" fmla="*/ 4671591 h 6858000"/>
              <a:gd name="connsiteX1566" fmla="*/ 870282 w 6781956"/>
              <a:gd name="connsiteY1566" fmla="*/ 4644686 h 6858000"/>
              <a:gd name="connsiteX1567" fmla="*/ 871640 w 6781956"/>
              <a:gd name="connsiteY1567" fmla="*/ 4648197 h 6858000"/>
              <a:gd name="connsiteX1568" fmla="*/ 865590 w 6781956"/>
              <a:gd name="connsiteY1568" fmla="*/ 4661130 h 6858000"/>
              <a:gd name="connsiteX1569" fmla="*/ 866724 w 6781956"/>
              <a:gd name="connsiteY1569" fmla="*/ 4648340 h 6858000"/>
              <a:gd name="connsiteX1570" fmla="*/ 1319606 w 6781956"/>
              <a:gd name="connsiteY1570" fmla="*/ 4616953 h 6858000"/>
              <a:gd name="connsiteX1571" fmla="*/ 1311370 w 6781956"/>
              <a:gd name="connsiteY1571" fmla="*/ 4685541 h 6858000"/>
              <a:gd name="connsiteX1572" fmla="*/ 1313428 w 6781956"/>
              <a:gd name="connsiteY1572" fmla="*/ 4649504 h 6858000"/>
              <a:gd name="connsiteX1573" fmla="*/ 1319606 w 6781956"/>
              <a:gd name="connsiteY1573" fmla="*/ 4616953 h 6858000"/>
              <a:gd name="connsiteX1574" fmla="*/ 938687 w 6781956"/>
              <a:gd name="connsiteY1574" fmla="*/ 4583240 h 6858000"/>
              <a:gd name="connsiteX1575" fmla="*/ 912948 w 6781956"/>
              <a:gd name="connsiteY1575" fmla="*/ 4682054 h 6858000"/>
              <a:gd name="connsiteX1576" fmla="*/ 915007 w 6781956"/>
              <a:gd name="connsiteY1576" fmla="*/ 4658804 h 6858000"/>
              <a:gd name="connsiteX1577" fmla="*/ 917066 w 6781956"/>
              <a:gd name="connsiteY1577" fmla="*/ 4635552 h 6858000"/>
              <a:gd name="connsiteX1578" fmla="*/ 938687 w 6781956"/>
              <a:gd name="connsiteY1578" fmla="*/ 4583240 h 6858000"/>
              <a:gd name="connsiteX1579" fmla="*/ 1264012 w 6781956"/>
              <a:gd name="connsiteY1579" fmla="*/ 4561151 h 6858000"/>
              <a:gd name="connsiteX1580" fmla="*/ 1258865 w 6781956"/>
              <a:gd name="connsiteY1580" fmla="*/ 4582077 h 6858000"/>
              <a:gd name="connsiteX1581" fmla="*/ 1253717 w 6781956"/>
              <a:gd name="connsiteY1581" fmla="*/ 4603002 h 6858000"/>
              <a:gd name="connsiteX1582" fmla="*/ 1257835 w 6781956"/>
              <a:gd name="connsiteY1582" fmla="*/ 4605327 h 6858000"/>
              <a:gd name="connsiteX1583" fmla="*/ 1249599 w 6781956"/>
              <a:gd name="connsiteY1583" fmla="*/ 4630903 h 6858000"/>
              <a:gd name="connsiteX1584" fmla="*/ 1250628 w 6781956"/>
              <a:gd name="connsiteY1584" fmla="*/ 4637878 h 6858000"/>
              <a:gd name="connsiteX1585" fmla="*/ 1247539 w 6781956"/>
              <a:gd name="connsiteY1585" fmla="*/ 4654153 h 6858000"/>
              <a:gd name="connsiteX1586" fmla="*/ 1245482 w 6781956"/>
              <a:gd name="connsiteY1586" fmla="*/ 4677405 h 6858000"/>
              <a:gd name="connsiteX1587" fmla="*/ 1212537 w 6781956"/>
              <a:gd name="connsiteY1587" fmla="*/ 4740181 h 6858000"/>
              <a:gd name="connsiteX1588" fmla="*/ 1207389 w 6781956"/>
              <a:gd name="connsiteY1588" fmla="*/ 4792496 h 6858000"/>
              <a:gd name="connsiteX1589" fmla="*/ 1190916 w 6781956"/>
              <a:gd name="connsiteY1589" fmla="*/ 4823883 h 6858000"/>
              <a:gd name="connsiteX1590" fmla="*/ 1170326 w 6781956"/>
              <a:gd name="connsiteY1590" fmla="*/ 4914560 h 6858000"/>
              <a:gd name="connsiteX1591" fmla="*/ 1139440 w 6781956"/>
              <a:gd name="connsiteY1591" fmla="*/ 4985475 h 6858000"/>
              <a:gd name="connsiteX1592" fmla="*/ 1134294 w 6781956"/>
              <a:gd name="connsiteY1592" fmla="*/ 5006401 h 6858000"/>
              <a:gd name="connsiteX1593" fmla="*/ 1086937 w 6781956"/>
              <a:gd name="connsiteY1593" fmla="*/ 5127304 h 6858000"/>
              <a:gd name="connsiteX1594" fmla="*/ 1079729 w 6781956"/>
              <a:gd name="connsiteY1594" fmla="*/ 5171480 h 6858000"/>
              <a:gd name="connsiteX1595" fmla="*/ 1039579 w 6781956"/>
              <a:gd name="connsiteY1595" fmla="*/ 5259832 h 6858000"/>
              <a:gd name="connsiteX1596" fmla="*/ 1030314 w 6781956"/>
              <a:gd name="connsiteY1596" fmla="*/ 5278432 h 6858000"/>
              <a:gd name="connsiteX1597" fmla="*/ 1024136 w 6781956"/>
              <a:gd name="connsiteY1597" fmla="*/ 5310984 h 6858000"/>
              <a:gd name="connsiteX1598" fmla="*/ 1025165 w 6781956"/>
              <a:gd name="connsiteY1598" fmla="*/ 5317959 h 6858000"/>
              <a:gd name="connsiteX1599" fmla="*/ 1006634 w 6781956"/>
              <a:gd name="connsiteY1599" fmla="*/ 5353997 h 6858000"/>
              <a:gd name="connsiteX1600" fmla="*/ 1002515 w 6781956"/>
              <a:gd name="connsiteY1600" fmla="*/ 5381898 h 6858000"/>
              <a:gd name="connsiteX1601" fmla="*/ 987072 w 6781956"/>
              <a:gd name="connsiteY1601" fmla="*/ 5401660 h 6858000"/>
              <a:gd name="connsiteX1602" fmla="*/ 988104 w 6781956"/>
              <a:gd name="connsiteY1602" fmla="*/ 5408636 h 6858000"/>
              <a:gd name="connsiteX1603" fmla="*/ 969572 w 6781956"/>
              <a:gd name="connsiteY1603" fmla="*/ 5444674 h 6858000"/>
              <a:gd name="connsiteX1604" fmla="*/ 944864 w 6781956"/>
              <a:gd name="connsiteY1604" fmla="*/ 5486526 h 6858000"/>
              <a:gd name="connsiteX1605" fmla="*/ 945893 w 6781956"/>
              <a:gd name="connsiteY1605" fmla="*/ 5474901 h 6858000"/>
              <a:gd name="connsiteX1606" fmla="*/ 944864 w 6781956"/>
              <a:gd name="connsiteY1606" fmla="*/ 5467925 h 6858000"/>
              <a:gd name="connsiteX1607" fmla="*/ 956189 w 6781956"/>
              <a:gd name="connsiteY1607" fmla="*/ 5457462 h 6858000"/>
              <a:gd name="connsiteX1608" fmla="*/ 966483 w 6781956"/>
              <a:gd name="connsiteY1608" fmla="*/ 5427237 h 6858000"/>
              <a:gd name="connsiteX1609" fmla="*/ 975749 w 6781956"/>
              <a:gd name="connsiteY1609" fmla="*/ 5408636 h 6858000"/>
              <a:gd name="connsiteX1610" fmla="*/ 982956 w 6781956"/>
              <a:gd name="connsiteY1610" fmla="*/ 5394685 h 6858000"/>
              <a:gd name="connsiteX1611" fmla="*/ 1046785 w 6781956"/>
              <a:gd name="connsiteY1611" fmla="*/ 5211006 h 6858000"/>
              <a:gd name="connsiteX1612" fmla="*/ 1079729 w 6781956"/>
              <a:gd name="connsiteY1612" fmla="*/ 5116841 h 6858000"/>
              <a:gd name="connsiteX1613" fmla="*/ 1099290 w 6781956"/>
              <a:gd name="connsiteY1613" fmla="*/ 5069178 h 6858000"/>
              <a:gd name="connsiteX1614" fmla="*/ 1098260 w 6781956"/>
              <a:gd name="connsiteY1614" fmla="*/ 5062202 h 6858000"/>
              <a:gd name="connsiteX1615" fmla="*/ 1112674 w 6781956"/>
              <a:gd name="connsiteY1615" fmla="*/ 5035464 h 6858000"/>
              <a:gd name="connsiteX1616" fmla="*/ 1131205 w 6781956"/>
              <a:gd name="connsiteY1616" fmla="*/ 4979662 h 6858000"/>
              <a:gd name="connsiteX1617" fmla="*/ 1164150 w 6781956"/>
              <a:gd name="connsiteY1617" fmla="*/ 4885497 h 6858000"/>
              <a:gd name="connsiteX1618" fmla="*/ 1170326 w 6781956"/>
              <a:gd name="connsiteY1618" fmla="*/ 4852947 h 6858000"/>
              <a:gd name="connsiteX1619" fmla="*/ 1182681 w 6781956"/>
              <a:gd name="connsiteY1619" fmla="*/ 4818071 h 6858000"/>
              <a:gd name="connsiteX1620" fmla="*/ 1181652 w 6781956"/>
              <a:gd name="connsiteY1620" fmla="*/ 4811096 h 6858000"/>
              <a:gd name="connsiteX1621" fmla="*/ 1183711 w 6781956"/>
              <a:gd name="connsiteY1621" fmla="*/ 4806445 h 6858000"/>
              <a:gd name="connsiteX1622" fmla="*/ 1209448 w 6781956"/>
              <a:gd name="connsiteY1622" fmla="*/ 4726231 h 6858000"/>
              <a:gd name="connsiteX1623" fmla="*/ 1208419 w 6781956"/>
              <a:gd name="connsiteY1623" fmla="*/ 4719256 h 6858000"/>
              <a:gd name="connsiteX1624" fmla="*/ 1216654 w 6781956"/>
              <a:gd name="connsiteY1624" fmla="*/ 4693680 h 6858000"/>
              <a:gd name="connsiteX1625" fmla="*/ 1221802 w 6781956"/>
              <a:gd name="connsiteY1625" fmla="*/ 4672754 h 6858000"/>
              <a:gd name="connsiteX1626" fmla="*/ 1242393 w 6781956"/>
              <a:gd name="connsiteY1626" fmla="*/ 4613465 h 6858000"/>
              <a:gd name="connsiteX1627" fmla="*/ 1264012 w 6781956"/>
              <a:gd name="connsiteY1627" fmla="*/ 4561151 h 6858000"/>
              <a:gd name="connsiteX1628" fmla="*/ 974591 w 6781956"/>
              <a:gd name="connsiteY1628" fmla="*/ 4537173 h 6858000"/>
              <a:gd name="connsiteX1629" fmla="*/ 975749 w 6781956"/>
              <a:gd name="connsiteY1629" fmla="*/ 4541389 h 6858000"/>
              <a:gd name="connsiteX1630" fmla="*/ 958247 w 6781956"/>
              <a:gd name="connsiteY1630" fmla="*/ 4596027 h 6858000"/>
              <a:gd name="connsiteX1631" fmla="*/ 955159 w 6781956"/>
              <a:gd name="connsiteY1631" fmla="*/ 4580914 h 6858000"/>
              <a:gd name="connsiteX1632" fmla="*/ 969572 w 6781956"/>
              <a:gd name="connsiteY1632" fmla="*/ 4542551 h 6858000"/>
              <a:gd name="connsiteX1633" fmla="*/ 974591 w 6781956"/>
              <a:gd name="connsiteY1633" fmla="*/ 4537173 h 6858000"/>
              <a:gd name="connsiteX1634" fmla="*/ 954001 w 6781956"/>
              <a:gd name="connsiteY1634" fmla="*/ 4534848 h 6858000"/>
              <a:gd name="connsiteX1635" fmla="*/ 955159 w 6781956"/>
              <a:gd name="connsiteY1635" fmla="*/ 4539063 h 6858000"/>
              <a:gd name="connsiteX1636" fmla="*/ 943833 w 6781956"/>
              <a:gd name="connsiteY1636" fmla="*/ 4579752 h 6858000"/>
              <a:gd name="connsiteX1637" fmla="*/ 948982 w 6781956"/>
              <a:gd name="connsiteY1637" fmla="*/ 4540226 h 6858000"/>
              <a:gd name="connsiteX1638" fmla="*/ 954001 w 6781956"/>
              <a:gd name="connsiteY1638" fmla="*/ 4534848 h 6858000"/>
              <a:gd name="connsiteX1639" fmla="*/ 1345344 w 6781956"/>
              <a:gd name="connsiteY1639" fmla="*/ 4475124 h 6858000"/>
              <a:gd name="connsiteX1640" fmla="*/ 1335049 w 6781956"/>
              <a:gd name="connsiteY1640" fmla="*/ 4535576 h 6858000"/>
              <a:gd name="connsiteX1641" fmla="*/ 1299015 w 6781956"/>
              <a:gd name="connsiteY1641" fmla="*/ 4646016 h 6858000"/>
              <a:gd name="connsiteX1642" fmla="*/ 1292838 w 6781956"/>
              <a:gd name="connsiteY1642" fmla="*/ 4678566 h 6858000"/>
              <a:gd name="connsiteX1643" fmla="*/ 1279455 w 6781956"/>
              <a:gd name="connsiteY1643" fmla="*/ 4683217 h 6858000"/>
              <a:gd name="connsiteX1644" fmla="*/ 1294897 w 6781956"/>
              <a:gd name="connsiteY1644" fmla="*/ 4632065 h 6858000"/>
              <a:gd name="connsiteX1645" fmla="*/ 1300045 w 6781956"/>
              <a:gd name="connsiteY1645" fmla="*/ 4622765 h 6858000"/>
              <a:gd name="connsiteX1646" fmla="*/ 1315488 w 6781956"/>
              <a:gd name="connsiteY1646" fmla="*/ 4553013 h 6858000"/>
              <a:gd name="connsiteX1647" fmla="*/ 1345344 w 6781956"/>
              <a:gd name="connsiteY1647" fmla="*/ 4475124 h 6858000"/>
              <a:gd name="connsiteX1648" fmla="*/ 940746 w 6781956"/>
              <a:gd name="connsiteY1648" fmla="*/ 4465825 h 6858000"/>
              <a:gd name="connsiteX1649" fmla="*/ 936628 w 6781956"/>
              <a:gd name="connsiteY1649" fmla="*/ 4493724 h 6858000"/>
              <a:gd name="connsiteX1650" fmla="*/ 940746 w 6781956"/>
              <a:gd name="connsiteY1650" fmla="*/ 4465825 h 6858000"/>
              <a:gd name="connsiteX1651" fmla="*/ 1023106 w 6781956"/>
              <a:gd name="connsiteY1651" fmla="*/ 4454199 h 6858000"/>
              <a:gd name="connsiteX1652" fmla="*/ 1027225 w 6781956"/>
              <a:gd name="connsiteY1652" fmla="*/ 4487911 h 6858000"/>
              <a:gd name="connsiteX1653" fmla="*/ 1024136 w 6781956"/>
              <a:gd name="connsiteY1653" fmla="*/ 4504187 h 6858000"/>
              <a:gd name="connsiteX1654" fmla="*/ 1012812 w 6781956"/>
              <a:gd name="connsiteY1654" fmla="*/ 4546038 h 6858000"/>
              <a:gd name="connsiteX1655" fmla="*/ 1010752 w 6781956"/>
              <a:gd name="connsiteY1655" fmla="*/ 4569288 h 6858000"/>
              <a:gd name="connsiteX1656" fmla="*/ 991191 w 6781956"/>
              <a:gd name="connsiteY1656" fmla="*/ 4616953 h 6858000"/>
              <a:gd name="connsiteX1657" fmla="*/ 992221 w 6781956"/>
              <a:gd name="connsiteY1657" fmla="*/ 4635552 h 6858000"/>
              <a:gd name="connsiteX1658" fmla="*/ 989132 w 6781956"/>
              <a:gd name="connsiteY1658" fmla="*/ 4651828 h 6858000"/>
              <a:gd name="connsiteX1659" fmla="*/ 977808 w 6781956"/>
              <a:gd name="connsiteY1659" fmla="*/ 4662291 h 6858000"/>
              <a:gd name="connsiteX1660" fmla="*/ 981926 w 6781956"/>
              <a:gd name="connsiteY1660" fmla="*/ 4664617 h 6858000"/>
              <a:gd name="connsiteX1661" fmla="*/ 967514 w 6781956"/>
              <a:gd name="connsiteY1661" fmla="*/ 4691355 h 6858000"/>
              <a:gd name="connsiteX1662" fmla="*/ 973689 w 6781956"/>
              <a:gd name="connsiteY1662" fmla="*/ 4699493 h 6858000"/>
              <a:gd name="connsiteX1663" fmla="*/ 953100 w 6781956"/>
              <a:gd name="connsiteY1663" fmla="*/ 4697167 h 6858000"/>
              <a:gd name="connsiteX1664" fmla="*/ 941776 w 6781956"/>
              <a:gd name="connsiteY1664" fmla="*/ 4739018 h 6858000"/>
              <a:gd name="connsiteX1665" fmla="*/ 943833 w 6781956"/>
              <a:gd name="connsiteY1665" fmla="*/ 4715768 h 6858000"/>
              <a:gd name="connsiteX1666" fmla="*/ 954129 w 6781956"/>
              <a:gd name="connsiteY1666" fmla="*/ 4685541 h 6858000"/>
              <a:gd name="connsiteX1667" fmla="*/ 965454 w 6781956"/>
              <a:gd name="connsiteY1667" fmla="*/ 4643691 h 6858000"/>
              <a:gd name="connsiteX1668" fmla="*/ 993251 w 6781956"/>
              <a:gd name="connsiteY1668" fmla="*/ 4570452 h 6858000"/>
              <a:gd name="connsiteX1669" fmla="*/ 992221 w 6781956"/>
              <a:gd name="connsiteY1669" fmla="*/ 4563477 h 6858000"/>
              <a:gd name="connsiteX1670" fmla="*/ 999428 w 6781956"/>
              <a:gd name="connsiteY1670" fmla="*/ 4549526 h 6858000"/>
              <a:gd name="connsiteX1671" fmla="*/ 1017958 w 6781956"/>
              <a:gd name="connsiteY1671" fmla="*/ 4493724 h 6858000"/>
              <a:gd name="connsiteX1672" fmla="*/ 1023106 w 6781956"/>
              <a:gd name="connsiteY1672" fmla="*/ 4454199 h 6858000"/>
              <a:gd name="connsiteX1673" fmla="*/ 1354609 w 6781956"/>
              <a:gd name="connsiteY1673" fmla="*/ 4448386 h 6858000"/>
              <a:gd name="connsiteX1674" fmla="*/ 1353581 w 6781956"/>
              <a:gd name="connsiteY1674" fmla="*/ 4460011 h 6858000"/>
              <a:gd name="connsiteX1675" fmla="*/ 1348433 w 6781956"/>
              <a:gd name="connsiteY1675" fmla="*/ 4469311 h 6858000"/>
              <a:gd name="connsiteX1676" fmla="*/ 1354609 w 6781956"/>
              <a:gd name="connsiteY1676" fmla="*/ 4448386 h 6858000"/>
              <a:gd name="connsiteX1677" fmla="*/ 1318577 w 6781956"/>
              <a:gd name="connsiteY1677" fmla="*/ 4422811 h 6858000"/>
              <a:gd name="connsiteX1678" fmla="*/ 1312400 w 6781956"/>
              <a:gd name="connsiteY1678" fmla="*/ 4455361 h 6858000"/>
              <a:gd name="connsiteX1679" fmla="*/ 1318577 w 6781956"/>
              <a:gd name="connsiteY1679" fmla="*/ 4422811 h 6858000"/>
              <a:gd name="connsiteX1680" fmla="*/ 998398 w 6781956"/>
              <a:gd name="connsiteY1680" fmla="*/ 4415836 h 6858000"/>
              <a:gd name="connsiteX1681" fmla="*/ 997369 w 6781956"/>
              <a:gd name="connsiteY1681" fmla="*/ 4427460 h 6858000"/>
              <a:gd name="connsiteX1682" fmla="*/ 983985 w 6781956"/>
              <a:gd name="connsiteY1682" fmla="*/ 4473962 h 6858000"/>
              <a:gd name="connsiteX1683" fmla="*/ 998398 w 6781956"/>
              <a:gd name="connsiteY1683" fmla="*/ 4415836 h 6858000"/>
              <a:gd name="connsiteX1684" fmla="*/ 1409174 w 6781956"/>
              <a:gd name="connsiteY1684" fmla="*/ 4413510 h 6858000"/>
              <a:gd name="connsiteX1685" fmla="*/ 1397850 w 6781956"/>
              <a:gd name="connsiteY1685" fmla="*/ 4486749 h 6858000"/>
              <a:gd name="connsiteX1686" fmla="*/ 1401966 w 6781956"/>
              <a:gd name="connsiteY1686" fmla="*/ 4508838 h 6858000"/>
              <a:gd name="connsiteX1687" fmla="*/ 1383436 w 6781956"/>
              <a:gd name="connsiteY1687" fmla="*/ 4532089 h 6858000"/>
              <a:gd name="connsiteX1688" fmla="*/ 1385494 w 6781956"/>
              <a:gd name="connsiteY1688" fmla="*/ 4508838 h 6858000"/>
              <a:gd name="connsiteX1689" fmla="*/ 1377259 w 6781956"/>
              <a:gd name="connsiteY1689" fmla="*/ 4514650 h 6858000"/>
              <a:gd name="connsiteX1690" fmla="*/ 1376228 w 6781956"/>
              <a:gd name="connsiteY1690" fmla="*/ 4496049 h 6858000"/>
              <a:gd name="connsiteX1691" fmla="*/ 1381377 w 6781956"/>
              <a:gd name="connsiteY1691" fmla="*/ 4486749 h 6858000"/>
              <a:gd name="connsiteX1692" fmla="*/ 1389613 w 6781956"/>
              <a:gd name="connsiteY1692" fmla="*/ 4461173 h 6858000"/>
              <a:gd name="connsiteX1693" fmla="*/ 1409174 w 6781956"/>
              <a:gd name="connsiteY1693" fmla="*/ 4413510 h 6858000"/>
              <a:gd name="connsiteX1694" fmla="*/ 1308281 w 6781956"/>
              <a:gd name="connsiteY1694" fmla="*/ 4403047 h 6858000"/>
              <a:gd name="connsiteX1695" fmla="*/ 1293868 w 6781956"/>
              <a:gd name="connsiteY1695" fmla="*/ 4461173 h 6858000"/>
              <a:gd name="connsiteX1696" fmla="*/ 1272248 w 6781956"/>
              <a:gd name="connsiteY1696" fmla="*/ 4533251 h 6858000"/>
              <a:gd name="connsiteX1697" fmla="*/ 1286662 w 6781956"/>
              <a:gd name="connsiteY1697" fmla="*/ 4475124 h 6858000"/>
              <a:gd name="connsiteX1698" fmla="*/ 1308281 w 6781956"/>
              <a:gd name="connsiteY1698" fmla="*/ 4403047 h 6858000"/>
              <a:gd name="connsiteX1699" fmla="*/ 1381377 w 6781956"/>
              <a:gd name="connsiteY1699" fmla="*/ 4393746 h 6858000"/>
              <a:gd name="connsiteX1700" fmla="*/ 1376228 w 6781956"/>
              <a:gd name="connsiteY1700" fmla="*/ 4433273 h 6858000"/>
              <a:gd name="connsiteX1701" fmla="*/ 1381377 w 6781956"/>
              <a:gd name="connsiteY1701" fmla="*/ 4393746 h 6858000"/>
              <a:gd name="connsiteX1702" fmla="*/ 1045756 w 6781956"/>
              <a:gd name="connsiteY1702" fmla="*/ 4386771 h 6858000"/>
              <a:gd name="connsiteX1703" fmla="*/ 1037520 w 6781956"/>
              <a:gd name="connsiteY1703" fmla="*/ 4442573 h 6858000"/>
              <a:gd name="connsiteX1704" fmla="*/ 1038549 w 6781956"/>
              <a:gd name="connsiteY1704" fmla="*/ 4430948 h 6858000"/>
              <a:gd name="connsiteX1705" fmla="*/ 1031343 w 6781956"/>
              <a:gd name="connsiteY1705" fmla="*/ 4413510 h 6858000"/>
              <a:gd name="connsiteX1706" fmla="*/ 1045756 w 6781956"/>
              <a:gd name="connsiteY1706" fmla="*/ 4386771 h 6858000"/>
              <a:gd name="connsiteX1707" fmla="*/ 1008694 w 6781956"/>
              <a:gd name="connsiteY1707" fmla="*/ 4385609 h 6858000"/>
              <a:gd name="connsiteX1708" fmla="*/ 1000458 w 6781956"/>
              <a:gd name="connsiteY1708" fmla="*/ 4411185 h 6858000"/>
              <a:gd name="connsiteX1709" fmla="*/ 1008694 w 6781956"/>
              <a:gd name="connsiteY1709" fmla="*/ 4385609 h 6858000"/>
              <a:gd name="connsiteX1710" fmla="*/ 1425646 w 6781956"/>
              <a:gd name="connsiteY1710" fmla="*/ 4350733 h 6858000"/>
              <a:gd name="connsiteX1711" fmla="*/ 1424616 w 6781956"/>
              <a:gd name="connsiteY1711" fmla="*/ 4362358 h 6858000"/>
              <a:gd name="connsiteX1712" fmla="*/ 1419469 w 6781956"/>
              <a:gd name="connsiteY1712" fmla="*/ 4371658 h 6858000"/>
              <a:gd name="connsiteX1713" fmla="*/ 1425646 w 6781956"/>
              <a:gd name="connsiteY1713" fmla="*/ 4350733 h 6858000"/>
              <a:gd name="connsiteX1714" fmla="*/ 1320635 w 6781956"/>
              <a:gd name="connsiteY1714" fmla="*/ 4350733 h 6858000"/>
              <a:gd name="connsiteX1715" fmla="*/ 1315488 w 6781956"/>
              <a:gd name="connsiteY1715" fmla="*/ 4390259 h 6858000"/>
              <a:gd name="connsiteX1716" fmla="*/ 1309310 w 6781956"/>
              <a:gd name="connsiteY1716" fmla="*/ 4391423 h 6858000"/>
              <a:gd name="connsiteX1717" fmla="*/ 1313429 w 6781956"/>
              <a:gd name="connsiteY1717" fmla="*/ 4370642 h 6858000"/>
              <a:gd name="connsiteX1718" fmla="*/ 1314190 w 6781956"/>
              <a:gd name="connsiteY1718" fmla="*/ 4368539 h 6858000"/>
              <a:gd name="connsiteX1719" fmla="*/ 1314234 w 6781956"/>
              <a:gd name="connsiteY1719" fmla="*/ 4368516 h 6858000"/>
              <a:gd name="connsiteX1720" fmla="*/ 1314418 w 6781956"/>
              <a:gd name="connsiteY1720" fmla="*/ 4367909 h 6858000"/>
              <a:gd name="connsiteX1721" fmla="*/ 1177533 w 6781956"/>
              <a:gd name="connsiteY1721" fmla="*/ 4320507 h 6858000"/>
              <a:gd name="connsiteX1722" fmla="*/ 1172385 w 6781956"/>
              <a:gd name="connsiteY1722" fmla="*/ 4360033 h 6858000"/>
              <a:gd name="connsiteX1723" fmla="*/ 1177533 w 6781956"/>
              <a:gd name="connsiteY1723" fmla="*/ 4370496 h 6858000"/>
              <a:gd name="connsiteX1724" fmla="*/ 1174445 w 6781956"/>
              <a:gd name="connsiteY1724" fmla="*/ 4386771 h 6858000"/>
              <a:gd name="connsiteX1725" fmla="*/ 1157972 w 6781956"/>
              <a:gd name="connsiteY1725" fmla="*/ 4418159 h 6858000"/>
              <a:gd name="connsiteX1726" fmla="*/ 1154883 w 6781956"/>
              <a:gd name="connsiteY1726" fmla="*/ 4434437 h 6858000"/>
              <a:gd name="connsiteX1727" fmla="*/ 1157972 w 6781956"/>
              <a:gd name="connsiteY1727" fmla="*/ 4449548 h 6858000"/>
              <a:gd name="connsiteX1728" fmla="*/ 1143559 w 6781956"/>
              <a:gd name="connsiteY1728" fmla="*/ 4489075 h 6858000"/>
              <a:gd name="connsiteX1729" fmla="*/ 1138413 w 6781956"/>
              <a:gd name="connsiteY1729" fmla="*/ 4528600 h 6858000"/>
              <a:gd name="connsiteX1730" fmla="*/ 1123998 w 6781956"/>
              <a:gd name="connsiteY1730" fmla="*/ 4586727 h 6858000"/>
              <a:gd name="connsiteX1731" fmla="*/ 1104438 w 6781956"/>
              <a:gd name="connsiteY1731" fmla="*/ 4665779 h 6858000"/>
              <a:gd name="connsiteX1732" fmla="*/ 1091054 w 6781956"/>
              <a:gd name="connsiteY1732" fmla="*/ 4680892 h 6858000"/>
              <a:gd name="connsiteX1733" fmla="*/ 1096202 w 6781956"/>
              <a:gd name="connsiteY1733" fmla="*/ 4691355 h 6858000"/>
              <a:gd name="connsiteX1734" fmla="*/ 1085907 w 6781956"/>
              <a:gd name="connsiteY1734" fmla="*/ 4721580 h 6858000"/>
              <a:gd name="connsiteX1735" fmla="*/ 1086937 w 6781956"/>
              <a:gd name="connsiteY1735" fmla="*/ 4728555 h 6858000"/>
              <a:gd name="connsiteX1736" fmla="*/ 1069434 w 6781956"/>
              <a:gd name="connsiteY1736" fmla="*/ 4771569 h 6858000"/>
              <a:gd name="connsiteX1737" fmla="*/ 1062228 w 6781956"/>
              <a:gd name="connsiteY1737" fmla="*/ 4815746 h 6858000"/>
              <a:gd name="connsiteX1738" fmla="*/ 1057081 w 6781956"/>
              <a:gd name="connsiteY1738" fmla="*/ 4825046 h 6858000"/>
              <a:gd name="connsiteX1739" fmla="*/ 1045756 w 6781956"/>
              <a:gd name="connsiteY1739" fmla="*/ 4847134 h 6858000"/>
              <a:gd name="connsiteX1740" fmla="*/ 1037520 w 6781956"/>
              <a:gd name="connsiteY1740" fmla="*/ 4876197 h 6858000"/>
              <a:gd name="connsiteX1741" fmla="*/ 1042667 w 6781956"/>
              <a:gd name="connsiteY1741" fmla="*/ 4836670 h 6858000"/>
              <a:gd name="connsiteX1742" fmla="*/ 1028254 w 6781956"/>
              <a:gd name="connsiteY1742" fmla="*/ 4844809 h 6858000"/>
              <a:gd name="connsiteX1743" fmla="*/ 1033401 w 6781956"/>
              <a:gd name="connsiteY1743" fmla="*/ 4823883 h 6858000"/>
              <a:gd name="connsiteX1744" fmla="*/ 1047815 w 6781956"/>
              <a:gd name="connsiteY1744" fmla="*/ 4815746 h 6858000"/>
              <a:gd name="connsiteX1745" fmla="*/ 1057081 w 6781956"/>
              <a:gd name="connsiteY1745" fmla="*/ 4797145 h 6858000"/>
              <a:gd name="connsiteX1746" fmla="*/ 1039579 w 6781956"/>
              <a:gd name="connsiteY1746" fmla="*/ 4809933 h 6858000"/>
              <a:gd name="connsiteX1747" fmla="*/ 1048844 w 6781956"/>
              <a:gd name="connsiteY1747" fmla="*/ 4761105 h 6858000"/>
              <a:gd name="connsiteX1748" fmla="*/ 1060170 w 6781956"/>
              <a:gd name="connsiteY1748" fmla="*/ 4719256 h 6858000"/>
              <a:gd name="connsiteX1749" fmla="*/ 1070464 w 6781956"/>
              <a:gd name="connsiteY1749" fmla="*/ 4720417 h 6858000"/>
              <a:gd name="connsiteX1750" fmla="*/ 1069434 w 6781956"/>
              <a:gd name="connsiteY1750" fmla="*/ 4701818 h 6858000"/>
              <a:gd name="connsiteX1751" fmla="*/ 1078701 w 6781956"/>
              <a:gd name="connsiteY1751" fmla="*/ 4683217 h 6858000"/>
              <a:gd name="connsiteX1752" fmla="*/ 1080759 w 6781956"/>
              <a:gd name="connsiteY1752" fmla="*/ 4659967 h 6858000"/>
              <a:gd name="connsiteX1753" fmla="*/ 1100320 w 6781956"/>
              <a:gd name="connsiteY1753" fmla="*/ 4612302 h 6858000"/>
              <a:gd name="connsiteX1754" fmla="*/ 1096202 w 6781956"/>
              <a:gd name="connsiteY1754" fmla="*/ 4590215 h 6858000"/>
              <a:gd name="connsiteX1755" fmla="*/ 1113703 w 6781956"/>
              <a:gd name="connsiteY1755" fmla="*/ 4565801 h 6858000"/>
              <a:gd name="connsiteX1756" fmla="*/ 1112674 w 6781956"/>
              <a:gd name="connsiteY1756" fmla="*/ 4558827 h 6858000"/>
              <a:gd name="connsiteX1757" fmla="*/ 1111645 w 6781956"/>
              <a:gd name="connsiteY1757" fmla="*/ 4540226 h 6858000"/>
              <a:gd name="connsiteX1758" fmla="*/ 1129146 w 6781956"/>
              <a:gd name="connsiteY1758" fmla="*/ 4497212 h 6858000"/>
              <a:gd name="connsiteX1759" fmla="*/ 1137383 w 6781956"/>
              <a:gd name="connsiteY1759" fmla="*/ 4471636 h 6858000"/>
              <a:gd name="connsiteX1760" fmla="*/ 1148707 w 6781956"/>
              <a:gd name="connsiteY1760" fmla="*/ 4418159 h 6858000"/>
              <a:gd name="connsiteX1761" fmla="*/ 1162090 w 6781956"/>
              <a:gd name="connsiteY1761" fmla="*/ 4371658 h 6858000"/>
              <a:gd name="connsiteX1762" fmla="*/ 1167239 w 6781956"/>
              <a:gd name="connsiteY1762" fmla="*/ 4362358 h 6858000"/>
              <a:gd name="connsiteX1763" fmla="*/ 1163120 w 6781956"/>
              <a:gd name="connsiteY1763" fmla="*/ 4360033 h 6858000"/>
              <a:gd name="connsiteX1764" fmla="*/ 1177533 w 6781956"/>
              <a:gd name="connsiteY1764" fmla="*/ 4320507 h 6858000"/>
              <a:gd name="connsiteX1765" fmla="*/ 1386524 w 6781956"/>
              <a:gd name="connsiteY1765" fmla="*/ 4311207 h 6858000"/>
              <a:gd name="connsiteX1766" fmla="*/ 1375200 w 6781956"/>
              <a:gd name="connsiteY1766" fmla="*/ 4364684 h 6858000"/>
              <a:gd name="connsiteX1767" fmla="*/ 1362845 w 6781956"/>
              <a:gd name="connsiteY1767" fmla="*/ 4418159 h 6858000"/>
              <a:gd name="connsiteX1768" fmla="*/ 1386524 w 6781956"/>
              <a:gd name="connsiteY1768" fmla="*/ 4311207 h 6858000"/>
              <a:gd name="connsiteX1769" fmla="*/ 1068405 w 6781956"/>
              <a:gd name="connsiteY1769" fmla="*/ 4311207 h 6858000"/>
              <a:gd name="connsiteX1770" fmla="*/ 1066346 w 6781956"/>
              <a:gd name="connsiteY1770" fmla="*/ 4334458 h 6858000"/>
              <a:gd name="connsiteX1771" fmla="*/ 1068405 w 6781956"/>
              <a:gd name="connsiteY1771" fmla="*/ 4311207 h 6858000"/>
              <a:gd name="connsiteX1772" fmla="*/ 1408144 w 6781956"/>
              <a:gd name="connsiteY1772" fmla="*/ 4301907 h 6858000"/>
              <a:gd name="connsiteX1773" fmla="*/ 1407114 w 6781956"/>
              <a:gd name="connsiteY1773" fmla="*/ 4313533 h 6858000"/>
              <a:gd name="connsiteX1774" fmla="*/ 1408144 w 6781956"/>
              <a:gd name="connsiteY1774" fmla="*/ 4301907 h 6858000"/>
              <a:gd name="connsiteX1775" fmla="*/ 1299956 w 6781956"/>
              <a:gd name="connsiteY1775" fmla="*/ 4294771 h 6858000"/>
              <a:gd name="connsiteX1776" fmla="*/ 1297986 w 6781956"/>
              <a:gd name="connsiteY1776" fmla="*/ 4317019 h 6858000"/>
              <a:gd name="connsiteX1777" fmla="*/ 1284602 w 6781956"/>
              <a:gd name="connsiteY1777" fmla="*/ 4363521 h 6858000"/>
              <a:gd name="connsiteX1778" fmla="*/ 1277395 w 6781956"/>
              <a:gd name="connsiteY1778" fmla="*/ 4407698 h 6858000"/>
              <a:gd name="connsiteX1779" fmla="*/ 1267101 w 6781956"/>
              <a:gd name="connsiteY1779" fmla="*/ 4437923 h 6858000"/>
              <a:gd name="connsiteX1780" fmla="*/ 1258865 w 6781956"/>
              <a:gd name="connsiteY1780" fmla="*/ 4475124 h 6858000"/>
              <a:gd name="connsiteX1781" fmla="*/ 1253717 w 6781956"/>
              <a:gd name="connsiteY1781" fmla="*/ 4484423 h 6858000"/>
              <a:gd name="connsiteX1782" fmla="*/ 1244452 w 6781956"/>
              <a:gd name="connsiteY1782" fmla="*/ 4533251 h 6858000"/>
              <a:gd name="connsiteX1783" fmla="*/ 1239304 w 6781956"/>
              <a:gd name="connsiteY1783" fmla="*/ 4542551 h 6858000"/>
              <a:gd name="connsiteX1784" fmla="*/ 1225920 w 6781956"/>
              <a:gd name="connsiteY1784" fmla="*/ 4589052 h 6858000"/>
              <a:gd name="connsiteX1785" fmla="*/ 1215626 w 6781956"/>
              <a:gd name="connsiteY1785" fmla="*/ 4619277 h 6858000"/>
              <a:gd name="connsiteX1786" fmla="*/ 1205330 w 6781956"/>
              <a:gd name="connsiteY1786" fmla="*/ 4649504 h 6858000"/>
              <a:gd name="connsiteX1787" fmla="*/ 1199153 w 6781956"/>
              <a:gd name="connsiteY1787" fmla="*/ 4682054 h 6858000"/>
              <a:gd name="connsiteX1788" fmla="*/ 1194006 w 6781956"/>
              <a:gd name="connsiteY1788" fmla="*/ 4691355 h 6858000"/>
              <a:gd name="connsiteX1789" fmla="*/ 1170326 w 6781956"/>
              <a:gd name="connsiteY1789" fmla="*/ 4768082 h 6858000"/>
              <a:gd name="connsiteX1790" fmla="*/ 1148707 w 6781956"/>
              <a:gd name="connsiteY1790" fmla="*/ 4840159 h 6858000"/>
              <a:gd name="connsiteX1791" fmla="*/ 1145619 w 6781956"/>
              <a:gd name="connsiteY1791" fmla="*/ 4856434 h 6858000"/>
              <a:gd name="connsiteX1792" fmla="*/ 1118851 w 6781956"/>
              <a:gd name="connsiteY1792" fmla="*/ 4949436 h 6858000"/>
              <a:gd name="connsiteX1793" fmla="*/ 1107527 w 6781956"/>
              <a:gd name="connsiteY1793" fmla="*/ 4971524 h 6858000"/>
              <a:gd name="connsiteX1794" fmla="*/ 1106497 w 6781956"/>
              <a:gd name="connsiteY1794" fmla="*/ 4983150 h 6858000"/>
              <a:gd name="connsiteX1795" fmla="*/ 1099290 w 6781956"/>
              <a:gd name="connsiteY1795" fmla="*/ 4997100 h 6858000"/>
              <a:gd name="connsiteX1796" fmla="*/ 1071494 w 6781956"/>
              <a:gd name="connsiteY1796" fmla="*/ 5081965 h 6858000"/>
              <a:gd name="connsiteX1797" fmla="*/ 1046785 w 6781956"/>
              <a:gd name="connsiteY1797" fmla="*/ 5138929 h 6858000"/>
              <a:gd name="connsiteX1798" fmla="*/ 1038549 w 6781956"/>
              <a:gd name="connsiteY1798" fmla="*/ 5176130 h 6858000"/>
              <a:gd name="connsiteX1799" fmla="*/ 1027225 w 6781956"/>
              <a:gd name="connsiteY1799" fmla="*/ 5198218 h 6858000"/>
              <a:gd name="connsiteX1800" fmla="*/ 1023706 w 6781956"/>
              <a:gd name="connsiteY1800" fmla="*/ 5213289 h 6858000"/>
              <a:gd name="connsiteX1801" fmla="*/ 1018988 w 6781956"/>
              <a:gd name="connsiteY1801" fmla="*/ 5207518 h 6858000"/>
              <a:gd name="connsiteX1802" fmla="*/ 1015549 w 6781956"/>
              <a:gd name="connsiteY1802" fmla="*/ 5215806 h 6858000"/>
              <a:gd name="connsiteX1803" fmla="*/ 1053991 w 6781956"/>
              <a:gd name="connsiteY1803" fmla="*/ 5105215 h 6858000"/>
              <a:gd name="connsiteX1804" fmla="*/ 1056051 w 6781956"/>
              <a:gd name="connsiteY1804" fmla="*/ 5069178 h 6858000"/>
              <a:gd name="connsiteX1805" fmla="*/ 1079729 w 6781956"/>
              <a:gd name="connsiteY1805" fmla="*/ 5023838 h 6858000"/>
              <a:gd name="connsiteX1806" fmla="*/ 1094144 w 6781956"/>
              <a:gd name="connsiteY1806" fmla="*/ 4997100 h 6858000"/>
              <a:gd name="connsiteX1807" fmla="*/ 1095171 w 6781956"/>
              <a:gd name="connsiteY1807" fmla="*/ 4985475 h 6858000"/>
              <a:gd name="connsiteX1808" fmla="*/ 1112674 w 6781956"/>
              <a:gd name="connsiteY1808" fmla="*/ 4942461 h 6858000"/>
              <a:gd name="connsiteX1809" fmla="*/ 1118851 w 6781956"/>
              <a:gd name="connsiteY1809" fmla="*/ 4909911 h 6858000"/>
              <a:gd name="connsiteX1810" fmla="*/ 1123998 w 6781956"/>
              <a:gd name="connsiteY1810" fmla="*/ 4900610 h 6858000"/>
              <a:gd name="connsiteX1811" fmla="*/ 1132235 w 6781956"/>
              <a:gd name="connsiteY1811" fmla="*/ 4875035 h 6858000"/>
              <a:gd name="connsiteX1812" fmla="*/ 1134294 w 6781956"/>
              <a:gd name="connsiteY1812" fmla="*/ 4870385 h 6858000"/>
              <a:gd name="connsiteX1813" fmla="*/ 1133264 w 6781956"/>
              <a:gd name="connsiteY1813" fmla="*/ 4863409 h 6858000"/>
              <a:gd name="connsiteX1814" fmla="*/ 1144589 w 6781956"/>
              <a:gd name="connsiteY1814" fmla="*/ 4841321 h 6858000"/>
              <a:gd name="connsiteX1815" fmla="*/ 1143559 w 6781956"/>
              <a:gd name="connsiteY1815" fmla="*/ 4822720 h 6858000"/>
              <a:gd name="connsiteX1816" fmla="*/ 1148707 w 6781956"/>
              <a:gd name="connsiteY1816" fmla="*/ 4813420 h 6858000"/>
              <a:gd name="connsiteX1817" fmla="*/ 1152826 w 6781956"/>
              <a:gd name="connsiteY1817" fmla="*/ 4785520 h 6858000"/>
              <a:gd name="connsiteX1818" fmla="*/ 1163120 w 6781956"/>
              <a:gd name="connsiteY1818" fmla="*/ 4755294 h 6858000"/>
              <a:gd name="connsiteX1819" fmla="*/ 1169297 w 6781956"/>
              <a:gd name="connsiteY1819" fmla="*/ 4722743 h 6858000"/>
              <a:gd name="connsiteX1820" fmla="*/ 1175474 w 6781956"/>
              <a:gd name="connsiteY1820" fmla="*/ 4721580 h 6858000"/>
              <a:gd name="connsiteX1821" fmla="*/ 1178563 w 6781956"/>
              <a:gd name="connsiteY1821" fmla="*/ 4705305 h 6858000"/>
              <a:gd name="connsiteX1822" fmla="*/ 1189887 w 6781956"/>
              <a:gd name="connsiteY1822" fmla="*/ 4694841 h 6858000"/>
              <a:gd name="connsiteX1823" fmla="*/ 1204301 w 6781956"/>
              <a:gd name="connsiteY1823" fmla="*/ 4636716 h 6858000"/>
              <a:gd name="connsiteX1824" fmla="*/ 1210478 w 6781956"/>
              <a:gd name="connsiteY1824" fmla="*/ 4604164 h 6858000"/>
              <a:gd name="connsiteX1825" fmla="*/ 1209448 w 6781956"/>
              <a:gd name="connsiteY1825" fmla="*/ 4597189 h 6858000"/>
              <a:gd name="connsiteX1826" fmla="*/ 1215626 w 6781956"/>
              <a:gd name="connsiteY1826" fmla="*/ 4596027 h 6858000"/>
              <a:gd name="connsiteX1827" fmla="*/ 1214596 w 6781956"/>
              <a:gd name="connsiteY1827" fmla="*/ 4589052 h 6858000"/>
              <a:gd name="connsiteX1828" fmla="*/ 1221802 w 6781956"/>
              <a:gd name="connsiteY1828" fmla="*/ 4575102 h 6858000"/>
              <a:gd name="connsiteX1829" fmla="*/ 1235185 w 6781956"/>
              <a:gd name="connsiteY1829" fmla="*/ 4528600 h 6858000"/>
              <a:gd name="connsiteX1830" fmla="*/ 1260925 w 6781956"/>
              <a:gd name="connsiteY1830" fmla="*/ 4448386 h 6858000"/>
              <a:gd name="connsiteX1831" fmla="*/ 1259895 w 6781956"/>
              <a:gd name="connsiteY1831" fmla="*/ 4441410 h 6858000"/>
              <a:gd name="connsiteX1832" fmla="*/ 1270189 w 6781956"/>
              <a:gd name="connsiteY1832" fmla="*/ 4411185 h 6858000"/>
              <a:gd name="connsiteX1833" fmla="*/ 1284196 w 6781956"/>
              <a:gd name="connsiteY1833" fmla="*/ 4354692 h 6858000"/>
              <a:gd name="connsiteX1834" fmla="*/ 1286402 w 6781956"/>
              <a:gd name="connsiteY1834" fmla="*/ 4350299 h 6858000"/>
              <a:gd name="connsiteX1835" fmla="*/ 1286523 w 6781956"/>
              <a:gd name="connsiteY1835" fmla="*/ 4342940 h 6858000"/>
              <a:gd name="connsiteX1836" fmla="*/ 1287691 w 6781956"/>
              <a:gd name="connsiteY1836" fmla="*/ 4336782 h 6858000"/>
              <a:gd name="connsiteX1837" fmla="*/ 1286662 w 6781956"/>
              <a:gd name="connsiteY1837" fmla="*/ 4329808 h 6858000"/>
              <a:gd name="connsiteX1838" fmla="*/ 1296957 w 6781956"/>
              <a:gd name="connsiteY1838" fmla="*/ 4299583 h 6858000"/>
              <a:gd name="connsiteX1839" fmla="*/ 1297430 w 6781956"/>
              <a:gd name="connsiteY1839" fmla="*/ 4296376 h 6858000"/>
              <a:gd name="connsiteX1840" fmla="*/ 948982 w 6781956"/>
              <a:gd name="connsiteY1840" fmla="*/ 4285631 h 6858000"/>
              <a:gd name="connsiteX1841" fmla="*/ 954000 w 6781956"/>
              <a:gd name="connsiteY1841" fmla="*/ 4300019 h 6858000"/>
              <a:gd name="connsiteX1842" fmla="*/ 949357 w 6781956"/>
              <a:gd name="connsiteY1842" fmla="*/ 4315747 h 6858000"/>
              <a:gd name="connsiteX1843" fmla="*/ 947951 w 6781956"/>
              <a:gd name="connsiteY1843" fmla="*/ 4313533 h 6858000"/>
              <a:gd name="connsiteX1844" fmla="*/ 947811 w 6781956"/>
              <a:gd name="connsiteY1844" fmla="*/ 4313904 h 6858000"/>
              <a:gd name="connsiteX1845" fmla="*/ 943577 w 6781956"/>
              <a:gd name="connsiteY1845" fmla="*/ 4302633 h 6858000"/>
              <a:gd name="connsiteX1846" fmla="*/ 948982 w 6781956"/>
              <a:gd name="connsiteY1846" fmla="*/ 4285631 h 6858000"/>
              <a:gd name="connsiteX1847" fmla="*/ 1036490 w 6781956"/>
              <a:gd name="connsiteY1847" fmla="*/ 4280982 h 6858000"/>
              <a:gd name="connsiteX1848" fmla="*/ 1015900 w 6781956"/>
              <a:gd name="connsiteY1848" fmla="*/ 4371658 h 6858000"/>
              <a:gd name="connsiteX1849" fmla="*/ 1014871 w 6781956"/>
              <a:gd name="connsiteY1849" fmla="*/ 4353058 h 6858000"/>
              <a:gd name="connsiteX1850" fmla="*/ 1011782 w 6781956"/>
              <a:gd name="connsiteY1850" fmla="*/ 4337946 h 6858000"/>
              <a:gd name="connsiteX1851" fmla="*/ 1018988 w 6781956"/>
              <a:gd name="connsiteY1851" fmla="*/ 4323995 h 6858000"/>
              <a:gd name="connsiteX1852" fmla="*/ 1036490 w 6781956"/>
              <a:gd name="connsiteY1852" fmla="*/ 4280982 h 6858000"/>
              <a:gd name="connsiteX1853" fmla="*/ 1395790 w 6781956"/>
              <a:gd name="connsiteY1853" fmla="*/ 4274005 h 6858000"/>
              <a:gd name="connsiteX1854" fmla="*/ 1389613 w 6781956"/>
              <a:gd name="connsiteY1854" fmla="*/ 4306558 h 6858000"/>
              <a:gd name="connsiteX1855" fmla="*/ 1395790 w 6781956"/>
              <a:gd name="connsiteY1855" fmla="*/ 4274005 h 6858000"/>
              <a:gd name="connsiteX1856" fmla="*/ 1400744 w 6781956"/>
              <a:gd name="connsiteY1856" fmla="*/ 4242218 h 6858000"/>
              <a:gd name="connsiteX1857" fmla="*/ 1397850 w 6781956"/>
              <a:gd name="connsiteY1857" fmla="*/ 4269356 h 6858000"/>
              <a:gd name="connsiteX1858" fmla="*/ 1395790 w 6781956"/>
              <a:gd name="connsiteY1858" fmla="*/ 4242617 h 6858000"/>
              <a:gd name="connsiteX1859" fmla="*/ 1400744 w 6781956"/>
              <a:gd name="connsiteY1859" fmla="*/ 4242218 h 6858000"/>
              <a:gd name="connsiteX1860" fmla="*/ 1533745 w 6781956"/>
              <a:gd name="connsiteY1860" fmla="*/ 4221693 h 6858000"/>
              <a:gd name="connsiteX1861" fmla="*/ 1533595 w 6781956"/>
              <a:gd name="connsiteY1861" fmla="*/ 4228240 h 6858000"/>
              <a:gd name="connsiteX1862" fmla="*/ 1532715 w 6781956"/>
              <a:gd name="connsiteY1862" fmla="*/ 4229830 h 6858000"/>
              <a:gd name="connsiteX1863" fmla="*/ 1533549 w 6781956"/>
              <a:gd name="connsiteY1863" fmla="*/ 4230301 h 6858000"/>
              <a:gd name="connsiteX1864" fmla="*/ 1533362 w 6781956"/>
              <a:gd name="connsiteY1864" fmla="*/ 4238425 h 6858000"/>
              <a:gd name="connsiteX1865" fmla="*/ 1531685 w 6781956"/>
              <a:gd name="connsiteY1865" fmla="*/ 4241455 h 6858000"/>
              <a:gd name="connsiteX1866" fmla="*/ 1526538 w 6781956"/>
              <a:gd name="connsiteY1866" fmla="*/ 4262381 h 6858000"/>
              <a:gd name="connsiteX1867" fmla="*/ 1524736 w 6781956"/>
              <a:gd name="connsiteY1867" fmla="*/ 4282730 h 6858000"/>
              <a:gd name="connsiteX1868" fmla="*/ 1524162 w 6781956"/>
              <a:gd name="connsiteY1868" fmla="*/ 4286613 h 6858000"/>
              <a:gd name="connsiteX1869" fmla="*/ 1516243 w 6781956"/>
              <a:gd name="connsiteY1869" fmla="*/ 4311207 h 6858000"/>
              <a:gd name="connsiteX1870" fmla="*/ 1517272 w 6781956"/>
              <a:gd name="connsiteY1870" fmla="*/ 4318182 h 6858000"/>
              <a:gd name="connsiteX1871" fmla="*/ 1511468 w 6781956"/>
              <a:gd name="connsiteY1871" fmla="*/ 4344395 h 6858000"/>
              <a:gd name="connsiteX1872" fmla="*/ 1504919 w 6781956"/>
              <a:gd name="connsiteY1872" fmla="*/ 4368171 h 6858000"/>
              <a:gd name="connsiteX1873" fmla="*/ 1505694 w 6781956"/>
              <a:gd name="connsiteY1873" fmla="*/ 4370050 h 6858000"/>
              <a:gd name="connsiteX1874" fmla="*/ 1503418 w 6781956"/>
              <a:gd name="connsiteY1874" fmla="*/ 4380045 h 6858000"/>
              <a:gd name="connsiteX1875" fmla="*/ 1498741 w 6781956"/>
              <a:gd name="connsiteY1875" fmla="*/ 4389097 h 6858000"/>
              <a:gd name="connsiteX1876" fmla="*/ 1480209 w 6781956"/>
              <a:gd name="connsiteY1876" fmla="*/ 4475124 h 6858000"/>
              <a:gd name="connsiteX1877" fmla="*/ 1472709 w 6781956"/>
              <a:gd name="connsiteY1877" fmla="*/ 4504164 h 6858000"/>
              <a:gd name="connsiteX1878" fmla="*/ 1462708 w 6781956"/>
              <a:gd name="connsiteY1878" fmla="*/ 4534412 h 6858000"/>
              <a:gd name="connsiteX1879" fmla="*/ 1463503 w 6781956"/>
              <a:gd name="connsiteY1879" fmla="*/ 4539804 h 6858000"/>
              <a:gd name="connsiteX1880" fmla="*/ 1462402 w 6781956"/>
              <a:gd name="connsiteY1880" fmla="*/ 4544071 h 6858000"/>
              <a:gd name="connsiteX1881" fmla="*/ 1454472 w 6781956"/>
              <a:gd name="connsiteY1881" fmla="*/ 4559988 h 6858000"/>
              <a:gd name="connsiteX1882" fmla="*/ 1455502 w 6781956"/>
              <a:gd name="connsiteY1882" fmla="*/ 4566965 h 6858000"/>
              <a:gd name="connsiteX1883" fmla="*/ 1447265 w 6781956"/>
              <a:gd name="connsiteY1883" fmla="*/ 4592539 h 6858000"/>
              <a:gd name="connsiteX1884" fmla="*/ 1442118 w 6781956"/>
              <a:gd name="connsiteY1884" fmla="*/ 4601841 h 6858000"/>
              <a:gd name="connsiteX1885" fmla="*/ 1433882 w 6781956"/>
              <a:gd name="connsiteY1885" fmla="*/ 4627415 h 6858000"/>
              <a:gd name="connsiteX1886" fmla="*/ 1434911 w 6781956"/>
              <a:gd name="connsiteY1886" fmla="*/ 4634391 h 6858000"/>
              <a:gd name="connsiteX1887" fmla="*/ 1426676 w 6781956"/>
              <a:gd name="connsiteY1887" fmla="*/ 4659967 h 6858000"/>
              <a:gd name="connsiteX1888" fmla="*/ 1426061 w 6781956"/>
              <a:gd name="connsiteY1888" fmla="*/ 4662460 h 6858000"/>
              <a:gd name="connsiteX1889" fmla="*/ 1424616 w 6781956"/>
              <a:gd name="connsiteY1889" fmla="*/ 4665779 h 6858000"/>
              <a:gd name="connsiteX1890" fmla="*/ 1425168 w 6781956"/>
              <a:gd name="connsiteY1890" fmla="*/ 4666090 h 6858000"/>
              <a:gd name="connsiteX1891" fmla="*/ 1420902 w 6781956"/>
              <a:gd name="connsiteY1891" fmla="*/ 4683414 h 6858000"/>
              <a:gd name="connsiteX1892" fmla="*/ 1419469 w 6781956"/>
              <a:gd name="connsiteY1892" fmla="*/ 4686704 h 6858000"/>
              <a:gd name="connsiteX1893" fmla="*/ 1417930 w 6781956"/>
              <a:gd name="connsiteY1893" fmla="*/ 4694496 h 6858000"/>
              <a:gd name="connsiteX1894" fmla="*/ 1408144 w 6781956"/>
              <a:gd name="connsiteY1894" fmla="*/ 4727393 h 6858000"/>
              <a:gd name="connsiteX1895" fmla="*/ 1402996 w 6781956"/>
              <a:gd name="connsiteY1895" fmla="*/ 4736694 h 6858000"/>
              <a:gd name="connsiteX1896" fmla="*/ 1389613 w 6781956"/>
              <a:gd name="connsiteY1896" fmla="*/ 4783195 h 6858000"/>
              <a:gd name="connsiteX1897" fmla="*/ 1384706 w 6781956"/>
              <a:gd name="connsiteY1897" fmla="*/ 4796651 h 6858000"/>
              <a:gd name="connsiteX1898" fmla="*/ 1391671 w 6781956"/>
              <a:gd name="connsiteY1898" fmla="*/ 4759944 h 6858000"/>
              <a:gd name="connsiteX1899" fmla="*/ 1390643 w 6781956"/>
              <a:gd name="connsiteY1899" fmla="*/ 4752969 h 6858000"/>
              <a:gd name="connsiteX1900" fmla="*/ 1399909 w 6781956"/>
              <a:gd name="connsiteY1900" fmla="*/ 4734369 h 6858000"/>
              <a:gd name="connsiteX1901" fmla="*/ 1398877 w 6781956"/>
              <a:gd name="connsiteY1901" fmla="*/ 4727393 h 6858000"/>
              <a:gd name="connsiteX1902" fmla="*/ 1399909 w 6781956"/>
              <a:gd name="connsiteY1902" fmla="*/ 4715768 h 6858000"/>
              <a:gd name="connsiteX1903" fmla="*/ 1420498 w 6781956"/>
              <a:gd name="connsiteY1903" fmla="*/ 4675079 h 6858000"/>
              <a:gd name="connsiteX1904" fmla="*/ 1424616 w 6781956"/>
              <a:gd name="connsiteY1904" fmla="*/ 4647178 h 6858000"/>
              <a:gd name="connsiteX1905" fmla="*/ 1434911 w 6781956"/>
              <a:gd name="connsiteY1905" fmla="*/ 4616953 h 6858000"/>
              <a:gd name="connsiteX1906" fmla="*/ 1449325 w 6781956"/>
              <a:gd name="connsiteY1906" fmla="*/ 4558827 h 6858000"/>
              <a:gd name="connsiteX1907" fmla="*/ 1462708 w 6781956"/>
              <a:gd name="connsiteY1907" fmla="*/ 4512325 h 6858000"/>
              <a:gd name="connsiteX1908" fmla="*/ 1467856 w 6781956"/>
              <a:gd name="connsiteY1908" fmla="*/ 4503024 h 6858000"/>
              <a:gd name="connsiteX1909" fmla="*/ 1482269 w 6781956"/>
              <a:gd name="connsiteY1909" fmla="*/ 4444898 h 6858000"/>
              <a:gd name="connsiteX1910" fmla="*/ 1481239 w 6781956"/>
              <a:gd name="connsiteY1910" fmla="*/ 4437923 h 6858000"/>
              <a:gd name="connsiteX1911" fmla="*/ 1490506 w 6781956"/>
              <a:gd name="connsiteY1911" fmla="*/ 4419323 h 6858000"/>
              <a:gd name="connsiteX1912" fmla="*/ 1486387 w 6781956"/>
              <a:gd name="connsiteY1912" fmla="*/ 4416998 h 6858000"/>
              <a:gd name="connsiteX1913" fmla="*/ 1508007 w 6781956"/>
              <a:gd name="connsiteY1913" fmla="*/ 4333295 h 6858000"/>
              <a:gd name="connsiteX1914" fmla="*/ 1533745 w 6781956"/>
              <a:gd name="connsiteY1914" fmla="*/ 4221693 h 6858000"/>
              <a:gd name="connsiteX1915" fmla="*/ 1197095 w 6781956"/>
              <a:gd name="connsiteY1915" fmla="*/ 4217042 h 6858000"/>
              <a:gd name="connsiteX1916" fmla="*/ 1187828 w 6781956"/>
              <a:gd name="connsiteY1916" fmla="*/ 4297257 h 6858000"/>
              <a:gd name="connsiteX1917" fmla="*/ 1178563 w 6781956"/>
              <a:gd name="connsiteY1917" fmla="*/ 4314695 h 6858000"/>
              <a:gd name="connsiteX1918" fmla="*/ 1197095 w 6781956"/>
              <a:gd name="connsiteY1918" fmla="*/ 4217042 h 6858000"/>
              <a:gd name="connsiteX1919" fmla="*/ 1458590 w 6781956"/>
              <a:gd name="connsiteY1919" fmla="*/ 4206580 h 6858000"/>
              <a:gd name="connsiteX1920" fmla="*/ 1462708 w 6781956"/>
              <a:gd name="connsiteY1920" fmla="*/ 4228668 h 6858000"/>
              <a:gd name="connsiteX1921" fmla="*/ 1449325 w 6781956"/>
              <a:gd name="connsiteY1921" fmla="*/ 4275169 h 6858000"/>
              <a:gd name="connsiteX1922" fmla="*/ 1447265 w 6781956"/>
              <a:gd name="connsiteY1922" fmla="*/ 4298420 h 6858000"/>
              <a:gd name="connsiteX1923" fmla="*/ 1428734 w 6781956"/>
              <a:gd name="connsiteY1923" fmla="*/ 4314695 h 6858000"/>
              <a:gd name="connsiteX1924" fmla="*/ 1443147 w 6781956"/>
              <a:gd name="connsiteY1924" fmla="*/ 4256569 h 6858000"/>
              <a:gd name="connsiteX1925" fmla="*/ 1448294 w 6781956"/>
              <a:gd name="connsiteY1925" fmla="*/ 4247268 h 6858000"/>
              <a:gd name="connsiteX1926" fmla="*/ 1444177 w 6781956"/>
              <a:gd name="connsiteY1926" fmla="*/ 4244943 h 6858000"/>
              <a:gd name="connsiteX1927" fmla="*/ 1458590 w 6781956"/>
              <a:gd name="connsiteY1927" fmla="*/ 4206580 h 6858000"/>
              <a:gd name="connsiteX1928" fmla="*/ 1332408 w 6781956"/>
              <a:gd name="connsiteY1928" fmla="*/ 4131496 h 6858000"/>
              <a:gd name="connsiteX1929" fmla="*/ 1332989 w 6781956"/>
              <a:gd name="connsiteY1929" fmla="*/ 4132180 h 6858000"/>
              <a:gd name="connsiteX1930" fmla="*/ 1331444 w 6781956"/>
              <a:gd name="connsiteY1930" fmla="*/ 4140753 h 6858000"/>
              <a:gd name="connsiteX1931" fmla="*/ 1336077 w 6781956"/>
              <a:gd name="connsiteY1931" fmla="*/ 4144968 h 6858000"/>
              <a:gd name="connsiteX1932" fmla="*/ 1334019 w 6781956"/>
              <a:gd name="connsiteY1932" fmla="*/ 4149615 h 6858000"/>
              <a:gd name="connsiteX1933" fmla="*/ 1335049 w 6781956"/>
              <a:gd name="connsiteY1933" fmla="*/ 4156590 h 6858000"/>
              <a:gd name="connsiteX1934" fmla="*/ 1325783 w 6781956"/>
              <a:gd name="connsiteY1934" fmla="*/ 4205418 h 6858000"/>
              <a:gd name="connsiteX1935" fmla="*/ 1320635 w 6781956"/>
              <a:gd name="connsiteY1935" fmla="*/ 4214716 h 6858000"/>
              <a:gd name="connsiteX1936" fmla="*/ 1312400 w 6781956"/>
              <a:gd name="connsiteY1936" fmla="*/ 4240294 h 6858000"/>
              <a:gd name="connsiteX1937" fmla="*/ 1313428 w 6781956"/>
              <a:gd name="connsiteY1937" fmla="*/ 4247268 h 6858000"/>
              <a:gd name="connsiteX1938" fmla="*/ 1304162 w 6781956"/>
              <a:gd name="connsiteY1938" fmla="*/ 4279467 h 6858000"/>
              <a:gd name="connsiteX1939" fmla="*/ 1304162 w 6781956"/>
              <a:gd name="connsiteY1939" fmla="*/ 4264708 h 6858000"/>
              <a:gd name="connsiteX1940" fmla="*/ 1302421 w 6781956"/>
              <a:gd name="connsiteY1940" fmla="*/ 4266204 h 6858000"/>
              <a:gd name="connsiteX1941" fmla="*/ 1306222 w 6781956"/>
              <a:gd name="connsiteY1941" fmla="*/ 4250755 h 6858000"/>
              <a:gd name="connsiteX1942" fmla="*/ 1305194 w 6781956"/>
              <a:gd name="connsiteY1942" fmla="*/ 4243781 h 6858000"/>
              <a:gd name="connsiteX1943" fmla="*/ 1308522 w 6781956"/>
              <a:gd name="connsiteY1943" fmla="*/ 4232435 h 6858000"/>
              <a:gd name="connsiteX1944" fmla="*/ 1309309 w 6781956"/>
              <a:gd name="connsiteY1944" fmla="*/ 4234918 h 6858000"/>
              <a:gd name="connsiteX1945" fmla="*/ 1315487 w 6781956"/>
              <a:gd name="connsiteY1945" fmla="*/ 4229833 h 6858000"/>
              <a:gd name="connsiteX1946" fmla="*/ 1312398 w 6781956"/>
              <a:gd name="connsiteY1946" fmla="*/ 4225182 h 6858000"/>
              <a:gd name="connsiteX1947" fmla="*/ 1310648 w 6781956"/>
              <a:gd name="connsiteY1947" fmla="*/ 4225182 h 6858000"/>
              <a:gd name="connsiteX1948" fmla="*/ 1318706 w 6781956"/>
              <a:gd name="connsiteY1948" fmla="*/ 4197715 h 6858000"/>
              <a:gd name="connsiteX1949" fmla="*/ 1321852 w 6781956"/>
              <a:gd name="connsiteY1949" fmla="*/ 4183851 h 6858000"/>
              <a:gd name="connsiteX1950" fmla="*/ 1329900 w 6781956"/>
              <a:gd name="connsiteY1950" fmla="*/ 4172867 h 6858000"/>
              <a:gd name="connsiteX1951" fmla="*/ 1329128 w 6781956"/>
              <a:gd name="connsiteY1951" fmla="*/ 4161243 h 6858000"/>
              <a:gd name="connsiteX1952" fmla="*/ 1324158 w 6781956"/>
              <a:gd name="connsiteY1952" fmla="*/ 4156967 h 6858000"/>
              <a:gd name="connsiteX1953" fmla="*/ 1328871 w 6781956"/>
              <a:gd name="connsiteY1953" fmla="*/ 4148453 h 6858000"/>
              <a:gd name="connsiteX1954" fmla="*/ 1522419 w 6781956"/>
              <a:gd name="connsiteY1954" fmla="*/ 4107764 h 6858000"/>
              <a:gd name="connsiteX1955" fmla="*/ 1530656 w 6781956"/>
              <a:gd name="connsiteY1955" fmla="*/ 4132178 h 6858000"/>
              <a:gd name="connsiteX1956" fmla="*/ 1531685 w 6781956"/>
              <a:gd name="connsiteY1956" fmla="*/ 4139152 h 6858000"/>
              <a:gd name="connsiteX1957" fmla="*/ 1518302 w 6781956"/>
              <a:gd name="connsiteY1957" fmla="*/ 4185654 h 6858000"/>
              <a:gd name="connsiteX1958" fmla="*/ 1513154 w 6781956"/>
              <a:gd name="connsiteY1958" fmla="*/ 4194954 h 6858000"/>
              <a:gd name="connsiteX1959" fmla="*/ 1502859 w 6781956"/>
              <a:gd name="connsiteY1959" fmla="*/ 4225180 h 6858000"/>
              <a:gd name="connsiteX1960" fmla="*/ 1500800 w 6781956"/>
              <a:gd name="connsiteY1960" fmla="*/ 4248431 h 6858000"/>
              <a:gd name="connsiteX1961" fmla="*/ 1492564 w 6781956"/>
              <a:gd name="connsiteY1961" fmla="*/ 4274005 h 6858000"/>
              <a:gd name="connsiteX1962" fmla="*/ 1495652 w 6781956"/>
              <a:gd name="connsiteY1962" fmla="*/ 4289119 h 6858000"/>
              <a:gd name="connsiteX1963" fmla="*/ 1488446 w 6781956"/>
              <a:gd name="connsiteY1963" fmla="*/ 4303070 h 6858000"/>
              <a:gd name="connsiteX1964" fmla="*/ 1492564 w 6781956"/>
              <a:gd name="connsiteY1964" fmla="*/ 4325157 h 6858000"/>
              <a:gd name="connsiteX1965" fmla="*/ 1479180 w 6781956"/>
              <a:gd name="connsiteY1965" fmla="*/ 4340271 h 6858000"/>
              <a:gd name="connsiteX1966" fmla="*/ 1487416 w 6781956"/>
              <a:gd name="connsiteY1966" fmla="*/ 4346083 h 6858000"/>
              <a:gd name="connsiteX1967" fmla="*/ 1486387 w 6781956"/>
              <a:gd name="connsiteY1967" fmla="*/ 4357709 h 6858000"/>
              <a:gd name="connsiteX1968" fmla="*/ 1471975 w 6781956"/>
              <a:gd name="connsiteY1968" fmla="*/ 4384446 h 6858000"/>
              <a:gd name="connsiteX1969" fmla="*/ 1468885 w 6781956"/>
              <a:gd name="connsiteY1969" fmla="*/ 4400722 h 6858000"/>
              <a:gd name="connsiteX1970" fmla="*/ 1469915 w 6781956"/>
              <a:gd name="connsiteY1970" fmla="*/ 4407698 h 6858000"/>
              <a:gd name="connsiteX1971" fmla="*/ 1455502 w 6781956"/>
              <a:gd name="connsiteY1971" fmla="*/ 4434437 h 6858000"/>
              <a:gd name="connsiteX1972" fmla="*/ 1458590 w 6781956"/>
              <a:gd name="connsiteY1972" fmla="*/ 4449548 h 6858000"/>
              <a:gd name="connsiteX1973" fmla="*/ 1433882 w 6781956"/>
              <a:gd name="connsiteY1973" fmla="*/ 4506512 h 6858000"/>
              <a:gd name="connsiteX1974" fmla="*/ 1436970 w 6781956"/>
              <a:gd name="connsiteY1974" fmla="*/ 4521625 h 6858000"/>
              <a:gd name="connsiteX1975" fmla="*/ 1427705 w 6781956"/>
              <a:gd name="connsiteY1975" fmla="*/ 4540226 h 6858000"/>
              <a:gd name="connsiteX1976" fmla="*/ 1430793 w 6781956"/>
              <a:gd name="connsiteY1976" fmla="*/ 4555339 h 6858000"/>
              <a:gd name="connsiteX1977" fmla="*/ 1419469 w 6781956"/>
              <a:gd name="connsiteY1977" fmla="*/ 4577426 h 6858000"/>
              <a:gd name="connsiteX1978" fmla="*/ 1412262 w 6781956"/>
              <a:gd name="connsiteY1978" fmla="*/ 4623928 h 6858000"/>
              <a:gd name="connsiteX1979" fmla="*/ 1407114 w 6781956"/>
              <a:gd name="connsiteY1979" fmla="*/ 4613465 h 6858000"/>
              <a:gd name="connsiteX1980" fmla="*/ 1402996 w 6781956"/>
              <a:gd name="connsiteY1980" fmla="*/ 4641366 h 6858000"/>
              <a:gd name="connsiteX1981" fmla="*/ 1390643 w 6781956"/>
              <a:gd name="connsiteY1981" fmla="*/ 4676243 h 6858000"/>
              <a:gd name="connsiteX1982" fmla="*/ 1382407 w 6781956"/>
              <a:gd name="connsiteY1982" fmla="*/ 4701818 h 6858000"/>
              <a:gd name="connsiteX1983" fmla="*/ 1377259 w 6781956"/>
              <a:gd name="connsiteY1983" fmla="*/ 4741343 h 6858000"/>
              <a:gd name="connsiteX1984" fmla="*/ 1365934 w 6781956"/>
              <a:gd name="connsiteY1984" fmla="*/ 4763431 h 6858000"/>
              <a:gd name="connsiteX1985" fmla="*/ 1355638 w 6781956"/>
              <a:gd name="connsiteY1985" fmla="*/ 4823883 h 6858000"/>
              <a:gd name="connsiteX1986" fmla="*/ 1346373 w 6781956"/>
              <a:gd name="connsiteY1986" fmla="*/ 4842483 h 6858000"/>
              <a:gd name="connsiteX1987" fmla="*/ 1344314 w 6781956"/>
              <a:gd name="connsiteY1987" fmla="*/ 4865734 h 6858000"/>
              <a:gd name="connsiteX1988" fmla="*/ 1323724 w 6781956"/>
              <a:gd name="connsiteY1988" fmla="*/ 4906423 h 6858000"/>
              <a:gd name="connsiteX1989" fmla="*/ 1315488 w 6781956"/>
              <a:gd name="connsiteY1989" fmla="*/ 4931998 h 6858000"/>
              <a:gd name="connsiteX1990" fmla="*/ 1319606 w 6781956"/>
              <a:gd name="connsiteY1990" fmla="*/ 4954086 h 6858000"/>
              <a:gd name="connsiteX1991" fmla="*/ 1304163 w 6781956"/>
              <a:gd name="connsiteY1991" fmla="*/ 4973849 h 6858000"/>
              <a:gd name="connsiteX1992" fmla="*/ 1299015 w 6781956"/>
              <a:gd name="connsiteY1992" fmla="*/ 5013375 h 6858000"/>
              <a:gd name="connsiteX1993" fmla="*/ 1293868 w 6781956"/>
              <a:gd name="connsiteY1993" fmla="*/ 5002914 h 6858000"/>
              <a:gd name="connsiteX1994" fmla="*/ 1295927 w 6781956"/>
              <a:gd name="connsiteY1994" fmla="*/ 4979662 h 6858000"/>
              <a:gd name="connsiteX1995" fmla="*/ 1304163 w 6781956"/>
              <a:gd name="connsiteY1995" fmla="*/ 4954086 h 6858000"/>
              <a:gd name="connsiteX1996" fmla="*/ 1312400 w 6781956"/>
              <a:gd name="connsiteY1996" fmla="*/ 4897122 h 6858000"/>
              <a:gd name="connsiteX1997" fmla="*/ 1323724 w 6781956"/>
              <a:gd name="connsiteY1997" fmla="*/ 4843647 h 6858000"/>
              <a:gd name="connsiteX1998" fmla="*/ 1336078 w 6781956"/>
              <a:gd name="connsiteY1998" fmla="*/ 4840159 h 6858000"/>
              <a:gd name="connsiteX1999" fmla="*/ 1351521 w 6781956"/>
              <a:gd name="connsiteY1999" fmla="*/ 4770406 h 6858000"/>
              <a:gd name="connsiteX2000" fmla="*/ 1356668 w 6781956"/>
              <a:gd name="connsiteY2000" fmla="*/ 4761105 h 6858000"/>
              <a:gd name="connsiteX2001" fmla="*/ 1375200 w 6781956"/>
              <a:gd name="connsiteY2001" fmla="*/ 4705305 h 6858000"/>
              <a:gd name="connsiteX2002" fmla="*/ 1378288 w 6781956"/>
              <a:gd name="connsiteY2002" fmla="*/ 4689030 h 6858000"/>
              <a:gd name="connsiteX2003" fmla="*/ 1375200 w 6781956"/>
              <a:gd name="connsiteY2003" fmla="*/ 4673917 h 6858000"/>
              <a:gd name="connsiteX2004" fmla="*/ 1384466 w 6781956"/>
              <a:gd name="connsiteY2004" fmla="*/ 4655316 h 6858000"/>
              <a:gd name="connsiteX2005" fmla="*/ 1398877 w 6781956"/>
              <a:gd name="connsiteY2005" fmla="*/ 4615790 h 6858000"/>
              <a:gd name="connsiteX2006" fmla="*/ 1397850 w 6781956"/>
              <a:gd name="connsiteY2006" fmla="*/ 4608815 h 6858000"/>
              <a:gd name="connsiteX2007" fmla="*/ 1407114 w 6781956"/>
              <a:gd name="connsiteY2007" fmla="*/ 4590215 h 6858000"/>
              <a:gd name="connsiteX2008" fmla="*/ 1406084 w 6781956"/>
              <a:gd name="connsiteY2008" fmla="*/ 4583240 h 6858000"/>
              <a:gd name="connsiteX2009" fmla="*/ 1411233 w 6781956"/>
              <a:gd name="connsiteY2009" fmla="*/ 4573939 h 6858000"/>
              <a:gd name="connsiteX2010" fmla="*/ 1413292 w 6781956"/>
              <a:gd name="connsiteY2010" fmla="*/ 4550689 h 6858000"/>
              <a:gd name="connsiteX2011" fmla="*/ 1415350 w 6781956"/>
              <a:gd name="connsiteY2011" fmla="*/ 4527437 h 6858000"/>
              <a:gd name="connsiteX2012" fmla="*/ 1423587 w 6781956"/>
              <a:gd name="connsiteY2012" fmla="*/ 4521625 h 6858000"/>
              <a:gd name="connsiteX2013" fmla="*/ 1429763 w 6781956"/>
              <a:gd name="connsiteY2013" fmla="*/ 4520463 h 6858000"/>
              <a:gd name="connsiteX2014" fmla="*/ 1431822 w 6781956"/>
              <a:gd name="connsiteY2014" fmla="*/ 4484423 h 6858000"/>
              <a:gd name="connsiteX2015" fmla="*/ 1454472 w 6781956"/>
              <a:gd name="connsiteY2015" fmla="*/ 4420485 h 6858000"/>
              <a:gd name="connsiteX2016" fmla="*/ 1453443 w 6781956"/>
              <a:gd name="connsiteY2016" fmla="*/ 4413510 h 6858000"/>
              <a:gd name="connsiteX2017" fmla="*/ 1461678 w 6781956"/>
              <a:gd name="connsiteY2017" fmla="*/ 4387935 h 6858000"/>
              <a:gd name="connsiteX2018" fmla="*/ 1458590 w 6781956"/>
              <a:gd name="connsiteY2018" fmla="*/ 4372822 h 6858000"/>
              <a:gd name="connsiteX2019" fmla="*/ 1474033 w 6781956"/>
              <a:gd name="connsiteY2019" fmla="*/ 4321671 h 6858000"/>
              <a:gd name="connsiteX2020" fmla="*/ 1479180 w 6781956"/>
              <a:gd name="connsiteY2020" fmla="*/ 4312370 h 6858000"/>
              <a:gd name="connsiteX2021" fmla="*/ 1493593 w 6781956"/>
              <a:gd name="connsiteY2021" fmla="*/ 4254243 h 6858000"/>
              <a:gd name="connsiteX2022" fmla="*/ 1492564 w 6781956"/>
              <a:gd name="connsiteY2022" fmla="*/ 4247268 h 6858000"/>
              <a:gd name="connsiteX2023" fmla="*/ 1509036 w 6781956"/>
              <a:gd name="connsiteY2023" fmla="*/ 4184491 h 6858000"/>
              <a:gd name="connsiteX2024" fmla="*/ 1512125 w 6781956"/>
              <a:gd name="connsiteY2024" fmla="*/ 4168216 h 6858000"/>
              <a:gd name="connsiteX2025" fmla="*/ 1515213 w 6781956"/>
              <a:gd name="connsiteY2025" fmla="*/ 4151940 h 6858000"/>
              <a:gd name="connsiteX2026" fmla="*/ 1511095 w 6781956"/>
              <a:gd name="connsiteY2026" fmla="*/ 4149615 h 6858000"/>
              <a:gd name="connsiteX2027" fmla="*/ 1522419 w 6781956"/>
              <a:gd name="connsiteY2027" fmla="*/ 4107764 h 6858000"/>
              <a:gd name="connsiteX2028" fmla="*/ 1491052 w 6781956"/>
              <a:gd name="connsiteY2028" fmla="*/ 4061317 h 6858000"/>
              <a:gd name="connsiteX2029" fmla="*/ 1488446 w 6781956"/>
              <a:gd name="connsiteY2029" fmla="*/ 4085676 h 6858000"/>
              <a:gd name="connsiteX2030" fmla="*/ 1491534 w 6781956"/>
              <a:gd name="connsiteY2030" fmla="*/ 4100789 h 6858000"/>
              <a:gd name="connsiteX2031" fmla="*/ 1481239 w 6781956"/>
              <a:gd name="connsiteY2031" fmla="*/ 4110089 h 6858000"/>
              <a:gd name="connsiteX2032" fmla="*/ 1482269 w 6781956"/>
              <a:gd name="connsiteY2032" fmla="*/ 4098463 h 6858000"/>
              <a:gd name="connsiteX2033" fmla="*/ 1481239 w 6781956"/>
              <a:gd name="connsiteY2033" fmla="*/ 4079864 h 6858000"/>
              <a:gd name="connsiteX2034" fmla="*/ 1484327 w 6781956"/>
              <a:gd name="connsiteY2034" fmla="*/ 4063587 h 6858000"/>
              <a:gd name="connsiteX2035" fmla="*/ 1491052 w 6781956"/>
              <a:gd name="connsiteY2035" fmla="*/ 4061317 h 6858000"/>
              <a:gd name="connsiteX2036" fmla="*/ 1038549 w 6781956"/>
              <a:gd name="connsiteY2036" fmla="*/ 3978723 h 6858000"/>
              <a:gd name="connsiteX2037" fmla="*/ 1034431 w 6781956"/>
              <a:gd name="connsiteY2037" fmla="*/ 4006624 h 6858000"/>
              <a:gd name="connsiteX2038" fmla="*/ 1038549 w 6781956"/>
              <a:gd name="connsiteY2038" fmla="*/ 3978723 h 6858000"/>
              <a:gd name="connsiteX2039" fmla="*/ 1583161 w 6781956"/>
              <a:gd name="connsiteY2039" fmla="*/ 3975235 h 6858000"/>
              <a:gd name="connsiteX2040" fmla="*/ 1575955 w 6781956"/>
              <a:gd name="connsiteY2040" fmla="*/ 4019412 h 6858000"/>
              <a:gd name="connsiteX2041" fmla="*/ 1564631 w 6781956"/>
              <a:gd name="connsiteY2041" fmla="*/ 4061264 h 6858000"/>
              <a:gd name="connsiteX2042" fmla="*/ 1535802 w 6781956"/>
              <a:gd name="connsiteY2042" fmla="*/ 4208905 h 6858000"/>
              <a:gd name="connsiteX2043" fmla="*/ 1529626 w 6781956"/>
              <a:gd name="connsiteY2043" fmla="*/ 4210067 h 6858000"/>
              <a:gd name="connsiteX2044" fmla="*/ 1554334 w 6781956"/>
              <a:gd name="connsiteY2044" fmla="*/ 4091488 h 6858000"/>
              <a:gd name="connsiteX2045" fmla="*/ 1583161 w 6781956"/>
              <a:gd name="connsiteY2045" fmla="*/ 3975235 h 6858000"/>
              <a:gd name="connsiteX2046" fmla="*/ 1503889 w 6781956"/>
              <a:gd name="connsiteY2046" fmla="*/ 3955472 h 6858000"/>
              <a:gd name="connsiteX2047" fmla="*/ 1515213 w 6781956"/>
              <a:gd name="connsiteY2047" fmla="*/ 3963611 h 6858000"/>
              <a:gd name="connsiteX2048" fmla="*/ 1512125 w 6781956"/>
              <a:gd name="connsiteY2048" fmla="*/ 3979887 h 6858000"/>
              <a:gd name="connsiteX2049" fmla="*/ 1500800 w 6781956"/>
              <a:gd name="connsiteY2049" fmla="*/ 4001974 h 6858000"/>
              <a:gd name="connsiteX2050" fmla="*/ 1499770 w 6781956"/>
              <a:gd name="connsiteY2050" fmla="*/ 4044987 h 6858000"/>
              <a:gd name="connsiteX2051" fmla="*/ 1492564 w 6781956"/>
              <a:gd name="connsiteY2051" fmla="*/ 3996162 h 6858000"/>
              <a:gd name="connsiteX2052" fmla="*/ 1502859 w 6781956"/>
              <a:gd name="connsiteY2052" fmla="*/ 3997324 h 6858000"/>
              <a:gd name="connsiteX2053" fmla="*/ 1503889 w 6781956"/>
              <a:gd name="connsiteY2053" fmla="*/ 3955472 h 6858000"/>
              <a:gd name="connsiteX2054" fmla="*/ 1554614 w 6781956"/>
              <a:gd name="connsiteY2054" fmla="*/ 3947359 h 6858000"/>
              <a:gd name="connsiteX2055" fmla="*/ 1562827 w 6781956"/>
              <a:gd name="connsiteY2055" fmla="*/ 3948061 h 6858000"/>
              <a:gd name="connsiteX2056" fmla="*/ 1563601 w 6781956"/>
              <a:gd name="connsiteY2056" fmla="*/ 3960123 h 6858000"/>
              <a:gd name="connsiteX2057" fmla="*/ 1536832 w 6781956"/>
              <a:gd name="connsiteY2057" fmla="*/ 4053125 h 6858000"/>
              <a:gd name="connsiteX2058" fmla="*/ 1529626 w 6781956"/>
              <a:gd name="connsiteY2058" fmla="*/ 4097302 h 6858000"/>
              <a:gd name="connsiteX2059" fmla="*/ 1535802 w 6781956"/>
              <a:gd name="connsiteY2059" fmla="*/ 4033362 h 6858000"/>
              <a:gd name="connsiteX2060" fmla="*/ 1547128 w 6781956"/>
              <a:gd name="connsiteY2060" fmla="*/ 3991511 h 6858000"/>
              <a:gd name="connsiteX2061" fmla="*/ 1549188 w 6781956"/>
              <a:gd name="connsiteY2061" fmla="*/ 3968261 h 6858000"/>
              <a:gd name="connsiteX2062" fmla="*/ 1551570 w 6781956"/>
              <a:gd name="connsiteY2062" fmla="*/ 3963492 h 6858000"/>
              <a:gd name="connsiteX2063" fmla="*/ 1552405 w 6781956"/>
              <a:gd name="connsiteY2063" fmla="*/ 3963028 h 6858000"/>
              <a:gd name="connsiteX2064" fmla="*/ 1552623 w 6781956"/>
              <a:gd name="connsiteY2064" fmla="*/ 3961384 h 6858000"/>
              <a:gd name="connsiteX2065" fmla="*/ 1554850 w 6781956"/>
              <a:gd name="connsiteY2065" fmla="*/ 3956926 h 6858000"/>
              <a:gd name="connsiteX2066" fmla="*/ 1554385 w 6781956"/>
              <a:gd name="connsiteY2066" fmla="*/ 3948289 h 6858000"/>
              <a:gd name="connsiteX2067" fmla="*/ 1421527 w 6781956"/>
              <a:gd name="connsiteY2067" fmla="*/ 3945011 h 6858000"/>
              <a:gd name="connsiteX2068" fmla="*/ 1415350 w 6781956"/>
              <a:gd name="connsiteY2068" fmla="*/ 3977561 h 6858000"/>
              <a:gd name="connsiteX2069" fmla="*/ 1418439 w 6781956"/>
              <a:gd name="connsiteY2069" fmla="*/ 3992674 h 6858000"/>
              <a:gd name="connsiteX2070" fmla="*/ 1409174 w 6781956"/>
              <a:gd name="connsiteY2070" fmla="*/ 4011275 h 6858000"/>
              <a:gd name="connsiteX2071" fmla="*/ 1390643 w 6781956"/>
              <a:gd name="connsiteY2071" fmla="*/ 4097302 h 6858000"/>
              <a:gd name="connsiteX2072" fmla="*/ 1375200 w 6781956"/>
              <a:gd name="connsiteY2072" fmla="*/ 4178679 h 6858000"/>
              <a:gd name="connsiteX2073" fmla="*/ 1380347 w 6781956"/>
              <a:gd name="connsiteY2073" fmla="*/ 4126364 h 6858000"/>
              <a:gd name="connsiteX2074" fmla="*/ 1379318 w 6781956"/>
              <a:gd name="connsiteY2074" fmla="*/ 4119390 h 6858000"/>
              <a:gd name="connsiteX2075" fmla="*/ 1382407 w 6781956"/>
              <a:gd name="connsiteY2075" fmla="*/ 4103114 h 6858000"/>
              <a:gd name="connsiteX2076" fmla="*/ 1392701 w 6781956"/>
              <a:gd name="connsiteY2076" fmla="*/ 4072889 h 6858000"/>
              <a:gd name="connsiteX2077" fmla="*/ 1391671 w 6781956"/>
              <a:gd name="connsiteY2077" fmla="*/ 4065913 h 6858000"/>
              <a:gd name="connsiteX2078" fmla="*/ 1406084 w 6781956"/>
              <a:gd name="connsiteY2078" fmla="*/ 4007786 h 6858000"/>
              <a:gd name="connsiteX2079" fmla="*/ 1411233 w 6781956"/>
              <a:gd name="connsiteY2079" fmla="*/ 3998486 h 6858000"/>
              <a:gd name="connsiteX2080" fmla="*/ 1415350 w 6781956"/>
              <a:gd name="connsiteY2080" fmla="*/ 3970586 h 6858000"/>
              <a:gd name="connsiteX2081" fmla="*/ 1421527 w 6781956"/>
              <a:gd name="connsiteY2081" fmla="*/ 3945011 h 6858000"/>
              <a:gd name="connsiteX2082" fmla="*/ 1126160 w 6781956"/>
              <a:gd name="connsiteY2082" fmla="*/ 3923450 h 6858000"/>
              <a:gd name="connsiteX2083" fmla="*/ 1127602 w 6781956"/>
              <a:gd name="connsiteY2083" fmla="*/ 3930915 h 6858000"/>
              <a:gd name="connsiteX2084" fmla="*/ 1129146 w 6781956"/>
              <a:gd name="connsiteY2084" fmla="*/ 3938035 h 6858000"/>
              <a:gd name="connsiteX2085" fmla="*/ 1118851 w 6781956"/>
              <a:gd name="connsiteY2085" fmla="*/ 3968261 h 6858000"/>
              <a:gd name="connsiteX2086" fmla="*/ 1109586 w 6781956"/>
              <a:gd name="connsiteY2086" fmla="*/ 4017086 h 6858000"/>
              <a:gd name="connsiteX2087" fmla="*/ 1101350 w 6781956"/>
              <a:gd name="connsiteY2087" fmla="*/ 4056613 h 6858000"/>
              <a:gd name="connsiteX2088" fmla="*/ 1103408 w 6781956"/>
              <a:gd name="connsiteY2088" fmla="*/ 4020575 h 6858000"/>
              <a:gd name="connsiteX2089" fmla="*/ 1102379 w 6781956"/>
              <a:gd name="connsiteY2089" fmla="*/ 4013599 h 6858000"/>
              <a:gd name="connsiteX2090" fmla="*/ 1107527 w 6781956"/>
              <a:gd name="connsiteY2090" fmla="*/ 4004300 h 6858000"/>
              <a:gd name="connsiteX2091" fmla="*/ 1104438 w 6781956"/>
              <a:gd name="connsiteY2091" fmla="*/ 3989186 h 6858000"/>
              <a:gd name="connsiteX2092" fmla="*/ 1118851 w 6781956"/>
              <a:gd name="connsiteY2092" fmla="*/ 3950822 h 6858000"/>
              <a:gd name="connsiteX2093" fmla="*/ 1117306 w 6781956"/>
              <a:gd name="connsiteY2093" fmla="*/ 3942831 h 6858000"/>
              <a:gd name="connsiteX2094" fmla="*/ 1116952 w 6781956"/>
              <a:gd name="connsiteY2094" fmla="*/ 3941193 h 6858000"/>
              <a:gd name="connsiteX2095" fmla="*/ 1122967 w 6781956"/>
              <a:gd name="connsiteY2095" fmla="*/ 3928737 h 6858000"/>
              <a:gd name="connsiteX2096" fmla="*/ 1278425 w 6781956"/>
              <a:gd name="connsiteY2096" fmla="*/ 3915946 h 6858000"/>
              <a:gd name="connsiteX2097" fmla="*/ 1270189 w 6781956"/>
              <a:gd name="connsiteY2097" fmla="*/ 3953147 h 6858000"/>
              <a:gd name="connsiteX2098" fmla="*/ 1278425 w 6781956"/>
              <a:gd name="connsiteY2098" fmla="*/ 3915946 h 6858000"/>
              <a:gd name="connsiteX2099" fmla="*/ 1496168 w 6781956"/>
              <a:gd name="connsiteY2099" fmla="*/ 3914348 h 6858000"/>
              <a:gd name="connsiteX2100" fmla="*/ 1493593 w 6781956"/>
              <a:gd name="connsiteY2100" fmla="*/ 3921760 h 6858000"/>
              <a:gd name="connsiteX2101" fmla="*/ 1490506 w 6781956"/>
              <a:gd name="connsiteY2101" fmla="*/ 3938035 h 6858000"/>
              <a:gd name="connsiteX2102" fmla="*/ 1493593 w 6781956"/>
              <a:gd name="connsiteY2102" fmla="*/ 3953148 h 6858000"/>
              <a:gd name="connsiteX2103" fmla="*/ 1487416 w 6781956"/>
              <a:gd name="connsiteY2103" fmla="*/ 3985699 h 6858000"/>
              <a:gd name="connsiteX2104" fmla="*/ 1470944 w 6781956"/>
              <a:gd name="connsiteY2104" fmla="*/ 4017086 h 6858000"/>
              <a:gd name="connsiteX2105" fmla="*/ 1470944 w 6781956"/>
              <a:gd name="connsiteY2105" fmla="*/ 4048474 h 6858000"/>
              <a:gd name="connsiteX2106" fmla="*/ 1469915 w 6781956"/>
              <a:gd name="connsiteY2106" fmla="*/ 3978723 h 6858000"/>
              <a:gd name="connsiteX2107" fmla="*/ 1492564 w 6781956"/>
              <a:gd name="connsiteY2107" fmla="*/ 3914784 h 6858000"/>
              <a:gd name="connsiteX2108" fmla="*/ 1496168 w 6781956"/>
              <a:gd name="connsiteY2108" fmla="*/ 3914348 h 6858000"/>
              <a:gd name="connsiteX2109" fmla="*/ 1316518 w 6781956"/>
              <a:gd name="connsiteY2109" fmla="*/ 3893859 h 6858000"/>
              <a:gd name="connsiteX2110" fmla="*/ 1315488 w 6781956"/>
              <a:gd name="connsiteY2110" fmla="*/ 3905485 h 6858000"/>
              <a:gd name="connsiteX2111" fmla="*/ 1316518 w 6781956"/>
              <a:gd name="connsiteY2111" fmla="*/ 3893859 h 6858000"/>
              <a:gd name="connsiteX2112" fmla="*/ 1001488 w 6781956"/>
              <a:gd name="connsiteY2112" fmla="*/ 3876421 h 6858000"/>
              <a:gd name="connsiteX2113" fmla="*/ 1003547 w 6781956"/>
              <a:gd name="connsiteY2113" fmla="*/ 3903159 h 6858000"/>
              <a:gd name="connsiteX2114" fmla="*/ 1001488 w 6781956"/>
              <a:gd name="connsiteY2114" fmla="*/ 3876421 h 6858000"/>
              <a:gd name="connsiteX2115" fmla="*/ 1523385 w 6781956"/>
              <a:gd name="connsiteY2115" fmla="*/ 3874113 h 6858000"/>
              <a:gd name="connsiteX2116" fmla="*/ 1528597 w 6781956"/>
              <a:gd name="connsiteY2116" fmla="*/ 3885721 h 6858000"/>
              <a:gd name="connsiteX2117" fmla="*/ 1523449 w 6781956"/>
              <a:gd name="connsiteY2117" fmla="*/ 3925247 h 6858000"/>
              <a:gd name="connsiteX2118" fmla="*/ 1516243 w 6781956"/>
              <a:gd name="connsiteY2118" fmla="*/ 3951986 h 6858000"/>
              <a:gd name="connsiteX2119" fmla="*/ 1508007 w 6781956"/>
              <a:gd name="connsiteY2119" fmla="*/ 3946173 h 6858000"/>
              <a:gd name="connsiteX2120" fmla="*/ 1515213 w 6781956"/>
              <a:gd name="connsiteY2120" fmla="*/ 3932221 h 6858000"/>
              <a:gd name="connsiteX2121" fmla="*/ 1509036 w 6781956"/>
              <a:gd name="connsiteY2121" fmla="*/ 3903159 h 6858000"/>
              <a:gd name="connsiteX2122" fmla="*/ 1517272 w 6781956"/>
              <a:gd name="connsiteY2122" fmla="*/ 3877583 h 6858000"/>
              <a:gd name="connsiteX2123" fmla="*/ 1523385 w 6781956"/>
              <a:gd name="connsiteY2123" fmla="*/ 3874113 h 6858000"/>
              <a:gd name="connsiteX2124" fmla="*/ 1530817 w 6781956"/>
              <a:gd name="connsiteY2124" fmla="*/ 3836858 h 6858000"/>
              <a:gd name="connsiteX2125" fmla="*/ 1527568 w 6781956"/>
              <a:gd name="connsiteY2125" fmla="*/ 3846195 h 6858000"/>
              <a:gd name="connsiteX2126" fmla="*/ 1522419 w 6781956"/>
              <a:gd name="connsiteY2126" fmla="*/ 3855495 h 6858000"/>
              <a:gd name="connsiteX2127" fmla="*/ 1530817 w 6781956"/>
              <a:gd name="connsiteY2127" fmla="*/ 3836858 h 6858000"/>
              <a:gd name="connsiteX2128" fmla="*/ 1378288 w 6781956"/>
              <a:gd name="connsiteY2128" fmla="*/ 3826432 h 6858000"/>
              <a:gd name="connsiteX2129" fmla="*/ 1376228 w 6781956"/>
              <a:gd name="connsiteY2129" fmla="*/ 3862471 h 6858000"/>
              <a:gd name="connsiteX2130" fmla="*/ 1371635 w 6781956"/>
              <a:gd name="connsiteY2130" fmla="*/ 3848596 h 6858000"/>
              <a:gd name="connsiteX2131" fmla="*/ 1372240 w 6781956"/>
              <a:gd name="connsiteY2131" fmla="*/ 3846921 h 6858000"/>
              <a:gd name="connsiteX2132" fmla="*/ 1374007 w 6781956"/>
              <a:gd name="connsiteY2132" fmla="*/ 3837331 h 6858000"/>
              <a:gd name="connsiteX2133" fmla="*/ 1118851 w 6781956"/>
              <a:gd name="connsiteY2133" fmla="*/ 3793881 h 6858000"/>
              <a:gd name="connsiteX2134" fmla="*/ 1118322 w 6781956"/>
              <a:gd name="connsiteY2134" fmla="*/ 3803405 h 6858000"/>
              <a:gd name="connsiteX2135" fmla="*/ 1111301 w 6781956"/>
              <a:gd name="connsiteY2135" fmla="*/ 3827980 h 6858000"/>
              <a:gd name="connsiteX2136" fmla="*/ 1429334 w 6781956"/>
              <a:gd name="connsiteY2136" fmla="*/ 3784418 h 6858000"/>
              <a:gd name="connsiteX2137" fmla="*/ 1430793 w 6781956"/>
              <a:gd name="connsiteY2137" fmla="*/ 3791556 h 6858000"/>
              <a:gd name="connsiteX2138" fmla="*/ 1425646 w 6781956"/>
              <a:gd name="connsiteY2138" fmla="*/ 3800857 h 6858000"/>
              <a:gd name="connsiteX2139" fmla="*/ 1421527 w 6781956"/>
              <a:gd name="connsiteY2139" fmla="*/ 3828758 h 6858000"/>
              <a:gd name="connsiteX2140" fmla="*/ 1422557 w 6781956"/>
              <a:gd name="connsiteY2140" fmla="*/ 3835733 h 6858000"/>
              <a:gd name="connsiteX2141" fmla="*/ 1421527 w 6781956"/>
              <a:gd name="connsiteY2141" fmla="*/ 3847357 h 6858000"/>
              <a:gd name="connsiteX2142" fmla="*/ 1412262 w 6781956"/>
              <a:gd name="connsiteY2142" fmla="*/ 3865957 h 6858000"/>
              <a:gd name="connsiteX2143" fmla="*/ 1415350 w 6781956"/>
              <a:gd name="connsiteY2143" fmla="*/ 3881070 h 6858000"/>
              <a:gd name="connsiteX2144" fmla="*/ 1409174 w 6781956"/>
              <a:gd name="connsiteY2144" fmla="*/ 3913621 h 6858000"/>
              <a:gd name="connsiteX2145" fmla="*/ 1410203 w 6781956"/>
              <a:gd name="connsiteY2145" fmla="*/ 3932221 h 6858000"/>
              <a:gd name="connsiteX2146" fmla="*/ 1401966 w 6781956"/>
              <a:gd name="connsiteY2146" fmla="*/ 3957798 h 6858000"/>
              <a:gd name="connsiteX2147" fmla="*/ 1395790 w 6781956"/>
              <a:gd name="connsiteY2147" fmla="*/ 3990348 h 6858000"/>
              <a:gd name="connsiteX2148" fmla="*/ 1390643 w 6781956"/>
              <a:gd name="connsiteY2148" fmla="*/ 3999649 h 6858000"/>
              <a:gd name="connsiteX2149" fmla="*/ 1394760 w 6781956"/>
              <a:gd name="connsiteY2149" fmla="*/ 4001974 h 6858000"/>
              <a:gd name="connsiteX2150" fmla="*/ 1389613 w 6781956"/>
              <a:gd name="connsiteY2150" fmla="*/ 4011275 h 6858000"/>
              <a:gd name="connsiteX2151" fmla="*/ 1380347 w 6781956"/>
              <a:gd name="connsiteY2151" fmla="*/ 4060100 h 6858000"/>
              <a:gd name="connsiteX2152" fmla="*/ 1365934 w 6781956"/>
              <a:gd name="connsiteY2152" fmla="*/ 4118227 h 6858000"/>
              <a:gd name="connsiteX2153" fmla="*/ 1357697 w 6781956"/>
              <a:gd name="connsiteY2153" fmla="*/ 4155429 h 6858000"/>
              <a:gd name="connsiteX2154" fmla="*/ 1351521 w 6781956"/>
              <a:gd name="connsiteY2154" fmla="*/ 4187979 h 6858000"/>
              <a:gd name="connsiteX2155" fmla="*/ 1349462 w 6781956"/>
              <a:gd name="connsiteY2155" fmla="*/ 4211229 h 6858000"/>
              <a:gd name="connsiteX2156" fmla="*/ 1354609 w 6781956"/>
              <a:gd name="connsiteY2156" fmla="*/ 4221693 h 6858000"/>
              <a:gd name="connsiteX2157" fmla="*/ 1352551 w 6781956"/>
              <a:gd name="connsiteY2157" fmla="*/ 4244943 h 6858000"/>
              <a:gd name="connsiteX2158" fmla="*/ 1353581 w 6781956"/>
              <a:gd name="connsiteY2158" fmla="*/ 4251918 h 6858000"/>
              <a:gd name="connsiteX2159" fmla="*/ 1351521 w 6781956"/>
              <a:gd name="connsiteY2159" fmla="*/ 4275169 h 6858000"/>
              <a:gd name="connsiteX2160" fmla="*/ 1348433 w 6781956"/>
              <a:gd name="connsiteY2160" fmla="*/ 4291444 h 6858000"/>
              <a:gd name="connsiteX2161" fmla="*/ 1340195 w 6781956"/>
              <a:gd name="connsiteY2161" fmla="*/ 4297257 h 6858000"/>
              <a:gd name="connsiteX2162" fmla="*/ 1343284 w 6781956"/>
              <a:gd name="connsiteY2162" fmla="*/ 4249592 h 6858000"/>
              <a:gd name="connsiteX2163" fmla="*/ 1325783 w 6781956"/>
              <a:gd name="connsiteY2163" fmla="*/ 4292606 h 6858000"/>
              <a:gd name="connsiteX2164" fmla="*/ 1330931 w 6781956"/>
              <a:gd name="connsiteY2164" fmla="*/ 4303070 h 6858000"/>
              <a:gd name="connsiteX2165" fmla="*/ 1318577 w 6781956"/>
              <a:gd name="connsiteY2165" fmla="*/ 4337946 h 6858000"/>
              <a:gd name="connsiteX2166" fmla="*/ 1317033 w 6781956"/>
              <a:gd name="connsiteY2166" fmla="*/ 4359307 h 6858000"/>
              <a:gd name="connsiteX2167" fmla="*/ 1314418 w 6781956"/>
              <a:gd name="connsiteY2167" fmla="*/ 4367909 h 6858000"/>
              <a:gd name="connsiteX2168" fmla="*/ 1314190 w 6781956"/>
              <a:gd name="connsiteY2168" fmla="*/ 4368539 h 6858000"/>
              <a:gd name="connsiteX2169" fmla="*/ 1306222 w 6781956"/>
              <a:gd name="connsiteY2169" fmla="*/ 4372822 h 6858000"/>
              <a:gd name="connsiteX2170" fmla="*/ 1314458 w 6781956"/>
              <a:gd name="connsiteY2170" fmla="*/ 4317019 h 6858000"/>
              <a:gd name="connsiteX2171" fmla="*/ 1317547 w 6781956"/>
              <a:gd name="connsiteY2171" fmla="*/ 4300744 h 6858000"/>
              <a:gd name="connsiteX2172" fmla="*/ 1316518 w 6781956"/>
              <a:gd name="connsiteY2172" fmla="*/ 4282144 h 6858000"/>
              <a:gd name="connsiteX2173" fmla="*/ 1320635 w 6781956"/>
              <a:gd name="connsiteY2173" fmla="*/ 4254243 h 6858000"/>
              <a:gd name="connsiteX2174" fmla="*/ 1345344 w 6781956"/>
              <a:gd name="connsiteY2174" fmla="*/ 4185654 h 6858000"/>
              <a:gd name="connsiteX2175" fmla="*/ 1342255 w 6781956"/>
              <a:gd name="connsiteY2175" fmla="*/ 4170541 h 6858000"/>
              <a:gd name="connsiteX2176" fmla="*/ 1347403 w 6781956"/>
              <a:gd name="connsiteY2176" fmla="*/ 4149615 h 6858000"/>
              <a:gd name="connsiteX2177" fmla="*/ 1358727 w 6781956"/>
              <a:gd name="connsiteY2177" fmla="*/ 4107764 h 6858000"/>
              <a:gd name="connsiteX2178" fmla="*/ 1367994 w 6781956"/>
              <a:gd name="connsiteY2178" fmla="*/ 4058938 h 6858000"/>
              <a:gd name="connsiteX2179" fmla="*/ 1366964 w 6781956"/>
              <a:gd name="connsiteY2179" fmla="*/ 4051963 h 6858000"/>
              <a:gd name="connsiteX2180" fmla="*/ 1378288 w 6781956"/>
              <a:gd name="connsiteY2180" fmla="*/ 4029876 h 6858000"/>
              <a:gd name="connsiteX2181" fmla="*/ 1375200 w 6781956"/>
              <a:gd name="connsiteY2181" fmla="*/ 4014762 h 6858000"/>
              <a:gd name="connsiteX2182" fmla="*/ 1380347 w 6781956"/>
              <a:gd name="connsiteY2182" fmla="*/ 4005461 h 6858000"/>
              <a:gd name="connsiteX2183" fmla="*/ 1393731 w 6781956"/>
              <a:gd name="connsiteY2183" fmla="*/ 3958960 h 6858000"/>
              <a:gd name="connsiteX2184" fmla="*/ 1390643 w 6781956"/>
              <a:gd name="connsiteY2184" fmla="*/ 3943847 h 6858000"/>
              <a:gd name="connsiteX2185" fmla="*/ 1393731 w 6781956"/>
              <a:gd name="connsiteY2185" fmla="*/ 3927572 h 6858000"/>
              <a:gd name="connsiteX2186" fmla="*/ 1394916 w 6781956"/>
              <a:gd name="connsiteY2186" fmla="*/ 3924092 h 6858000"/>
              <a:gd name="connsiteX2187" fmla="*/ 1396689 w 6781956"/>
              <a:gd name="connsiteY2187" fmla="*/ 3920454 h 6858000"/>
              <a:gd name="connsiteX2188" fmla="*/ 1405055 w 6781956"/>
              <a:gd name="connsiteY2188" fmla="*/ 3900836 h 6858000"/>
              <a:gd name="connsiteX2189" fmla="*/ 1403951 w 6781956"/>
              <a:gd name="connsiteY2189" fmla="*/ 3896532 h 6858000"/>
              <a:gd name="connsiteX2190" fmla="*/ 1401838 w 6781956"/>
              <a:gd name="connsiteY2190" fmla="*/ 3873660 h 6858000"/>
              <a:gd name="connsiteX2191" fmla="*/ 1401864 w 6781956"/>
              <a:gd name="connsiteY2191" fmla="*/ 3873503 h 6858000"/>
              <a:gd name="connsiteX2192" fmla="*/ 1409300 w 6781956"/>
              <a:gd name="connsiteY2192" fmla="*/ 3859421 h 6858000"/>
              <a:gd name="connsiteX2193" fmla="*/ 1415349 w 6781956"/>
              <a:gd name="connsiteY2193" fmla="*/ 3846196 h 6858000"/>
              <a:gd name="connsiteX2194" fmla="*/ 1423586 w 6781956"/>
              <a:gd name="connsiteY2194" fmla="*/ 3812484 h 6858000"/>
              <a:gd name="connsiteX2195" fmla="*/ 1428732 w 6781956"/>
              <a:gd name="connsiteY2195" fmla="*/ 3786908 h 6858000"/>
              <a:gd name="connsiteX2196" fmla="*/ 1489476 w 6781956"/>
              <a:gd name="connsiteY2196" fmla="*/ 3775281 h 6858000"/>
              <a:gd name="connsiteX2197" fmla="*/ 1482269 w 6781956"/>
              <a:gd name="connsiteY2197" fmla="*/ 3882234 h 6858000"/>
              <a:gd name="connsiteX2198" fmla="*/ 1448294 w 6781956"/>
              <a:gd name="connsiteY2198" fmla="*/ 4031037 h 6858000"/>
              <a:gd name="connsiteX2199" fmla="*/ 1455502 w 6781956"/>
              <a:gd name="connsiteY2199" fmla="*/ 3986861 h 6858000"/>
              <a:gd name="connsiteX2200" fmla="*/ 1461678 w 6781956"/>
              <a:gd name="connsiteY2200" fmla="*/ 3954311 h 6858000"/>
              <a:gd name="connsiteX2201" fmla="*/ 1478150 w 6781956"/>
              <a:gd name="connsiteY2201" fmla="*/ 3860146 h 6858000"/>
              <a:gd name="connsiteX2202" fmla="*/ 1477121 w 6781956"/>
              <a:gd name="connsiteY2202" fmla="*/ 3810157 h 6858000"/>
              <a:gd name="connsiteX2203" fmla="*/ 1489476 w 6781956"/>
              <a:gd name="connsiteY2203" fmla="*/ 3775281 h 6858000"/>
              <a:gd name="connsiteX2204" fmla="*/ 1523545 w 6781956"/>
              <a:gd name="connsiteY2204" fmla="*/ 3746381 h 6858000"/>
              <a:gd name="connsiteX2205" fmla="*/ 1520360 w 6781956"/>
              <a:gd name="connsiteY2205" fmla="*/ 3767143 h 6858000"/>
              <a:gd name="connsiteX2206" fmla="*/ 1519332 w 6781956"/>
              <a:gd name="connsiteY2206" fmla="*/ 3748542 h 6858000"/>
              <a:gd name="connsiteX2207" fmla="*/ 1523545 w 6781956"/>
              <a:gd name="connsiteY2207" fmla="*/ 3746381 h 6858000"/>
              <a:gd name="connsiteX2208" fmla="*/ 1478150 w 6781956"/>
              <a:gd name="connsiteY2208" fmla="*/ 3740404 h 6858000"/>
              <a:gd name="connsiteX2209" fmla="*/ 1481754 w 6781956"/>
              <a:gd name="connsiteY2209" fmla="*/ 3759150 h 6858000"/>
              <a:gd name="connsiteX2210" fmla="*/ 1481578 w 6781956"/>
              <a:gd name="connsiteY2210" fmla="*/ 3760482 h 6858000"/>
              <a:gd name="connsiteX2211" fmla="*/ 1479180 w 6781956"/>
              <a:gd name="connsiteY2211" fmla="*/ 3764817 h 6858000"/>
              <a:gd name="connsiteX2212" fmla="*/ 1479694 w 6781956"/>
              <a:gd name="connsiteY2212" fmla="*/ 3774849 h 6858000"/>
              <a:gd name="connsiteX2213" fmla="*/ 1479180 w 6781956"/>
              <a:gd name="connsiteY2213" fmla="*/ 3778767 h 6858000"/>
              <a:gd name="connsiteX2214" fmla="*/ 1467856 w 6781956"/>
              <a:gd name="connsiteY2214" fmla="*/ 3820619 h 6858000"/>
              <a:gd name="connsiteX2215" fmla="*/ 1470944 w 6781956"/>
              <a:gd name="connsiteY2215" fmla="*/ 3835733 h 6858000"/>
              <a:gd name="connsiteX2216" fmla="*/ 1468885 w 6781956"/>
              <a:gd name="connsiteY2216" fmla="*/ 3871770 h 6858000"/>
              <a:gd name="connsiteX2217" fmla="*/ 1455502 w 6781956"/>
              <a:gd name="connsiteY2217" fmla="*/ 3918272 h 6858000"/>
              <a:gd name="connsiteX2218" fmla="*/ 1450353 w 6781956"/>
              <a:gd name="connsiteY2218" fmla="*/ 3939197 h 6858000"/>
              <a:gd name="connsiteX2219" fmla="*/ 1451383 w 6781956"/>
              <a:gd name="connsiteY2219" fmla="*/ 3946173 h 6858000"/>
              <a:gd name="connsiteX2220" fmla="*/ 1448294 w 6781956"/>
              <a:gd name="connsiteY2220" fmla="*/ 3962448 h 6858000"/>
              <a:gd name="connsiteX2221" fmla="*/ 1447265 w 6781956"/>
              <a:gd name="connsiteY2221" fmla="*/ 3974073 h 6858000"/>
              <a:gd name="connsiteX2222" fmla="*/ 1432852 w 6781956"/>
              <a:gd name="connsiteY2222" fmla="*/ 4032199 h 6858000"/>
              <a:gd name="connsiteX2223" fmla="*/ 1433882 w 6781956"/>
              <a:gd name="connsiteY2223" fmla="*/ 4039176 h 6858000"/>
              <a:gd name="connsiteX2224" fmla="*/ 1430793 w 6781956"/>
              <a:gd name="connsiteY2224" fmla="*/ 4055451 h 6858000"/>
              <a:gd name="connsiteX2225" fmla="*/ 1424616 w 6781956"/>
              <a:gd name="connsiteY2225" fmla="*/ 4056613 h 6858000"/>
              <a:gd name="connsiteX2226" fmla="*/ 1434911 w 6781956"/>
              <a:gd name="connsiteY2226" fmla="*/ 4057775 h 6858000"/>
              <a:gd name="connsiteX2227" fmla="*/ 1426676 w 6781956"/>
              <a:gd name="connsiteY2227" fmla="*/ 4083351 h 6858000"/>
              <a:gd name="connsiteX2228" fmla="*/ 1436970 w 6781956"/>
              <a:gd name="connsiteY2228" fmla="*/ 4084514 h 6858000"/>
              <a:gd name="connsiteX2229" fmla="*/ 1434911 w 6781956"/>
              <a:gd name="connsiteY2229" fmla="*/ 4120553 h 6858000"/>
              <a:gd name="connsiteX2230" fmla="*/ 1421527 w 6781956"/>
              <a:gd name="connsiteY2230" fmla="*/ 4167053 h 6858000"/>
              <a:gd name="connsiteX2231" fmla="*/ 1422557 w 6781956"/>
              <a:gd name="connsiteY2231" fmla="*/ 4174028 h 6858000"/>
              <a:gd name="connsiteX2232" fmla="*/ 1414320 w 6781956"/>
              <a:gd name="connsiteY2232" fmla="*/ 4199604 h 6858000"/>
              <a:gd name="connsiteX2233" fmla="*/ 1413292 w 6781956"/>
              <a:gd name="connsiteY2233" fmla="*/ 4211229 h 6858000"/>
              <a:gd name="connsiteX2234" fmla="*/ 1409174 w 6781956"/>
              <a:gd name="connsiteY2234" fmla="*/ 4208905 h 6858000"/>
              <a:gd name="connsiteX2235" fmla="*/ 1401966 w 6781956"/>
              <a:gd name="connsiteY2235" fmla="*/ 4177516 h 6858000"/>
              <a:gd name="connsiteX2236" fmla="*/ 1392701 w 6781956"/>
              <a:gd name="connsiteY2236" fmla="*/ 4196117 h 6858000"/>
              <a:gd name="connsiteX2237" fmla="*/ 1384466 w 6781956"/>
              <a:gd name="connsiteY2237" fmla="*/ 4233317 h 6858000"/>
              <a:gd name="connsiteX2238" fmla="*/ 1385494 w 6781956"/>
              <a:gd name="connsiteY2238" fmla="*/ 4251918 h 6858000"/>
              <a:gd name="connsiteX2239" fmla="*/ 1386524 w 6781956"/>
              <a:gd name="connsiteY2239" fmla="*/ 4270518 h 6858000"/>
              <a:gd name="connsiteX2240" fmla="*/ 1370051 w 6781956"/>
              <a:gd name="connsiteY2240" fmla="*/ 4301907 h 6858000"/>
              <a:gd name="connsiteX2241" fmla="*/ 1363876 w 6781956"/>
              <a:gd name="connsiteY2241" fmla="*/ 4334458 h 6858000"/>
              <a:gd name="connsiteX2242" fmla="*/ 1355638 w 6781956"/>
              <a:gd name="connsiteY2242" fmla="*/ 4371658 h 6858000"/>
              <a:gd name="connsiteX2243" fmla="*/ 1350491 w 6781956"/>
              <a:gd name="connsiteY2243" fmla="*/ 4392584 h 6858000"/>
              <a:gd name="connsiteX2244" fmla="*/ 1345344 w 6781956"/>
              <a:gd name="connsiteY2244" fmla="*/ 4413510 h 6858000"/>
              <a:gd name="connsiteX2245" fmla="*/ 1346373 w 6781956"/>
              <a:gd name="connsiteY2245" fmla="*/ 4420485 h 6858000"/>
              <a:gd name="connsiteX2246" fmla="*/ 1328871 w 6781956"/>
              <a:gd name="connsiteY2246" fmla="*/ 4494887 h 6858000"/>
              <a:gd name="connsiteX2247" fmla="*/ 1313428 w 6781956"/>
              <a:gd name="connsiteY2247" fmla="*/ 4514650 h 6858000"/>
              <a:gd name="connsiteX2248" fmla="*/ 1304163 w 6781956"/>
              <a:gd name="connsiteY2248" fmla="*/ 4563477 h 6858000"/>
              <a:gd name="connsiteX2249" fmla="*/ 1303134 w 6781956"/>
              <a:gd name="connsiteY2249" fmla="*/ 4575102 h 6858000"/>
              <a:gd name="connsiteX2250" fmla="*/ 1294897 w 6781956"/>
              <a:gd name="connsiteY2250" fmla="*/ 4580914 h 6858000"/>
              <a:gd name="connsiteX2251" fmla="*/ 1295927 w 6781956"/>
              <a:gd name="connsiteY2251" fmla="*/ 4587889 h 6858000"/>
              <a:gd name="connsiteX2252" fmla="*/ 1294897 w 6781956"/>
              <a:gd name="connsiteY2252" fmla="*/ 4599515 h 6858000"/>
              <a:gd name="connsiteX2253" fmla="*/ 1270189 w 6781956"/>
              <a:gd name="connsiteY2253" fmla="*/ 4656479 h 6858000"/>
              <a:gd name="connsiteX2254" fmla="*/ 1264012 w 6781956"/>
              <a:gd name="connsiteY2254" fmla="*/ 4689030 h 6858000"/>
              <a:gd name="connsiteX2255" fmla="*/ 1241363 w 6781956"/>
              <a:gd name="connsiteY2255" fmla="*/ 4752969 h 6858000"/>
              <a:gd name="connsiteX2256" fmla="*/ 1251658 w 6781956"/>
              <a:gd name="connsiteY2256" fmla="*/ 4692518 h 6858000"/>
              <a:gd name="connsiteX2257" fmla="*/ 1269160 w 6781956"/>
              <a:gd name="connsiteY2257" fmla="*/ 4649504 h 6858000"/>
              <a:gd name="connsiteX2258" fmla="*/ 1285632 w 6781956"/>
              <a:gd name="connsiteY2258" fmla="*/ 4586727 h 6858000"/>
              <a:gd name="connsiteX2259" fmla="*/ 1301075 w 6781956"/>
              <a:gd name="connsiteY2259" fmla="*/ 4535576 h 6858000"/>
              <a:gd name="connsiteX2260" fmla="*/ 1313428 w 6781956"/>
              <a:gd name="connsiteY2260" fmla="*/ 4500699 h 6858000"/>
              <a:gd name="connsiteX2261" fmla="*/ 1324753 w 6781956"/>
              <a:gd name="connsiteY2261" fmla="*/ 4458848 h 6858000"/>
              <a:gd name="connsiteX2262" fmla="*/ 1327842 w 6781956"/>
              <a:gd name="connsiteY2262" fmla="*/ 4442573 h 6858000"/>
              <a:gd name="connsiteX2263" fmla="*/ 1347403 w 6781956"/>
              <a:gd name="connsiteY2263" fmla="*/ 4363521 h 6858000"/>
              <a:gd name="connsiteX2264" fmla="*/ 1352551 w 6781956"/>
              <a:gd name="connsiteY2264" fmla="*/ 4354221 h 6858000"/>
              <a:gd name="connsiteX2265" fmla="*/ 1371081 w 6781956"/>
              <a:gd name="connsiteY2265" fmla="*/ 4268193 h 6858000"/>
              <a:gd name="connsiteX2266" fmla="*/ 1370051 w 6781956"/>
              <a:gd name="connsiteY2266" fmla="*/ 4261218 h 6858000"/>
              <a:gd name="connsiteX2267" fmla="*/ 1384466 w 6781956"/>
              <a:gd name="connsiteY2267" fmla="*/ 4203092 h 6858000"/>
              <a:gd name="connsiteX2268" fmla="*/ 1388583 w 6781956"/>
              <a:gd name="connsiteY2268" fmla="*/ 4175191 h 6858000"/>
              <a:gd name="connsiteX2269" fmla="*/ 1402996 w 6781956"/>
              <a:gd name="connsiteY2269" fmla="*/ 4148453 h 6858000"/>
              <a:gd name="connsiteX2270" fmla="*/ 1405056 w 6781956"/>
              <a:gd name="connsiteY2270" fmla="*/ 4112415 h 6858000"/>
              <a:gd name="connsiteX2271" fmla="*/ 1410203 w 6781956"/>
              <a:gd name="connsiteY2271" fmla="*/ 4103114 h 6858000"/>
              <a:gd name="connsiteX2272" fmla="*/ 1414320 w 6781956"/>
              <a:gd name="connsiteY2272" fmla="*/ 4075213 h 6858000"/>
              <a:gd name="connsiteX2273" fmla="*/ 1419469 w 6781956"/>
              <a:gd name="connsiteY2273" fmla="*/ 4065913 h 6858000"/>
              <a:gd name="connsiteX2274" fmla="*/ 1415350 w 6781956"/>
              <a:gd name="connsiteY2274" fmla="*/ 4063587 h 6858000"/>
              <a:gd name="connsiteX2275" fmla="*/ 1420498 w 6781956"/>
              <a:gd name="connsiteY2275" fmla="*/ 4054288 h 6858000"/>
              <a:gd name="connsiteX2276" fmla="*/ 1428734 w 6781956"/>
              <a:gd name="connsiteY2276" fmla="*/ 4028712 h 6858000"/>
              <a:gd name="connsiteX2277" fmla="*/ 1440059 w 6781956"/>
              <a:gd name="connsiteY2277" fmla="*/ 3975235 h 6858000"/>
              <a:gd name="connsiteX2278" fmla="*/ 1438000 w 6781956"/>
              <a:gd name="connsiteY2278" fmla="*/ 3948498 h 6858000"/>
              <a:gd name="connsiteX2279" fmla="*/ 1439029 w 6781956"/>
              <a:gd name="connsiteY2279" fmla="*/ 3936873 h 6858000"/>
              <a:gd name="connsiteX2280" fmla="*/ 1456532 w 6781956"/>
              <a:gd name="connsiteY2280" fmla="*/ 3862471 h 6858000"/>
              <a:gd name="connsiteX2281" fmla="*/ 1461678 w 6781956"/>
              <a:gd name="connsiteY2281" fmla="*/ 3853170 h 6858000"/>
              <a:gd name="connsiteX2282" fmla="*/ 1457560 w 6781956"/>
              <a:gd name="connsiteY2282" fmla="*/ 3850846 h 6858000"/>
              <a:gd name="connsiteX2283" fmla="*/ 1462708 w 6781956"/>
              <a:gd name="connsiteY2283" fmla="*/ 3841545 h 6858000"/>
              <a:gd name="connsiteX2284" fmla="*/ 1466826 w 6781956"/>
              <a:gd name="connsiteY2284" fmla="*/ 3813644 h 6858000"/>
              <a:gd name="connsiteX2285" fmla="*/ 1465796 w 6781956"/>
              <a:gd name="connsiteY2285" fmla="*/ 3806668 h 6858000"/>
              <a:gd name="connsiteX2286" fmla="*/ 1473003 w 6781956"/>
              <a:gd name="connsiteY2286" fmla="*/ 3792719 h 6858000"/>
              <a:gd name="connsiteX2287" fmla="*/ 1478150 w 6781956"/>
              <a:gd name="connsiteY2287" fmla="*/ 3740404 h 6858000"/>
              <a:gd name="connsiteX2288" fmla="*/ 1437356 w 6781956"/>
              <a:gd name="connsiteY2288" fmla="*/ 3735247 h 6858000"/>
              <a:gd name="connsiteX2289" fmla="*/ 1436710 w 6781956"/>
              <a:gd name="connsiteY2289" fmla="*/ 3738179 h 6858000"/>
              <a:gd name="connsiteX2290" fmla="*/ 1436969 w 6781956"/>
              <a:gd name="connsiteY2290" fmla="*/ 3735756 h 6858000"/>
              <a:gd name="connsiteX2291" fmla="*/ 1456532 w 6781956"/>
              <a:gd name="connsiteY2291" fmla="*/ 3725292 h 6858000"/>
              <a:gd name="connsiteX2292" fmla="*/ 1452413 w 6781956"/>
              <a:gd name="connsiteY2292" fmla="*/ 3753193 h 6858000"/>
              <a:gd name="connsiteX2293" fmla="*/ 1455502 w 6781956"/>
              <a:gd name="connsiteY2293" fmla="*/ 3768305 h 6858000"/>
              <a:gd name="connsiteX2294" fmla="*/ 1450353 w 6781956"/>
              <a:gd name="connsiteY2294" fmla="*/ 3777606 h 6858000"/>
              <a:gd name="connsiteX2295" fmla="*/ 1450353 w 6781956"/>
              <a:gd name="connsiteY2295" fmla="*/ 3808994 h 6858000"/>
              <a:gd name="connsiteX2296" fmla="*/ 1439029 w 6781956"/>
              <a:gd name="connsiteY2296" fmla="*/ 3850846 h 6858000"/>
              <a:gd name="connsiteX2297" fmla="*/ 1442118 w 6781956"/>
              <a:gd name="connsiteY2297" fmla="*/ 3865957 h 6858000"/>
              <a:gd name="connsiteX2298" fmla="*/ 1433882 w 6781956"/>
              <a:gd name="connsiteY2298" fmla="*/ 3891533 h 6858000"/>
              <a:gd name="connsiteX2299" fmla="*/ 1425646 w 6781956"/>
              <a:gd name="connsiteY2299" fmla="*/ 3928735 h 6858000"/>
              <a:gd name="connsiteX2300" fmla="*/ 1427705 w 6781956"/>
              <a:gd name="connsiteY2300" fmla="*/ 3905485 h 6858000"/>
              <a:gd name="connsiteX2301" fmla="*/ 1426676 w 6781956"/>
              <a:gd name="connsiteY2301" fmla="*/ 3886884 h 6858000"/>
              <a:gd name="connsiteX2302" fmla="*/ 1433882 w 6781956"/>
              <a:gd name="connsiteY2302" fmla="*/ 3872933 h 6858000"/>
              <a:gd name="connsiteX2303" fmla="*/ 1456532 w 6781956"/>
              <a:gd name="connsiteY2303" fmla="*/ 3725292 h 6858000"/>
              <a:gd name="connsiteX2304" fmla="*/ 1553305 w 6781956"/>
              <a:gd name="connsiteY2304" fmla="*/ 3704366 h 6858000"/>
              <a:gd name="connsiteX2305" fmla="*/ 1547128 w 6781956"/>
              <a:gd name="connsiteY2305" fmla="*/ 3736917 h 6858000"/>
              <a:gd name="connsiteX2306" fmla="*/ 1553305 w 6781956"/>
              <a:gd name="connsiteY2306" fmla="*/ 3704366 h 6858000"/>
              <a:gd name="connsiteX2307" fmla="*/ 1573895 w 6781956"/>
              <a:gd name="connsiteY2307" fmla="*/ 3695067 h 6858000"/>
              <a:gd name="connsiteX2308" fmla="*/ 1574925 w 6781956"/>
              <a:gd name="connsiteY2308" fmla="*/ 3713666 h 6858000"/>
              <a:gd name="connsiteX2309" fmla="*/ 1573895 w 6781956"/>
              <a:gd name="connsiteY2309" fmla="*/ 3695067 h 6858000"/>
              <a:gd name="connsiteX2310" fmla="*/ 1429740 w 6781956"/>
              <a:gd name="connsiteY2310" fmla="*/ 3684732 h 6858000"/>
              <a:gd name="connsiteX2311" fmla="*/ 1427961 w 6781956"/>
              <a:gd name="connsiteY2311" fmla="*/ 3701171 h 6858000"/>
              <a:gd name="connsiteX2312" fmla="*/ 1423861 w 6781956"/>
              <a:gd name="connsiteY2312" fmla="*/ 3715710 h 6858000"/>
              <a:gd name="connsiteX2313" fmla="*/ 1172385 w 6781956"/>
              <a:gd name="connsiteY2313" fmla="*/ 3683441 h 6858000"/>
              <a:gd name="connsiteX2314" fmla="*/ 1170326 w 6781956"/>
              <a:gd name="connsiteY2314" fmla="*/ 3706691 h 6858000"/>
              <a:gd name="connsiteX2315" fmla="*/ 1174445 w 6781956"/>
              <a:gd name="connsiteY2315" fmla="*/ 3709016 h 6858000"/>
              <a:gd name="connsiteX2316" fmla="*/ 1169297 w 6781956"/>
              <a:gd name="connsiteY2316" fmla="*/ 3718316 h 6858000"/>
              <a:gd name="connsiteX2317" fmla="*/ 1173415 w 6781956"/>
              <a:gd name="connsiteY2317" fmla="*/ 3720641 h 6858000"/>
              <a:gd name="connsiteX2318" fmla="*/ 1168269 w 6781956"/>
              <a:gd name="connsiteY2318" fmla="*/ 3729941 h 6858000"/>
              <a:gd name="connsiteX2319" fmla="*/ 1167888 w 6781956"/>
              <a:gd name="connsiteY2319" fmla="*/ 3737103 h 6858000"/>
              <a:gd name="connsiteX2320" fmla="*/ 1167237 w 6781956"/>
              <a:gd name="connsiteY2320" fmla="*/ 3738082 h 6858000"/>
              <a:gd name="connsiteX2321" fmla="*/ 1167146 w 6781956"/>
              <a:gd name="connsiteY2321" fmla="*/ 3739661 h 6858000"/>
              <a:gd name="connsiteX2322" fmla="*/ 1165179 w 6781956"/>
              <a:gd name="connsiteY2322" fmla="*/ 3746217 h 6858000"/>
              <a:gd name="connsiteX2323" fmla="*/ 1163120 w 6781956"/>
              <a:gd name="connsiteY2323" fmla="*/ 3769469 h 6858000"/>
              <a:gd name="connsiteX2324" fmla="*/ 1157972 w 6781956"/>
              <a:gd name="connsiteY2324" fmla="*/ 3778767 h 6858000"/>
              <a:gd name="connsiteX2325" fmla="*/ 1160288 w 6781956"/>
              <a:gd name="connsiteY2325" fmla="*/ 3780075 h 6858000"/>
              <a:gd name="connsiteX2326" fmla="*/ 1159902 w 6781956"/>
              <a:gd name="connsiteY2326" fmla="*/ 3781096 h 6858000"/>
              <a:gd name="connsiteX2327" fmla="*/ 1161259 w 6781956"/>
              <a:gd name="connsiteY2327" fmla="*/ 3782596 h 6858000"/>
              <a:gd name="connsiteX2328" fmla="*/ 1156943 w 6781956"/>
              <a:gd name="connsiteY2328" fmla="*/ 3790393 h 6858000"/>
              <a:gd name="connsiteX2329" fmla="*/ 1151796 w 6781956"/>
              <a:gd name="connsiteY2329" fmla="*/ 3811319 h 6858000"/>
              <a:gd name="connsiteX2330" fmla="*/ 1150766 w 6781956"/>
              <a:gd name="connsiteY2330" fmla="*/ 3822944 h 6858000"/>
              <a:gd name="connsiteX2331" fmla="*/ 1147678 w 6781956"/>
              <a:gd name="connsiteY2331" fmla="*/ 3839220 h 6858000"/>
              <a:gd name="connsiteX2332" fmla="*/ 1144589 w 6781956"/>
              <a:gd name="connsiteY2332" fmla="*/ 3855495 h 6858000"/>
              <a:gd name="connsiteX2333" fmla="*/ 1139055 w 6781956"/>
              <a:gd name="connsiteY2333" fmla="*/ 3874822 h 6858000"/>
              <a:gd name="connsiteX2334" fmla="*/ 1131901 w 6781956"/>
              <a:gd name="connsiteY2334" fmla="*/ 3899583 h 6858000"/>
              <a:gd name="connsiteX2335" fmla="*/ 1131204 w 6781956"/>
              <a:gd name="connsiteY2335" fmla="*/ 3882236 h 6858000"/>
              <a:gd name="connsiteX2336" fmla="*/ 1128116 w 6781956"/>
              <a:gd name="connsiteY2336" fmla="*/ 3879105 h 6858000"/>
              <a:gd name="connsiteX2337" fmla="*/ 1128116 w 6781956"/>
              <a:gd name="connsiteY2337" fmla="*/ 3869446 h 6858000"/>
              <a:gd name="connsiteX2338" fmla="*/ 1142530 w 6781956"/>
              <a:gd name="connsiteY2338" fmla="*/ 3829920 h 6858000"/>
              <a:gd name="connsiteX2339" fmla="*/ 1147678 w 6781956"/>
              <a:gd name="connsiteY2339" fmla="*/ 3820619 h 6858000"/>
              <a:gd name="connsiteX2340" fmla="*/ 1153854 w 6781956"/>
              <a:gd name="connsiteY2340" fmla="*/ 3788067 h 6858000"/>
              <a:gd name="connsiteX2341" fmla="*/ 1157972 w 6781956"/>
              <a:gd name="connsiteY2341" fmla="*/ 3760168 h 6858000"/>
              <a:gd name="connsiteX2342" fmla="*/ 1151152 w 6781956"/>
              <a:gd name="connsiteY2342" fmla="*/ 3760168 h 6858000"/>
              <a:gd name="connsiteX2343" fmla="*/ 1147665 w 6781956"/>
              <a:gd name="connsiteY2343" fmla="*/ 3758566 h 6858000"/>
              <a:gd name="connsiteX2344" fmla="*/ 1149636 w 6781956"/>
              <a:gd name="connsiteY2344" fmla="*/ 3749852 h 6858000"/>
              <a:gd name="connsiteX2345" fmla="*/ 1152310 w 6781956"/>
              <a:gd name="connsiteY2345" fmla="*/ 3750287 h 6858000"/>
              <a:gd name="connsiteX2346" fmla="*/ 1161061 w 6781956"/>
              <a:gd name="connsiteY2346" fmla="*/ 3743893 h 6858000"/>
              <a:gd name="connsiteX2347" fmla="*/ 1163120 w 6781956"/>
              <a:gd name="connsiteY2347" fmla="*/ 3720641 h 6858000"/>
              <a:gd name="connsiteX2348" fmla="*/ 1158230 w 6781956"/>
              <a:gd name="connsiteY2348" fmla="*/ 3721805 h 6858000"/>
              <a:gd name="connsiteX2349" fmla="*/ 1156849 w 6781956"/>
              <a:gd name="connsiteY2349" fmla="*/ 3723724 h 6858000"/>
              <a:gd name="connsiteX2350" fmla="*/ 1164149 w 6781956"/>
              <a:gd name="connsiteY2350" fmla="*/ 3701899 h 6858000"/>
              <a:gd name="connsiteX2351" fmla="*/ 1165255 w 6781956"/>
              <a:gd name="connsiteY2351" fmla="*/ 3693682 h 6858000"/>
              <a:gd name="connsiteX2352" fmla="*/ 1167174 w 6781956"/>
              <a:gd name="connsiteY2352" fmla="*/ 3694304 h 6858000"/>
              <a:gd name="connsiteX2353" fmla="*/ 1172385 w 6781956"/>
              <a:gd name="connsiteY2353" fmla="*/ 3683441 h 6858000"/>
              <a:gd name="connsiteX2354" fmla="*/ 1432301 w 6781956"/>
              <a:gd name="connsiteY2354" fmla="*/ 3661055 h 6858000"/>
              <a:gd name="connsiteX2355" fmla="*/ 1429757 w 6781956"/>
              <a:gd name="connsiteY2355" fmla="*/ 3684563 h 6858000"/>
              <a:gd name="connsiteX2356" fmla="*/ 1428734 w 6781956"/>
              <a:gd name="connsiteY2356" fmla="*/ 3677628 h 6858000"/>
              <a:gd name="connsiteX2357" fmla="*/ 1429763 w 6781956"/>
              <a:gd name="connsiteY2357" fmla="*/ 3668037 h 6858000"/>
              <a:gd name="connsiteX2358" fmla="*/ 1134841 w 6781956"/>
              <a:gd name="connsiteY2358" fmla="*/ 3645240 h 6858000"/>
              <a:gd name="connsiteX2359" fmla="*/ 1132235 w 6781956"/>
              <a:gd name="connsiteY2359" fmla="*/ 3666003 h 6858000"/>
              <a:gd name="connsiteX2360" fmla="*/ 1131205 w 6781956"/>
              <a:gd name="connsiteY2360" fmla="*/ 3647402 h 6858000"/>
              <a:gd name="connsiteX2361" fmla="*/ 1134841 w 6781956"/>
              <a:gd name="connsiteY2361" fmla="*/ 3645240 h 6858000"/>
              <a:gd name="connsiteX2362" fmla="*/ 1434396 w 6781956"/>
              <a:gd name="connsiteY2362" fmla="*/ 3641686 h 6858000"/>
              <a:gd name="connsiteX2363" fmla="*/ 1433242 w 6781956"/>
              <a:gd name="connsiteY2363" fmla="*/ 3652362 h 6858000"/>
              <a:gd name="connsiteX2364" fmla="*/ 1432852 w 6781956"/>
              <a:gd name="connsiteY2364" fmla="*/ 3649728 h 6858000"/>
              <a:gd name="connsiteX2365" fmla="*/ 1232096 w 6781956"/>
              <a:gd name="connsiteY2365" fmla="*/ 3614851 h 6858000"/>
              <a:gd name="connsiteX2366" fmla="*/ 1233127 w 6781956"/>
              <a:gd name="connsiteY2366" fmla="*/ 3653214 h 6858000"/>
              <a:gd name="connsiteX2367" fmla="*/ 1232096 w 6781956"/>
              <a:gd name="connsiteY2367" fmla="*/ 3614851 h 6858000"/>
              <a:gd name="connsiteX2368" fmla="*/ 1513633 w 6781956"/>
              <a:gd name="connsiteY2368" fmla="*/ 3611258 h 6858000"/>
              <a:gd name="connsiteX2369" fmla="*/ 1514183 w 6781956"/>
              <a:gd name="connsiteY2369" fmla="*/ 3614851 h 6858000"/>
              <a:gd name="connsiteX2370" fmla="*/ 1512006 w 6781956"/>
              <a:gd name="connsiteY2370" fmla="*/ 3620944 h 6858000"/>
              <a:gd name="connsiteX2371" fmla="*/ 1495652 w 6781956"/>
              <a:gd name="connsiteY2371" fmla="*/ 3599739 h 6858000"/>
              <a:gd name="connsiteX2372" fmla="*/ 1494622 w 6781956"/>
              <a:gd name="connsiteY2372" fmla="*/ 3642752 h 6858000"/>
              <a:gd name="connsiteX2373" fmla="*/ 1475063 w 6781956"/>
              <a:gd name="connsiteY2373" fmla="*/ 3729941 h 6858000"/>
              <a:gd name="connsiteX2374" fmla="*/ 1483299 w 6781956"/>
              <a:gd name="connsiteY2374" fmla="*/ 3672978 h 6858000"/>
              <a:gd name="connsiteX2375" fmla="*/ 1482269 w 6781956"/>
              <a:gd name="connsiteY2375" fmla="*/ 3666003 h 6858000"/>
              <a:gd name="connsiteX2376" fmla="*/ 1487416 w 6781956"/>
              <a:gd name="connsiteY2376" fmla="*/ 3656703 h 6858000"/>
              <a:gd name="connsiteX2377" fmla="*/ 1484327 w 6781956"/>
              <a:gd name="connsiteY2377" fmla="*/ 3641590 h 6858000"/>
              <a:gd name="connsiteX2378" fmla="*/ 1495652 w 6781956"/>
              <a:gd name="connsiteY2378" fmla="*/ 3599739 h 6858000"/>
              <a:gd name="connsiteX2379" fmla="*/ 1244452 w 6781956"/>
              <a:gd name="connsiteY2379" fmla="*/ 3561374 h 6858000"/>
              <a:gd name="connsiteX2380" fmla="*/ 1252688 w 6781956"/>
              <a:gd name="connsiteY2380" fmla="*/ 3567188 h 6858000"/>
              <a:gd name="connsiteX2381" fmla="*/ 1247539 w 6781956"/>
              <a:gd name="connsiteY2381" fmla="*/ 3576488 h 6858000"/>
              <a:gd name="connsiteX2382" fmla="*/ 1239304 w 6781956"/>
              <a:gd name="connsiteY2382" fmla="*/ 3570675 h 6858000"/>
              <a:gd name="connsiteX2383" fmla="*/ 1244452 w 6781956"/>
              <a:gd name="connsiteY2383" fmla="*/ 3561374 h 6858000"/>
              <a:gd name="connsiteX2384" fmla="*/ 1597574 w 6781956"/>
              <a:gd name="connsiteY2384" fmla="*/ 3556725 h 6858000"/>
              <a:gd name="connsiteX2385" fmla="*/ 1600663 w 6781956"/>
              <a:gd name="connsiteY2385" fmla="*/ 3571838 h 6858000"/>
              <a:gd name="connsiteX2386" fmla="*/ 1597574 w 6781956"/>
              <a:gd name="connsiteY2386" fmla="*/ 3556725 h 6858000"/>
              <a:gd name="connsiteX2387" fmla="*/ 1505467 w 6781956"/>
              <a:gd name="connsiteY2387" fmla="*/ 3542999 h 6858000"/>
              <a:gd name="connsiteX2388" fmla="*/ 1505948 w 6781956"/>
              <a:gd name="connsiteY2388" fmla="*/ 3546261 h 6858000"/>
              <a:gd name="connsiteX2389" fmla="*/ 1507193 w 6781956"/>
              <a:gd name="connsiteY2389" fmla="*/ 3552359 h 6858000"/>
              <a:gd name="connsiteX2390" fmla="*/ 1504919 w 6781956"/>
              <a:gd name="connsiteY2390" fmla="*/ 3562537 h 6858000"/>
              <a:gd name="connsiteX2391" fmla="*/ 1503889 w 6781956"/>
              <a:gd name="connsiteY2391" fmla="*/ 3543938 h 6858000"/>
              <a:gd name="connsiteX2392" fmla="*/ 1454206 w 6781956"/>
              <a:gd name="connsiteY2392" fmla="*/ 3537372 h 6858000"/>
              <a:gd name="connsiteX2393" fmla="*/ 1454471 w 6781956"/>
              <a:gd name="connsiteY2393" fmla="*/ 3543939 h 6858000"/>
              <a:gd name="connsiteX2394" fmla="*/ 1446235 w 6781956"/>
              <a:gd name="connsiteY2394" fmla="*/ 3598579 h 6858000"/>
              <a:gd name="connsiteX2395" fmla="*/ 1436048 w 6781956"/>
              <a:gd name="connsiteY2395" fmla="*/ 3633089 h 6858000"/>
              <a:gd name="connsiteX2396" fmla="*/ 1439158 w 6781956"/>
              <a:gd name="connsiteY2396" fmla="*/ 3616886 h 6858000"/>
              <a:gd name="connsiteX2397" fmla="*/ 1443147 w 6781956"/>
              <a:gd name="connsiteY2397" fmla="*/ 3589275 h 6858000"/>
              <a:gd name="connsiteX2398" fmla="*/ 1443147 w 6781956"/>
              <a:gd name="connsiteY2398" fmla="*/ 3557887 h 6858000"/>
              <a:gd name="connsiteX2399" fmla="*/ 1197310 w 6781956"/>
              <a:gd name="connsiteY2399" fmla="*/ 3534179 h 6858000"/>
              <a:gd name="connsiteX2400" fmla="*/ 1200183 w 6781956"/>
              <a:gd name="connsiteY2400" fmla="*/ 3535799 h 6858000"/>
              <a:gd name="connsiteX2401" fmla="*/ 1195035 w 6781956"/>
              <a:gd name="connsiteY2401" fmla="*/ 3545099 h 6858000"/>
              <a:gd name="connsiteX2402" fmla="*/ 1199153 w 6781956"/>
              <a:gd name="connsiteY2402" fmla="*/ 3547425 h 6858000"/>
              <a:gd name="connsiteX2403" fmla="*/ 1194006 w 6781956"/>
              <a:gd name="connsiteY2403" fmla="*/ 3556725 h 6858000"/>
              <a:gd name="connsiteX2404" fmla="*/ 1190916 w 6781956"/>
              <a:gd name="connsiteY2404" fmla="*/ 3585788 h 6858000"/>
              <a:gd name="connsiteX2405" fmla="*/ 1190383 w 6781956"/>
              <a:gd name="connsiteY2405" fmla="*/ 3575123 h 6858000"/>
              <a:gd name="connsiteX2406" fmla="*/ 1192975 w 6781956"/>
              <a:gd name="connsiteY2406" fmla="*/ 3569514 h 6858000"/>
              <a:gd name="connsiteX2407" fmla="*/ 1194004 w 6781956"/>
              <a:gd name="connsiteY2407" fmla="*/ 3543649 h 6858000"/>
              <a:gd name="connsiteX2408" fmla="*/ 1599633 w 6781956"/>
              <a:gd name="connsiteY2408" fmla="*/ 3532312 h 6858000"/>
              <a:gd name="connsiteX2409" fmla="*/ 1603823 w 6781956"/>
              <a:gd name="connsiteY2409" fmla="*/ 3536207 h 6858000"/>
              <a:gd name="connsiteX2410" fmla="*/ 1600579 w 6781956"/>
              <a:gd name="connsiteY2410" fmla="*/ 3549392 h 6858000"/>
              <a:gd name="connsiteX2411" fmla="*/ 1249808 w 6781956"/>
              <a:gd name="connsiteY2411" fmla="*/ 3521358 h 6858000"/>
              <a:gd name="connsiteX2412" fmla="*/ 1253717 w 6781956"/>
              <a:gd name="connsiteY2412" fmla="*/ 3542775 h 6858000"/>
              <a:gd name="connsiteX2413" fmla="*/ 1243422 w 6781956"/>
              <a:gd name="connsiteY2413" fmla="*/ 3523011 h 6858000"/>
              <a:gd name="connsiteX2414" fmla="*/ 1249808 w 6781956"/>
              <a:gd name="connsiteY2414" fmla="*/ 3521358 h 6858000"/>
              <a:gd name="connsiteX2415" fmla="*/ 1463248 w 6781956"/>
              <a:gd name="connsiteY2415" fmla="*/ 3446662 h 6858000"/>
              <a:gd name="connsiteX2416" fmla="*/ 1461677 w 6781956"/>
              <a:gd name="connsiteY2416" fmla="*/ 3459074 h 6858000"/>
              <a:gd name="connsiteX2417" fmla="*/ 1459998 w 6781956"/>
              <a:gd name="connsiteY2417" fmla="*/ 3471162 h 6858000"/>
              <a:gd name="connsiteX2418" fmla="*/ 1458590 w 6781956"/>
              <a:gd name="connsiteY2418" fmla="*/ 3457910 h 6858000"/>
              <a:gd name="connsiteX2419" fmla="*/ 1268227 w 6781956"/>
              <a:gd name="connsiteY2419" fmla="*/ 3387651 h 6858000"/>
              <a:gd name="connsiteX2420" fmla="*/ 1265041 w 6781956"/>
              <a:gd name="connsiteY2420" fmla="*/ 3407922 h 6858000"/>
              <a:gd name="connsiteX2421" fmla="*/ 1264012 w 6781956"/>
              <a:gd name="connsiteY2421" fmla="*/ 3389321 h 6858000"/>
              <a:gd name="connsiteX2422" fmla="*/ 1268227 w 6781956"/>
              <a:gd name="connsiteY2422" fmla="*/ 3387651 h 6858000"/>
              <a:gd name="connsiteX2423" fmla="*/ 1500459 w 6781956"/>
              <a:gd name="connsiteY2423" fmla="*/ 3384555 h 6858000"/>
              <a:gd name="connsiteX2424" fmla="*/ 1502859 w 6781956"/>
              <a:gd name="connsiteY2424" fmla="*/ 3396296 h 6858000"/>
              <a:gd name="connsiteX2425" fmla="*/ 1494622 w 6781956"/>
              <a:gd name="connsiteY2425" fmla="*/ 3433497 h 6858000"/>
              <a:gd name="connsiteX2426" fmla="*/ 1493593 w 6781956"/>
              <a:gd name="connsiteY2426" fmla="*/ 3445121 h 6858000"/>
              <a:gd name="connsiteX2427" fmla="*/ 1491534 w 6781956"/>
              <a:gd name="connsiteY2427" fmla="*/ 3481161 h 6858000"/>
              <a:gd name="connsiteX2428" fmla="*/ 1485358 w 6781956"/>
              <a:gd name="connsiteY2428" fmla="*/ 3513711 h 6858000"/>
              <a:gd name="connsiteX2429" fmla="*/ 1481239 w 6781956"/>
              <a:gd name="connsiteY2429" fmla="*/ 3541612 h 6858000"/>
              <a:gd name="connsiteX2430" fmla="*/ 1479180 w 6781956"/>
              <a:gd name="connsiteY2430" fmla="*/ 3546261 h 6858000"/>
              <a:gd name="connsiteX2431" fmla="*/ 1480209 w 6781956"/>
              <a:gd name="connsiteY2431" fmla="*/ 3553237 h 6858000"/>
              <a:gd name="connsiteX2432" fmla="*/ 1475063 w 6781956"/>
              <a:gd name="connsiteY2432" fmla="*/ 3605551 h 6858000"/>
              <a:gd name="connsiteX2433" fmla="*/ 1463737 w 6781956"/>
              <a:gd name="connsiteY2433" fmla="*/ 3627638 h 6858000"/>
              <a:gd name="connsiteX2434" fmla="*/ 1468885 w 6781956"/>
              <a:gd name="connsiteY2434" fmla="*/ 3638102 h 6858000"/>
              <a:gd name="connsiteX2435" fmla="*/ 1465796 w 6781956"/>
              <a:gd name="connsiteY2435" fmla="*/ 3654377 h 6858000"/>
              <a:gd name="connsiteX2436" fmla="*/ 1460649 w 6781956"/>
              <a:gd name="connsiteY2436" fmla="*/ 3663677 h 6858000"/>
              <a:gd name="connsiteX2437" fmla="*/ 1456532 w 6781956"/>
              <a:gd name="connsiteY2437" fmla="*/ 3691579 h 6858000"/>
              <a:gd name="connsiteX2438" fmla="*/ 1446236 w 6781956"/>
              <a:gd name="connsiteY2438" fmla="*/ 3721803 h 6858000"/>
              <a:gd name="connsiteX2439" fmla="*/ 1447096 w 6781956"/>
              <a:gd name="connsiteY2439" fmla="*/ 3716858 h 6858000"/>
              <a:gd name="connsiteX2440" fmla="*/ 1449323 w 6781956"/>
              <a:gd name="connsiteY2440" fmla="*/ 3714832 h 6858000"/>
              <a:gd name="connsiteX2441" fmla="*/ 1448971 w 6781956"/>
              <a:gd name="connsiteY2441" fmla="*/ 3706069 h 6858000"/>
              <a:gd name="connsiteX2442" fmla="*/ 1450226 w 6781956"/>
              <a:gd name="connsiteY2442" fmla="*/ 3698844 h 6858000"/>
              <a:gd name="connsiteX2443" fmla="*/ 1452525 w 6781956"/>
              <a:gd name="connsiteY2443" fmla="*/ 3683682 h 6858000"/>
              <a:gd name="connsiteX2444" fmla="*/ 1454471 w 6781956"/>
              <a:gd name="connsiteY2444" fmla="*/ 3681118 h 6858000"/>
              <a:gd name="connsiteX2445" fmla="*/ 1457559 w 6781956"/>
              <a:gd name="connsiteY2445" fmla="*/ 3660192 h 6858000"/>
              <a:gd name="connsiteX2446" fmla="*/ 1460648 w 6781956"/>
              <a:gd name="connsiteY2446" fmla="*/ 3641592 h 6858000"/>
              <a:gd name="connsiteX2447" fmla="*/ 1460276 w 6781956"/>
              <a:gd name="connsiteY2447" fmla="*/ 3638484 h 6858000"/>
              <a:gd name="connsiteX2448" fmla="*/ 1460955 w 6781956"/>
              <a:gd name="connsiteY2448" fmla="*/ 3628475 h 6858000"/>
              <a:gd name="connsiteX2449" fmla="*/ 1459468 w 6781956"/>
              <a:gd name="connsiteY2449" fmla="*/ 3625618 h 6858000"/>
              <a:gd name="connsiteX2450" fmla="*/ 1459618 w 6781956"/>
              <a:gd name="connsiteY2450" fmla="*/ 3618341 h 6858000"/>
              <a:gd name="connsiteX2451" fmla="*/ 1464766 w 6781956"/>
              <a:gd name="connsiteY2451" fmla="*/ 3592765 h 6858000"/>
              <a:gd name="connsiteX2452" fmla="*/ 1467855 w 6781956"/>
              <a:gd name="connsiteY2452" fmla="*/ 3588115 h 6858000"/>
              <a:gd name="connsiteX2453" fmla="*/ 1472873 w 6781956"/>
              <a:gd name="connsiteY2453" fmla="*/ 3561087 h 6858000"/>
              <a:gd name="connsiteX2454" fmla="*/ 1473042 w 6781956"/>
              <a:gd name="connsiteY2454" fmla="*/ 3558408 h 6858000"/>
              <a:gd name="connsiteX2455" fmla="*/ 1476091 w 6781956"/>
              <a:gd name="connsiteY2455" fmla="*/ 3555562 h 6858000"/>
              <a:gd name="connsiteX2456" fmla="*/ 1482269 w 6781956"/>
              <a:gd name="connsiteY2456" fmla="*/ 3528824 h 6858000"/>
              <a:gd name="connsiteX2457" fmla="*/ 1481239 w 6781956"/>
              <a:gd name="connsiteY2457" fmla="*/ 3521849 h 6858000"/>
              <a:gd name="connsiteX2458" fmla="*/ 1486387 w 6781956"/>
              <a:gd name="connsiteY2458" fmla="*/ 3482323 h 6858000"/>
              <a:gd name="connsiteX2459" fmla="*/ 1492564 w 6781956"/>
              <a:gd name="connsiteY2459" fmla="*/ 3449772 h 6858000"/>
              <a:gd name="connsiteX2460" fmla="*/ 1491533 w 6781956"/>
              <a:gd name="connsiteY2460" fmla="*/ 3442798 h 6858000"/>
              <a:gd name="connsiteX2461" fmla="*/ 1494880 w 6781956"/>
              <a:gd name="connsiteY2461" fmla="*/ 3420419 h 6858000"/>
              <a:gd name="connsiteX2462" fmla="*/ 1495500 w 6781956"/>
              <a:gd name="connsiteY2462" fmla="*/ 3414524 h 6858000"/>
              <a:gd name="connsiteX2463" fmla="*/ 1496681 w 6781956"/>
              <a:gd name="connsiteY2463" fmla="*/ 3411411 h 6858000"/>
              <a:gd name="connsiteX2464" fmla="*/ 1496681 w 6781956"/>
              <a:gd name="connsiteY2464" fmla="*/ 3403282 h 6858000"/>
              <a:gd name="connsiteX2465" fmla="*/ 1496682 w 6781956"/>
              <a:gd name="connsiteY2465" fmla="*/ 3403271 h 6858000"/>
              <a:gd name="connsiteX2466" fmla="*/ 1499770 w 6781956"/>
              <a:gd name="connsiteY2466" fmla="*/ 3385834 h 6858000"/>
              <a:gd name="connsiteX2467" fmla="*/ 1499651 w 6781956"/>
              <a:gd name="connsiteY2467" fmla="*/ 3385298 h 6858000"/>
              <a:gd name="connsiteX2468" fmla="*/ 1588991 w 6781956"/>
              <a:gd name="connsiteY2468" fmla="*/ 3382826 h 6858000"/>
              <a:gd name="connsiteX2469" fmla="*/ 1588673 w 6781956"/>
              <a:gd name="connsiteY2469" fmla="*/ 3387691 h 6858000"/>
              <a:gd name="connsiteX2470" fmla="*/ 1586249 w 6781956"/>
              <a:gd name="connsiteY2470" fmla="*/ 3383507 h 6858000"/>
              <a:gd name="connsiteX2471" fmla="*/ 1661157 w 6781956"/>
              <a:gd name="connsiteY2471" fmla="*/ 3380351 h 6858000"/>
              <a:gd name="connsiteX2472" fmla="*/ 1662433 w 6781956"/>
              <a:gd name="connsiteY2472" fmla="*/ 3382345 h 6858000"/>
              <a:gd name="connsiteX2473" fmla="*/ 1661755 w 6781956"/>
              <a:gd name="connsiteY2473" fmla="*/ 3385920 h 6858000"/>
              <a:gd name="connsiteX2474" fmla="*/ 1601056 w 6781956"/>
              <a:gd name="connsiteY2474" fmla="*/ 3371846 h 6858000"/>
              <a:gd name="connsiteX2475" fmla="*/ 1601692 w 6781956"/>
              <a:gd name="connsiteY2475" fmla="*/ 3381183 h 6858000"/>
              <a:gd name="connsiteX2476" fmla="*/ 1609925 w 6781956"/>
              <a:gd name="connsiteY2476" fmla="*/ 3372409 h 6858000"/>
              <a:gd name="connsiteX2477" fmla="*/ 1593457 w 6781956"/>
              <a:gd name="connsiteY2477" fmla="*/ 3432334 h 6858000"/>
              <a:gd name="connsiteX2478" fmla="*/ 1594486 w 6781956"/>
              <a:gd name="connsiteY2478" fmla="*/ 3439309 h 6858000"/>
              <a:gd name="connsiteX2479" fmla="*/ 1589338 w 6781956"/>
              <a:gd name="connsiteY2479" fmla="*/ 3448609 h 6858000"/>
              <a:gd name="connsiteX2480" fmla="*/ 1592426 w 6781956"/>
              <a:gd name="connsiteY2480" fmla="*/ 3463722 h 6858000"/>
              <a:gd name="connsiteX2481" fmla="*/ 1589338 w 6781956"/>
              <a:gd name="connsiteY2481" fmla="*/ 3479997 h 6858000"/>
              <a:gd name="connsiteX2482" fmla="*/ 1592426 w 6781956"/>
              <a:gd name="connsiteY2482" fmla="*/ 3495110 h 6858000"/>
              <a:gd name="connsiteX2483" fmla="*/ 1583161 w 6781956"/>
              <a:gd name="connsiteY2483" fmla="*/ 3513711 h 6858000"/>
              <a:gd name="connsiteX2484" fmla="*/ 1588308 w 6781956"/>
              <a:gd name="connsiteY2484" fmla="*/ 3524175 h 6858000"/>
              <a:gd name="connsiteX2485" fmla="*/ 1576984 w 6781956"/>
              <a:gd name="connsiteY2485" fmla="*/ 3546261 h 6858000"/>
              <a:gd name="connsiteX2486" fmla="*/ 1572865 w 6781956"/>
              <a:gd name="connsiteY2486" fmla="*/ 3574162 h 6858000"/>
              <a:gd name="connsiteX2487" fmla="*/ 1580073 w 6781956"/>
              <a:gd name="connsiteY2487" fmla="*/ 3591601 h 6858000"/>
              <a:gd name="connsiteX2488" fmla="*/ 1561541 w 6781956"/>
              <a:gd name="connsiteY2488" fmla="*/ 3647402 h 6858000"/>
              <a:gd name="connsiteX2489" fmla="*/ 1562571 w 6781956"/>
              <a:gd name="connsiteY2489" fmla="*/ 3652052 h 6858000"/>
              <a:gd name="connsiteX2490" fmla="*/ 1559482 w 6781956"/>
              <a:gd name="connsiteY2490" fmla="*/ 3636939 h 6858000"/>
              <a:gd name="connsiteX2491" fmla="*/ 1555364 w 6781956"/>
              <a:gd name="connsiteY2491" fmla="*/ 3634615 h 6858000"/>
              <a:gd name="connsiteX2492" fmla="*/ 1567718 w 6781956"/>
              <a:gd name="connsiteY2492" fmla="*/ 3599739 h 6858000"/>
              <a:gd name="connsiteX2493" fmla="*/ 1557424 w 6781956"/>
              <a:gd name="connsiteY2493" fmla="*/ 3579975 h 6858000"/>
              <a:gd name="connsiteX2494" fmla="*/ 1569777 w 6781956"/>
              <a:gd name="connsiteY2494" fmla="*/ 3495110 h 6858000"/>
              <a:gd name="connsiteX2495" fmla="*/ 1575439 w 6781956"/>
              <a:gd name="connsiteY2495" fmla="*/ 3478255 h 6858000"/>
              <a:gd name="connsiteX2496" fmla="*/ 1577754 w 6781956"/>
              <a:gd name="connsiteY2496" fmla="*/ 3475642 h 6858000"/>
              <a:gd name="connsiteX2497" fmla="*/ 1576982 w 6781956"/>
              <a:gd name="connsiteY2497" fmla="*/ 3477675 h 6858000"/>
              <a:gd name="connsiteX2498" fmla="*/ 1586248 w 6781956"/>
              <a:gd name="connsiteY2498" fmla="*/ 3469537 h 6858000"/>
              <a:gd name="connsiteX2499" fmla="*/ 1583160 w 6781956"/>
              <a:gd name="connsiteY2499" fmla="*/ 3469537 h 6858000"/>
              <a:gd name="connsiteX2500" fmla="*/ 1584190 w 6781956"/>
              <a:gd name="connsiteY2500" fmla="*/ 3468373 h 6858000"/>
              <a:gd name="connsiteX2501" fmla="*/ 1581102 w 6781956"/>
              <a:gd name="connsiteY2501" fmla="*/ 3453259 h 6858000"/>
              <a:gd name="connsiteX2502" fmla="*/ 1583161 w 6781956"/>
              <a:gd name="connsiteY2502" fmla="*/ 3430008 h 6858000"/>
              <a:gd name="connsiteX2503" fmla="*/ 1584576 w 6781956"/>
              <a:gd name="connsiteY2503" fmla="*/ 3418529 h 6858000"/>
              <a:gd name="connsiteX2504" fmla="*/ 1586713 w 6781956"/>
              <a:gd name="connsiteY2504" fmla="*/ 3416242 h 6858000"/>
              <a:gd name="connsiteX2505" fmla="*/ 1586360 w 6781956"/>
              <a:gd name="connsiteY2505" fmla="*/ 3421274 h 6858000"/>
              <a:gd name="connsiteX2506" fmla="*/ 1582130 w 6781956"/>
              <a:gd name="connsiteY2506" fmla="*/ 3442799 h 6858000"/>
              <a:gd name="connsiteX2507" fmla="*/ 1598602 w 6781956"/>
              <a:gd name="connsiteY2507" fmla="*/ 3393972 h 6858000"/>
              <a:gd name="connsiteX2508" fmla="*/ 1599464 w 6781956"/>
              <a:gd name="connsiteY2508" fmla="*/ 3376470 h 6858000"/>
              <a:gd name="connsiteX2509" fmla="*/ 1600663 w 6781956"/>
              <a:gd name="connsiteY2509" fmla="*/ 3375370 h 6858000"/>
              <a:gd name="connsiteX2510" fmla="*/ 1610719 w 6781956"/>
              <a:gd name="connsiteY2510" fmla="*/ 3369520 h 6858000"/>
              <a:gd name="connsiteX2511" fmla="*/ 1610828 w 6781956"/>
              <a:gd name="connsiteY2511" fmla="*/ 3371447 h 6858000"/>
              <a:gd name="connsiteX2512" fmla="*/ 1609925 w 6781956"/>
              <a:gd name="connsiteY2512" fmla="*/ 3372409 h 6858000"/>
              <a:gd name="connsiteX2513" fmla="*/ 1662316 w 6781956"/>
              <a:gd name="connsiteY2513" fmla="*/ 3365082 h 6858000"/>
              <a:gd name="connsiteX2514" fmla="*/ 1661403 w 6781956"/>
              <a:gd name="connsiteY2514" fmla="*/ 3375370 h 6858000"/>
              <a:gd name="connsiteX2515" fmla="*/ 1660952 w 6781956"/>
              <a:gd name="connsiteY2515" fmla="*/ 3378434 h 6858000"/>
              <a:gd name="connsiteX2516" fmla="*/ 1660373 w 6781956"/>
              <a:gd name="connsiteY2516" fmla="*/ 3373045 h 6858000"/>
              <a:gd name="connsiteX2517" fmla="*/ 1610281 w 6781956"/>
              <a:gd name="connsiteY2517" fmla="*/ 3361818 h 6858000"/>
              <a:gd name="connsiteX2518" fmla="*/ 1611988 w 6781956"/>
              <a:gd name="connsiteY2518" fmla="*/ 3364908 h 6858000"/>
              <a:gd name="connsiteX2519" fmla="*/ 1610719 w 6781956"/>
              <a:gd name="connsiteY2519" fmla="*/ 3369520 h 6858000"/>
              <a:gd name="connsiteX2520" fmla="*/ 1530656 w 6781956"/>
              <a:gd name="connsiteY2520" fmla="*/ 3357933 h 6858000"/>
              <a:gd name="connsiteX2521" fmla="*/ 1525508 w 6781956"/>
              <a:gd name="connsiteY2521" fmla="*/ 3397458 h 6858000"/>
              <a:gd name="connsiteX2522" fmla="*/ 1530656 w 6781956"/>
              <a:gd name="connsiteY2522" fmla="*/ 3357933 h 6858000"/>
              <a:gd name="connsiteX2523" fmla="*/ 1506689 w 6781956"/>
              <a:gd name="connsiteY2523" fmla="*/ 3349208 h 6858000"/>
              <a:gd name="connsiteX2524" fmla="*/ 1508007 w 6781956"/>
              <a:gd name="connsiteY2524" fmla="*/ 3355607 h 6858000"/>
              <a:gd name="connsiteX2525" fmla="*/ 1504919 w 6781956"/>
              <a:gd name="connsiteY2525" fmla="*/ 3371882 h 6858000"/>
              <a:gd name="connsiteX2526" fmla="*/ 1502553 w 6781956"/>
              <a:gd name="connsiteY2526" fmla="*/ 3376155 h 6858000"/>
              <a:gd name="connsiteX2527" fmla="*/ 1501829 w 6781956"/>
              <a:gd name="connsiteY2527" fmla="*/ 3361422 h 6858000"/>
              <a:gd name="connsiteX2528" fmla="*/ 1503516 w 6781956"/>
              <a:gd name="connsiteY2528" fmla="*/ 3357499 h 6858000"/>
              <a:gd name="connsiteX2529" fmla="*/ 1503889 w 6781956"/>
              <a:gd name="connsiteY2529" fmla="*/ 3357933 h 6858000"/>
              <a:gd name="connsiteX2530" fmla="*/ 1504244 w 6781956"/>
              <a:gd name="connsiteY2530" fmla="*/ 3355806 h 6858000"/>
              <a:gd name="connsiteX2531" fmla="*/ 1506204 w 6781956"/>
              <a:gd name="connsiteY2531" fmla="*/ 3351250 h 6858000"/>
              <a:gd name="connsiteX2532" fmla="*/ 1535916 w 6781956"/>
              <a:gd name="connsiteY2532" fmla="*/ 3315354 h 6858000"/>
              <a:gd name="connsiteX2533" fmla="*/ 1533745 w 6781956"/>
              <a:gd name="connsiteY2533" fmla="*/ 3342819 h 6858000"/>
              <a:gd name="connsiteX2534" fmla="*/ 1531685 w 6781956"/>
              <a:gd name="connsiteY2534" fmla="*/ 3316081 h 6858000"/>
              <a:gd name="connsiteX2535" fmla="*/ 1535916 w 6781956"/>
              <a:gd name="connsiteY2535" fmla="*/ 3315354 h 6858000"/>
              <a:gd name="connsiteX2536" fmla="*/ 1618010 w 6781956"/>
              <a:gd name="connsiteY2536" fmla="*/ 3258546 h 6858000"/>
              <a:gd name="connsiteX2537" fmla="*/ 1617907 w 6781956"/>
              <a:gd name="connsiteY2537" fmla="*/ 3272778 h 6858000"/>
              <a:gd name="connsiteX2538" fmla="*/ 1616106 w 6781956"/>
              <a:gd name="connsiteY2538" fmla="*/ 3303293 h 6858000"/>
              <a:gd name="connsiteX2539" fmla="*/ 1610958 w 6781956"/>
              <a:gd name="connsiteY2539" fmla="*/ 3312593 h 6858000"/>
              <a:gd name="connsiteX2540" fmla="*/ 1614046 w 6781956"/>
              <a:gd name="connsiteY2540" fmla="*/ 3327706 h 6858000"/>
              <a:gd name="connsiteX2541" fmla="*/ 1609928 w 6781956"/>
              <a:gd name="connsiteY2541" fmla="*/ 3355607 h 6858000"/>
              <a:gd name="connsiteX2542" fmla="*/ 1610281 w 6781956"/>
              <a:gd name="connsiteY2542" fmla="*/ 3361818 h 6858000"/>
              <a:gd name="connsiteX2543" fmla="*/ 1607193 w 6781956"/>
              <a:gd name="connsiteY2543" fmla="*/ 3356225 h 6858000"/>
              <a:gd name="connsiteX2544" fmla="*/ 1601692 w 6781956"/>
              <a:gd name="connsiteY2544" fmla="*/ 3332356 h 6858000"/>
              <a:gd name="connsiteX2545" fmla="*/ 1603107 w 6781956"/>
              <a:gd name="connsiteY2545" fmla="*/ 3353427 h 6858000"/>
              <a:gd name="connsiteX2546" fmla="*/ 1601056 w 6781956"/>
              <a:gd name="connsiteY2546" fmla="*/ 3371846 h 6858000"/>
              <a:gd name="connsiteX2547" fmla="*/ 1598603 w 6781956"/>
              <a:gd name="connsiteY2547" fmla="*/ 3335843 h 6858000"/>
              <a:gd name="connsiteX2548" fmla="*/ 1602895 w 6781956"/>
              <a:gd name="connsiteY2548" fmla="*/ 3324215 h 6858000"/>
              <a:gd name="connsiteX2549" fmla="*/ 1607225 w 6781956"/>
              <a:gd name="connsiteY2549" fmla="*/ 3317391 h 6858000"/>
              <a:gd name="connsiteX2550" fmla="*/ 1608898 w 6781956"/>
              <a:gd name="connsiteY2550" fmla="*/ 3289346 h 6858000"/>
              <a:gd name="connsiteX2551" fmla="*/ 1611986 w 6781956"/>
              <a:gd name="connsiteY2551" fmla="*/ 3284695 h 6858000"/>
              <a:gd name="connsiteX2552" fmla="*/ 1614044 w 6781956"/>
              <a:gd name="connsiteY2552" fmla="*/ 3263770 h 6858000"/>
              <a:gd name="connsiteX2553" fmla="*/ 1380776 w 6781956"/>
              <a:gd name="connsiteY2553" fmla="*/ 3230120 h 6858000"/>
              <a:gd name="connsiteX2554" fmla="*/ 1380861 w 6781956"/>
              <a:gd name="connsiteY2554" fmla="*/ 3230346 h 6858000"/>
              <a:gd name="connsiteX2555" fmla="*/ 1380302 w 6781956"/>
              <a:gd name="connsiteY2555" fmla="*/ 3232807 h 6858000"/>
              <a:gd name="connsiteX2556" fmla="*/ 1380347 w 6781956"/>
              <a:gd name="connsiteY2556" fmla="*/ 3232378 h 6858000"/>
              <a:gd name="connsiteX2557" fmla="*/ 1664492 w 6781956"/>
              <a:gd name="connsiteY2557" fmla="*/ 3181228 h 6858000"/>
              <a:gd name="connsiteX2558" fmla="*/ 1663463 w 6781956"/>
              <a:gd name="connsiteY2558" fmla="*/ 3224242 h 6858000"/>
              <a:gd name="connsiteX2559" fmla="*/ 1663463 w 6781956"/>
              <a:gd name="connsiteY2559" fmla="*/ 3255630 h 6858000"/>
              <a:gd name="connsiteX2560" fmla="*/ 1668611 w 6781956"/>
              <a:gd name="connsiteY2560" fmla="*/ 3214941 h 6858000"/>
              <a:gd name="connsiteX2561" fmla="*/ 1664492 w 6781956"/>
              <a:gd name="connsiteY2561" fmla="*/ 3181228 h 6858000"/>
              <a:gd name="connsiteX2562" fmla="*/ 1426265 w 6781956"/>
              <a:gd name="connsiteY2562" fmla="*/ 3102451 h 6858000"/>
              <a:gd name="connsiteX2563" fmla="*/ 1425773 w 6781956"/>
              <a:gd name="connsiteY2563" fmla="*/ 3107554 h 6858000"/>
              <a:gd name="connsiteX2564" fmla="*/ 1424113 w 6781956"/>
              <a:gd name="connsiteY2564" fmla="*/ 3129364 h 6858000"/>
              <a:gd name="connsiteX2565" fmla="*/ 1422557 w 6781956"/>
              <a:gd name="connsiteY2565" fmla="*/ 3109150 h 6858000"/>
              <a:gd name="connsiteX2566" fmla="*/ 1427402 w 6781956"/>
              <a:gd name="connsiteY2566" fmla="*/ 3090630 h 6858000"/>
              <a:gd name="connsiteX2567" fmla="*/ 1426577 w 6781956"/>
              <a:gd name="connsiteY2567" fmla="*/ 3099214 h 6858000"/>
              <a:gd name="connsiteX2568" fmla="*/ 1423587 w 6781956"/>
              <a:gd name="connsiteY2568" fmla="*/ 3097526 h 6858000"/>
              <a:gd name="connsiteX2569" fmla="*/ 1398876 w 6781956"/>
              <a:gd name="connsiteY2569" fmla="*/ 3078927 h 6858000"/>
              <a:gd name="connsiteX2570" fmla="*/ 1399906 w 6781956"/>
              <a:gd name="connsiteY2570" fmla="*/ 3099853 h 6858000"/>
              <a:gd name="connsiteX2571" fmla="*/ 1398876 w 6781956"/>
              <a:gd name="connsiteY2571" fmla="*/ 3078927 h 6858000"/>
              <a:gd name="connsiteX2572" fmla="*/ 1489655 w 6781956"/>
              <a:gd name="connsiteY2572" fmla="*/ 3067298 h 6858000"/>
              <a:gd name="connsiteX2573" fmla="*/ 1489545 w 6781956"/>
              <a:gd name="connsiteY2573" fmla="*/ 3068213 h 6858000"/>
              <a:gd name="connsiteX2574" fmla="*/ 1489474 w 6781956"/>
              <a:gd name="connsiteY2574" fmla="*/ 3067300 h 6858000"/>
              <a:gd name="connsiteX2575" fmla="*/ 1428966 w 6781956"/>
              <a:gd name="connsiteY2575" fmla="*/ 3064712 h 6858000"/>
              <a:gd name="connsiteX2576" fmla="*/ 1429762 w 6781956"/>
              <a:gd name="connsiteY2576" fmla="*/ 3066139 h 6858000"/>
              <a:gd name="connsiteX2577" fmla="*/ 1428859 w 6781956"/>
              <a:gd name="connsiteY2577" fmla="*/ 3075518 h 6858000"/>
              <a:gd name="connsiteX2578" fmla="*/ 1595015 w 6781956"/>
              <a:gd name="connsiteY2578" fmla="*/ 3004906 h 6858000"/>
              <a:gd name="connsiteX2579" fmla="*/ 1591395 w 6781956"/>
              <a:gd name="connsiteY2579" fmla="*/ 3018476 h 6858000"/>
              <a:gd name="connsiteX2580" fmla="*/ 1594485 w 6781956"/>
              <a:gd name="connsiteY2580" fmla="*/ 3075439 h 6858000"/>
              <a:gd name="connsiteX2581" fmla="*/ 1600661 w 6781956"/>
              <a:gd name="connsiteY2581" fmla="*/ 3005687 h 6858000"/>
              <a:gd name="connsiteX2582" fmla="*/ 1595015 w 6781956"/>
              <a:gd name="connsiteY2582" fmla="*/ 3004906 h 6858000"/>
              <a:gd name="connsiteX2583" fmla="*/ 1477120 w 6781956"/>
              <a:gd name="connsiteY2583" fmla="*/ 2939421 h 6858000"/>
              <a:gd name="connsiteX2584" fmla="*/ 1476090 w 6781956"/>
              <a:gd name="connsiteY2584" fmla="*/ 2951046 h 6858000"/>
              <a:gd name="connsiteX2585" fmla="*/ 1481238 w 6781956"/>
              <a:gd name="connsiteY2585" fmla="*/ 2961509 h 6858000"/>
              <a:gd name="connsiteX2586" fmla="*/ 1477120 w 6781956"/>
              <a:gd name="connsiteY2586" fmla="*/ 2959185 h 6858000"/>
              <a:gd name="connsiteX2587" fmla="*/ 1477120 w 6781956"/>
              <a:gd name="connsiteY2587" fmla="*/ 2939421 h 6858000"/>
              <a:gd name="connsiteX2588" fmla="*/ 1321665 w 6781956"/>
              <a:gd name="connsiteY2588" fmla="*/ 2920822 h 6858000"/>
              <a:gd name="connsiteX2589" fmla="*/ 1323724 w 6781956"/>
              <a:gd name="connsiteY2589" fmla="*/ 2947559 h 6858000"/>
              <a:gd name="connsiteX2590" fmla="*/ 1321665 w 6781956"/>
              <a:gd name="connsiteY2590" fmla="*/ 2920822 h 6858000"/>
              <a:gd name="connsiteX2591" fmla="*/ 1610957 w 6781956"/>
              <a:gd name="connsiteY2591" fmla="*/ 2789457 h 6858000"/>
              <a:gd name="connsiteX2592" fmla="*/ 1601691 w 6781956"/>
              <a:gd name="connsiteY2592" fmla="*/ 2802244 h 6858000"/>
              <a:gd name="connsiteX2593" fmla="*/ 1608898 w 6781956"/>
              <a:gd name="connsiteY2593" fmla="*/ 2823171 h 6858000"/>
              <a:gd name="connsiteX2594" fmla="*/ 1610957 w 6781956"/>
              <a:gd name="connsiteY2594" fmla="*/ 2789457 h 6858000"/>
              <a:gd name="connsiteX2595" fmla="*/ 1329788 w 6781956"/>
              <a:gd name="connsiteY2595" fmla="*/ 2786965 h 6858000"/>
              <a:gd name="connsiteX2596" fmla="*/ 1331960 w 6781956"/>
              <a:gd name="connsiteY2596" fmla="*/ 2797592 h 6858000"/>
              <a:gd name="connsiteX2597" fmla="*/ 1325783 w 6781956"/>
              <a:gd name="connsiteY2597" fmla="*/ 2830145 h 6858000"/>
              <a:gd name="connsiteX2598" fmla="*/ 1328871 w 6781956"/>
              <a:gd name="connsiteY2598" fmla="*/ 2845256 h 6858000"/>
              <a:gd name="connsiteX2599" fmla="*/ 1319606 w 6781956"/>
              <a:gd name="connsiteY2599" fmla="*/ 2906870 h 6858000"/>
              <a:gd name="connsiteX2600" fmla="*/ 1319577 w 6781956"/>
              <a:gd name="connsiteY2600" fmla="*/ 2900960 h 6858000"/>
              <a:gd name="connsiteX2601" fmla="*/ 1321663 w 6781956"/>
              <a:gd name="connsiteY2601" fmla="*/ 2890597 h 6858000"/>
              <a:gd name="connsiteX2602" fmla="*/ 1323723 w 6781956"/>
              <a:gd name="connsiteY2602" fmla="*/ 2861533 h 6858000"/>
              <a:gd name="connsiteX2603" fmla="*/ 1325781 w 6781956"/>
              <a:gd name="connsiteY2603" fmla="*/ 2824333 h 6858000"/>
              <a:gd name="connsiteX2604" fmla="*/ 1328870 w 6781956"/>
              <a:gd name="connsiteY2604" fmla="*/ 2808058 h 6858000"/>
              <a:gd name="connsiteX2605" fmla="*/ 1328870 w 6781956"/>
              <a:gd name="connsiteY2605" fmla="*/ 2799920 h 6858000"/>
              <a:gd name="connsiteX2606" fmla="*/ 1641843 w 6781956"/>
              <a:gd name="connsiteY2606" fmla="*/ 2760394 h 6858000"/>
              <a:gd name="connsiteX2607" fmla="*/ 1637724 w 6781956"/>
              <a:gd name="connsiteY2607" fmla="*/ 2860370 h 6858000"/>
              <a:gd name="connsiteX2608" fmla="*/ 1629487 w 6781956"/>
              <a:gd name="connsiteY2608" fmla="*/ 2919659 h 6858000"/>
              <a:gd name="connsiteX2609" fmla="*/ 1638754 w 6781956"/>
              <a:gd name="connsiteY2609" fmla="*/ 2906872 h 6858000"/>
              <a:gd name="connsiteX2610" fmla="*/ 1646989 w 6781956"/>
              <a:gd name="connsiteY2610" fmla="*/ 2881296 h 6858000"/>
              <a:gd name="connsiteX2611" fmla="*/ 1650078 w 6781956"/>
              <a:gd name="connsiteY2611" fmla="*/ 2876647 h 6858000"/>
              <a:gd name="connsiteX2612" fmla="*/ 1652137 w 6781956"/>
              <a:gd name="connsiteY2612" fmla="*/ 2818520 h 6858000"/>
              <a:gd name="connsiteX2613" fmla="*/ 1663461 w 6781956"/>
              <a:gd name="connsiteY2613" fmla="*/ 2780157 h 6858000"/>
              <a:gd name="connsiteX2614" fmla="*/ 1657286 w 6781956"/>
              <a:gd name="connsiteY2614" fmla="*/ 2763881 h 6858000"/>
              <a:gd name="connsiteX2615" fmla="*/ 1641843 w 6781956"/>
              <a:gd name="connsiteY2615" fmla="*/ 2760394 h 6858000"/>
              <a:gd name="connsiteX2616" fmla="*/ 1397849 w 6781956"/>
              <a:gd name="connsiteY2616" fmla="*/ 2752254 h 6858000"/>
              <a:gd name="connsiteX2617" fmla="*/ 1383434 w 6781956"/>
              <a:gd name="connsiteY2617" fmla="*/ 2760392 h 6858000"/>
              <a:gd name="connsiteX2618" fmla="*/ 1390642 w 6781956"/>
              <a:gd name="connsiteY2618" fmla="*/ 2827819 h 6858000"/>
              <a:gd name="connsiteX2619" fmla="*/ 1392701 w 6781956"/>
              <a:gd name="connsiteY2619" fmla="*/ 2804568 h 6858000"/>
              <a:gd name="connsiteX2620" fmla="*/ 1394760 w 6781956"/>
              <a:gd name="connsiteY2620" fmla="*/ 2799918 h 6858000"/>
              <a:gd name="connsiteX2621" fmla="*/ 1394760 w 6781956"/>
              <a:gd name="connsiteY2621" fmla="*/ 2768529 h 6858000"/>
              <a:gd name="connsiteX2622" fmla="*/ 1397849 w 6781956"/>
              <a:gd name="connsiteY2622" fmla="*/ 2752254 h 6858000"/>
              <a:gd name="connsiteX2623" fmla="*/ 1357260 w 6781956"/>
              <a:gd name="connsiteY2623" fmla="*/ 2689902 h 6858000"/>
              <a:gd name="connsiteX2624" fmla="*/ 1357696 w 6781956"/>
              <a:gd name="connsiteY2624" fmla="*/ 2698780 h 6858000"/>
              <a:gd name="connsiteX2625" fmla="*/ 1355775 w 6781956"/>
              <a:gd name="connsiteY2625" fmla="*/ 2708327 h 6858000"/>
              <a:gd name="connsiteX2626" fmla="*/ 1355638 w 6781956"/>
              <a:gd name="connsiteY2626" fmla="*/ 2708077 h 6858000"/>
              <a:gd name="connsiteX2627" fmla="*/ 1437999 w 6781956"/>
              <a:gd name="connsiteY2627" fmla="*/ 2626703 h 6858000"/>
              <a:gd name="connsiteX2628" fmla="*/ 1439028 w 6781956"/>
              <a:gd name="connsiteY2628" fmla="*/ 2655766 h 6858000"/>
              <a:gd name="connsiteX2629" fmla="*/ 1437999 w 6781956"/>
              <a:gd name="connsiteY2629" fmla="*/ 2626703 h 6858000"/>
              <a:gd name="connsiteX2630" fmla="*/ 1650078 w 6781956"/>
              <a:gd name="connsiteY2630" fmla="*/ 2611589 h 6858000"/>
              <a:gd name="connsiteX2631" fmla="*/ 1640813 w 6781956"/>
              <a:gd name="connsiteY2631" fmla="*/ 2630190 h 6858000"/>
              <a:gd name="connsiteX2632" fmla="*/ 1634636 w 6781956"/>
              <a:gd name="connsiteY2632" fmla="*/ 2638328 h 6858000"/>
              <a:gd name="connsiteX2633" fmla="*/ 1641843 w 6781956"/>
              <a:gd name="connsiteY2633" fmla="*/ 2667391 h 6858000"/>
              <a:gd name="connsiteX2634" fmla="*/ 1639783 w 6781956"/>
              <a:gd name="connsiteY2634" fmla="*/ 2692966 h 6858000"/>
              <a:gd name="connsiteX2635" fmla="*/ 1642870 w 6781956"/>
              <a:gd name="connsiteY2635" fmla="*/ 2709241 h 6858000"/>
              <a:gd name="connsiteX2636" fmla="*/ 1634636 w 6781956"/>
              <a:gd name="connsiteY2636" fmla="*/ 2747606 h 6858000"/>
              <a:gd name="connsiteX2637" fmla="*/ 1650078 w 6781956"/>
              <a:gd name="connsiteY2637" fmla="*/ 2730168 h 6858000"/>
              <a:gd name="connsiteX2638" fmla="*/ 1656254 w 6781956"/>
              <a:gd name="connsiteY2638" fmla="*/ 2712730 h 6858000"/>
              <a:gd name="connsiteX2639" fmla="*/ 1659343 w 6781956"/>
              <a:gd name="connsiteY2639" fmla="*/ 2708080 h 6858000"/>
              <a:gd name="connsiteX2640" fmla="*/ 1648019 w 6781956"/>
              <a:gd name="connsiteY2640" fmla="*/ 2645303 h 6858000"/>
              <a:gd name="connsiteX2641" fmla="*/ 1650078 w 6781956"/>
              <a:gd name="connsiteY2641" fmla="*/ 2611589 h 6858000"/>
              <a:gd name="connsiteX2642" fmla="*/ 1654582 w 6781956"/>
              <a:gd name="connsiteY2642" fmla="*/ 2448690 h 6858000"/>
              <a:gd name="connsiteX2643" fmla="*/ 1645960 w 6781956"/>
              <a:gd name="connsiteY2643" fmla="*/ 2449998 h 6858000"/>
              <a:gd name="connsiteX2644" fmla="*/ 1650078 w 6781956"/>
              <a:gd name="connsiteY2644" fmla="*/ 2479061 h 6858000"/>
              <a:gd name="connsiteX2645" fmla="*/ 1643900 w 6781956"/>
              <a:gd name="connsiteY2645" fmla="*/ 2496500 h 6858000"/>
              <a:gd name="connsiteX2646" fmla="*/ 1644930 w 6781956"/>
              <a:gd name="connsiteY2646" fmla="*/ 2525562 h 6858000"/>
              <a:gd name="connsiteX2647" fmla="*/ 1652137 w 6781956"/>
              <a:gd name="connsiteY2647" fmla="*/ 2554626 h 6858000"/>
              <a:gd name="connsiteX2648" fmla="*/ 1654196 w 6781956"/>
              <a:gd name="connsiteY2648" fmla="*/ 2504637 h 6858000"/>
              <a:gd name="connsiteX2649" fmla="*/ 1668610 w 6781956"/>
              <a:gd name="connsiteY2649" fmla="*/ 2449998 h 6858000"/>
              <a:gd name="connsiteX2650" fmla="*/ 1654582 w 6781956"/>
              <a:gd name="connsiteY2650" fmla="*/ 2448690 h 6858000"/>
              <a:gd name="connsiteX2651" fmla="*/ 1652137 w 6781956"/>
              <a:gd name="connsiteY2651" fmla="*/ 2411635 h 6858000"/>
              <a:gd name="connsiteX2652" fmla="*/ 1652137 w 6781956"/>
              <a:gd name="connsiteY2652" fmla="*/ 2424422 h 6858000"/>
              <a:gd name="connsiteX2653" fmla="*/ 1652137 w 6781956"/>
              <a:gd name="connsiteY2653" fmla="*/ 2411635 h 6858000"/>
              <a:gd name="connsiteX2654" fmla="*/ 1455500 w 6781956"/>
              <a:gd name="connsiteY2654" fmla="*/ 2374434 h 6858000"/>
              <a:gd name="connsiteX2655" fmla="*/ 1460648 w 6781956"/>
              <a:gd name="connsiteY2655" fmla="*/ 2429072 h 6858000"/>
              <a:gd name="connsiteX2656" fmla="*/ 1457599 w 6781956"/>
              <a:gd name="connsiteY2656" fmla="*/ 2427008 h 6858000"/>
              <a:gd name="connsiteX2657" fmla="*/ 1457559 w 6781956"/>
              <a:gd name="connsiteY2657" fmla="*/ 2425584 h 6858000"/>
              <a:gd name="connsiteX2658" fmla="*/ 1447263 w 6781956"/>
              <a:gd name="connsiteY2658" fmla="*/ 2401171 h 6858000"/>
              <a:gd name="connsiteX2659" fmla="*/ 1446776 w 6781956"/>
              <a:gd name="connsiteY2659" fmla="*/ 2404429 h 6858000"/>
              <a:gd name="connsiteX2660" fmla="*/ 1446379 w 6781956"/>
              <a:gd name="connsiteY2660" fmla="*/ 2401408 h 6858000"/>
              <a:gd name="connsiteX2661" fmla="*/ 1455500 w 6781956"/>
              <a:gd name="connsiteY2661" fmla="*/ 2374434 h 6858000"/>
              <a:gd name="connsiteX2662" fmla="*/ 1475061 w 6781956"/>
              <a:gd name="connsiteY2662" fmla="*/ 2356996 h 6858000"/>
              <a:gd name="connsiteX2663" fmla="*/ 1481238 w 6781956"/>
              <a:gd name="connsiteY2663" fmla="*/ 2356996 h 6858000"/>
              <a:gd name="connsiteX2664" fmla="*/ 1482268 w 6781956"/>
              <a:gd name="connsiteY2664" fmla="*/ 2386058 h 6858000"/>
              <a:gd name="connsiteX2665" fmla="*/ 1476089 w 6781956"/>
              <a:gd name="connsiteY2665" fmla="*/ 2406985 h 6858000"/>
              <a:gd name="connsiteX2666" fmla="*/ 1475061 w 6781956"/>
              <a:gd name="connsiteY2666" fmla="*/ 2356996 h 6858000"/>
              <a:gd name="connsiteX2667" fmla="*/ 1569776 w 6781956"/>
              <a:gd name="connsiteY2667" fmla="*/ 2343045 h 6858000"/>
              <a:gd name="connsiteX2668" fmla="*/ 1586248 w 6781956"/>
              <a:gd name="connsiteY2668" fmla="*/ 2380246 h 6858000"/>
              <a:gd name="connsiteX2669" fmla="*/ 1602720 w 6781956"/>
              <a:gd name="connsiteY2669" fmla="*/ 2359320 h 6858000"/>
              <a:gd name="connsiteX2670" fmla="*/ 1603750 w 6781956"/>
              <a:gd name="connsiteY2670" fmla="*/ 2405823 h 6858000"/>
              <a:gd name="connsiteX2671" fmla="*/ 1597572 w 6781956"/>
              <a:gd name="connsiteY2671" fmla="*/ 2405823 h 6858000"/>
              <a:gd name="connsiteX2672" fmla="*/ 1595514 w 6781956"/>
              <a:gd name="connsiteY2672" fmla="*/ 2431398 h 6858000"/>
              <a:gd name="connsiteX2673" fmla="*/ 1583160 w 6781956"/>
              <a:gd name="connsiteY2673" fmla="*/ 2427910 h 6858000"/>
              <a:gd name="connsiteX2674" fmla="*/ 1590367 w 6781956"/>
              <a:gd name="connsiteY2674" fmla="*/ 2456973 h 6858000"/>
              <a:gd name="connsiteX2675" fmla="*/ 1579042 w 6781956"/>
              <a:gd name="connsiteY2675" fmla="*/ 2498824 h 6858000"/>
              <a:gd name="connsiteX2676" fmla="*/ 1591395 w 6781956"/>
              <a:gd name="connsiteY2676" fmla="*/ 2511611 h 6858000"/>
              <a:gd name="connsiteX2677" fmla="*/ 1586248 w 6781956"/>
              <a:gd name="connsiteY2677" fmla="*/ 2574390 h 6858000"/>
              <a:gd name="connsiteX2678" fmla="*/ 1573894 w 6781956"/>
              <a:gd name="connsiteY2678" fmla="*/ 2587176 h 6858000"/>
              <a:gd name="connsiteX2679" fmla="*/ 1586248 w 6781956"/>
              <a:gd name="connsiteY2679" fmla="*/ 2590664 h 6858000"/>
              <a:gd name="connsiteX2680" fmla="*/ 1580071 w 6781956"/>
              <a:gd name="connsiteY2680" fmla="*/ 2603452 h 6858000"/>
              <a:gd name="connsiteX2681" fmla="*/ 1575954 w 6781956"/>
              <a:gd name="connsiteY2681" fmla="*/ 2674366 h 6858000"/>
              <a:gd name="connsiteX2682" fmla="*/ 1572864 w 6781956"/>
              <a:gd name="connsiteY2682" fmla="*/ 2679017 h 6858000"/>
              <a:gd name="connsiteX2683" fmla="*/ 1576982 w 6781956"/>
              <a:gd name="connsiteY2683" fmla="*/ 2716218 h 6858000"/>
              <a:gd name="connsiteX2684" fmla="*/ 1570805 w 6781956"/>
              <a:gd name="connsiteY2684" fmla="*/ 2737142 h 6858000"/>
              <a:gd name="connsiteX2685" fmla="*/ 1571835 w 6781956"/>
              <a:gd name="connsiteY2685" fmla="*/ 2766207 h 6858000"/>
              <a:gd name="connsiteX2686" fmla="*/ 1569776 w 6781956"/>
              <a:gd name="connsiteY2686" fmla="*/ 2791782 h 6858000"/>
              <a:gd name="connsiteX2687" fmla="*/ 1566687 w 6781956"/>
              <a:gd name="connsiteY2687" fmla="*/ 2808058 h 6858000"/>
              <a:gd name="connsiteX2688" fmla="*/ 1564629 w 6781956"/>
              <a:gd name="connsiteY2688" fmla="*/ 2849908 h 6858000"/>
              <a:gd name="connsiteX2689" fmla="*/ 1561539 w 6781956"/>
              <a:gd name="connsiteY2689" fmla="*/ 2854559 h 6858000"/>
              <a:gd name="connsiteX2690" fmla="*/ 1559481 w 6781956"/>
              <a:gd name="connsiteY2690" fmla="*/ 2880134 h 6858000"/>
              <a:gd name="connsiteX2691" fmla="*/ 1550214 w 6781956"/>
              <a:gd name="connsiteY2691" fmla="*/ 2867347 h 6858000"/>
              <a:gd name="connsiteX2692" fmla="*/ 1546098 w 6781956"/>
              <a:gd name="connsiteY2692" fmla="*/ 2841771 h 6858000"/>
              <a:gd name="connsiteX2693" fmla="*/ 1546098 w 6781956"/>
              <a:gd name="connsiteY2693" fmla="*/ 2825495 h 6858000"/>
              <a:gd name="connsiteX2694" fmla="*/ 1545068 w 6781956"/>
              <a:gd name="connsiteY2694" fmla="*/ 2804570 h 6858000"/>
              <a:gd name="connsiteX2695" fmla="*/ 1548156 w 6781956"/>
              <a:gd name="connsiteY2695" fmla="*/ 2799920 h 6858000"/>
              <a:gd name="connsiteX2696" fmla="*/ 1548156 w 6781956"/>
              <a:gd name="connsiteY2696" fmla="*/ 2795269 h 6858000"/>
              <a:gd name="connsiteX2697" fmla="*/ 1551244 w 6781956"/>
              <a:gd name="connsiteY2697" fmla="*/ 2782482 h 6858000"/>
              <a:gd name="connsiteX2698" fmla="*/ 1554333 w 6781956"/>
              <a:gd name="connsiteY2698" fmla="*/ 2777832 h 6858000"/>
              <a:gd name="connsiteX2699" fmla="*/ 1551244 w 6781956"/>
              <a:gd name="connsiteY2699" fmla="*/ 2765044 h 6858000"/>
              <a:gd name="connsiteX2700" fmla="*/ 1554333 w 6781956"/>
              <a:gd name="connsiteY2700" fmla="*/ 2752255 h 6858000"/>
              <a:gd name="connsiteX2701" fmla="*/ 1547127 w 6781956"/>
              <a:gd name="connsiteY2701" fmla="*/ 2731330 h 6858000"/>
              <a:gd name="connsiteX2702" fmla="*/ 1558451 w 6781956"/>
              <a:gd name="connsiteY2702" fmla="*/ 2676691 h 6858000"/>
              <a:gd name="connsiteX2703" fmla="*/ 1548156 w 6781956"/>
              <a:gd name="connsiteY2703" fmla="*/ 2660416 h 6858000"/>
              <a:gd name="connsiteX2704" fmla="*/ 1550214 w 6781956"/>
              <a:gd name="connsiteY2704" fmla="*/ 2618564 h 6858000"/>
              <a:gd name="connsiteX2705" fmla="*/ 1574924 w 6781956"/>
              <a:gd name="connsiteY2705" fmla="*/ 2592988 h 6858000"/>
              <a:gd name="connsiteX2706" fmla="*/ 1562570 w 6781956"/>
              <a:gd name="connsiteY2706" fmla="*/ 2589501 h 6858000"/>
              <a:gd name="connsiteX2707" fmla="*/ 1558451 w 6781956"/>
              <a:gd name="connsiteY2707" fmla="*/ 2552300 h 6858000"/>
              <a:gd name="connsiteX2708" fmla="*/ 1560511 w 6781956"/>
              <a:gd name="connsiteY2708" fmla="*/ 2502311 h 6858000"/>
              <a:gd name="connsiteX2709" fmla="*/ 1565657 w 6781956"/>
              <a:gd name="connsiteY2709" fmla="*/ 2439536 h 6858000"/>
              <a:gd name="connsiteX2710" fmla="*/ 1558451 w 6781956"/>
              <a:gd name="connsiteY2710" fmla="*/ 2405823 h 6858000"/>
              <a:gd name="connsiteX2711" fmla="*/ 1564629 w 6781956"/>
              <a:gd name="connsiteY2711" fmla="*/ 2384896 h 6858000"/>
              <a:gd name="connsiteX2712" fmla="*/ 1569776 w 6781956"/>
              <a:gd name="connsiteY2712" fmla="*/ 2343045 h 6858000"/>
              <a:gd name="connsiteX2713" fmla="*/ 1601691 w 6781956"/>
              <a:gd name="connsiteY2713" fmla="*/ 2320957 h 6858000"/>
              <a:gd name="connsiteX2714" fmla="*/ 1602720 w 6781956"/>
              <a:gd name="connsiteY2714" fmla="*/ 2350020 h 6858000"/>
              <a:gd name="connsiteX2715" fmla="*/ 1601691 w 6781956"/>
              <a:gd name="connsiteY2715" fmla="*/ 2320957 h 6858000"/>
              <a:gd name="connsiteX2716" fmla="*/ 1570805 w 6781956"/>
              <a:gd name="connsiteY2716" fmla="*/ 2312819 h 6858000"/>
              <a:gd name="connsiteX2717" fmla="*/ 1576982 w 6781956"/>
              <a:gd name="connsiteY2717" fmla="*/ 2312819 h 6858000"/>
              <a:gd name="connsiteX2718" fmla="*/ 1576982 w 6781956"/>
              <a:gd name="connsiteY2718" fmla="*/ 2325607 h 6858000"/>
              <a:gd name="connsiteX2719" fmla="*/ 1570805 w 6781956"/>
              <a:gd name="connsiteY2719" fmla="*/ 2325607 h 6858000"/>
              <a:gd name="connsiteX2720" fmla="*/ 1570805 w 6781956"/>
              <a:gd name="connsiteY2720" fmla="*/ 2312819 h 6858000"/>
              <a:gd name="connsiteX2721" fmla="*/ 1540949 w 6781956"/>
              <a:gd name="connsiteY2721" fmla="*/ 2308168 h 6858000"/>
              <a:gd name="connsiteX2722" fmla="*/ 1554333 w 6781956"/>
              <a:gd name="connsiteY2722" fmla="*/ 2337233 h 6858000"/>
              <a:gd name="connsiteX2723" fmla="*/ 1552274 w 6781956"/>
              <a:gd name="connsiteY2723" fmla="*/ 2366295 h 6858000"/>
              <a:gd name="connsiteX2724" fmla="*/ 1549187 w 6781956"/>
              <a:gd name="connsiteY2724" fmla="*/ 2370945 h 6858000"/>
              <a:gd name="connsiteX2725" fmla="*/ 1546098 w 6781956"/>
              <a:gd name="connsiteY2725" fmla="*/ 2391871 h 6858000"/>
              <a:gd name="connsiteX2726" fmla="*/ 1553304 w 6781956"/>
              <a:gd name="connsiteY2726" fmla="*/ 2420935 h 6858000"/>
              <a:gd name="connsiteX2727" fmla="*/ 1548156 w 6781956"/>
              <a:gd name="connsiteY2727" fmla="*/ 2458136 h 6858000"/>
              <a:gd name="connsiteX2728" fmla="*/ 1539920 w 6781956"/>
              <a:gd name="connsiteY2728" fmla="*/ 2517424 h 6858000"/>
              <a:gd name="connsiteX2729" fmla="*/ 1534772 w 6781956"/>
              <a:gd name="connsiteY2729" fmla="*/ 2575550 h 6858000"/>
              <a:gd name="connsiteX2730" fmla="*/ 1535801 w 6781956"/>
              <a:gd name="connsiteY2730" fmla="*/ 2612752 h 6858000"/>
              <a:gd name="connsiteX2731" fmla="*/ 1532714 w 6781956"/>
              <a:gd name="connsiteY2731" fmla="*/ 2625541 h 6858000"/>
              <a:gd name="connsiteX2732" fmla="*/ 1529625 w 6781956"/>
              <a:gd name="connsiteY2732" fmla="*/ 2646465 h 6858000"/>
              <a:gd name="connsiteX2733" fmla="*/ 1527566 w 6781956"/>
              <a:gd name="connsiteY2733" fmla="*/ 2688317 h 6858000"/>
              <a:gd name="connsiteX2734" fmla="*/ 1530655 w 6781956"/>
              <a:gd name="connsiteY2734" fmla="*/ 2692966 h 6858000"/>
              <a:gd name="connsiteX2735" fmla="*/ 1527566 w 6781956"/>
              <a:gd name="connsiteY2735" fmla="*/ 2701105 h 6858000"/>
              <a:gd name="connsiteX2736" fmla="*/ 1531684 w 6781956"/>
              <a:gd name="connsiteY2736" fmla="*/ 2734818 h 6858000"/>
              <a:gd name="connsiteX2737" fmla="*/ 1528595 w 6781956"/>
              <a:gd name="connsiteY2737" fmla="*/ 2755743 h 6858000"/>
              <a:gd name="connsiteX2738" fmla="*/ 1526537 w 6781956"/>
              <a:gd name="connsiteY2738" fmla="*/ 2781319 h 6858000"/>
              <a:gd name="connsiteX2739" fmla="*/ 1520359 w 6781956"/>
              <a:gd name="connsiteY2739" fmla="*/ 2789457 h 6858000"/>
              <a:gd name="connsiteX2740" fmla="*/ 1520359 w 6781956"/>
              <a:gd name="connsiteY2740" fmla="*/ 2797594 h 6858000"/>
              <a:gd name="connsiteX2741" fmla="*/ 1508005 w 6781956"/>
              <a:gd name="connsiteY2741" fmla="*/ 2823171 h 6858000"/>
              <a:gd name="connsiteX2742" fmla="*/ 1508005 w 6781956"/>
              <a:gd name="connsiteY2742" fmla="*/ 2831308 h 6858000"/>
              <a:gd name="connsiteX2743" fmla="*/ 1511094 w 6781956"/>
              <a:gd name="connsiteY2743" fmla="*/ 2835959 h 6858000"/>
              <a:gd name="connsiteX2744" fmla="*/ 1508005 w 6781956"/>
              <a:gd name="connsiteY2744" fmla="*/ 2848746 h 6858000"/>
              <a:gd name="connsiteX2745" fmla="*/ 1505945 w 6781956"/>
              <a:gd name="connsiteY2745" fmla="*/ 2890597 h 6858000"/>
              <a:gd name="connsiteX2746" fmla="*/ 1497711 w 6781956"/>
              <a:gd name="connsiteY2746" fmla="*/ 2924311 h 6858000"/>
              <a:gd name="connsiteX2747" fmla="*/ 1498739 w 6781956"/>
              <a:gd name="connsiteY2747" fmla="*/ 2945236 h 6858000"/>
              <a:gd name="connsiteX2748" fmla="*/ 1498739 w 6781956"/>
              <a:gd name="connsiteY2748" fmla="*/ 2953373 h 6858000"/>
              <a:gd name="connsiteX2749" fmla="*/ 1498057 w 6781956"/>
              <a:gd name="connsiteY2749" fmla="*/ 2957746 h 6858000"/>
              <a:gd name="connsiteX2750" fmla="*/ 1495651 w 6781956"/>
              <a:gd name="connsiteY2750" fmla="*/ 2941746 h 6858000"/>
              <a:gd name="connsiteX2751" fmla="*/ 1491790 w 6781956"/>
              <a:gd name="connsiteY2751" fmla="*/ 2968195 h 6858000"/>
              <a:gd name="connsiteX2752" fmla="*/ 1492562 w 6781956"/>
              <a:gd name="connsiteY2752" fmla="*/ 2989379 h 6858000"/>
              <a:gd name="connsiteX2753" fmla="*/ 1492562 w 6781956"/>
              <a:gd name="connsiteY2753" fmla="*/ 2994062 h 6858000"/>
              <a:gd name="connsiteX2754" fmla="*/ 1487415 w 6781956"/>
              <a:gd name="connsiteY2754" fmla="*/ 3035913 h 6858000"/>
              <a:gd name="connsiteX2755" fmla="*/ 1488445 w 6781956"/>
              <a:gd name="connsiteY2755" fmla="*/ 3064977 h 6858000"/>
              <a:gd name="connsiteX2756" fmla="*/ 1482268 w 6781956"/>
              <a:gd name="connsiteY2756" fmla="*/ 3085902 h 6858000"/>
              <a:gd name="connsiteX2757" fmla="*/ 1480208 w 6781956"/>
              <a:gd name="connsiteY2757" fmla="*/ 3111479 h 6858000"/>
              <a:gd name="connsiteX2758" fmla="*/ 1477120 w 6781956"/>
              <a:gd name="connsiteY2758" fmla="*/ 3127754 h 6858000"/>
              <a:gd name="connsiteX2759" fmla="*/ 1474031 w 6781956"/>
              <a:gd name="connsiteY2759" fmla="*/ 3132403 h 6858000"/>
              <a:gd name="connsiteX2760" fmla="*/ 1477120 w 6781956"/>
              <a:gd name="connsiteY2760" fmla="*/ 3140541 h 6858000"/>
              <a:gd name="connsiteX2761" fmla="*/ 1477120 w 6781956"/>
              <a:gd name="connsiteY2761" fmla="*/ 3148678 h 6858000"/>
              <a:gd name="connsiteX2762" fmla="*/ 1484970 w 6781956"/>
              <a:gd name="connsiteY2762" fmla="*/ 3105811 h 6858000"/>
              <a:gd name="connsiteX2763" fmla="*/ 1489545 w 6781956"/>
              <a:gd name="connsiteY2763" fmla="*/ 3068213 h 6858000"/>
              <a:gd name="connsiteX2764" fmla="*/ 1490505 w 6781956"/>
              <a:gd name="connsiteY2764" fmla="*/ 3080669 h 6858000"/>
              <a:gd name="connsiteX2765" fmla="*/ 1491533 w 6781956"/>
              <a:gd name="connsiteY2765" fmla="*/ 3094038 h 6858000"/>
              <a:gd name="connsiteX2766" fmla="*/ 1494285 w 6781956"/>
              <a:gd name="connsiteY2766" fmla="*/ 3067229 h 6858000"/>
              <a:gd name="connsiteX2767" fmla="*/ 1489655 w 6781956"/>
              <a:gd name="connsiteY2767" fmla="*/ 3067298 h 6858000"/>
              <a:gd name="connsiteX2768" fmla="*/ 1490504 w 6781956"/>
              <a:gd name="connsiteY2768" fmla="*/ 3060326 h 6858000"/>
              <a:gd name="connsiteX2769" fmla="*/ 1501829 w 6781956"/>
              <a:gd name="connsiteY2769" fmla="*/ 3031263 h 6858000"/>
              <a:gd name="connsiteX2770" fmla="*/ 1504916 w 6781956"/>
              <a:gd name="connsiteY2770" fmla="*/ 3026613 h 6858000"/>
              <a:gd name="connsiteX2771" fmla="*/ 1506975 w 6781956"/>
              <a:gd name="connsiteY2771" fmla="*/ 2971974 h 6858000"/>
              <a:gd name="connsiteX2772" fmla="*/ 1510064 w 6781956"/>
              <a:gd name="connsiteY2772" fmla="*/ 2959186 h 6858000"/>
              <a:gd name="connsiteX2773" fmla="*/ 1513153 w 6781956"/>
              <a:gd name="connsiteY2773" fmla="*/ 2954535 h 6858000"/>
              <a:gd name="connsiteX2774" fmla="*/ 1512123 w 6781956"/>
              <a:gd name="connsiteY2774" fmla="*/ 2925473 h 6858000"/>
              <a:gd name="connsiteX2775" fmla="*/ 1515212 w 6781956"/>
              <a:gd name="connsiteY2775" fmla="*/ 2920822 h 6858000"/>
              <a:gd name="connsiteX2776" fmla="*/ 1530655 w 6781956"/>
              <a:gd name="connsiteY2776" fmla="*/ 2903384 h 6858000"/>
              <a:gd name="connsiteX2777" fmla="*/ 1528595 w 6781956"/>
              <a:gd name="connsiteY2777" fmla="*/ 2945236 h 6858000"/>
              <a:gd name="connsiteX2778" fmla="*/ 1523448 w 6781956"/>
              <a:gd name="connsiteY2778" fmla="*/ 2987088 h 6858000"/>
              <a:gd name="connsiteX2779" fmla="*/ 1523448 w 6781956"/>
              <a:gd name="connsiteY2779" fmla="*/ 2991737 h 6858000"/>
              <a:gd name="connsiteX2780" fmla="*/ 1520359 w 6781956"/>
              <a:gd name="connsiteY2780" fmla="*/ 2996387 h 6858000"/>
              <a:gd name="connsiteX2781" fmla="*/ 1521388 w 6781956"/>
              <a:gd name="connsiteY2781" fmla="*/ 3017312 h 6858000"/>
              <a:gd name="connsiteX2782" fmla="*/ 1515212 w 6781956"/>
              <a:gd name="connsiteY2782" fmla="*/ 3025451 h 6858000"/>
              <a:gd name="connsiteX2783" fmla="*/ 1515212 w 6781956"/>
              <a:gd name="connsiteY2783" fmla="*/ 3033589 h 6858000"/>
              <a:gd name="connsiteX2784" fmla="*/ 1513153 w 6781956"/>
              <a:gd name="connsiteY2784" fmla="*/ 3062652 h 6858000"/>
              <a:gd name="connsiteX2785" fmla="*/ 1510064 w 6781956"/>
              <a:gd name="connsiteY2785" fmla="*/ 3067302 h 6858000"/>
              <a:gd name="connsiteX2786" fmla="*/ 1508005 w 6781956"/>
              <a:gd name="connsiteY2786" fmla="*/ 3092877 h 6858000"/>
              <a:gd name="connsiteX2787" fmla="*/ 1508005 w 6781956"/>
              <a:gd name="connsiteY2787" fmla="*/ 3105665 h 6858000"/>
              <a:gd name="connsiteX2788" fmla="*/ 1504916 w 6781956"/>
              <a:gd name="connsiteY2788" fmla="*/ 3126590 h 6858000"/>
              <a:gd name="connsiteX2789" fmla="*/ 1504916 w 6781956"/>
              <a:gd name="connsiteY2789" fmla="*/ 3139378 h 6858000"/>
              <a:gd name="connsiteX2790" fmla="*/ 1501829 w 6781956"/>
              <a:gd name="connsiteY2790" fmla="*/ 3144029 h 6858000"/>
              <a:gd name="connsiteX2791" fmla="*/ 1505945 w 6781956"/>
              <a:gd name="connsiteY2791" fmla="*/ 3169605 h 6858000"/>
              <a:gd name="connsiteX2792" fmla="*/ 1502858 w 6781956"/>
              <a:gd name="connsiteY2792" fmla="*/ 3182392 h 6858000"/>
              <a:gd name="connsiteX2793" fmla="*/ 1499769 w 6781956"/>
              <a:gd name="connsiteY2793" fmla="*/ 3187043 h 6858000"/>
              <a:gd name="connsiteX2794" fmla="*/ 1503888 w 6781956"/>
              <a:gd name="connsiteY2794" fmla="*/ 3207967 h 6858000"/>
              <a:gd name="connsiteX2795" fmla="*/ 1504916 w 6781956"/>
              <a:gd name="connsiteY2795" fmla="*/ 3237031 h 6858000"/>
              <a:gd name="connsiteX2796" fmla="*/ 1495651 w 6781956"/>
              <a:gd name="connsiteY2796" fmla="*/ 3257956 h 6858000"/>
              <a:gd name="connsiteX2797" fmla="*/ 1499769 w 6781956"/>
              <a:gd name="connsiteY2797" fmla="*/ 3278883 h 6858000"/>
              <a:gd name="connsiteX2798" fmla="*/ 1496681 w 6781956"/>
              <a:gd name="connsiteY2798" fmla="*/ 3291670 h 6858000"/>
              <a:gd name="connsiteX2799" fmla="*/ 1487415 w 6781956"/>
              <a:gd name="connsiteY2799" fmla="*/ 3312596 h 6858000"/>
              <a:gd name="connsiteX2800" fmla="*/ 1487415 w 6781956"/>
              <a:gd name="connsiteY2800" fmla="*/ 3320733 h 6858000"/>
              <a:gd name="connsiteX2801" fmla="*/ 1484326 w 6781956"/>
              <a:gd name="connsiteY2801" fmla="*/ 3337009 h 6858000"/>
              <a:gd name="connsiteX2802" fmla="*/ 1478149 w 6781956"/>
              <a:gd name="connsiteY2802" fmla="*/ 3361422 h 6858000"/>
              <a:gd name="connsiteX2803" fmla="*/ 1473002 w 6781956"/>
              <a:gd name="connsiteY2803" fmla="*/ 3404436 h 6858000"/>
              <a:gd name="connsiteX2804" fmla="*/ 1471303 w 6781956"/>
              <a:gd name="connsiteY2804" fmla="*/ 3410062 h 6858000"/>
              <a:gd name="connsiteX2805" fmla="*/ 1469915 w 6781956"/>
              <a:gd name="connsiteY2805" fmla="*/ 3403271 h 6858000"/>
              <a:gd name="connsiteX2806" fmla="*/ 1466826 w 6781956"/>
              <a:gd name="connsiteY2806" fmla="*/ 3388158 h 6858000"/>
              <a:gd name="connsiteX2807" fmla="*/ 1476091 w 6781956"/>
              <a:gd name="connsiteY2807" fmla="*/ 3319568 h 6858000"/>
              <a:gd name="connsiteX2808" fmla="*/ 1479180 w 6781956"/>
              <a:gd name="connsiteY2808" fmla="*/ 3303293 h 6858000"/>
              <a:gd name="connsiteX2809" fmla="*/ 1480209 w 6781956"/>
              <a:gd name="connsiteY2809" fmla="*/ 3291667 h 6858000"/>
              <a:gd name="connsiteX2810" fmla="*/ 1487416 w 6781956"/>
              <a:gd name="connsiteY2810" fmla="*/ 3247492 h 6858000"/>
              <a:gd name="connsiteX2811" fmla="*/ 1477121 w 6781956"/>
              <a:gd name="connsiteY2811" fmla="*/ 3196340 h 6858000"/>
              <a:gd name="connsiteX2812" fmla="*/ 1465796 w 6781956"/>
              <a:gd name="connsiteY2812" fmla="*/ 3269579 h 6858000"/>
              <a:gd name="connsiteX2813" fmla="*/ 1473003 w 6781956"/>
              <a:gd name="connsiteY2813" fmla="*/ 3287018 h 6858000"/>
              <a:gd name="connsiteX2814" fmla="*/ 1468885 w 6781956"/>
              <a:gd name="connsiteY2814" fmla="*/ 3346307 h 6858000"/>
              <a:gd name="connsiteX2815" fmla="*/ 1458590 w 6781956"/>
              <a:gd name="connsiteY2815" fmla="*/ 3376534 h 6858000"/>
              <a:gd name="connsiteX2816" fmla="*/ 1462708 w 6781956"/>
              <a:gd name="connsiteY2816" fmla="*/ 3378857 h 6858000"/>
              <a:gd name="connsiteX2817" fmla="*/ 1459620 w 6781956"/>
              <a:gd name="connsiteY2817" fmla="*/ 3395133 h 6858000"/>
              <a:gd name="connsiteX2818" fmla="*/ 1451383 w 6781956"/>
              <a:gd name="connsiteY2818" fmla="*/ 3432334 h 6858000"/>
              <a:gd name="connsiteX2819" fmla="*/ 1454472 w 6781956"/>
              <a:gd name="connsiteY2819" fmla="*/ 3447447 h 6858000"/>
              <a:gd name="connsiteX2820" fmla="*/ 1455502 w 6781956"/>
              <a:gd name="connsiteY2820" fmla="*/ 3466048 h 6858000"/>
              <a:gd name="connsiteX2821" fmla="*/ 1447265 w 6781956"/>
              <a:gd name="connsiteY2821" fmla="*/ 3523011 h 6858000"/>
              <a:gd name="connsiteX2822" fmla="*/ 1442118 w 6781956"/>
              <a:gd name="connsiteY2822" fmla="*/ 3532312 h 6858000"/>
              <a:gd name="connsiteX2823" fmla="*/ 1439029 w 6781956"/>
              <a:gd name="connsiteY2823" fmla="*/ 3579975 h 6858000"/>
              <a:gd name="connsiteX2824" fmla="*/ 1433882 w 6781956"/>
              <a:gd name="connsiteY2824" fmla="*/ 3589275 h 6858000"/>
              <a:gd name="connsiteX2825" fmla="*/ 1436970 w 6781956"/>
              <a:gd name="connsiteY2825" fmla="*/ 3604388 h 6858000"/>
              <a:gd name="connsiteX2826" fmla="*/ 1426676 w 6781956"/>
              <a:gd name="connsiteY2826" fmla="*/ 3634615 h 6858000"/>
              <a:gd name="connsiteX2827" fmla="*/ 1430793 w 6781956"/>
              <a:gd name="connsiteY2827" fmla="*/ 3636939 h 6858000"/>
              <a:gd name="connsiteX2828" fmla="*/ 1425646 w 6781956"/>
              <a:gd name="connsiteY2828" fmla="*/ 3646239 h 6858000"/>
              <a:gd name="connsiteX2829" fmla="*/ 1414320 w 6781956"/>
              <a:gd name="connsiteY2829" fmla="*/ 3699716 h 6858000"/>
              <a:gd name="connsiteX2830" fmla="*/ 1407114 w 6781956"/>
              <a:gd name="connsiteY2830" fmla="*/ 3743893 h 6858000"/>
              <a:gd name="connsiteX2831" fmla="*/ 1402996 w 6781956"/>
              <a:gd name="connsiteY2831" fmla="*/ 3771792 h 6858000"/>
              <a:gd name="connsiteX2832" fmla="*/ 1404026 w 6781956"/>
              <a:gd name="connsiteY2832" fmla="*/ 3778767 h 6858000"/>
              <a:gd name="connsiteX2833" fmla="*/ 1398877 w 6781956"/>
              <a:gd name="connsiteY2833" fmla="*/ 3799693 h 6858000"/>
              <a:gd name="connsiteX2834" fmla="*/ 1396820 w 6781956"/>
              <a:gd name="connsiteY2834" fmla="*/ 3822944 h 6858000"/>
              <a:gd name="connsiteX2835" fmla="*/ 1391671 w 6781956"/>
              <a:gd name="connsiteY2835" fmla="*/ 3843870 h 6858000"/>
              <a:gd name="connsiteX2836" fmla="*/ 1389613 w 6781956"/>
              <a:gd name="connsiteY2836" fmla="*/ 3867121 h 6858000"/>
              <a:gd name="connsiteX2837" fmla="*/ 1363378 w 6781956"/>
              <a:gd name="connsiteY2837" fmla="*/ 4002174 h 6858000"/>
              <a:gd name="connsiteX2838" fmla="*/ 1362201 w 6781956"/>
              <a:gd name="connsiteY2838" fmla="*/ 4004301 h 6858000"/>
              <a:gd name="connsiteX2839" fmla="*/ 1355637 w 6781956"/>
              <a:gd name="connsiteY2839" fmla="*/ 4014764 h 6858000"/>
              <a:gd name="connsiteX2840" fmla="*/ 1353579 w 6781956"/>
              <a:gd name="connsiteY2840" fmla="*/ 4056614 h 6858000"/>
              <a:gd name="connsiteX2841" fmla="*/ 1348262 w 6781956"/>
              <a:gd name="connsiteY2841" fmla="*/ 4062618 h 6858000"/>
              <a:gd name="connsiteX2842" fmla="*/ 1349462 w 6781956"/>
              <a:gd name="connsiteY2842" fmla="*/ 4057775 h 6858000"/>
              <a:gd name="connsiteX2843" fmla="*/ 1351521 w 6781956"/>
              <a:gd name="connsiteY2843" fmla="*/ 4021737 h 6858000"/>
              <a:gd name="connsiteX2844" fmla="*/ 1363876 w 6781956"/>
              <a:gd name="connsiteY2844" fmla="*/ 3968261 h 6858000"/>
              <a:gd name="connsiteX2845" fmla="*/ 1369023 w 6781956"/>
              <a:gd name="connsiteY2845" fmla="*/ 3958960 h 6858000"/>
              <a:gd name="connsiteX2846" fmla="*/ 1364904 w 6781956"/>
              <a:gd name="connsiteY2846" fmla="*/ 3956635 h 6858000"/>
              <a:gd name="connsiteX2847" fmla="*/ 1370051 w 6781956"/>
              <a:gd name="connsiteY2847" fmla="*/ 3947334 h 6858000"/>
              <a:gd name="connsiteX2848" fmla="*/ 1378288 w 6781956"/>
              <a:gd name="connsiteY2848" fmla="*/ 3891533 h 6858000"/>
              <a:gd name="connsiteX2849" fmla="*/ 1381377 w 6781956"/>
              <a:gd name="connsiteY2849" fmla="*/ 3875258 h 6858000"/>
              <a:gd name="connsiteX2850" fmla="*/ 1383436 w 6781956"/>
              <a:gd name="connsiteY2850" fmla="*/ 3839220 h 6858000"/>
              <a:gd name="connsiteX2851" fmla="*/ 1386524 w 6781956"/>
              <a:gd name="connsiteY2851" fmla="*/ 3822944 h 6858000"/>
              <a:gd name="connsiteX2852" fmla="*/ 1391671 w 6781956"/>
              <a:gd name="connsiteY2852" fmla="*/ 3813644 h 6858000"/>
              <a:gd name="connsiteX2853" fmla="*/ 1393731 w 6781956"/>
              <a:gd name="connsiteY2853" fmla="*/ 3790393 h 6858000"/>
              <a:gd name="connsiteX2854" fmla="*/ 1397850 w 6781956"/>
              <a:gd name="connsiteY2854" fmla="*/ 3762492 h 6858000"/>
              <a:gd name="connsiteX2855" fmla="*/ 1402996 w 6781956"/>
              <a:gd name="connsiteY2855" fmla="*/ 3753193 h 6858000"/>
              <a:gd name="connsiteX2856" fmla="*/ 1398877 w 6781956"/>
              <a:gd name="connsiteY2856" fmla="*/ 3750868 h 6858000"/>
              <a:gd name="connsiteX2857" fmla="*/ 1404026 w 6781956"/>
              <a:gd name="connsiteY2857" fmla="*/ 3741567 h 6858000"/>
              <a:gd name="connsiteX2858" fmla="*/ 1399909 w 6781956"/>
              <a:gd name="connsiteY2858" fmla="*/ 3739242 h 6858000"/>
              <a:gd name="connsiteX2859" fmla="*/ 1405056 w 6781956"/>
              <a:gd name="connsiteY2859" fmla="*/ 3729941 h 6858000"/>
              <a:gd name="connsiteX2860" fmla="*/ 1404026 w 6781956"/>
              <a:gd name="connsiteY2860" fmla="*/ 3711342 h 6858000"/>
              <a:gd name="connsiteX2861" fmla="*/ 1409174 w 6781956"/>
              <a:gd name="connsiteY2861" fmla="*/ 3702041 h 6858000"/>
              <a:gd name="connsiteX2862" fmla="*/ 1405056 w 6781956"/>
              <a:gd name="connsiteY2862" fmla="*/ 3699716 h 6858000"/>
              <a:gd name="connsiteX2863" fmla="*/ 1410203 w 6781956"/>
              <a:gd name="connsiteY2863" fmla="*/ 3690415 h 6858000"/>
              <a:gd name="connsiteX2864" fmla="*/ 1414320 w 6781956"/>
              <a:gd name="connsiteY2864" fmla="*/ 3662514 h 6858000"/>
              <a:gd name="connsiteX2865" fmla="*/ 1419469 w 6781956"/>
              <a:gd name="connsiteY2865" fmla="*/ 3610201 h 6858000"/>
              <a:gd name="connsiteX2866" fmla="*/ 1429763 w 6781956"/>
              <a:gd name="connsiteY2866" fmla="*/ 3579975 h 6858000"/>
              <a:gd name="connsiteX2867" fmla="*/ 1426676 w 6781956"/>
              <a:gd name="connsiteY2867" fmla="*/ 3564862 h 6858000"/>
              <a:gd name="connsiteX2868" fmla="*/ 1429763 w 6781956"/>
              <a:gd name="connsiteY2868" fmla="*/ 3548587 h 6858000"/>
              <a:gd name="connsiteX2869" fmla="*/ 1435941 w 6781956"/>
              <a:gd name="connsiteY2869" fmla="*/ 3516037 h 6858000"/>
              <a:gd name="connsiteX2870" fmla="*/ 1441089 w 6781956"/>
              <a:gd name="connsiteY2870" fmla="*/ 3476509 h 6858000"/>
              <a:gd name="connsiteX2871" fmla="*/ 1446236 w 6781956"/>
              <a:gd name="connsiteY2871" fmla="*/ 3467210 h 6858000"/>
              <a:gd name="connsiteX2872" fmla="*/ 1443147 w 6781956"/>
              <a:gd name="connsiteY2872" fmla="*/ 3452098 h 6858000"/>
              <a:gd name="connsiteX2873" fmla="*/ 1455502 w 6781956"/>
              <a:gd name="connsiteY2873" fmla="*/ 3386995 h 6858000"/>
              <a:gd name="connsiteX2874" fmla="*/ 1454472 w 6781956"/>
              <a:gd name="connsiteY2874" fmla="*/ 3380021 h 6858000"/>
              <a:gd name="connsiteX2875" fmla="*/ 1459620 w 6781956"/>
              <a:gd name="connsiteY2875" fmla="*/ 3370720 h 6858000"/>
              <a:gd name="connsiteX2876" fmla="*/ 1456532 w 6781956"/>
              <a:gd name="connsiteY2876" fmla="*/ 3355607 h 6858000"/>
              <a:gd name="connsiteX2877" fmla="*/ 1459620 w 6781956"/>
              <a:gd name="connsiteY2877" fmla="*/ 3339332 h 6858000"/>
              <a:gd name="connsiteX2878" fmla="*/ 1456532 w 6781956"/>
              <a:gd name="connsiteY2878" fmla="*/ 3324219 h 6858000"/>
              <a:gd name="connsiteX2879" fmla="*/ 1462708 w 6781956"/>
              <a:gd name="connsiteY2879" fmla="*/ 3291667 h 6858000"/>
              <a:gd name="connsiteX2880" fmla="*/ 1462708 w 6781956"/>
              <a:gd name="connsiteY2880" fmla="*/ 3260279 h 6858000"/>
              <a:gd name="connsiteX2881" fmla="*/ 1465796 w 6781956"/>
              <a:gd name="connsiteY2881" fmla="*/ 3244004 h 6858000"/>
              <a:gd name="connsiteX2882" fmla="*/ 1462708 w 6781956"/>
              <a:gd name="connsiteY2882" fmla="*/ 3228891 h 6858000"/>
              <a:gd name="connsiteX2883" fmla="*/ 1465796 w 6781956"/>
              <a:gd name="connsiteY2883" fmla="*/ 3212616 h 6858000"/>
              <a:gd name="connsiteX2884" fmla="*/ 1464767 w 6781956"/>
              <a:gd name="connsiteY2884" fmla="*/ 3205641 h 6858000"/>
              <a:gd name="connsiteX2885" fmla="*/ 1465566 w 6781956"/>
              <a:gd name="connsiteY2885" fmla="*/ 3201627 h 6858000"/>
              <a:gd name="connsiteX2886" fmla="*/ 1465795 w 6781956"/>
              <a:gd name="connsiteY2886" fmla="*/ 3200993 h 6858000"/>
              <a:gd name="connsiteX2887" fmla="*/ 1465703 w 6781956"/>
              <a:gd name="connsiteY2887" fmla="*/ 3200940 h 6858000"/>
              <a:gd name="connsiteX2888" fmla="*/ 1467341 w 6781956"/>
              <a:gd name="connsiteY2888" fmla="*/ 3192708 h 6858000"/>
              <a:gd name="connsiteX2889" fmla="*/ 1466826 w 6781956"/>
              <a:gd name="connsiteY2889" fmla="*/ 3182391 h 6858000"/>
              <a:gd name="connsiteX2890" fmla="*/ 1469915 w 6781956"/>
              <a:gd name="connsiteY2890" fmla="*/ 3166116 h 6858000"/>
              <a:gd name="connsiteX2891" fmla="*/ 1466826 w 6781956"/>
              <a:gd name="connsiteY2891" fmla="*/ 3151002 h 6858000"/>
              <a:gd name="connsiteX2892" fmla="*/ 1469915 w 6781956"/>
              <a:gd name="connsiteY2892" fmla="*/ 3134726 h 6858000"/>
              <a:gd name="connsiteX2893" fmla="*/ 1469915 w 6781956"/>
              <a:gd name="connsiteY2893" fmla="*/ 3073113 h 6858000"/>
              <a:gd name="connsiteX2894" fmla="*/ 1458590 w 6781956"/>
              <a:gd name="connsiteY2894" fmla="*/ 3126588 h 6858000"/>
              <a:gd name="connsiteX2895" fmla="*/ 1459620 w 6781956"/>
              <a:gd name="connsiteY2895" fmla="*/ 3133563 h 6858000"/>
              <a:gd name="connsiteX2896" fmla="*/ 1454472 w 6781956"/>
              <a:gd name="connsiteY2896" fmla="*/ 3173090 h 6858000"/>
              <a:gd name="connsiteX2897" fmla="*/ 1458590 w 6781956"/>
              <a:gd name="connsiteY2897" fmla="*/ 3175414 h 6858000"/>
              <a:gd name="connsiteX2898" fmla="*/ 1453443 w 6781956"/>
              <a:gd name="connsiteY2898" fmla="*/ 3184714 h 6858000"/>
              <a:gd name="connsiteX2899" fmla="*/ 1455502 w 6781956"/>
              <a:gd name="connsiteY2899" fmla="*/ 3211453 h 6858000"/>
              <a:gd name="connsiteX2900" fmla="*/ 1453443 w 6781956"/>
              <a:gd name="connsiteY2900" fmla="*/ 3234703 h 6858000"/>
              <a:gd name="connsiteX2901" fmla="*/ 1451383 w 6781956"/>
              <a:gd name="connsiteY2901" fmla="*/ 3270742 h 6858000"/>
              <a:gd name="connsiteX2902" fmla="*/ 1455502 w 6781956"/>
              <a:gd name="connsiteY2902" fmla="*/ 3273068 h 6858000"/>
              <a:gd name="connsiteX2903" fmla="*/ 1450353 w 6781956"/>
              <a:gd name="connsiteY2903" fmla="*/ 3282368 h 6858000"/>
              <a:gd name="connsiteX2904" fmla="*/ 1451383 w 6781956"/>
              <a:gd name="connsiteY2904" fmla="*/ 3332356 h 6858000"/>
              <a:gd name="connsiteX2905" fmla="*/ 1446236 w 6781956"/>
              <a:gd name="connsiteY2905" fmla="*/ 3341657 h 6858000"/>
              <a:gd name="connsiteX2906" fmla="*/ 1442118 w 6781956"/>
              <a:gd name="connsiteY2906" fmla="*/ 3369557 h 6858000"/>
              <a:gd name="connsiteX2907" fmla="*/ 1435941 w 6781956"/>
              <a:gd name="connsiteY2907" fmla="*/ 3433497 h 6858000"/>
              <a:gd name="connsiteX2908" fmla="*/ 1436970 w 6781956"/>
              <a:gd name="connsiteY2908" fmla="*/ 3440472 h 6858000"/>
              <a:gd name="connsiteX2909" fmla="*/ 1427705 w 6781956"/>
              <a:gd name="connsiteY2909" fmla="*/ 3489298 h 6858000"/>
              <a:gd name="connsiteX2910" fmla="*/ 1417409 w 6781956"/>
              <a:gd name="connsiteY2910" fmla="*/ 3549750 h 6858000"/>
              <a:gd name="connsiteX2911" fmla="*/ 1421527 w 6781956"/>
              <a:gd name="connsiteY2911" fmla="*/ 3552074 h 6858000"/>
              <a:gd name="connsiteX2912" fmla="*/ 1416380 w 6781956"/>
              <a:gd name="connsiteY2912" fmla="*/ 3561374 h 6858000"/>
              <a:gd name="connsiteX2913" fmla="*/ 1420498 w 6781956"/>
              <a:gd name="connsiteY2913" fmla="*/ 3563700 h 6858000"/>
              <a:gd name="connsiteX2914" fmla="*/ 1415350 w 6781956"/>
              <a:gd name="connsiteY2914" fmla="*/ 3573000 h 6858000"/>
              <a:gd name="connsiteX2915" fmla="*/ 1419469 w 6781956"/>
              <a:gd name="connsiteY2915" fmla="*/ 3575326 h 6858000"/>
              <a:gd name="connsiteX2916" fmla="*/ 1414320 w 6781956"/>
              <a:gd name="connsiteY2916" fmla="*/ 3584626 h 6858000"/>
              <a:gd name="connsiteX2917" fmla="*/ 1409174 w 6781956"/>
              <a:gd name="connsiteY2917" fmla="*/ 3624151 h 6858000"/>
              <a:gd name="connsiteX2918" fmla="*/ 1404026 w 6781956"/>
              <a:gd name="connsiteY2918" fmla="*/ 3633452 h 6858000"/>
              <a:gd name="connsiteX2919" fmla="*/ 1408144 w 6781956"/>
              <a:gd name="connsiteY2919" fmla="*/ 3635777 h 6858000"/>
              <a:gd name="connsiteX2920" fmla="*/ 1402996 w 6781956"/>
              <a:gd name="connsiteY2920" fmla="*/ 3645077 h 6858000"/>
              <a:gd name="connsiteX2921" fmla="*/ 1400937 w 6781956"/>
              <a:gd name="connsiteY2921" fmla="*/ 3668328 h 6858000"/>
              <a:gd name="connsiteX2922" fmla="*/ 1392701 w 6781956"/>
              <a:gd name="connsiteY2922" fmla="*/ 3693904 h 6858000"/>
              <a:gd name="connsiteX2923" fmla="*/ 1396820 w 6781956"/>
              <a:gd name="connsiteY2923" fmla="*/ 3696228 h 6858000"/>
              <a:gd name="connsiteX2924" fmla="*/ 1391671 w 6781956"/>
              <a:gd name="connsiteY2924" fmla="*/ 3705528 h 6858000"/>
              <a:gd name="connsiteX2925" fmla="*/ 1395790 w 6781956"/>
              <a:gd name="connsiteY2925" fmla="*/ 3707854 h 6858000"/>
              <a:gd name="connsiteX2926" fmla="*/ 1390643 w 6781956"/>
              <a:gd name="connsiteY2926" fmla="*/ 3717154 h 6858000"/>
              <a:gd name="connsiteX2927" fmla="*/ 1394760 w 6781956"/>
              <a:gd name="connsiteY2927" fmla="*/ 3719480 h 6858000"/>
              <a:gd name="connsiteX2928" fmla="*/ 1389613 w 6781956"/>
              <a:gd name="connsiteY2928" fmla="*/ 3728779 h 6858000"/>
              <a:gd name="connsiteX2929" fmla="*/ 1393731 w 6781956"/>
              <a:gd name="connsiteY2929" fmla="*/ 3731104 h 6858000"/>
              <a:gd name="connsiteX2930" fmla="*/ 1388583 w 6781956"/>
              <a:gd name="connsiteY2930" fmla="*/ 3740404 h 6858000"/>
              <a:gd name="connsiteX2931" fmla="*/ 1379318 w 6781956"/>
              <a:gd name="connsiteY2931" fmla="*/ 3789231 h 6858000"/>
              <a:gd name="connsiteX2932" fmla="*/ 1383436 w 6781956"/>
              <a:gd name="connsiteY2932" fmla="*/ 3791556 h 6858000"/>
              <a:gd name="connsiteX2933" fmla="*/ 1378288 w 6781956"/>
              <a:gd name="connsiteY2933" fmla="*/ 3800857 h 6858000"/>
              <a:gd name="connsiteX2934" fmla="*/ 1381377 w 6781956"/>
              <a:gd name="connsiteY2934" fmla="*/ 3815969 h 6858000"/>
              <a:gd name="connsiteX2935" fmla="*/ 1376228 w 6781956"/>
              <a:gd name="connsiteY2935" fmla="*/ 3825269 h 6858000"/>
              <a:gd name="connsiteX2936" fmla="*/ 1374007 w 6781956"/>
              <a:gd name="connsiteY2936" fmla="*/ 3837331 h 6858000"/>
              <a:gd name="connsiteX2937" fmla="*/ 1370695 w 6781956"/>
              <a:gd name="connsiteY2937" fmla="*/ 3845759 h 6858000"/>
              <a:gd name="connsiteX2938" fmla="*/ 1371635 w 6781956"/>
              <a:gd name="connsiteY2938" fmla="*/ 3848596 h 6858000"/>
              <a:gd name="connsiteX2939" fmla="*/ 1369135 w 6781956"/>
              <a:gd name="connsiteY2939" fmla="*/ 3855513 h 6858000"/>
              <a:gd name="connsiteX2940" fmla="*/ 1365934 w 6781956"/>
              <a:gd name="connsiteY2940" fmla="*/ 3855495 h 6858000"/>
              <a:gd name="connsiteX2941" fmla="*/ 1367994 w 6781956"/>
              <a:gd name="connsiteY2941" fmla="*/ 3832245 h 6858000"/>
              <a:gd name="connsiteX2942" fmla="*/ 1366964 w 6781956"/>
              <a:gd name="connsiteY2942" fmla="*/ 3825269 h 6858000"/>
              <a:gd name="connsiteX2943" fmla="*/ 1375200 w 6781956"/>
              <a:gd name="connsiteY2943" fmla="*/ 3799693 h 6858000"/>
              <a:gd name="connsiteX2944" fmla="*/ 1372111 w 6781956"/>
              <a:gd name="connsiteY2944" fmla="*/ 3784581 h 6858000"/>
              <a:gd name="connsiteX2945" fmla="*/ 1379318 w 6781956"/>
              <a:gd name="connsiteY2945" fmla="*/ 3770631 h 6858000"/>
              <a:gd name="connsiteX2946" fmla="*/ 1376228 w 6781956"/>
              <a:gd name="connsiteY2946" fmla="*/ 3755517 h 6858000"/>
              <a:gd name="connsiteX2947" fmla="*/ 1383436 w 6781956"/>
              <a:gd name="connsiteY2947" fmla="*/ 3741567 h 6858000"/>
              <a:gd name="connsiteX2948" fmla="*/ 1380347 w 6781956"/>
              <a:gd name="connsiteY2948" fmla="*/ 3726455 h 6858000"/>
              <a:gd name="connsiteX2949" fmla="*/ 1391671 w 6781956"/>
              <a:gd name="connsiteY2949" fmla="*/ 3672978 h 6858000"/>
              <a:gd name="connsiteX2950" fmla="*/ 1387553 w 6781956"/>
              <a:gd name="connsiteY2950" fmla="*/ 3670652 h 6858000"/>
              <a:gd name="connsiteX2951" fmla="*/ 1392701 w 6781956"/>
              <a:gd name="connsiteY2951" fmla="*/ 3661353 h 6858000"/>
              <a:gd name="connsiteX2952" fmla="*/ 1391671 w 6781956"/>
              <a:gd name="connsiteY2952" fmla="*/ 3642752 h 6858000"/>
              <a:gd name="connsiteX2953" fmla="*/ 1396820 w 6781956"/>
              <a:gd name="connsiteY2953" fmla="*/ 3633452 h 6858000"/>
              <a:gd name="connsiteX2954" fmla="*/ 1393731 w 6781956"/>
              <a:gd name="connsiteY2954" fmla="*/ 3618340 h 6858000"/>
              <a:gd name="connsiteX2955" fmla="*/ 1395790 w 6781956"/>
              <a:gd name="connsiteY2955" fmla="*/ 3613689 h 6858000"/>
              <a:gd name="connsiteX2956" fmla="*/ 1394760 w 6781956"/>
              <a:gd name="connsiteY2956" fmla="*/ 3606714 h 6858000"/>
              <a:gd name="connsiteX2957" fmla="*/ 1407114 w 6781956"/>
              <a:gd name="connsiteY2957" fmla="*/ 3571838 h 6858000"/>
              <a:gd name="connsiteX2958" fmla="*/ 1404026 w 6781956"/>
              <a:gd name="connsiteY2958" fmla="*/ 3556725 h 6858000"/>
              <a:gd name="connsiteX2959" fmla="*/ 1410203 w 6781956"/>
              <a:gd name="connsiteY2959" fmla="*/ 3524175 h 6858000"/>
              <a:gd name="connsiteX2960" fmla="*/ 1414320 w 6781956"/>
              <a:gd name="connsiteY2960" fmla="*/ 3496273 h 6858000"/>
              <a:gd name="connsiteX2961" fmla="*/ 1418439 w 6781956"/>
              <a:gd name="connsiteY2961" fmla="*/ 3468373 h 6858000"/>
              <a:gd name="connsiteX2962" fmla="*/ 1417409 w 6781956"/>
              <a:gd name="connsiteY2962" fmla="*/ 3461396 h 6858000"/>
              <a:gd name="connsiteX2963" fmla="*/ 1420498 w 6781956"/>
              <a:gd name="connsiteY2963" fmla="*/ 3445121 h 6858000"/>
              <a:gd name="connsiteX2964" fmla="*/ 1421527 w 6781956"/>
              <a:gd name="connsiteY2964" fmla="*/ 3433497 h 6858000"/>
              <a:gd name="connsiteX2965" fmla="*/ 1416380 w 6781956"/>
              <a:gd name="connsiteY2965" fmla="*/ 3423034 h 6858000"/>
              <a:gd name="connsiteX2966" fmla="*/ 1414320 w 6781956"/>
              <a:gd name="connsiteY2966" fmla="*/ 3446285 h 6858000"/>
              <a:gd name="connsiteX2967" fmla="*/ 1408144 w 6781956"/>
              <a:gd name="connsiteY2967" fmla="*/ 3478835 h 6858000"/>
              <a:gd name="connsiteX2968" fmla="*/ 1409174 w 6781956"/>
              <a:gd name="connsiteY2968" fmla="*/ 3497436 h 6858000"/>
              <a:gd name="connsiteX2969" fmla="*/ 1396820 w 6781956"/>
              <a:gd name="connsiteY2969" fmla="*/ 3532312 h 6858000"/>
              <a:gd name="connsiteX2970" fmla="*/ 1399909 w 6781956"/>
              <a:gd name="connsiteY2970" fmla="*/ 3547425 h 6858000"/>
              <a:gd name="connsiteX2971" fmla="*/ 1394760 w 6781956"/>
              <a:gd name="connsiteY2971" fmla="*/ 3586950 h 6858000"/>
              <a:gd name="connsiteX2972" fmla="*/ 1386524 w 6781956"/>
              <a:gd name="connsiteY2972" fmla="*/ 3612526 h 6858000"/>
              <a:gd name="connsiteX2973" fmla="*/ 1381377 w 6781956"/>
              <a:gd name="connsiteY2973" fmla="*/ 3652052 h 6858000"/>
              <a:gd name="connsiteX2974" fmla="*/ 1382407 w 6781956"/>
              <a:gd name="connsiteY2974" fmla="*/ 3670652 h 6858000"/>
              <a:gd name="connsiteX2975" fmla="*/ 1377259 w 6781956"/>
              <a:gd name="connsiteY2975" fmla="*/ 3691579 h 6858000"/>
              <a:gd name="connsiteX2976" fmla="*/ 1371081 w 6781956"/>
              <a:gd name="connsiteY2976" fmla="*/ 3724129 h 6858000"/>
              <a:gd name="connsiteX2977" fmla="*/ 1369023 w 6781956"/>
              <a:gd name="connsiteY2977" fmla="*/ 3747380 h 6858000"/>
              <a:gd name="connsiteX2978" fmla="*/ 1362845 w 6781956"/>
              <a:gd name="connsiteY2978" fmla="*/ 3811319 h 6858000"/>
              <a:gd name="connsiteX2979" fmla="*/ 1355638 w 6781956"/>
              <a:gd name="connsiteY2979" fmla="*/ 3825269 h 6858000"/>
              <a:gd name="connsiteX2980" fmla="*/ 1358727 w 6781956"/>
              <a:gd name="connsiteY2980" fmla="*/ 3840382 h 6858000"/>
              <a:gd name="connsiteX2981" fmla="*/ 1355638 w 6781956"/>
              <a:gd name="connsiteY2981" fmla="*/ 3856657 h 6858000"/>
              <a:gd name="connsiteX2982" fmla="*/ 1330931 w 6781956"/>
              <a:gd name="connsiteY2982" fmla="*/ 3956635 h 6858000"/>
              <a:gd name="connsiteX2983" fmla="*/ 1331960 w 6781956"/>
              <a:gd name="connsiteY2983" fmla="*/ 3975235 h 6858000"/>
              <a:gd name="connsiteX2984" fmla="*/ 1318577 w 6781956"/>
              <a:gd name="connsiteY2984" fmla="*/ 4051963 h 6858000"/>
              <a:gd name="connsiteX2985" fmla="*/ 1310340 w 6781956"/>
              <a:gd name="connsiteY2985" fmla="*/ 4077539 h 6858000"/>
              <a:gd name="connsiteX2986" fmla="*/ 1302104 w 6781956"/>
              <a:gd name="connsiteY2986" fmla="*/ 4114740 h 6858000"/>
              <a:gd name="connsiteX2987" fmla="*/ 1303134 w 6781956"/>
              <a:gd name="connsiteY2987" fmla="*/ 4121715 h 6858000"/>
              <a:gd name="connsiteX2988" fmla="*/ 1297986 w 6781956"/>
              <a:gd name="connsiteY2988" fmla="*/ 4142639 h 6858000"/>
              <a:gd name="connsiteX2989" fmla="*/ 1291810 w 6781956"/>
              <a:gd name="connsiteY2989" fmla="*/ 4175191 h 6858000"/>
              <a:gd name="connsiteX2990" fmla="*/ 1285632 w 6781956"/>
              <a:gd name="connsiteY2990" fmla="*/ 4207742 h 6858000"/>
              <a:gd name="connsiteX2991" fmla="*/ 1286662 w 6781956"/>
              <a:gd name="connsiteY2991" fmla="*/ 4214716 h 6858000"/>
              <a:gd name="connsiteX2992" fmla="*/ 1275338 w 6781956"/>
              <a:gd name="connsiteY2992" fmla="*/ 4256569 h 6858000"/>
              <a:gd name="connsiteX2993" fmla="*/ 1259895 w 6781956"/>
              <a:gd name="connsiteY2993" fmla="*/ 4307719 h 6858000"/>
              <a:gd name="connsiteX2994" fmla="*/ 1262982 w 6781956"/>
              <a:gd name="connsiteY2994" fmla="*/ 4322833 h 6858000"/>
              <a:gd name="connsiteX2995" fmla="*/ 1253717 w 6781956"/>
              <a:gd name="connsiteY2995" fmla="*/ 4341434 h 6858000"/>
              <a:gd name="connsiteX2996" fmla="*/ 1254746 w 6781956"/>
              <a:gd name="connsiteY2996" fmla="*/ 4348408 h 6858000"/>
              <a:gd name="connsiteX2997" fmla="*/ 1251658 w 6781956"/>
              <a:gd name="connsiteY2997" fmla="*/ 4364684 h 6858000"/>
              <a:gd name="connsiteX2998" fmla="*/ 1250628 w 6781956"/>
              <a:gd name="connsiteY2998" fmla="*/ 4376309 h 6858000"/>
              <a:gd name="connsiteX2999" fmla="*/ 1239304 w 6781956"/>
              <a:gd name="connsiteY2999" fmla="*/ 4418159 h 6858000"/>
              <a:gd name="connsiteX3000" fmla="*/ 1212537 w 6781956"/>
              <a:gd name="connsiteY3000" fmla="*/ 4511162 h 6858000"/>
              <a:gd name="connsiteX3001" fmla="*/ 1207389 w 6781956"/>
              <a:gd name="connsiteY3001" fmla="*/ 4532089 h 6858000"/>
              <a:gd name="connsiteX3002" fmla="*/ 1202241 w 6781956"/>
              <a:gd name="connsiteY3002" fmla="*/ 4541389 h 6858000"/>
              <a:gd name="connsiteX3003" fmla="*/ 1197095 w 6781956"/>
              <a:gd name="connsiteY3003" fmla="*/ 4562313 h 6858000"/>
              <a:gd name="connsiteX3004" fmla="*/ 1183711 w 6781956"/>
              <a:gd name="connsiteY3004" fmla="*/ 4608815 h 6858000"/>
              <a:gd name="connsiteX3005" fmla="*/ 1184740 w 6781956"/>
              <a:gd name="connsiteY3005" fmla="*/ 4615790 h 6858000"/>
              <a:gd name="connsiteX3006" fmla="*/ 1157972 w 6781956"/>
              <a:gd name="connsiteY3006" fmla="*/ 4677405 h 6858000"/>
              <a:gd name="connsiteX3007" fmla="*/ 1153854 w 6781956"/>
              <a:gd name="connsiteY3007" fmla="*/ 4705305 h 6858000"/>
              <a:gd name="connsiteX3008" fmla="*/ 1148707 w 6781956"/>
              <a:gd name="connsiteY3008" fmla="*/ 4714606 h 6858000"/>
              <a:gd name="connsiteX3009" fmla="*/ 1146647 w 6781956"/>
              <a:gd name="connsiteY3009" fmla="*/ 4737856 h 6858000"/>
              <a:gd name="connsiteX3010" fmla="*/ 1126057 w 6781956"/>
              <a:gd name="connsiteY3010" fmla="*/ 4778544 h 6858000"/>
              <a:gd name="connsiteX3011" fmla="*/ 1121940 w 6781956"/>
              <a:gd name="connsiteY3011" fmla="*/ 4806445 h 6858000"/>
              <a:gd name="connsiteX3012" fmla="*/ 1110614 w 6781956"/>
              <a:gd name="connsiteY3012" fmla="*/ 4798307 h 6858000"/>
              <a:gd name="connsiteX3013" fmla="*/ 1109586 w 6781956"/>
              <a:gd name="connsiteY3013" fmla="*/ 4809933 h 6858000"/>
              <a:gd name="connsiteX3014" fmla="*/ 1110614 w 6781956"/>
              <a:gd name="connsiteY3014" fmla="*/ 4816908 h 6858000"/>
              <a:gd name="connsiteX3015" fmla="*/ 1111645 w 6781956"/>
              <a:gd name="connsiteY3015" fmla="*/ 4835509 h 6858000"/>
              <a:gd name="connsiteX3016" fmla="*/ 1097231 w 6781956"/>
              <a:gd name="connsiteY3016" fmla="*/ 4862246 h 6858000"/>
              <a:gd name="connsiteX3017" fmla="*/ 1098260 w 6781956"/>
              <a:gd name="connsiteY3017" fmla="*/ 4869222 h 6858000"/>
              <a:gd name="connsiteX3018" fmla="*/ 1072523 w 6781956"/>
              <a:gd name="connsiteY3018" fmla="*/ 4949436 h 6858000"/>
              <a:gd name="connsiteX3019" fmla="*/ 1062228 w 6781956"/>
              <a:gd name="connsiteY3019" fmla="*/ 4979662 h 6858000"/>
              <a:gd name="connsiteX3020" fmla="*/ 1044727 w 6781956"/>
              <a:gd name="connsiteY3020" fmla="*/ 5022676 h 6858000"/>
              <a:gd name="connsiteX3021" fmla="*/ 1036490 w 6781956"/>
              <a:gd name="connsiteY3021" fmla="*/ 5059877 h 6858000"/>
              <a:gd name="connsiteX3022" fmla="*/ 1009722 w 6781956"/>
              <a:gd name="connsiteY3022" fmla="*/ 5121490 h 6858000"/>
              <a:gd name="connsiteX3023" fmla="*/ 1005604 w 6781956"/>
              <a:gd name="connsiteY3023" fmla="*/ 5149391 h 6858000"/>
              <a:gd name="connsiteX3024" fmla="*/ 983985 w 6781956"/>
              <a:gd name="connsiteY3024" fmla="*/ 5201706 h 6858000"/>
              <a:gd name="connsiteX3025" fmla="*/ 973689 w 6781956"/>
              <a:gd name="connsiteY3025" fmla="*/ 5231930 h 6858000"/>
              <a:gd name="connsiteX3026" fmla="*/ 962365 w 6781956"/>
              <a:gd name="connsiteY3026" fmla="*/ 5254020 h 6858000"/>
              <a:gd name="connsiteX3027" fmla="*/ 963395 w 6781956"/>
              <a:gd name="connsiteY3027" fmla="*/ 5260995 h 6858000"/>
              <a:gd name="connsiteX3028" fmla="*/ 948982 w 6781956"/>
              <a:gd name="connsiteY3028" fmla="*/ 5300520 h 6858000"/>
              <a:gd name="connsiteX3029" fmla="*/ 941260 w 6781956"/>
              <a:gd name="connsiteY3029" fmla="*/ 5324208 h 6858000"/>
              <a:gd name="connsiteX3030" fmla="*/ 934691 w 6781956"/>
              <a:gd name="connsiteY3030" fmla="*/ 5331714 h 6858000"/>
              <a:gd name="connsiteX3031" fmla="*/ 931529 w 6781956"/>
              <a:gd name="connsiteY3031" fmla="*/ 5329738 h 6858000"/>
              <a:gd name="connsiteX3032" fmla="*/ 934842 w 6781956"/>
              <a:gd name="connsiteY3032" fmla="*/ 5308822 h 6858000"/>
              <a:gd name="connsiteX3033" fmla="*/ 961335 w 6781956"/>
              <a:gd name="connsiteY3033" fmla="*/ 5235419 h 6858000"/>
              <a:gd name="connsiteX3034" fmla="*/ 973689 w 6781956"/>
              <a:gd name="connsiteY3034" fmla="*/ 5200542 h 6858000"/>
              <a:gd name="connsiteX3035" fmla="*/ 982956 w 6781956"/>
              <a:gd name="connsiteY3035" fmla="*/ 5181942 h 6858000"/>
              <a:gd name="connsiteX3036" fmla="*/ 987072 w 6781956"/>
              <a:gd name="connsiteY3036" fmla="*/ 5154042 h 6858000"/>
              <a:gd name="connsiteX3037" fmla="*/ 1008694 w 6781956"/>
              <a:gd name="connsiteY3037" fmla="*/ 5101728 h 6858000"/>
              <a:gd name="connsiteX3038" fmla="*/ 1007664 w 6781956"/>
              <a:gd name="connsiteY3038" fmla="*/ 5094753 h 6858000"/>
              <a:gd name="connsiteX3039" fmla="*/ 1015900 w 6781956"/>
              <a:gd name="connsiteY3039" fmla="*/ 5069178 h 6858000"/>
              <a:gd name="connsiteX3040" fmla="*/ 1027225 w 6781956"/>
              <a:gd name="connsiteY3040" fmla="*/ 5047088 h 6858000"/>
              <a:gd name="connsiteX3041" fmla="*/ 1032372 w 6781956"/>
              <a:gd name="connsiteY3041" fmla="*/ 5037790 h 6858000"/>
              <a:gd name="connsiteX3042" fmla="*/ 1043697 w 6781956"/>
              <a:gd name="connsiteY3042" fmla="*/ 4995938 h 6858000"/>
              <a:gd name="connsiteX3043" fmla="*/ 1062228 w 6781956"/>
              <a:gd name="connsiteY3043" fmla="*/ 4959900 h 6858000"/>
              <a:gd name="connsiteX3044" fmla="*/ 1066346 w 6781956"/>
              <a:gd name="connsiteY3044" fmla="*/ 4931998 h 6858000"/>
              <a:gd name="connsiteX3045" fmla="*/ 1077671 w 6781956"/>
              <a:gd name="connsiteY3045" fmla="*/ 4909911 h 6858000"/>
              <a:gd name="connsiteX3046" fmla="*/ 1079729 w 6781956"/>
              <a:gd name="connsiteY3046" fmla="*/ 4886661 h 6858000"/>
              <a:gd name="connsiteX3047" fmla="*/ 1084877 w 6781956"/>
              <a:gd name="connsiteY3047" fmla="*/ 4865734 h 6858000"/>
              <a:gd name="connsiteX3048" fmla="*/ 1090025 w 6781956"/>
              <a:gd name="connsiteY3048" fmla="*/ 4844809 h 6858000"/>
              <a:gd name="connsiteX3049" fmla="*/ 1097231 w 6781956"/>
              <a:gd name="connsiteY3049" fmla="*/ 4830858 h 6858000"/>
              <a:gd name="connsiteX3050" fmla="*/ 1099290 w 6781956"/>
              <a:gd name="connsiteY3050" fmla="*/ 4807607 h 6858000"/>
              <a:gd name="connsiteX3051" fmla="*/ 1116792 w 6781956"/>
              <a:gd name="connsiteY3051" fmla="*/ 4764594 h 6858000"/>
              <a:gd name="connsiteX3052" fmla="*/ 1128116 w 6781956"/>
              <a:gd name="connsiteY3052" fmla="*/ 4742507 h 6858000"/>
              <a:gd name="connsiteX3053" fmla="*/ 1129146 w 6781956"/>
              <a:gd name="connsiteY3053" fmla="*/ 4730881 h 6858000"/>
              <a:gd name="connsiteX3054" fmla="*/ 1137383 w 6781956"/>
              <a:gd name="connsiteY3054" fmla="*/ 4725068 h 6858000"/>
              <a:gd name="connsiteX3055" fmla="*/ 1133264 w 6781956"/>
              <a:gd name="connsiteY3055" fmla="*/ 4722743 h 6858000"/>
              <a:gd name="connsiteX3056" fmla="*/ 1140470 w 6781956"/>
              <a:gd name="connsiteY3056" fmla="*/ 4708793 h 6858000"/>
              <a:gd name="connsiteX3057" fmla="*/ 1139440 w 6781956"/>
              <a:gd name="connsiteY3057" fmla="*/ 4701818 h 6858000"/>
              <a:gd name="connsiteX3058" fmla="*/ 1157972 w 6781956"/>
              <a:gd name="connsiteY3058" fmla="*/ 4646016 h 6858000"/>
              <a:gd name="connsiteX3059" fmla="*/ 1162090 w 6781956"/>
              <a:gd name="connsiteY3059" fmla="*/ 4618116 h 6858000"/>
              <a:gd name="connsiteX3060" fmla="*/ 1177533 w 6781956"/>
              <a:gd name="connsiteY3060" fmla="*/ 4598353 h 6858000"/>
              <a:gd name="connsiteX3061" fmla="*/ 1176503 w 6781956"/>
              <a:gd name="connsiteY3061" fmla="*/ 4591377 h 6858000"/>
              <a:gd name="connsiteX3062" fmla="*/ 1177533 w 6781956"/>
              <a:gd name="connsiteY3062" fmla="*/ 4579752 h 6858000"/>
              <a:gd name="connsiteX3063" fmla="*/ 1182681 w 6781956"/>
              <a:gd name="connsiteY3063" fmla="*/ 4558827 h 6858000"/>
              <a:gd name="connsiteX3064" fmla="*/ 1187828 w 6781956"/>
              <a:gd name="connsiteY3064" fmla="*/ 4549526 h 6858000"/>
              <a:gd name="connsiteX3065" fmla="*/ 1183711 w 6781956"/>
              <a:gd name="connsiteY3065" fmla="*/ 4547201 h 6858000"/>
              <a:gd name="connsiteX3066" fmla="*/ 1198123 w 6781956"/>
              <a:gd name="connsiteY3066" fmla="*/ 4520463 h 6858000"/>
              <a:gd name="connsiteX3067" fmla="*/ 1195035 w 6781956"/>
              <a:gd name="connsiteY3067" fmla="*/ 4505350 h 6858000"/>
              <a:gd name="connsiteX3068" fmla="*/ 1200183 w 6781956"/>
              <a:gd name="connsiteY3068" fmla="*/ 4484423 h 6858000"/>
              <a:gd name="connsiteX3069" fmla="*/ 1211507 w 6781956"/>
              <a:gd name="connsiteY3069" fmla="*/ 4473962 h 6858000"/>
              <a:gd name="connsiteX3070" fmla="*/ 1210478 w 6781956"/>
              <a:gd name="connsiteY3070" fmla="*/ 4466987 h 6858000"/>
              <a:gd name="connsiteX3071" fmla="*/ 1221802 w 6781956"/>
              <a:gd name="connsiteY3071" fmla="*/ 4444898 h 6858000"/>
              <a:gd name="connsiteX3072" fmla="*/ 1218713 w 6781956"/>
              <a:gd name="connsiteY3072" fmla="*/ 4429785 h 6858000"/>
              <a:gd name="connsiteX3073" fmla="*/ 1223862 w 6781956"/>
              <a:gd name="connsiteY3073" fmla="*/ 4420485 h 6858000"/>
              <a:gd name="connsiteX3074" fmla="*/ 1230039 w 6781956"/>
              <a:gd name="connsiteY3074" fmla="*/ 4387935 h 6858000"/>
              <a:gd name="connsiteX3075" fmla="*/ 1241363 w 6781956"/>
              <a:gd name="connsiteY3075" fmla="*/ 4346083 h 6858000"/>
              <a:gd name="connsiteX3076" fmla="*/ 1245482 w 6781956"/>
              <a:gd name="connsiteY3076" fmla="*/ 4318182 h 6858000"/>
              <a:gd name="connsiteX3077" fmla="*/ 1253717 w 6781956"/>
              <a:gd name="connsiteY3077" fmla="*/ 4280982 h 6858000"/>
              <a:gd name="connsiteX3078" fmla="*/ 1252688 w 6781956"/>
              <a:gd name="connsiteY3078" fmla="*/ 4274005 h 6858000"/>
              <a:gd name="connsiteX3079" fmla="*/ 1269160 w 6781956"/>
              <a:gd name="connsiteY3079" fmla="*/ 4211229 h 6858000"/>
              <a:gd name="connsiteX3080" fmla="*/ 1282544 w 6781956"/>
              <a:gd name="connsiteY3080" fmla="*/ 4164729 h 6858000"/>
              <a:gd name="connsiteX3081" fmla="*/ 1280484 w 6781956"/>
              <a:gd name="connsiteY3081" fmla="*/ 4157752 h 6858000"/>
              <a:gd name="connsiteX3082" fmla="*/ 1286662 w 6781956"/>
              <a:gd name="connsiteY3082" fmla="*/ 4156590 h 6858000"/>
              <a:gd name="connsiteX3083" fmla="*/ 1285632 w 6781956"/>
              <a:gd name="connsiteY3083" fmla="*/ 4149615 h 6858000"/>
              <a:gd name="connsiteX3084" fmla="*/ 1292838 w 6781956"/>
              <a:gd name="connsiteY3084" fmla="*/ 4135665 h 6858000"/>
              <a:gd name="connsiteX3085" fmla="*/ 1288721 w 6781956"/>
              <a:gd name="connsiteY3085" fmla="*/ 4113577 h 6858000"/>
              <a:gd name="connsiteX3086" fmla="*/ 1321665 w 6781956"/>
              <a:gd name="connsiteY3086" fmla="*/ 3957798 h 6858000"/>
              <a:gd name="connsiteX3087" fmla="*/ 1343284 w 6781956"/>
              <a:gd name="connsiteY3087" fmla="*/ 3843870 h 6858000"/>
              <a:gd name="connsiteX3088" fmla="*/ 1344314 w 6781956"/>
              <a:gd name="connsiteY3088" fmla="*/ 3832245 h 6858000"/>
              <a:gd name="connsiteX3089" fmla="*/ 1346373 w 6781956"/>
              <a:gd name="connsiteY3089" fmla="*/ 3808994 h 6858000"/>
              <a:gd name="connsiteX3090" fmla="*/ 1345344 w 6781956"/>
              <a:gd name="connsiteY3090" fmla="*/ 3802019 h 6858000"/>
              <a:gd name="connsiteX3091" fmla="*/ 1350491 w 6781956"/>
              <a:gd name="connsiteY3091" fmla="*/ 3781093 h 6858000"/>
              <a:gd name="connsiteX3092" fmla="*/ 1358727 w 6781956"/>
              <a:gd name="connsiteY3092" fmla="*/ 3755517 h 6858000"/>
              <a:gd name="connsiteX3093" fmla="*/ 1355638 w 6781956"/>
              <a:gd name="connsiteY3093" fmla="*/ 3740404 h 6858000"/>
              <a:gd name="connsiteX3094" fmla="*/ 1358727 w 6781956"/>
              <a:gd name="connsiteY3094" fmla="*/ 3724129 h 6858000"/>
              <a:gd name="connsiteX3095" fmla="*/ 1371081 w 6781956"/>
              <a:gd name="connsiteY3095" fmla="*/ 3659028 h 6858000"/>
              <a:gd name="connsiteX3096" fmla="*/ 1373140 w 6781956"/>
              <a:gd name="connsiteY3096" fmla="*/ 3635777 h 6858000"/>
              <a:gd name="connsiteX3097" fmla="*/ 1376228 w 6781956"/>
              <a:gd name="connsiteY3097" fmla="*/ 3619502 h 6858000"/>
              <a:gd name="connsiteX3098" fmla="*/ 1379318 w 6781956"/>
              <a:gd name="connsiteY3098" fmla="*/ 3603227 h 6858000"/>
              <a:gd name="connsiteX3099" fmla="*/ 1384466 w 6781956"/>
              <a:gd name="connsiteY3099" fmla="*/ 3593926 h 6858000"/>
              <a:gd name="connsiteX3100" fmla="*/ 1381377 w 6781956"/>
              <a:gd name="connsiteY3100" fmla="*/ 3578813 h 6858000"/>
              <a:gd name="connsiteX3101" fmla="*/ 1384466 w 6781956"/>
              <a:gd name="connsiteY3101" fmla="*/ 3562537 h 6858000"/>
              <a:gd name="connsiteX3102" fmla="*/ 1393731 w 6781956"/>
              <a:gd name="connsiteY3102" fmla="*/ 3513711 h 6858000"/>
              <a:gd name="connsiteX3103" fmla="*/ 1392701 w 6781956"/>
              <a:gd name="connsiteY3103" fmla="*/ 3506736 h 6858000"/>
              <a:gd name="connsiteX3104" fmla="*/ 1399909 w 6781956"/>
              <a:gd name="connsiteY3104" fmla="*/ 3492787 h 6858000"/>
              <a:gd name="connsiteX3105" fmla="*/ 1401966 w 6781956"/>
              <a:gd name="connsiteY3105" fmla="*/ 3438147 h 6858000"/>
              <a:gd name="connsiteX3106" fmla="*/ 1400937 w 6781956"/>
              <a:gd name="connsiteY3106" fmla="*/ 3431172 h 6858000"/>
              <a:gd name="connsiteX3107" fmla="*/ 1402996 w 6781956"/>
              <a:gd name="connsiteY3107" fmla="*/ 3426521 h 6858000"/>
              <a:gd name="connsiteX3108" fmla="*/ 1401966 w 6781956"/>
              <a:gd name="connsiteY3108" fmla="*/ 3419546 h 6858000"/>
              <a:gd name="connsiteX3109" fmla="*/ 1409174 w 6781956"/>
              <a:gd name="connsiteY3109" fmla="*/ 3375370 h 6858000"/>
              <a:gd name="connsiteX3110" fmla="*/ 1408144 w 6781956"/>
              <a:gd name="connsiteY3110" fmla="*/ 3368395 h 6858000"/>
              <a:gd name="connsiteX3111" fmla="*/ 1413292 w 6781956"/>
              <a:gd name="connsiteY3111" fmla="*/ 3328868 h 6858000"/>
              <a:gd name="connsiteX3112" fmla="*/ 1412960 w 6781956"/>
              <a:gd name="connsiteY3112" fmla="*/ 3327245 h 6858000"/>
              <a:gd name="connsiteX3113" fmla="*/ 1413289 w 6781956"/>
              <a:gd name="connsiteY3113" fmla="*/ 3325384 h 6858000"/>
              <a:gd name="connsiteX3114" fmla="*/ 1418438 w 6781956"/>
              <a:gd name="connsiteY3114" fmla="*/ 3296320 h 6858000"/>
              <a:gd name="connsiteX3115" fmla="*/ 1421526 w 6781956"/>
              <a:gd name="connsiteY3115" fmla="*/ 3291670 h 6858000"/>
              <a:gd name="connsiteX3116" fmla="*/ 1421334 w 6781956"/>
              <a:gd name="connsiteY3116" fmla="*/ 3286914 h 6858000"/>
              <a:gd name="connsiteX3117" fmla="*/ 1423071 w 6781956"/>
              <a:gd name="connsiteY3117" fmla="*/ 3284838 h 6858000"/>
              <a:gd name="connsiteX3118" fmla="*/ 1429763 w 6781956"/>
              <a:gd name="connsiteY3118" fmla="*/ 3277717 h 6858000"/>
              <a:gd name="connsiteX3119" fmla="*/ 1425646 w 6781956"/>
              <a:gd name="connsiteY3119" fmla="*/ 3255630 h 6858000"/>
              <a:gd name="connsiteX3120" fmla="*/ 1425503 w 6781956"/>
              <a:gd name="connsiteY3120" fmla="*/ 3255070 h 6858000"/>
              <a:gd name="connsiteX3121" fmla="*/ 1426674 w 6781956"/>
              <a:gd name="connsiteY3121" fmla="*/ 3253307 h 6858000"/>
              <a:gd name="connsiteX3122" fmla="*/ 1422556 w 6781956"/>
              <a:gd name="connsiteY3122" fmla="*/ 3232381 h 6858000"/>
              <a:gd name="connsiteX3123" fmla="*/ 1425645 w 6781956"/>
              <a:gd name="connsiteY3123" fmla="*/ 3227732 h 6858000"/>
              <a:gd name="connsiteX3124" fmla="*/ 1427703 w 6781956"/>
              <a:gd name="connsiteY3124" fmla="*/ 3177743 h 6858000"/>
              <a:gd name="connsiteX3125" fmla="*/ 1432850 w 6781956"/>
              <a:gd name="connsiteY3125" fmla="*/ 3152167 h 6858000"/>
              <a:gd name="connsiteX3126" fmla="*/ 1434910 w 6781956"/>
              <a:gd name="connsiteY3126" fmla="*/ 3118453 h 6858000"/>
              <a:gd name="connsiteX3127" fmla="*/ 1446235 w 6781956"/>
              <a:gd name="connsiteY3127" fmla="*/ 3059164 h 6858000"/>
              <a:gd name="connsiteX3128" fmla="*/ 1445205 w 6781956"/>
              <a:gd name="connsiteY3128" fmla="*/ 3033589 h 6858000"/>
              <a:gd name="connsiteX3129" fmla="*/ 1448293 w 6781956"/>
              <a:gd name="connsiteY3129" fmla="*/ 3028938 h 6858000"/>
              <a:gd name="connsiteX3130" fmla="*/ 1451382 w 6781956"/>
              <a:gd name="connsiteY3130" fmla="*/ 3016150 h 6858000"/>
              <a:gd name="connsiteX3131" fmla="*/ 1457559 w 6781956"/>
              <a:gd name="connsiteY3131" fmla="*/ 2998713 h 6858000"/>
              <a:gd name="connsiteX3132" fmla="*/ 1463736 w 6781956"/>
              <a:gd name="connsiteY3132" fmla="*/ 2990575 h 6858000"/>
              <a:gd name="connsiteX3133" fmla="*/ 1462706 w 6781956"/>
              <a:gd name="connsiteY3133" fmla="*/ 2964999 h 6858000"/>
              <a:gd name="connsiteX3134" fmla="*/ 1465795 w 6781956"/>
              <a:gd name="connsiteY3134" fmla="*/ 2964999 h 6858000"/>
              <a:gd name="connsiteX3135" fmla="*/ 1468883 w 6781956"/>
              <a:gd name="connsiteY3135" fmla="*/ 2948723 h 6858000"/>
              <a:gd name="connsiteX3136" fmla="*/ 1467855 w 6781956"/>
              <a:gd name="connsiteY3136" fmla="*/ 2927798 h 6858000"/>
              <a:gd name="connsiteX3137" fmla="*/ 1464766 w 6781956"/>
              <a:gd name="connsiteY3137" fmla="*/ 2915010 h 6858000"/>
              <a:gd name="connsiteX3138" fmla="*/ 1467855 w 6781956"/>
              <a:gd name="connsiteY3138" fmla="*/ 2902223 h 6858000"/>
              <a:gd name="connsiteX3139" fmla="*/ 1474031 w 6781956"/>
              <a:gd name="connsiteY3139" fmla="*/ 2881296 h 6858000"/>
              <a:gd name="connsiteX3140" fmla="*/ 1477120 w 6781956"/>
              <a:gd name="connsiteY3140" fmla="*/ 2860370 h 6858000"/>
              <a:gd name="connsiteX3141" fmla="*/ 1480208 w 6781956"/>
              <a:gd name="connsiteY3141" fmla="*/ 2855721 h 6858000"/>
              <a:gd name="connsiteX3142" fmla="*/ 1482268 w 6781956"/>
              <a:gd name="connsiteY3142" fmla="*/ 2809220 h 6858000"/>
              <a:gd name="connsiteX3143" fmla="*/ 1490504 w 6781956"/>
              <a:gd name="connsiteY3143" fmla="*/ 2754581 h 6858000"/>
              <a:gd name="connsiteX3144" fmla="*/ 1489473 w 6781956"/>
              <a:gd name="connsiteY3144" fmla="*/ 2699943 h 6858000"/>
              <a:gd name="connsiteX3145" fmla="*/ 1492562 w 6781956"/>
              <a:gd name="connsiteY3145" fmla="*/ 2687154 h 6858000"/>
              <a:gd name="connsiteX3146" fmla="*/ 1495651 w 6781956"/>
              <a:gd name="connsiteY3146" fmla="*/ 2682504 h 6858000"/>
              <a:gd name="connsiteX3147" fmla="*/ 1494621 w 6781956"/>
              <a:gd name="connsiteY3147" fmla="*/ 2656929 h 6858000"/>
              <a:gd name="connsiteX3148" fmla="*/ 1500799 w 6781956"/>
              <a:gd name="connsiteY3148" fmla="*/ 2648791 h 6858000"/>
              <a:gd name="connsiteX3149" fmla="*/ 1512123 w 6781956"/>
              <a:gd name="connsiteY3149" fmla="*/ 2610427 h 6858000"/>
              <a:gd name="connsiteX3150" fmla="*/ 1508005 w 6781956"/>
              <a:gd name="connsiteY3150" fmla="*/ 2555789 h 6858000"/>
              <a:gd name="connsiteX3151" fmla="*/ 1511094 w 6781956"/>
              <a:gd name="connsiteY3151" fmla="*/ 2539513 h 6858000"/>
              <a:gd name="connsiteX3152" fmla="*/ 1520359 w 6781956"/>
              <a:gd name="connsiteY3152" fmla="*/ 2534863 h 6858000"/>
              <a:gd name="connsiteX3153" fmla="*/ 1517271 w 6781956"/>
              <a:gd name="connsiteY3153" fmla="*/ 2522075 h 6858000"/>
              <a:gd name="connsiteX3154" fmla="*/ 1508005 w 6781956"/>
              <a:gd name="connsiteY3154" fmla="*/ 2513937 h 6858000"/>
              <a:gd name="connsiteX3155" fmla="*/ 1520359 w 6781956"/>
              <a:gd name="connsiteY3155" fmla="*/ 2501149 h 6858000"/>
              <a:gd name="connsiteX3156" fmla="*/ 1528595 w 6781956"/>
              <a:gd name="connsiteY3156" fmla="*/ 2446511 h 6858000"/>
              <a:gd name="connsiteX3157" fmla="*/ 1527566 w 6781956"/>
              <a:gd name="connsiteY3157" fmla="*/ 2417446 h 6858000"/>
              <a:gd name="connsiteX3158" fmla="*/ 1532714 w 6781956"/>
              <a:gd name="connsiteY3158" fmla="*/ 2391871 h 6858000"/>
              <a:gd name="connsiteX3159" fmla="*/ 1534772 w 6781956"/>
              <a:gd name="connsiteY3159" fmla="*/ 2345371 h 6858000"/>
              <a:gd name="connsiteX3160" fmla="*/ 1537861 w 6781956"/>
              <a:gd name="connsiteY3160" fmla="*/ 2324444 h 6858000"/>
              <a:gd name="connsiteX3161" fmla="*/ 1540949 w 6781956"/>
              <a:gd name="connsiteY3161" fmla="*/ 2308168 h 6858000"/>
              <a:gd name="connsiteX3162" fmla="*/ 1413289 w 6781956"/>
              <a:gd name="connsiteY3162" fmla="*/ 2287244 h 6858000"/>
              <a:gd name="connsiteX3163" fmla="*/ 1412183 w 6781956"/>
              <a:gd name="connsiteY3163" fmla="*/ 2294744 h 6858000"/>
              <a:gd name="connsiteX3164" fmla="*/ 1411786 w 6781956"/>
              <a:gd name="connsiteY3164" fmla="*/ 2288710 h 6858000"/>
              <a:gd name="connsiteX3165" fmla="*/ 1581100 w 6781956"/>
              <a:gd name="connsiteY3165" fmla="*/ 2237255 h 6858000"/>
              <a:gd name="connsiteX3166" fmla="*/ 1575954 w 6781956"/>
              <a:gd name="connsiteY3166" fmla="*/ 2275618 h 6858000"/>
              <a:gd name="connsiteX3167" fmla="*/ 1571835 w 6781956"/>
              <a:gd name="connsiteY3167" fmla="*/ 2250043 h 6858000"/>
              <a:gd name="connsiteX3168" fmla="*/ 1581100 w 6781956"/>
              <a:gd name="connsiteY3168" fmla="*/ 2237255 h 6858000"/>
              <a:gd name="connsiteX3169" fmla="*/ 1527566 w 6781956"/>
              <a:gd name="connsiteY3169" fmla="*/ 2230280 h 6858000"/>
              <a:gd name="connsiteX3170" fmla="*/ 1532714 w 6781956"/>
              <a:gd name="connsiteY3170" fmla="*/ 2293057 h 6858000"/>
              <a:gd name="connsiteX3171" fmla="*/ 1527566 w 6781956"/>
              <a:gd name="connsiteY3171" fmla="*/ 2230280 h 6858000"/>
              <a:gd name="connsiteX3172" fmla="*/ 1446235 w 6781956"/>
              <a:gd name="connsiteY3172" fmla="*/ 2227955 h 6858000"/>
              <a:gd name="connsiteX3173" fmla="*/ 1450352 w 6781956"/>
              <a:gd name="connsiteY3173" fmla="*/ 2248880 h 6858000"/>
              <a:gd name="connsiteX3174" fmla="*/ 1446235 w 6781956"/>
              <a:gd name="connsiteY3174" fmla="*/ 2227955 h 6858000"/>
              <a:gd name="connsiteX3175" fmla="*/ 1601691 w 6781956"/>
              <a:gd name="connsiteY3175" fmla="*/ 2200053 h 6858000"/>
              <a:gd name="connsiteX3176" fmla="*/ 1593455 w 6781956"/>
              <a:gd name="connsiteY3176" fmla="*/ 2229118 h 6858000"/>
              <a:gd name="connsiteX3177" fmla="*/ 1601691 w 6781956"/>
              <a:gd name="connsiteY3177" fmla="*/ 2200053 h 6858000"/>
              <a:gd name="connsiteX3178" fmla="*/ 1407113 w 6781956"/>
              <a:gd name="connsiteY3178" fmla="*/ 2095427 h 6858000"/>
              <a:gd name="connsiteX3179" fmla="*/ 1412260 w 6781956"/>
              <a:gd name="connsiteY3179" fmla="*/ 2162853 h 6858000"/>
              <a:gd name="connsiteX3180" fmla="*/ 1412260 w 6781956"/>
              <a:gd name="connsiteY3180" fmla="*/ 2175640 h 6858000"/>
              <a:gd name="connsiteX3181" fmla="*/ 1412260 w 6781956"/>
              <a:gd name="connsiteY3181" fmla="*/ 2191916 h 6858000"/>
              <a:gd name="connsiteX3182" fmla="*/ 1411231 w 6781956"/>
              <a:gd name="connsiteY3182" fmla="*/ 2280269 h 6858000"/>
              <a:gd name="connsiteX3183" fmla="*/ 1411786 w 6781956"/>
              <a:gd name="connsiteY3183" fmla="*/ 2288710 h 6858000"/>
              <a:gd name="connsiteX3184" fmla="*/ 1404796 w 6781956"/>
              <a:gd name="connsiteY3184" fmla="*/ 2295527 h 6858000"/>
              <a:gd name="connsiteX3185" fmla="*/ 1410202 w 6781956"/>
              <a:gd name="connsiteY3185" fmla="*/ 2308168 h 6858000"/>
              <a:gd name="connsiteX3186" fmla="*/ 1412183 w 6781956"/>
              <a:gd name="connsiteY3186" fmla="*/ 2294744 h 6858000"/>
              <a:gd name="connsiteX3187" fmla="*/ 1412904 w 6781956"/>
              <a:gd name="connsiteY3187" fmla="*/ 2305699 h 6858000"/>
              <a:gd name="connsiteX3188" fmla="*/ 1415349 w 6781956"/>
              <a:gd name="connsiteY3188" fmla="*/ 2326770 h 6858000"/>
              <a:gd name="connsiteX3189" fmla="*/ 1413289 w 6781956"/>
              <a:gd name="connsiteY3189" fmla="*/ 2352346 h 6858000"/>
              <a:gd name="connsiteX3190" fmla="*/ 1414319 w 6781956"/>
              <a:gd name="connsiteY3190" fmla="*/ 2377921 h 6858000"/>
              <a:gd name="connsiteX3191" fmla="*/ 1414319 w 6781956"/>
              <a:gd name="connsiteY3191" fmla="*/ 2386058 h 6858000"/>
              <a:gd name="connsiteX3192" fmla="*/ 1418438 w 6781956"/>
              <a:gd name="connsiteY3192" fmla="*/ 2440698 h 6858000"/>
              <a:gd name="connsiteX3193" fmla="*/ 1413289 w 6781956"/>
              <a:gd name="connsiteY3193" fmla="*/ 2499985 h 6858000"/>
              <a:gd name="connsiteX3194" fmla="*/ 1421526 w 6781956"/>
              <a:gd name="connsiteY3194" fmla="*/ 2474412 h 6858000"/>
              <a:gd name="connsiteX3195" fmla="*/ 1424614 w 6781956"/>
              <a:gd name="connsiteY3195" fmla="*/ 2461623 h 6858000"/>
              <a:gd name="connsiteX3196" fmla="*/ 1420496 w 6781956"/>
              <a:gd name="connsiteY3196" fmla="*/ 2440698 h 6858000"/>
              <a:gd name="connsiteX3197" fmla="*/ 1425645 w 6781956"/>
              <a:gd name="connsiteY3197" fmla="*/ 2415123 h 6858000"/>
              <a:gd name="connsiteX3198" fmla="*/ 1415349 w 6781956"/>
              <a:gd name="connsiteY3198" fmla="*/ 2390710 h 6858000"/>
              <a:gd name="connsiteX3199" fmla="*/ 1423586 w 6781956"/>
              <a:gd name="connsiteY3199" fmla="*/ 2356996 h 6858000"/>
              <a:gd name="connsiteX3200" fmla="*/ 1425645 w 6781956"/>
              <a:gd name="connsiteY3200" fmla="*/ 2319794 h 6858000"/>
              <a:gd name="connsiteX3201" fmla="*/ 1426674 w 6781956"/>
              <a:gd name="connsiteY3201" fmla="*/ 2353508 h 6858000"/>
              <a:gd name="connsiteX3202" fmla="*/ 1429762 w 6781956"/>
              <a:gd name="connsiteY3202" fmla="*/ 2358158 h 6858000"/>
              <a:gd name="connsiteX3203" fmla="*/ 1433880 w 6781956"/>
              <a:gd name="connsiteY3203" fmla="*/ 2395359 h 6858000"/>
              <a:gd name="connsiteX3204" fmla="*/ 1430792 w 6781956"/>
              <a:gd name="connsiteY3204" fmla="*/ 2411635 h 6858000"/>
              <a:gd name="connsiteX3205" fmla="*/ 1433880 w 6781956"/>
              <a:gd name="connsiteY3205" fmla="*/ 2427910 h 6858000"/>
              <a:gd name="connsiteX3206" fmla="*/ 1434910 w 6781956"/>
              <a:gd name="connsiteY3206" fmla="*/ 2465112 h 6858000"/>
              <a:gd name="connsiteX3207" fmla="*/ 1435939 w 6781956"/>
              <a:gd name="connsiteY3207" fmla="*/ 2494174 h 6858000"/>
              <a:gd name="connsiteX3208" fmla="*/ 1426674 w 6781956"/>
              <a:gd name="connsiteY3208" fmla="*/ 2502311 h 6858000"/>
              <a:gd name="connsiteX3209" fmla="*/ 1417407 w 6781956"/>
              <a:gd name="connsiteY3209" fmla="*/ 2510449 h 6858000"/>
              <a:gd name="connsiteX3210" fmla="*/ 1432850 w 6781956"/>
              <a:gd name="connsiteY3210" fmla="*/ 2523237 h 6858000"/>
              <a:gd name="connsiteX3211" fmla="*/ 1430792 w 6781956"/>
              <a:gd name="connsiteY3211" fmla="*/ 2569738 h 6858000"/>
              <a:gd name="connsiteX3212" fmla="*/ 1427703 w 6781956"/>
              <a:gd name="connsiteY3212" fmla="*/ 2590664 h 6858000"/>
              <a:gd name="connsiteX3213" fmla="*/ 1433880 w 6781956"/>
              <a:gd name="connsiteY3213" fmla="*/ 2606940 h 6858000"/>
              <a:gd name="connsiteX3214" fmla="*/ 1439028 w 6781956"/>
              <a:gd name="connsiteY3214" fmla="*/ 2552300 h 6858000"/>
              <a:gd name="connsiteX3215" fmla="*/ 1441088 w 6781956"/>
              <a:gd name="connsiteY3215" fmla="*/ 2518586 h 6858000"/>
              <a:gd name="connsiteX3216" fmla="*/ 1445205 w 6781956"/>
              <a:gd name="connsiteY3216" fmla="*/ 2447673 h 6858000"/>
              <a:gd name="connsiteX3217" fmla="*/ 1444305 w 6781956"/>
              <a:gd name="connsiteY3217" fmla="*/ 2420935 h 6858000"/>
              <a:gd name="connsiteX3218" fmla="*/ 1446776 w 6781956"/>
              <a:gd name="connsiteY3218" fmla="*/ 2404429 h 6858000"/>
              <a:gd name="connsiteX3219" fmla="*/ 1447263 w 6781956"/>
              <a:gd name="connsiteY3219" fmla="*/ 2408146 h 6858000"/>
              <a:gd name="connsiteX3220" fmla="*/ 1451639 w 6781956"/>
              <a:gd name="connsiteY3220" fmla="*/ 2422969 h 6858000"/>
              <a:gd name="connsiteX3221" fmla="*/ 1457599 w 6781956"/>
              <a:gd name="connsiteY3221" fmla="*/ 2427008 h 6858000"/>
              <a:gd name="connsiteX3222" fmla="*/ 1458460 w 6781956"/>
              <a:gd name="connsiteY3222" fmla="*/ 2457264 h 6858000"/>
              <a:gd name="connsiteX3223" fmla="*/ 1455500 w 6781956"/>
              <a:gd name="connsiteY3223" fmla="*/ 2480224 h 6858000"/>
              <a:gd name="connsiteX3224" fmla="*/ 1471973 w 6781956"/>
              <a:gd name="connsiteY3224" fmla="*/ 2522075 h 6858000"/>
              <a:gd name="connsiteX3225" fmla="*/ 1456530 w 6781956"/>
              <a:gd name="connsiteY3225" fmla="*/ 2518586 h 6858000"/>
              <a:gd name="connsiteX3226" fmla="*/ 1457559 w 6781956"/>
              <a:gd name="connsiteY3226" fmla="*/ 2547651 h 6858000"/>
              <a:gd name="connsiteX3227" fmla="*/ 1452412 w 6781956"/>
              <a:gd name="connsiteY3227" fmla="*/ 2576713 h 6858000"/>
              <a:gd name="connsiteX3228" fmla="*/ 1456530 w 6781956"/>
              <a:gd name="connsiteY3228" fmla="*/ 2618564 h 6858000"/>
              <a:gd name="connsiteX3229" fmla="*/ 1461677 w 6781956"/>
              <a:gd name="connsiteY3229" fmla="*/ 2592988 h 6858000"/>
              <a:gd name="connsiteX3230" fmla="*/ 1463736 w 6781956"/>
              <a:gd name="connsiteY3230" fmla="*/ 2563926 h 6858000"/>
              <a:gd name="connsiteX3231" fmla="*/ 1460648 w 6781956"/>
              <a:gd name="connsiteY3231" fmla="*/ 2551139 h 6858000"/>
              <a:gd name="connsiteX3232" fmla="*/ 1466825 w 6781956"/>
              <a:gd name="connsiteY3232" fmla="*/ 2538351 h 6858000"/>
              <a:gd name="connsiteX3233" fmla="*/ 1469913 w 6781956"/>
              <a:gd name="connsiteY3233" fmla="*/ 2554626 h 6858000"/>
              <a:gd name="connsiteX3234" fmla="*/ 1470943 w 6781956"/>
              <a:gd name="connsiteY3234" fmla="*/ 2583690 h 6858000"/>
              <a:gd name="connsiteX3235" fmla="*/ 1467855 w 6781956"/>
              <a:gd name="connsiteY3235" fmla="*/ 2596477 h 6858000"/>
              <a:gd name="connsiteX3236" fmla="*/ 1468883 w 6781956"/>
              <a:gd name="connsiteY3236" fmla="*/ 2617402 h 6858000"/>
              <a:gd name="connsiteX3237" fmla="*/ 1465795 w 6781956"/>
              <a:gd name="connsiteY3237" fmla="*/ 2625541 h 6858000"/>
              <a:gd name="connsiteX3238" fmla="*/ 1465795 w 6781956"/>
              <a:gd name="connsiteY3238" fmla="*/ 2638328 h 6858000"/>
              <a:gd name="connsiteX3239" fmla="*/ 1462706 w 6781956"/>
              <a:gd name="connsiteY3239" fmla="*/ 2659253 h 6858000"/>
              <a:gd name="connsiteX3240" fmla="*/ 1465795 w 6781956"/>
              <a:gd name="connsiteY3240" fmla="*/ 2672041 h 6858000"/>
              <a:gd name="connsiteX3241" fmla="*/ 1462706 w 6781956"/>
              <a:gd name="connsiteY3241" fmla="*/ 2676691 h 6858000"/>
              <a:gd name="connsiteX3242" fmla="*/ 1462706 w 6781956"/>
              <a:gd name="connsiteY3242" fmla="*/ 2689479 h 6858000"/>
              <a:gd name="connsiteX3243" fmla="*/ 1459618 w 6781956"/>
              <a:gd name="connsiteY3243" fmla="*/ 2694130 h 6858000"/>
              <a:gd name="connsiteX3244" fmla="*/ 1462706 w 6781956"/>
              <a:gd name="connsiteY3244" fmla="*/ 2702267 h 6858000"/>
              <a:gd name="connsiteX3245" fmla="*/ 1459618 w 6781956"/>
              <a:gd name="connsiteY3245" fmla="*/ 2718544 h 6858000"/>
              <a:gd name="connsiteX3246" fmla="*/ 1460648 w 6781956"/>
              <a:gd name="connsiteY3246" fmla="*/ 2744117 h 6858000"/>
              <a:gd name="connsiteX3247" fmla="*/ 1452412 w 6781956"/>
              <a:gd name="connsiteY3247" fmla="*/ 2773182 h 6858000"/>
              <a:gd name="connsiteX3248" fmla="*/ 1450352 w 6781956"/>
              <a:gd name="connsiteY3248" fmla="*/ 2827820 h 6858000"/>
              <a:gd name="connsiteX3249" fmla="*/ 1451382 w 6781956"/>
              <a:gd name="connsiteY3249" fmla="*/ 2861533 h 6858000"/>
              <a:gd name="connsiteX3250" fmla="*/ 1442117 w 6781956"/>
              <a:gd name="connsiteY3250" fmla="*/ 2878971 h 6858000"/>
              <a:gd name="connsiteX3251" fmla="*/ 1439028 w 6781956"/>
              <a:gd name="connsiteY3251" fmla="*/ 2883622 h 6858000"/>
              <a:gd name="connsiteX3252" fmla="*/ 1439028 w 6781956"/>
              <a:gd name="connsiteY3252" fmla="*/ 2899897 h 6858000"/>
              <a:gd name="connsiteX3253" fmla="*/ 1432850 w 6781956"/>
              <a:gd name="connsiteY3253" fmla="*/ 2908035 h 6858000"/>
              <a:gd name="connsiteX3254" fmla="*/ 1433880 w 6781956"/>
              <a:gd name="connsiteY3254" fmla="*/ 2937098 h 6858000"/>
              <a:gd name="connsiteX3255" fmla="*/ 1430792 w 6781956"/>
              <a:gd name="connsiteY3255" fmla="*/ 2941749 h 6858000"/>
              <a:gd name="connsiteX3256" fmla="*/ 1430792 w 6781956"/>
              <a:gd name="connsiteY3256" fmla="*/ 2949886 h 6858000"/>
              <a:gd name="connsiteX3257" fmla="*/ 1424614 w 6781956"/>
              <a:gd name="connsiteY3257" fmla="*/ 2967325 h 6858000"/>
              <a:gd name="connsiteX3258" fmla="*/ 1424614 w 6781956"/>
              <a:gd name="connsiteY3258" fmla="*/ 2971974 h 6858000"/>
              <a:gd name="connsiteX3259" fmla="*/ 1421526 w 6781956"/>
              <a:gd name="connsiteY3259" fmla="*/ 2976625 h 6858000"/>
              <a:gd name="connsiteX3260" fmla="*/ 1419467 w 6781956"/>
              <a:gd name="connsiteY3260" fmla="*/ 3002201 h 6858000"/>
              <a:gd name="connsiteX3261" fmla="*/ 1419467 w 6781956"/>
              <a:gd name="connsiteY3261" fmla="*/ 3014988 h 6858000"/>
              <a:gd name="connsiteX3262" fmla="*/ 1416379 w 6781956"/>
              <a:gd name="connsiteY3262" fmla="*/ 3019638 h 6858000"/>
              <a:gd name="connsiteX3263" fmla="*/ 1414319 w 6781956"/>
              <a:gd name="connsiteY3263" fmla="*/ 3066139 h 6858000"/>
              <a:gd name="connsiteX3264" fmla="*/ 1419219 w 6781956"/>
              <a:gd name="connsiteY3264" fmla="*/ 3064812 h 6858000"/>
              <a:gd name="connsiteX3265" fmla="*/ 1413934 w 6781956"/>
              <a:gd name="connsiteY3265" fmla="*/ 3122956 h 6858000"/>
              <a:gd name="connsiteX3266" fmla="*/ 1410203 w 6781956"/>
              <a:gd name="connsiteY3266" fmla="*/ 3205641 h 6858000"/>
              <a:gd name="connsiteX3267" fmla="*/ 1404026 w 6781956"/>
              <a:gd name="connsiteY3267" fmla="*/ 3176577 h 6858000"/>
              <a:gd name="connsiteX3268" fmla="*/ 1409174 w 6781956"/>
              <a:gd name="connsiteY3268" fmla="*/ 3167277 h 6858000"/>
              <a:gd name="connsiteX3269" fmla="*/ 1406084 w 6781956"/>
              <a:gd name="connsiteY3269" fmla="*/ 3152164 h 6858000"/>
              <a:gd name="connsiteX3270" fmla="*/ 1408144 w 6781956"/>
              <a:gd name="connsiteY3270" fmla="*/ 3147515 h 6858000"/>
              <a:gd name="connsiteX3271" fmla="*/ 1406084 w 6781956"/>
              <a:gd name="connsiteY3271" fmla="*/ 3120776 h 6858000"/>
              <a:gd name="connsiteX3272" fmla="*/ 1401966 w 6781956"/>
              <a:gd name="connsiteY3272" fmla="*/ 3098687 h 6858000"/>
              <a:gd name="connsiteX3273" fmla="*/ 1384466 w 6781956"/>
              <a:gd name="connsiteY3273" fmla="*/ 3111476 h 6858000"/>
              <a:gd name="connsiteX3274" fmla="*/ 1392444 w 6781956"/>
              <a:gd name="connsiteY3274" fmla="*/ 3091276 h 6858000"/>
              <a:gd name="connsiteX3275" fmla="*/ 1389292 w 6781956"/>
              <a:gd name="connsiteY3275" fmla="*/ 3082844 h 6858000"/>
              <a:gd name="connsiteX3276" fmla="*/ 1389998 w 6781956"/>
              <a:gd name="connsiteY3276" fmla="*/ 3079509 h 6858000"/>
              <a:gd name="connsiteX3277" fmla="*/ 1388581 w 6781956"/>
              <a:gd name="connsiteY3277" fmla="*/ 3049864 h 6858000"/>
              <a:gd name="connsiteX3278" fmla="*/ 1391670 w 6781956"/>
              <a:gd name="connsiteY3278" fmla="*/ 3041726 h 6858000"/>
              <a:gd name="connsiteX3279" fmla="*/ 1391670 w 6781956"/>
              <a:gd name="connsiteY3279" fmla="*/ 3025451 h 6858000"/>
              <a:gd name="connsiteX3280" fmla="*/ 1397847 w 6781956"/>
              <a:gd name="connsiteY3280" fmla="*/ 3017312 h 6858000"/>
              <a:gd name="connsiteX3281" fmla="*/ 1396817 w 6781956"/>
              <a:gd name="connsiteY3281" fmla="*/ 2980112 h 6858000"/>
              <a:gd name="connsiteX3282" fmla="*/ 1401965 w 6781956"/>
              <a:gd name="connsiteY3282" fmla="*/ 2933611 h 6858000"/>
              <a:gd name="connsiteX3283" fmla="*/ 1407113 w 6781956"/>
              <a:gd name="connsiteY3283" fmla="*/ 2908035 h 6858000"/>
              <a:gd name="connsiteX3284" fmla="*/ 1404024 w 6781956"/>
              <a:gd name="connsiteY3284" fmla="*/ 2903384 h 6858000"/>
              <a:gd name="connsiteX3285" fmla="*/ 1407113 w 6781956"/>
              <a:gd name="connsiteY3285" fmla="*/ 2895247 h 6858000"/>
              <a:gd name="connsiteX3286" fmla="*/ 1400936 w 6781956"/>
              <a:gd name="connsiteY3286" fmla="*/ 2878971 h 6858000"/>
              <a:gd name="connsiteX3287" fmla="*/ 1392700 w 6781956"/>
              <a:gd name="connsiteY3287" fmla="*/ 2938260 h 6858000"/>
              <a:gd name="connsiteX3288" fmla="*/ 1390641 w 6781956"/>
              <a:gd name="connsiteY3288" fmla="*/ 2980112 h 6858000"/>
              <a:gd name="connsiteX3289" fmla="*/ 1389691 w 6781956"/>
              <a:gd name="connsiteY3289" fmla="*/ 2983328 h 6858000"/>
              <a:gd name="connsiteX3290" fmla="*/ 1386524 w 6781956"/>
              <a:gd name="connsiteY3290" fmla="*/ 2968485 h 6858000"/>
              <a:gd name="connsiteX3291" fmla="*/ 1384336 w 6781956"/>
              <a:gd name="connsiteY3291" fmla="*/ 2994351 h 6858000"/>
              <a:gd name="connsiteX3292" fmla="*/ 1384991 w 6781956"/>
              <a:gd name="connsiteY3292" fmla="*/ 2999255 h 6858000"/>
              <a:gd name="connsiteX3293" fmla="*/ 1384463 w 6781956"/>
              <a:gd name="connsiteY3293" fmla="*/ 3001037 h 6858000"/>
              <a:gd name="connsiteX3294" fmla="*/ 1385493 w 6781956"/>
              <a:gd name="connsiteY3294" fmla="*/ 3030100 h 6858000"/>
              <a:gd name="connsiteX3295" fmla="*/ 1380346 w 6781956"/>
              <a:gd name="connsiteY3295" fmla="*/ 3071952 h 6858000"/>
              <a:gd name="connsiteX3296" fmla="*/ 1374684 w 6781956"/>
              <a:gd name="connsiteY3296" fmla="*/ 3090989 h 6858000"/>
              <a:gd name="connsiteX3297" fmla="*/ 1379104 w 6781956"/>
              <a:gd name="connsiteY3297" fmla="*/ 3097623 h 6858000"/>
              <a:gd name="connsiteX3298" fmla="*/ 1374170 w 6781956"/>
              <a:gd name="connsiteY3298" fmla="*/ 3110313 h 6858000"/>
              <a:gd name="connsiteX3299" fmla="*/ 1380347 w 6781956"/>
              <a:gd name="connsiteY3299" fmla="*/ 3123537 h 6858000"/>
              <a:gd name="connsiteX3300" fmla="*/ 1380347 w 6781956"/>
              <a:gd name="connsiteY3300" fmla="*/ 3129986 h 6858000"/>
              <a:gd name="connsiteX3301" fmla="*/ 1377146 w 6781956"/>
              <a:gd name="connsiteY3301" fmla="*/ 3129841 h 6858000"/>
              <a:gd name="connsiteX3302" fmla="*/ 1375136 w 6781956"/>
              <a:gd name="connsiteY3302" fmla="*/ 3139876 h 6858000"/>
              <a:gd name="connsiteX3303" fmla="*/ 1379089 w 6781956"/>
              <a:gd name="connsiteY3303" fmla="*/ 3146003 h 6858000"/>
              <a:gd name="connsiteX3304" fmla="*/ 1377259 w 6781956"/>
              <a:gd name="connsiteY3304" fmla="*/ 3155652 h 6858000"/>
              <a:gd name="connsiteX3305" fmla="*/ 1385494 w 6781956"/>
              <a:gd name="connsiteY3305" fmla="*/ 3161464 h 6858000"/>
              <a:gd name="connsiteX3306" fmla="*/ 1377259 w 6781956"/>
              <a:gd name="connsiteY3306" fmla="*/ 3187040 h 6858000"/>
              <a:gd name="connsiteX3307" fmla="*/ 1383436 w 6781956"/>
              <a:gd name="connsiteY3307" fmla="*/ 3216102 h 6858000"/>
              <a:gd name="connsiteX3308" fmla="*/ 1381892 w 6781956"/>
              <a:gd name="connsiteY3308" fmla="*/ 3224240 h 6858000"/>
              <a:gd name="connsiteX3309" fmla="*/ 1380776 w 6781956"/>
              <a:gd name="connsiteY3309" fmla="*/ 3230120 h 6858000"/>
              <a:gd name="connsiteX3310" fmla="*/ 1377257 w 6781956"/>
              <a:gd name="connsiteY3310" fmla="*/ 3220756 h 6858000"/>
              <a:gd name="connsiteX3311" fmla="*/ 1372625 w 6781956"/>
              <a:gd name="connsiteY3311" fmla="*/ 3218577 h 6858000"/>
              <a:gd name="connsiteX3312" fmla="*/ 1367991 w 6781956"/>
              <a:gd name="connsiteY3312" fmla="*/ 3220756 h 6858000"/>
              <a:gd name="connsiteX3313" fmla="*/ 1359756 w 6781956"/>
              <a:gd name="connsiteY3313" fmla="*/ 3270745 h 6858000"/>
              <a:gd name="connsiteX3314" fmla="*/ 1363874 w 6781956"/>
              <a:gd name="connsiteY3314" fmla="*/ 3299807 h 6858000"/>
              <a:gd name="connsiteX3315" fmla="*/ 1366963 w 6781956"/>
              <a:gd name="connsiteY3315" fmla="*/ 3287020 h 6858000"/>
              <a:gd name="connsiteX3316" fmla="*/ 1373139 w 6781956"/>
              <a:gd name="connsiteY3316" fmla="*/ 3269582 h 6858000"/>
              <a:gd name="connsiteX3317" fmla="*/ 1376227 w 6781956"/>
              <a:gd name="connsiteY3317" fmla="*/ 3267257 h 6858000"/>
              <a:gd name="connsiteX3318" fmla="*/ 1378287 w 6781956"/>
              <a:gd name="connsiteY3318" fmla="*/ 3241681 h 6858000"/>
              <a:gd name="connsiteX3319" fmla="*/ 1380302 w 6781956"/>
              <a:gd name="connsiteY3319" fmla="*/ 3232807 h 6858000"/>
              <a:gd name="connsiteX3320" fmla="*/ 1378932 w 6781956"/>
              <a:gd name="connsiteY3320" fmla="*/ 3245748 h 6858000"/>
              <a:gd name="connsiteX3321" fmla="*/ 1378288 w 6781956"/>
              <a:gd name="connsiteY3321" fmla="*/ 3255630 h 6858000"/>
              <a:gd name="connsiteX3322" fmla="*/ 1380347 w 6781956"/>
              <a:gd name="connsiteY3322" fmla="*/ 3262604 h 6858000"/>
              <a:gd name="connsiteX3323" fmla="*/ 1378288 w 6781956"/>
              <a:gd name="connsiteY3323" fmla="*/ 3285855 h 6858000"/>
              <a:gd name="connsiteX3324" fmla="*/ 1365934 w 6781956"/>
              <a:gd name="connsiteY3324" fmla="*/ 3382345 h 6858000"/>
              <a:gd name="connsiteX3325" fmla="*/ 1363876 w 6781956"/>
              <a:gd name="connsiteY3325" fmla="*/ 3405596 h 6858000"/>
              <a:gd name="connsiteX3326" fmla="*/ 1364904 w 6781956"/>
              <a:gd name="connsiteY3326" fmla="*/ 3412571 h 6858000"/>
              <a:gd name="connsiteX3327" fmla="*/ 1354609 w 6781956"/>
              <a:gd name="connsiteY3327" fmla="*/ 3442796 h 6858000"/>
              <a:gd name="connsiteX3328" fmla="*/ 1358727 w 6781956"/>
              <a:gd name="connsiteY3328" fmla="*/ 3445121 h 6858000"/>
              <a:gd name="connsiteX3329" fmla="*/ 1353581 w 6781956"/>
              <a:gd name="connsiteY3329" fmla="*/ 3454422 h 6858000"/>
              <a:gd name="connsiteX3330" fmla="*/ 1357697 w 6781956"/>
              <a:gd name="connsiteY3330" fmla="*/ 3456747 h 6858000"/>
              <a:gd name="connsiteX3331" fmla="*/ 1352551 w 6781956"/>
              <a:gd name="connsiteY3331" fmla="*/ 3466048 h 6858000"/>
              <a:gd name="connsiteX3332" fmla="*/ 1356668 w 6781956"/>
              <a:gd name="connsiteY3332" fmla="*/ 3468373 h 6858000"/>
              <a:gd name="connsiteX3333" fmla="*/ 1351521 w 6781956"/>
              <a:gd name="connsiteY3333" fmla="*/ 3477673 h 6858000"/>
              <a:gd name="connsiteX3334" fmla="*/ 1355638 w 6781956"/>
              <a:gd name="connsiteY3334" fmla="*/ 3479997 h 6858000"/>
              <a:gd name="connsiteX3335" fmla="*/ 1350491 w 6781956"/>
              <a:gd name="connsiteY3335" fmla="*/ 3489298 h 6858000"/>
              <a:gd name="connsiteX3336" fmla="*/ 1354609 w 6781956"/>
              <a:gd name="connsiteY3336" fmla="*/ 3491623 h 6858000"/>
              <a:gd name="connsiteX3337" fmla="*/ 1349462 w 6781956"/>
              <a:gd name="connsiteY3337" fmla="*/ 3512549 h 6858000"/>
              <a:gd name="connsiteX3338" fmla="*/ 1340195 w 6781956"/>
              <a:gd name="connsiteY3338" fmla="*/ 3592763 h 6858000"/>
              <a:gd name="connsiteX3339" fmla="*/ 1337108 w 6781956"/>
              <a:gd name="connsiteY3339" fmla="*/ 3609039 h 6858000"/>
              <a:gd name="connsiteX3340" fmla="*/ 1335049 w 6781956"/>
              <a:gd name="connsiteY3340" fmla="*/ 3645077 h 6858000"/>
              <a:gd name="connsiteX3341" fmla="*/ 1327842 w 6781956"/>
              <a:gd name="connsiteY3341" fmla="*/ 3659028 h 6858000"/>
              <a:gd name="connsiteX3342" fmla="*/ 1330931 w 6781956"/>
              <a:gd name="connsiteY3342" fmla="*/ 3674140 h 6858000"/>
              <a:gd name="connsiteX3343" fmla="*/ 1323724 w 6781956"/>
              <a:gd name="connsiteY3343" fmla="*/ 3688091 h 6858000"/>
              <a:gd name="connsiteX3344" fmla="*/ 1326812 w 6781956"/>
              <a:gd name="connsiteY3344" fmla="*/ 3703203 h 6858000"/>
              <a:gd name="connsiteX3345" fmla="*/ 1319606 w 6781956"/>
              <a:gd name="connsiteY3345" fmla="*/ 3717154 h 6858000"/>
              <a:gd name="connsiteX3346" fmla="*/ 1322695 w 6781956"/>
              <a:gd name="connsiteY3346" fmla="*/ 3732267 h 6858000"/>
              <a:gd name="connsiteX3347" fmla="*/ 1317547 w 6781956"/>
              <a:gd name="connsiteY3347" fmla="*/ 3741567 h 6858000"/>
              <a:gd name="connsiteX3348" fmla="*/ 1318577 w 6781956"/>
              <a:gd name="connsiteY3348" fmla="*/ 3748542 h 6858000"/>
              <a:gd name="connsiteX3349" fmla="*/ 1311370 w 6781956"/>
              <a:gd name="connsiteY3349" fmla="*/ 3792719 h 6858000"/>
              <a:gd name="connsiteX3350" fmla="*/ 1309310 w 6781956"/>
              <a:gd name="connsiteY3350" fmla="*/ 3815969 h 6858000"/>
              <a:gd name="connsiteX3351" fmla="*/ 1308281 w 6781956"/>
              <a:gd name="connsiteY3351" fmla="*/ 3827595 h 6858000"/>
              <a:gd name="connsiteX3352" fmla="*/ 1303134 w 6781956"/>
              <a:gd name="connsiteY3352" fmla="*/ 3836894 h 6858000"/>
              <a:gd name="connsiteX3353" fmla="*/ 1306222 w 6781956"/>
              <a:gd name="connsiteY3353" fmla="*/ 3852008 h 6858000"/>
              <a:gd name="connsiteX3354" fmla="*/ 1301075 w 6781956"/>
              <a:gd name="connsiteY3354" fmla="*/ 3861308 h 6858000"/>
              <a:gd name="connsiteX3355" fmla="*/ 1302104 w 6781956"/>
              <a:gd name="connsiteY3355" fmla="*/ 3868283 h 6858000"/>
              <a:gd name="connsiteX3356" fmla="*/ 1293868 w 6781956"/>
              <a:gd name="connsiteY3356" fmla="*/ 3893859 h 6858000"/>
              <a:gd name="connsiteX3357" fmla="*/ 1294897 w 6781956"/>
              <a:gd name="connsiteY3357" fmla="*/ 3900833 h 6858000"/>
              <a:gd name="connsiteX3358" fmla="*/ 1282544 w 6781956"/>
              <a:gd name="connsiteY3358" fmla="*/ 3935710 h 6858000"/>
              <a:gd name="connsiteX3359" fmla="*/ 1285632 w 6781956"/>
              <a:gd name="connsiteY3359" fmla="*/ 3950822 h 6858000"/>
              <a:gd name="connsiteX3360" fmla="*/ 1274308 w 6781956"/>
              <a:gd name="connsiteY3360" fmla="*/ 3972910 h 6858000"/>
              <a:gd name="connsiteX3361" fmla="*/ 1277395 w 6781956"/>
              <a:gd name="connsiteY3361" fmla="*/ 3988023 h 6858000"/>
              <a:gd name="connsiteX3362" fmla="*/ 1269160 w 6781956"/>
              <a:gd name="connsiteY3362" fmla="*/ 4013599 h 6858000"/>
              <a:gd name="connsiteX3363" fmla="*/ 1270189 w 6781956"/>
              <a:gd name="connsiteY3363" fmla="*/ 4020575 h 6858000"/>
              <a:gd name="connsiteX3364" fmla="*/ 1259895 w 6781956"/>
              <a:gd name="connsiteY3364" fmla="*/ 4050800 h 6858000"/>
              <a:gd name="connsiteX3365" fmla="*/ 1260925 w 6781956"/>
              <a:gd name="connsiteY3365" fmla="*/ 4057775 h 6858000"/>
              <a:gd name="connsiteX3366" fmla="*/ 1243422 w 6781956"/>
              <a:gd name="connsiteY3366" fmla="*/ 4132178 h 6858000"/>
              <a:gd name="connsiteX3367" fmla="*/ 1235185 w 6781956"/>
              <a:gd name="connsiteY3367" fmla="*/ 4169378 h 6858000"/>
              <a:gd name="connsiteX3368" fmla="*/ 1233127 w 6781956"/>
              <a:gd name="connsiteY3368" fmla="*/ 4192628 h 6858000"/>
              <a:gd name="connsiteX3369" fmla="*/ 1227979 w 6781956"/>
              <a:gd name="connsiteY3369" fmla="*/ 4201929 h 6858000"/>
              <a:gd name="connsiteX3370" fmla="*/ 1224891 w 6781956"/>
              <a:gd name="connsiteY3370" fmla="*/ 4218205 h 6858000"/>
              <a:gd name="connsiteX3371" fmla="*/ 1221802 w 6781956"/>
              <a:gd name="connsiteY3371" fmla="*/ 4234480 h 6858000"/>
              <a:gd name="connsiteX3372" fmla="*/ 1218713 w 6781956"/>
              <a:gd name="connsiteY3372" fmla="*/ 4250755 h 6858000"/>
              <a:gd name="connsiteX3373" fmla="*/ 1207389 w 6781956"/>
              <a:gd name="connsiteY3373" fmla="*/ 4304232 h 6858000"/>
              <a:gd name="connsiteX3374" fmla="*/ 1188858 w 6781956"/>
              <a:gd name="connsiteY3374" fmla="*/ 4360033 h 6858000"/>
              <a:gd name="connsiteX3375" fmla="*/ 1195035 w 6781956"/>
              <a:gd name="connsiteY3375" fmla="*/ 4327482 h 6858000"/>
              <a:gd name="connsiteX3376" fmla="*/ 1194006 w 6781956"/>
              <a:gd name="connsiteY3376" fmla="*/ 4320507 h 6858000"/>
              <a:gd name="connsiteX3377" fmla="*/ 1204301 w 6781956"/>
              <a:gd name="connsiteY3377" fmla="*/ 4290281 h 6858000"/>
              <a:gd name="connsiteX3378" fmla="*/ 1201212 w 6781956"/>
              <a:gd name="connsiteY3378" fmla="*/ 4275169 h 6858000"/>
              <a:gd name="connsiteX3379" fmla="*/ 1208419 w 6781956"/>
              <a:gd name="connsiteY3379" fmla="*/ 4261218 h 6858000"/>
              <a:gd name="connsiteX3380" fmla="*/ 1205330 w 6781956"/>
              <a:gd name="connsiteY3380" fmla="*/ 4246105 h 6858000"/>
              <a:gd name="connsiteX3381" fmla="*/ 1215626 w 6781956"/>
              <a:gd name="connsiteY3381" fmla="*/ 4215879 h 6858000"/>
              <a:gd name="connsiteX3382" fmla="*/ 1211507 w 6781956"/>
              <a:gd name="connsiteY3382" fmla="*/ 4213555 h 6858000"/>
              <a:gd name="connsiteX3383" fmla="*/ 1216654 w 6781956"/>
              <a:gd name="connsiteY3383" fmla="*/ 4204254 h 6858000"/>
              <a:gd name="connsiteX3384" fmla="*/ 1219744 w 6781956"/>
              <a:gd name="connsiteY3384" fmla="*/ 4187979 h 6858000"/>
              <a:gd name="connsiteX3385" fmla="*/ 1230039 w 6781956"/>
              <a:gd name="connsiteY3385" fmla="*/ 4127528 h 6858000"/>
              <a:gd name="connsiteX3386" fmla="*/ 1233127 w 6781956"/>
              <a:gd name="connsiteY3386" fmla="*/ 4111252 h 6858000"/>
              <a:gd name="connsiteX3387" fmla="*/ 1238275 w 6781956"/>
              <a:gd name="connsiteY3387" fmla="*/ 4090326 h 6858000"/>
              <a:gd name="connsiteX3388" fmla="*/ 1235185 w 6781956"/>
              <a:gd name="connsiteY3388" fmla="*/ 4075213 h 6858000"/>
              <a:gd name="connsiteX3389" fmla="*/ 1245482 w 6781956"/>
              <a:gd name="connsiteY3389" fmla="*/ 4044987 h 6858000"/>
              <a:gd name="connsiteX3390" fmla="*/ 1241363 w 6781956"/>
              <a:gd name="connsiteY3390" fmla="*/ 4042663 h 6858000"/>
              <a:gd name="connsiteX3391" fmla="*/ 1246511 w 6781956"/>
              <a:gd name="connsiteY3391" fmla="*/ 4033362 h 6858000"/>
              <a:gd name="connsiteX3392" fmla="*/ 1258865 w 6781956"/>
              <a:gd name="connsiteY3392" fmla="*/ 3968261 h 6858000"/>
              <a:gd name="connsiteX3393" fmla="*/ 1257835 w 6781956"/>
              <a:gd name="connsiteY3393" fmla="*/ 3961286 h 6858000"/>
              <a:gd name="connsiteX3394" fmla="*/ 1268130 w 6781956"/>
              <a:gd name="connsiteY3394" fmla="*/ 3931059 h 6858000"/>
              <a:gd name="connsiteX3395" fmla="*/ 1265041 w 6781956"/>
              <a:gd name="connsiteY3395" fmla="*/ 3915946 h 6858000"/>
              <a:gd name="connsiteX3396" fmla="*/ 1278425 w 6781956"/>
              <a:gd name="connsiteY3396" fmla="*/ 3869446 h 6858000"/>
              <a:gd name="connsiteX3397" fmla="*/ 1275338 w 6781956"/>
              <a:gd name="connsiteY3397" fmla="*/ 3854332 h 6858000"/>
              <a:gd name="connsiteX3398" fmla="*/ 1280484 w 6781956"/>
              <a:gd name="connsiteY3398" fmla="*/ 3833407 h 6858000"/>
              <a:gd name="connsiteX3399" fmla="*/ 1279455 w 6781956"/>
              <a:gd name="connsiteY3399" fmla="*/ 3826432 h 6858000"/>
              <a:gd name="connsiteX3400" fmla="*/ 1282544 w 6781956"/>
              <a:gd name="connsiteY3400" fmla="*/ 3810157 h 6858000"/>
              <a:gd name="connsiteX3401" fmla="*/ 1289751 w 6781956"/>
              <a:gd name="connsiteY3401" fmla="*/ 3734593 h 6858000"/>
              <a:gd name="connsiteX3402" fmla="*/ 1291810 w 6781956"/>
              <a:gd name="connsiteY3402" fmla="*/ 3729941 h 6858000"/>
              <a:gd name="connsiteX3403" fmla="*/ 1290779 w 6781956"/>
              <a:gd name="connsiteY3403" fmla="*/ 3722967 h 6858000"/>
              <a:gd name="connsiteX3404" fmla="*/ 1302104 w 6781956"/>
              <a:gd name="connsiteY3404" fmla="*/ 3649728 h 6858000"/>
              <a:gd name="connsiteX3405" fmla="*/ 1315488 w 6781956"/>
              <a:gd name="connsiteY3405" fmla="*/ 3573000 h 6858000"/>
              <a:gd name="connsiteX3406" fmla="*/ 1325783 w 6781956"/>
              <a:gd name="connsiteY3406" fmla="*/ 3574162 h 6858000"/>
              <a:gd name="connsiteX3407" fmla="*/ 1330931 w 6781956"/>
              <a:gd name="connsiteY3407" fmla="*/ 3553237 h 6858000"/>
              <a:gd name="connsiteX3408" fmla="*/ 1326812 w 6781956"/>
              <a:gd name="connsiteY3408" fmla="*/ 3550912 h 6858000"/>
              <a:gd name="connsiteX3409" fmla="*/ 1331960 w 6781956"/>
              <a:gd name="connsiteY3409" fmla="*/ 3529986 h 6858000"/>
              <a:gd name="connsiteX3410" fmla="*/ 1321665 w 6781956"/>
              <a:gd name="connsiteY3410" fmla="*/ 3497436 h 6858000"/>
              <a:gd name="connsiteX3411" fmla="*/ 1335049 w 6781956"/>
              <a:gd name="connsiteY3411" fmla="*/ 3450935 h 6858000"/>
              <a:gd name="connsiteX3412" fmla="*/ 1340195 w 6781956"/>
              <a:gd name="connsiteY3412" fmla="*/ 3380021 h 6858000"/>
              <a:gd name="connsiteX3413" fmla="*/ 1339166 w 6781956"/>
              <a:gd name="connsiteY3413" fmla="*/ 3373045 h 6858000"/>
              <a:gd name="connsiteX3414" fmla="*/ 1349462 w 6781956"/>
              <a:gd name="connsiteY3414" fmla="*/ 3342819 h 6858000"/>
              <a:gd name="connsiteX3415" fmla="*/ 1344314 w 6781956"/>
              <a:gd name="connsiteY3415" fmla="*/ 3332356 h 6858000"/>
              <a:gd name="connsiteX3416" fmla="*/ 1347403 w 6781956"/>
              <a:gd name="connsiteY3416" fmla="*/ 3316081 h 6858000"/>
              <a:gd name="connsiteX3417" fmla="*/ 1351521 w 6781956"/>
              <a:gd name="connsiteY3417" fmla="*/ 3288180 h 6858000"/>
              <a:gd name="connsiteX3418" fmla="*/ 1346373 w 6781956"/>
              <a:gd name="connsiteY3418" fmla="*/ 3277717 h 6858000"/>
              <a:gd name="connsiteX3419" fmla="*/ 1349462 w 6781956"/>
              <a:gd name="connsiteY3419" fmla="*/ 3261442 h 6858000"/>
              <a:gd name="connsiteX3420" fmla="*/ 1355638 w 6781956"/>
              <a:gd name="connsiteY3420" fmla="*/ 3228891 h 6858000"/>
              <a:gd name="connsiteX3421" fmla="*/ 1347403 w 6781956"/>
              <a:gd name="connsiteY3421" fmla="*/ 3204479 h 6858000"/>
              <a:gd name="connsiteX3422" fmla="*/ 1352551 w 6781956"/>
              <a:gd name="connsiteY3422" fmla="*/ 3195178 h 6858000"/>
              <a:gd name="connsiteX3423" fmla="*/ 1348433 w 6781956"/>
              <a:gd name="connsiteY3423" fmla="*/ 3192853 h 6858000"/>
              <a:gd name="connsiteX3424" fmla="*/ 1353581 w 6781956"/>
              <a:gd name="connsiteY3424" fmla="*/ 3183552 h 6858000"/>
              <a:gd name="connsiteX3425" fmla="*/ 1349462 w 6781956"/>
              <a:gd name="connsiteY3425" fmla="*/ 3181228 h 6858000"/>
              <a:gd name="connsiteX3426" fmla="*/ 1354609 w 6781956"/>
              <a:gd name="connsiteY3426" fmla="*/ 3171927 h 6858000"/>
              <a:gd name="connsiteX3427" fmla="*/ 1350491 w 6781956"/>
              <a:gd name="connsiteY3427" fmla="*/ 3149840 h 6858000"/>
              <a:gd name="connsiteX3428" fmla="*/ 1353581 w 6781956"/>
              <a:gd name="connsiteY3428" fmla="*/ 3133563 h 6858000"/>
              <a:gd name="connsiteX3429" fmla="*/ 1358727 w 6781956"/>
              <a:gd name="connsiteY3429" fmla="*/ 3124263 h 6858000"/>
              <a:gd name="connsiteX3430" fmla="*/ 1355638 w 6781956"/>
              <a:gd name="connsiteY3430" fmla="*/ 3109150 h 6858000"/>
              <a:gd name="connsiteX3431" fmla="*/ 1357697 w 6781956"/>
              <a:gd name="connsiteY3431" fmla="*/ 3085900 h 6858000"/>
              <a:gd name="connsiteX3432" fmla="*/ 1356668 w 6781956"/>
              <a:gd name="connsiteY3432" fmla="*/ 3067299 h 6858000"/>
              <a:gd name="connsiteX3433" fmla="*/ 1354609 w 6781956"/>
              <a:gd name="connsiteY3433" fmla="*/ 3040560 h 6858000"/>
              <a:gd name="connsiteX3434" fmla="*/ 1359757 w 6781956"/>
              <a:gd name="connsiteY3434" fmla="*/ 3019636 h 6858000"/>
              <a:gd name="connsiteX3435" fmla="*/ 1358727 w 6781956"/>
              <a:gd name="connsiteY3435" fmla="*/ 3001035 h 6858000"/>
              <a:gd name="connsiteX3436" fmla="*/ 1365934 w 6781956"/>
              <a:gd name="connsiteY3436" fmla="*/ 3018474 h 6858000"/>
              <a:gd name="connsiteX3437" fmla="*/ 1366964 w 6781956"/>
              <a:gd name="connsiteY3437" fmla="*/ 2975460 h 6858000"/>
              <a:gd name="connsiteX3438" fmla="*/ 1355638 w 6781956"/>
              <a:gd name="connsiteY3438" fmla="*/ 2985922 h 6858000"/>
              <a:gd name="connsiteX3439" fmla="*/ 1355362 w 6781956"/>
              <a:gd name="connsiteY3439" fmla="*/ 2978589 h 6858000"/>
              <a:gd name="connsiteX3440" fmla="*/ 1356667 w 6781956"/>
              <a:gd name="connsiteY3440" fmla="*/ 2976625 h 6858000"/>
              <a:gd name="connsiteX3441" fmla="*/ 1356667 w 6781956"/>
              <a:gd name="connsiteY3441" fmla="*/ 2960349 h 6858000"/>
              <a:gd name="connsiteX3442" fmla="*/ 1359756 w 6781956"/>
              <a:gd name="connsiteY3442" fmla="*/ 2955699 h 6858000"/>
              <a:gd name="connsiteX3443" fmla="*/ 1364903 w 6781956"/>
              <a:gd name="connsiteY3443" fmla="*/ 2909198 h 6858000"/>
              <a:gd name="connsiteX3444" fmla="*/ 1364903 w 6781956"/>
              <a:gd name="connsiteY3444" fmla="*/ 2901061 h 6858000"/>
              <a:gd name="connsiteX3445" fmla="*/ 1370050 w 6781956"/>
              <a:gd name="connsiteY3445" fmla="*/ 2871996 h 6858000"/>
              <a:gd name="connsiteX3446" fmla="*/ 1375198 w 6781956"/>
              <a:gd name="connsiteY3446" fmla="*/ 2830145 h 6858000"/>
              <a:gd name="connsiteX3447" fmla="*/ 1374169 w 6781956"/>
              <a:gd name="connsiteY3447" fmla="*/ 2809220 h 6858000"/>
              <a:gd name="connsiteX3448" fmla="*/ 1380346 w 6781956"/>
              <a:gd name="connsiteY3448" fmla="*/ 2788295 h 6858000"/>
              <a:gd name="connsiteX3449" fmla="*/ 1379317 w 6781956"/>
              <a:gd name="connsiteY3449" fmla="*/ 2746443 h 6858000"/>
              <a:gd name="connsiteX3450" fmla="*/ 1382406 w 6781956"/>
              <a:gd name="connsiteY3450" fmla="*/ 2730168 h 6858000"/>
              <a:gd name="connsiteX3451" fmla="*/ 1384463 w 6781956"/>
              <a:gd name="connsiteY3451" fmla="*/ 2692966 h 6858000"/>
              <a:gd name="connsiteX3452" fmla="*/ 1385606 w 6781956"/>
              <a:gd name="connsiteY3452" fmla="*/ 2684263 h 6858000"/>
              <a:gd name="connsiteX3453" fmla="*/ 1389226 w 6781956"/>
              <a:gd name="connsiteY3453" fmla="*/ 2675091 h 6858000"/>
              <a:gd name="connsiteX3454" fmla="*/ 1387491 w 6781956"/>
              <a:gd name="connsiteY3454" fmla="*/ 2669890 h 6858000"/>
              <a:gd name="connsiteX3455" fmla="*/ 1389392 w 6781956"/>
              <a:gd name="connsiteY3455" fmla="*/ 2655400 h 6858000"/>
              <a:gd name="connsiteX3456" fmla="*/ 1391285 w 6781956"/>
              <a:gd name="connsiteY3456" fmla="*/ 2646754 h 6858000"/>
              <a:gd name="connsiteX3457" fmla="*/ 1390912 w 6781956"/>
              <a:gd name="connsiteY3457" fmla="*/ 2643820 h 6858000"/>
              <a:gd name="connsiteX3458" fmla="*/ 1392700 w 6781956"/>
              <a:gd name="connsiteY3458" fmla="*/ 2630190 h 6858000"/>
              <a:gd name="connsiteX3459" fmla="*/ 1392700 w 6781956"/>
              <a:gd name="connsiteY3459" fmla="*/ 2613915 h 6858000"/>
              <a:gd name="connsiteX3460" fmla="*/ 1393403 w 6781956"/>
              <a:gd name="connsiteY3460" fmla="*/ 2609940 h 6858000"/>
              <a:gd name="connsiteX3461" fmla="*/ 1405056 w 6781956"/>
              <a:gd name="connsiteY3461" fmla="*/ 2645300 h 6858000"/>
              <a:gd name="connsiteX3462" fmla="*/ 1398877 w 6781956"/>
              <a:gd name="connsiteY3462" fmla="*/ 2677852 h 6858000"/>
              <a:gd name="connsiteX3463" fmla="*/ 1408916 w 6781956"/>
              <a:gd name="connsiteY3463" fmla="*/ 2744844 h 6858000"/>
              <a:gd name="connsiteX3464" fmla="*/ 1410432 w 6781956"/>
              <a:gd name="connsiteY3464" fmla="*/ 2763870 h 6858000"/>
              <a:gd name="connsiteX3465" fmla="*/ 1410202 w 6781956"/>
              <a:gd name="connsiteY3465" fmla="*/ 2768531 h 6858000"/>
              <a:gd name="connsiteX3466" fmla="*/ 1407113 w 6781956"/>
              <a:gd name="connsiteY3466" fmla="*/ 2781319 h 6858000"/>
              <a:gd name="connsiteX3467" fmla="*/ 1404024 w 6781956"/>
              <a:gd name="connsiteY3467" fmla="*/ 2785969 h 6858000"/>
              <a:gd name="connsiteX3468" fmla="*/ 1401965 w 6781956"/>
              <a:gd name="connsiteY3468" fmla="*/ 2823171 h 6858000"/>
              <a:gd name="connsiteX3469" fmla="*/ 1408143 w 6781956"/>
              <a:gd name="connsiteY3469" fmla="*/ 2818520 h 6858000"/>
              <a:gd name="connsiteX3470" fmla="*/ 1413788 w 6781956"/>
              <a:gd name="connsiteY3470" fmla="*/ 2806011 h 6858000"/>
              <a:gd name="connsiteX3471" fmla="*/ 1414320 w 6781956"/>
              <a:gd name="connsiteY3471" fmla="*/ 2812706 h 6858000"/>
              <a:gd name="connsiteX3472" fmla="*/ 1411715 w 6781956"/>
              <a:gd name="connsiteY3472" fmla="*/ 2848018 h 6858000"/>
              <a:gd name="connsiteX3473" fmla="*/ 1411778 w 6781956"/>
              <a:gd name="connsiteY3473" fmla="*/ 2848128 h 6858000"/>
              <a:gd name="connsiteX3474" fmla="*/ 1407114 w 6781956"/>
              <a:gd name="connsiteY3474" fmla="*/ 2896407 h 6858000"/>
              <a:gd name="connsiteX3475" fmla="*/ 1410203 w 6781956"/>
              <a:gd name="connsiteY3475" fmla="*/ 2911521 h 6858000"/>
              <a:gd name="connsiteX3476" fmla="*/ 1407114 w 6781956"/>
              <a:gd name="connsiteY3476" fmla="*/ 2927795 h 6858000"/>
              <a:gd name="connsiteX3477" fmla="*/ 1410203 w 6781956"/>
              <a:gd name="connsiteY3477" fmla="*/ 2942908 h 6858000"/>
              <a:gd name="connsiteX3478" fmla="*/ 1411233 w 6781956"/>
              <a:gd name="connsiteY3478" fmla="*/ 2961509 h 6858000"/>
              <a:gd name="connsiteX3479" fmla="*/ 1412262 w 6781956"/>
              <a:gd name="connsiteY3479" fmla="*/ 2925471 h 6858000"/>
              <a:gd name="connsiteX3480" fmla="*/ 1414320 w 6781956"/>
              <a:gd name="connsiteY3480" fmla="*/ 2920822 h 6858000"/>
              <a:gd name="connsiteX3481" fmla="*/ 1413291 w 6781956"/>
              <a:gd name="connsiteY3481" fmla="*/ 2913845 h 6858000"/>
              <a:gd name="connsiteX3482" fmla="*/ 1421527 w 6781956"/>
              <a:gd name="connsiteY3482" fmla="*/ 2876645 h 6858000"/>
              <a:gd name="connsiteX3483" fmla="*/ 1419855 w 6781956"/>
              <a:gd name="connsiteY3483" fmla="*/ 2865600 h 6858000"/>
              <a:gd name="connsiteX3484" fmla="*/ 1417973 w 6781956"/>
              <a:gd name="connsiteY3484" fmla="*/ 2857095 h 6858000"/>
              <a:gd name="connsiteX3485" fmla="*/ 1424391 w 6781956"/>
              <a:gd name="connsiteY3485" fmla="*/ 2846274 h 6858000"/>
              <a:gd name="connsiteX3486" fmla="*/ 1428734 w 6781956"/>
              <a:gd name="connsiteY3486" fmla="*/ 2816193 h 6858000"/>
              <a:gd name="connsiteX3487" fmla="*/ 1421527 w 6781956"/>
              <a:gd name="connsiteY3487" fmla="*/ 2780153 h 6858000"/>
              <a:gd name="connsiteX3488" fmla="*/ 1419422 w 6781956"/>
              <a:gd name="connsiteY3488" fmla="*/ 2763515 h 6858000"/>
              <a:gd name="connsiteX3489" fmla="*/ 1425901 w 6781956"/>
              <a:gd name="connsiteY3489" fmla="*/ 2752836 h 6858000"/>
              <a:gd name="connsiteX3490" fmla="*/ 1430792 w 6781956"/>
              <a:gd name="connsiteY3490" fmla="*/ 2730168 h 6858000"/>
              <a:gd name="connsiteX3491" fmla="*/ 1420496 w 6781956"/>
              <a:gd name="connsiteY3491" fmla="*/ 2713892 h 6858000"/>
              <a:gd name="connsiteX3492" fmla="*/ 1426674 w 6781956"/>
              <a:gd name="connsiteY3492" fmla="*/ 2701105 h 6858000"/>
              <a:gd name="connsiteX3493" fmla="*/ 1426674 w 6781956"/>
              <a:gd name="connsiteY3493" fmla="*/ 2705754 h 6858000"/>
              <a:gd name="connsiteX3494" fmla="*/ 1423586 w 6781956"/>
              <a:gd name="connsiteY3494" fmla="*/ 2689479 h 6858000"/>
              <a:gd name="connsiteX3495" fmla="*/ 1422556 w 6781956"/>
              <a:gd name="connsiteY3495" fmla="*/ 2660416 h 6858000"/>
              <a:gd name="connsiteX3496" fmla="*/ 1422556 w 6781956"/>
              <a:gd name="connsiteY3496" fmla="*/ 2652278 h 6858000"/>
              <a:gd name="connsiteX3497" fmla="*/ 1425645 w 6781956"/>
              <a:gd name="connsiteY3497" fmla="*/ 2631353 h 6858000"/>
              <a:gd name="connsiteX3498" fmla="*/ 1419467 w 6781956"/>
              <a:gd name="connsiteY3498" fmla="*/ 2615077 h 6858000"/>
              <a:gd name="connsiteX3499" fmla="*/ 1417407 w 6781956"/>
              <a:gd name="connsiteY3499" fmla="*/ 2661578 h 6858000"/>
              <a:gd name="connsiteX3500" fmla="*/ 1417217 w 6781956"/>
              <a:gd name="connsiteY3500" fmla="*/ 2663765 h 6858000"/>
              <a:gd name="connsiteX3501" fmla="*/ 1413292 w 6781956"/>
              <a:gd name="connsiteY3501" fmla="*/ 2645300 h 6858000"/>
              <a:gd name="connsiteX3502" fmla="*/ 1410203 w 6781956"/>
              <a:gd name="connsiteY3502" fmla="*/ 2630188 h 6858000"/>
              <a:gd name="connsiteX3503" fmla="*/ 1416380 w 6781956"/>
              <a:gd name="connsiteY3503" fmla="*/ 2597637 h 6858000"/>
              <a:gd name="connsiteX3504" fmla="*/ 1414320 w 6781956"/>
              <a:gd name="connsiteY3504" fmla="*/ 2570899 h 6858000"/>
              <a:gd name="connsiteX3505" fmla="*/ 1409174 w 6781956"/>
              <a:gd name="connsiteY3505" fmla="*/ 2560436 h 6858000"/>
              <a:gd name="connsiteX3506" fmla="*/ 1408144 w 6781956"/>
              <a:gd name="connsiteY3506" fmla="*/ 2541836 h 6858000"/>
              <a:gd name="connsiteX3507" fmla="*/ 1404026 w 6781956"/>
              <a:gd name="connsiteY3507" fmla="*/ 2519748 h 6858000"/>
              <a:gd name="connsiteX3508" fmla="*/ 1400320 w 6781956"/>
              <a:gd name="connsiteY3508" fmla="*/ 2517949 h 6858000"/>
              <a:gd name="connsiteX3509" fmla="*/ 1398876 w 6781956"/>
              <a:gd name="connsiteY3509" fmla="*/ 2459298 h 6858000"/>
              <a:gd name="connsiteX3510" fmla="*/ 1401965 w 6781956"/>
              <a:gd name="connsiteY3510" fmla="*/ 2446511 h 6858000"/>
              <a:gd name="connsiteX3511" fmla="*/ 1399906 w 6781956"/>
              <a:gd name="connsiteY3511" fmla="*/ 2358158 h 6858000"/>
              <a:gd name="connsiteX3512" fmla="*/ 1402995 w 6781956"/>
              <a:gd name="connsiteY3512" fmla="*/ 2341882 h 6858000"/>
              <a:gd name="connsiteX3513" fmla="*/ 1399906 w 6781956"/>
              <a:gd name="connsiteY3513" fmla="*/ 2325607 h 6858000"/>
              <a:gd name="connsiteX3514" fmla="*/ 1397847 w 6781956"/>
              <a:gd name="connsiteY3514" fmla="*/ 2262831 h 6858000"/>
              <a:gd name="connsiteX3515" fmla="*/ 1400936 w 6781956"/>
              <a:gd name="connsiteY3515" fmla="*/ 2246556 h 6858000"/>
              <a:gd name="connsiteX3516" fmla="*/ 1396817 w 6781956"/>
              <a:gd name="connsiteY3516" fmla="*/ 2225629 h 6858000"/>
              <a:gd name="connsiteX3517" fmla="*/ 1399906 w 6781956"/>
              <a:gd name="connsiteY3517" fmla="*/ 2204705 h 6858000"/>
              <a:gd name="connsiteX3518" fmla="*/ 1398876 w 6781956"/>
              <a:gd name="connsiteY3518" fmla="*/ 2150065 h 6858000"/>
              <a:gd name="connsiteX3519" fmla="*/ 1401965 w 6781956"/>
              <a:gd name="connsiteY3519" fmla="*/ 2133790 h 6858000"/>
              <a:gd name="connsiteX3520" fmla="*/ 1407113 w 6781956"/>
              <a:gd name="connsiteY3520" fmla="*/ 2095427 h 6858000"/>
              <a:gd name="connsiteX3521" fmla="*/ 1550214 w 6781956"/>
              <a:gd name="connsiteY3521" fmla="*/ 2088452 h 6858000"/>
              <a:gd name="connsiteX3522" fmla="*/ 1556392 w 6781956"/>
              <a:gd name="connsiteY3522" fmla="*/ 2104727 h 6858000"/>
              <a:gd name="connsiteX3523" fmla="*/ 1550214 w 6781956"/>
              <a:gd name="connsiteY3523" fmla="*/ 2088452 h 6858000"/>
              <a:gd name="connsiteX3524" fmla="*/ 1493592 w 6781956"/>
              <a:gd name="connsiteY3524" fmla="*/ 2075663 h 6858000"/>
              <a:gd name="connsiteX3525" fmla="*/ 1499769 w 6781956"/>
              <a:gd name="connsiteY3525" fmla="*/ 2079151 h 6858000"/>
              <a:gd name="connsiteX3526" fmla="*/ 1499769 w 6781956"/>
              <a:gd name="connsiteY3526" fmla="*/ 2088452 h 6858000"/>
              <a:gd name="connsiteX3527" fmla="*/ 1493592 w 6781956"/>
              <a:gd name="connsiteY3527" fmla="*/ 2075663 h 6858000"/>
              <a:gd name="connsiteX3528" fmla="*/ 1557422 w 6781956"/>
              <a:gd name="connsiteY3528" fmla="*/ 2037300 h 6858000"/>
              <a:gd name="connsiteX3529" fmla="*/ 1549187 w 6781956"/>
              <a:gd name="connsiteY3529" fmla="*/ 2079151 h 6858000"/>
              <a:gd name="connsiteX3530" fmla="*/ 1557422 w 6781956"/>
              <a:gd name="connsiteY3530" fmla="*/ 2037300 h 6858000"/>
              <a:gd name="connsiteX3531" fmla="*/ 1491532 w 6781956"/>
              <a:gd name="connsiteY3531" fmla="*/ 2017537 h 6858000"/>
              <a:gd name="connsiteX3532" fmla="*/ 1492562 w 6781956"/>
              <a:gd name="connsiteY3532" fmla="*/ 2051250 h 6858000"/>
              <a:gd name="connsiteX3533" fmla="*/ 1491532 w 6781956"/>
              <a:gd name="connsiteY3533" fmla="*/ 2017537 h 6858000"/>
              <a:gd name="connsiteX3534" fmla="*/ 1640813 w 6781956"/>
              <a:gd name="connsiteY3534" fmla="*/ 1981498 h 6858000"/>
              <a:gd name="connsiteX3535" fmla="*/ 1646989 w 6781956"/>
              <a:gd name="connsiteY3535" fmla="*/ 1981498 h 6858000"/>
              <a:gd name="connsiteX3536" fmla="*/ 1646989 w 6781956"/>
              <a:gd name="connsiteY3536" fmla="*/ 1989635 h 6858000"/>
              <a:gd name="connsiteX3537" fmla="*/ 1640813 w 6781956"/>
              <a:gd name="connsiteY3537" fmla="*/ 1989635 h 6858000"/>
              <a:gd name="connsiteX3538" fmla="*/ 1640813 w 6781956"/>
              <a:gd name="connsiteY3538" fmla="*/ 1981498 h 6858000"/>
              <a:gd name="connsiteX3539" fmla="*/ 1587277 w 6781956"/>
              <a:gd name="connsiteY3539" fmla="*/ 1965222 h 6858000"/>
              <a:gd name="connsiteX3540" fmla="*/ 1593455 w 6781956"/>
              <a:gd name="connsiteY3540" fmla="*/ 1978011 h 6858000"/>
              <a:gd name="connsiteX3541" fmla="*/ 1591395 w 6781956"/>
              <a:gd name="connsiteY3541" fmla="*/ 2003587 h 6858000"/>
              <a:gd name="connsiteX3542" fmla="*/ 1595514 w 6781956"/>
              <a:gd name="connsiteY3542" fmla="*/ 2024511 h 6858000"/>
              <a:gd name="connsiteX3543" fmla="*/ 1595514 w 6781956"/>
              <a:gd name="connsiteY3543" fmla="*/ 2029163 h 6858000"/>
              <a:gd name="connsiteX3544" fmla="*/ 1589337 w 6781956"/>
              <a:gd name="connsiteY3544" fmla="*/ 2061713 h 6858000"/>
              <a:gd name="connsiteX3545" fmla="*/ 1588307 w 6781956"/>
              <a:gd name="connsiteY3545" fmla="*/ 2007073 h 6858000"/>
              <a:gd name="connsiteX3546" fmla="*/ 1582130 w 6781956"/>
              <a:gd name="connsiteY3546" fmla="*/ 1990798 h 6858000"/>
              <a:gd name="connsiteX3547" fmla="*/ 1587277 w 6781956"/>
              <a:gd name="connsiteY3547" fmla="*/ 1965222 h 6858000"/>
              <a:gd name="connsiteX3548" fmla="*/ 1427703 w 6781956"/>
              <a:gd name="connsiteY3548" fmla="*/ 1954759 h 6858000"/>
              <a:gd name="connsiteX3549" fmla="*/ 1441088 w 6781956"/>
              <a:gd name="connsiteY3549" fmla="*/ 1988474 h 6858000"/>
              <a:gd name="connsiteX3550" fmla="*/ 1435939 w 6781956"/>
              <a:gd name="connsiteY3550" fmla="*/ 2038463 h 6858000"/>
              <a:gd name="connsiteX3551" fmla="*/ 1448293 w 6781956"/>
              <a:gd name="connsiteY3551" fmla="*/ 2033812 h 6858000"/>
              <a:gd name="connsiteX3552" fmla="*/ 1450352 w 6781956"/>
              <a:gd name="connsiteY3552" fmla="*/ 2101239 h 6858000"/>
              <a:gd name="connsiteX3553" fmla="*/ 1434910 w 6781956"/>
              <a:gd name="connsiteY3553" fmla="*/ 2097750 h 6858000"/>
              <a:gd name="connsiteX3554" fmla="*/ 1435939 w 6781956"/>
              <a:gd name="connsiteY3554" fmla="*/ 2134953 h 6858000"/>
              <a:gd name="connsiteX3555" fmla="*/ 1439028 w 6781956"/>
              <a:gd name="connsiteY3555" fmla="*/ 2139603 h 6858000"/>
              <a:gd name="connsiteX3556" fmla="*/ 1435939 w 6781956"/>
              <a:gd name="connsiteY3556" fmla="*/ 2147741 h 6858000"/>
              <a:gd name="connsiteX3557" fmla="*/ 1453441 w 6781956"/>
              <a:gd name="connsiteY3557" fmla="*/ 2115189 h 6858000"/>
              <a:gd name="connsiteX3558" fmla="*/ 1451382 w 6781956"/>
              <a:gd name="connsiteY3558" fmla="*/ 2157039 h 6858000"/>
              <a:gd name="connsiteX3559" fmla="*/ 1451382 w 6781956"/>
              <a:gd name="connsiteY3559" fmla="*/ 2169828 h 6858000"/>
              <a:gd name="connsiteX3560" fmla="*/ 1457559 w 6781956"/>
              <a:gd name="connsiteY3560" fmla="*/ 2173315 h 6858000"/>
              <a:gd name="connsiteX3561" fmla="*/ 1454471 w 6781956"/>
              <a:gd name="connsiteY3561" fmla="*/ 2194241 h 6858000"/>
              <a:gd name="connsiteX3562" fmla="*/ 1457559 w 6781956"/>
              <a:gd name="connsiteY3562" fmla="*/ 2202379 h 6858000"/>
              <a:gd name="connsiteX3563" fmla="*/ 1454471 w 6781956"/>
              <a:gd name="connsiteY3563" fmla="*/ 2210517 h 6858000"/>
              <a:gd name="connsiteX3564" fmla="*/ 1439028 w 6781956"/>
              <a:gd name="connsiteY3564" fmla="*/ 2210517 h 6858000"/>
              <a:gd name="connsiteX3565" fmla="*/ 1437999 w 6781956"/>
              <a:gd name="connsiteY3565" fmla="*/ 2286082 h 6858000"/>
              <a:gd name="connsiteX3566" fmla="*/ 1456530 w 6781956"/>
              <a:gd name="connsiteY3566" fmla="*/ 2294219 h 6858000"/>
              <a:gd name="connsiteX3567" fmla="*/ 1452412 w 6781956"/>
              <a:gd name="connsiteY3567" fmla="*/ 2365134 h 6858000"/>
              <a:gd name="connsiteX3568" fmla="*/ 1444175 w 6781956"/>
              <a:gd name="connsiteY3568" fmla="*/ 2307007 h 6858000"/>
              <a:gd name="connsiteX3569" fmla="*/ 1434910 w 6781956"/>
              <a:gd name="connsiteY3569" fmla="*/ 2315145 h 6858000"/>
              <a:gd name="connsiteX3570" fmla="*/ 1423586 w 6781956"/>
              <a:gd name="connsiteY3570" fmla="*/ 2257017 h 6858000"/>
              <a:gd name="connsiteX3571" fmla="*/ 1426674 w 6781956"/>
              <a:gd name="connsiteY3571" fmla="*/ 2147741 h 6858000"/>
              <a:gd name="connsiteX3572" fmla="*/ 1425645 w 6781956"/>
              <a:gd name="connsiteY3572" fmla="*/ 2126815 h 6858000"/>
              <a:gd name="connsiteX3573" fmla="*/ 1422556 w 6781956"/>
              <a:gd name="connsiteY3573" fmla="*/ 2017537 h 6858000"/>
              <a:gd name="connsiteX3574" fmla="*/ 1427703 w 6781956"/>
              <a:gd name="connsiteY3574" fmla="*/ 1954759 h 6858000"/>
              <a:gd name="connsiteX3575" fmla="*/ 1424646 w 6781956"/>
              <a:gd name="connsiteY3575" fmla="*/ 1931272 h 6858000"/>
              <a:gd name="connsiteX3576" fmla="*/ 1429762 w 6781956"/>
              <a:gd name="connsiteY3576" fmla="*/ 1931509 h 6858000"/>
              <a:gd name="connsiteX3577" fmla="*/ 1426674 w 6781956"/>
              <a:gd name="connsiteY3577" fmla="*/ 1947785 h 6858000"/>
              <a:gd name="connsiteX3578" fmla="*/ 1424646 w 6781956"/>
              <a:gd name="connsiteY3578" fmla="*/ 1931272 h 6858000"/>
              <a:gd name="connsiteX3579" fmla="*/ 1554333 w 6781956"/>
              <a:gd name="connsiteY3579" fmla="*/ 1908259 h 6858000"/>
              <a:gd name="connsiteX3580" fmla="*/ 1552274 w 6781956"/>
              <a:gd name="connsiteY3580" fmla="*/ 1933834 h 6858000"/>
              <a:gd name="connsiteX3581" fmla="*/ 1554333 w 6781956"/>
              <a:gd name="connsiteY3581" fmla="*/ 1908259 h 6858000"/>
              <a:gd name="connsiteX3582" fmla="*/ 1644930 w 6781956"/>
              <a:gd name="connsiteY3582" fmla="*/ 1905934 h 6858000"/>
              <a:gd name="connsiteX3583" fmla="*/ 1651107 w 6781956"/>
              <a:gd name="connsiteY3583" fmla="*/ 1905934 h 6858000"/>
              <a:gd name="connsiteX3584" fmla="*/ 1651107 w 6781956"/>
              <a:gd name="connsiteY3584" fmla="*/ 1914071 h 6858000"/>
              <a:gd name="connsiteX3585" fmla="*/ 1644930 w 6781956"/>
              <a:gd name="connsiteY3585" fmla="*/ 1914071 h 6858000"/>
              <a:gd name="connsiteX3586" fmla="*/ 1644930 w 6781956"/>
              <a:gd name="connsiteY3586" fmla="*/ 1905934 h 6858000"/>
              <a:gd name="connsiteX3587" fmla="*/ 1604780 w 6781956"/>
              <a:gd name="connsiteY3587" fmla="*/ 1879195 h 6858000"/>
              <a:gd name="connsiteX3588" fmla="*/ 1617133 w 6781956"/>
              <a:gd name="connsiteY3588" fmla="*/ 1915233 h 6858000"/>
              <a:gd name="connsiteX3589" fmla="*/ 1618163 w 6781956"/>
              <a:gd name="connsiteY3589" fmla="*/ 1944298 h 6858000"/>
              <a:gd name="connsiteX3590" fmla="*/ 1616104 w 6781956"/>
              <a:gd name="connsiteY3590" fmla="*/ 1990798 h 6858000"/>
              <a:gd name="connsiteX3591" fmla="*/ 1623311 w 6781956"/>
              <a:gd name="connsiteY3591" fmla="*/ 2011724 h 6858000"/>
              <a:gd name="connsiteX3592" fmla="*/ 1610957 w 6781956"/>
              <a:gd name="connsiteY3592" fmla="*/ 2032649 h 6858000"/>
              <a:gd name="connsiteX3593" fmla="*/ 1602720 w 6781956"/>
              <a:gd name="connsiteY3593" fmla="*/ 1945460 h 6858000"/>
              <a:gd name="connsiteX3594" fmla="*/ 1599631 w 6781956"/>
              <a:gd name="connsiteY3594" fmla="*/ 1929185 h 6858000"/>
              <a:gd name="connsiteX3595" fmla="*/ 1602720 w 6781956"/>
              <a:gd name="connsiteY3595" fmla="*/ 1916397 h 6858000"/>
              <a:gd name="connsiteX3596" fmla="*/ 1604780 w 6781956"/>
              <a:gd name="connsiteY3596" fmla="*/ 1879195 h 6858000"/>
              <a:gd name="connsiteX3597" fmla="*/ 1240371 w 6781956"/>
              <a:gd name="connsiteY3597" fmla="*/ 1861181 h 6858000"/>
              <a:gd name="connsiteX3598" fmla="*/ 1243421 w 6781956"/>
              <a:gd name="connsiteY3598" fmla="*/ 1861756 h 6858000"/>
              <a:gd name="connsiteX3599" fmla="*/ 1241152 w 6781956"/>
              <a:gd name="connsiteY3599" fmla="*/ 1873283 h 6858000"/>
              <a:gd name="connsiteX3600" fmla="*/ 1240461 w 6781956"/>
              <a:gd name="connsiteY3600" fmla="*/ 1861468 h 6858000"/>
              <a:gd name="connsiteX3601" fmla="*/ 1231067 w 6781956"/>
              <a:gd name="connsiteY3601" fmla="*/ 1859430 h 6858000"/>
              <a:gd name="connsiteX3602" fmla="*/ 1236426 w 6781956"/>
              <a:gd name="connsiteY3602" fmla="*/ 1860439 h 6858000"/>
              <a:gd name="connsiteX3603" fmla="*/ 1235827 w 6781956"/>
              <a:gd name="connsiteY3603" fmla="*/ 1867134 h 6858000"/>
              <a:gd name="connsiteX3604" fmla="*/ 1240681 w 6781956"/>
              <a:gd name="connsiteY3604" fmla="*/ 1875673 h 6858000"/>
              <a:gd name="connsiteX3605" fmla="*/ 1239302 w 6781956"/>
              <a:gd name="connsiteY3605" fmla="*/ 1882680 h 6858000"/>
              <a:gd name="connsiteX3606" fmla="*/ 1226949 w 6781956"/>
              <a:gd name="connsiteY3606" fmla="*/ 1880356 h 6858000"/>
              <a:gd name="connsiteX3607" fmla="*/ 1231067 w 6781956"/>
              <a:gd name="connsiteY3607" fmla="*/ 1859430 h 6858000"/>
              <a:gd name="connsiteX3608" fmla="*/ 1395789 w 6781956"/>
              <a:gd name="connsiteY3608" fmla="*/ 1836182 h 6858000"/>
              <a:gd name="connsiteX3609" fmla="*/ 1399906 w 6781956"/>
              <a:gd name="connsiteY3609" fmla="*/ 1886171 h 6858000"/>
              <a:gd name="connsiteX3610" fmla="*/ 1395789 w 6781956"/>
              <a:gd name="connsiteY3610" fmla="*/ 1836182 h 6858000"/>
              <a:gd name="connsiteX3611" fmla="*/ 1789384 w 6781956"/>
              <a:gd name="connsiteY3611" fmla="*/ 1836055 h 6858000"/>
              <a:gd name="connsiteX3612" fmla="*/ 1791121 w 6781956"/>
              <a:gd name="connsiteY3612" fmla="*/ 1848969 h 6858000"/>
              <a:gd name="connsiteX3613" fmla="*/ 1794209 w 6781956"/>
              <a:gd name="connsiteY3613" fmla="*/ 1836182 h 6858000"/>
              <a:gd name="connsiteX3614" fmla="*/ 1789384 w 6781956"/>
              <a:gd name="connsiteY3614" fmla="*/ 1836055 h 6858000"/>
              <a:gd name="connsiteX3615" fmla="*/ 1244451 w 6781956"/>
              <a:gd name="connsiteY3615" fmla="*/ 1811767 h 6858000"/>
              <a:gd name="connsiteX3616" fmla="*/ 1255776 w 6781956"/>
              <a:gd name="connsiteY3616" fmla="*/ 1821067 h 6858000"/>
              <a:gd name="connsiteX3617" fmla="*/ 1247538 w 6781956"/>
              <a:gd name="connsiteY3617" fmla="*/ 1833854 h 6858000"/>
              <a:gd name="connsiteX3618" fmla="*/ 1236214 w 6781956"/>
              <a:gd name="connsiteY3618" fmla="*/ 1824554 h 6858000"/>
              <a:gd name="connsiteX3619" fmla="*/ 1244451 w 6781956"/>
              <a:gd name="connsiteY3619" fmla="*/ 1811767 h 6858000"/>
              <a:gd name="connsiteX3620" fmla="*/ 1792151 w 6781956"/>
              <a:gd name="connsiteY3620" fmla="*/ 1764105 h 6858000"/>
              <a:gd name="connsiteX3621" fmla="*/ 1785974 w 6781956"/>
              <a:gd name="connsiteY3621" fmla="*/ 1785031 h 6858000"/>
              <a:gd name="connsiteX3622" fmla="*/ 1792151 w 6781956"/>
              <a:gd name="connsiteY3622" fmla="*/ 1764105 h 6858000"/>
              <a:gd name="connsiteX3623" fmla="*/ 1412260 w 6781956"/>
              <a:gd name="connsiteY3623" fmla="*/ 1730391 h 6858000"/>
              <a:gd name="connsiteX3624" fmla="*/ 1419467 w 6781956"/>
              <a:gd name="connsiteY3624" fmla="*/ 1764105 h 6858000"/>
              <a:gd name="connsiteX3625" fmla="*/ 1420496 w 6781956"/>
              <a:gd name="connsiteY3625" fmla="*/ 1789680 h 6858000"/>
              <a:gd name="connsiteX3626" fmla="*/ 1420496 w 6781956"/>
              <a:gd name="connsiteY3626" fmla="*/ 1802468 h 6858000"/>
              <a:gd name="connsiteX3627" fmla="*/ 1424614 w 6781956"/>
              <a:gd name="connsiteY3627" fmla="*/ 1831532 h 6858000"/>
              <a:gd name="connsiteX3628" fmla="*/ 1437999 w 6781956"/>
              <a:gd name="connsiteY3628" fmla="*/ 1852457 h 6858000"/>
              <a:gd name="connsiteX3629" fmla="*/ 1442117 w 6781956"/>
              <a:gd name="connsiteY3629" fmla="*/ 1894309 h 6858000"/>
              <a:gd name="connsiteX3630" fmla="*/ 1432850 w 6781956"/>
              <a:gd name="connsiteY3630" fmla="*/ 1886171 h 6858000"/>
              <a:gd name="connsiteX3631" fmla="*/ 1422556 w 6781956"/>
              <a:gd name="connsiteY3631" fmla="*/ 1889658 h 6858000"/>
              <a:gd name="connsiteX3632" fmla="*/ 1412260 w 6781956"/>
              <a:gd name="connsiteY3632" fmla="*/ 1730391 h 6858000"/>
              <a:gd name="connsiteX3633" fmla="*/ 1549187 w 6781956"/>
              <a:gd name="connsiteY3633" fmla="*/ 1719928 h 6858000"/>
              <a:gd name="connsiteX3634" fmla="*/ 1552274 w 6781956"/>
              <a:gd name="connsiteY3634" fmla="*/ 1728066 h 6858000"/>
              <a:gd name="connsiteX3635" fmla="*/ 1546098 w 6781956"/>
              <a:gd name="connsiteY3635" fmla="*/ 1745504 h 6858000"/>
              <a:gd name="connsiteX3636" fmla="*/ 1549187 w 6781956"/>
              <a:gd name="connsiteY3636" fmla="*/ 1753643 h 6858000"/>
              <a:gd name="connsiteX3637" fmla="*/ 1546098 w 6781956"/>
              <a:gd name="connsiteY3637" fmla="*/ 1758292 h 6858000"/>
              <a:gd name="connsiteX3638" fmla="*/ 1550214 w 6781956"/>
              <a:gd name="connsiteY3638" fmla="*/ 1779217 h 6858000"/>
              <a:gd name="connsiteX3639" fmla="*/ 1551244 w 6781956"/>
              <a:gd name="connsiteY3639" fmla="*/ 1821068 h 6858000"/>
              <a:gd name="connsiteX3640" fmla="*/ 1540949 w 6781956"/>
              <a:gd name="connsiteY3640" fmla="*/ 1866408 h 6858000"/>
              <a:gd name="connsiteX3641" fmla="*/ 1540949 w 6781956"/>
              <a:gd name="connsiteY3641" fmla="*/ 1761781 h 6858000"/>
              <a:gd name="connsiteX3642" fmla="*/ 1544038 w 6781956"/>
              <a:gd name="connsiteY3642" fmla="*/ 1753643 h 6858000"/>
              <a:gd name="connsiteX3643" fmla="*/ 1539920 w 6781956"/>
              <a:gd name="connsiteY3643" fmla="*/ 1724579 h 6858000"/>
              <a:gd name="connsiteX3644" fmla="*/ 1549187 w 6781956"/>
              <a:gd name="connsiteY3644" fmla="*/ 1719928 h 6858000"/>
              <a:gd name="connsiteX3645" fmla="*/ 1785974 w 6781956"/>
              <a:gd name="connsiteY3645" fmla="*/ 1695515 h 6858000"/>
              <a:gd name="connsiteX3646" fmla="*/ 1785974 w 6781956"/>
              <a:gd name="connsiteY3646" fmla="*/ 1708303 h 6858000"/>
              <a:gd name="connsiteX3647" fmla="*/ 1792151 w 6781956"/>
              <a:gd name="connsiteY3647" fmla="*/ 1708303 h 6858000"/>
              <a:gd name="connsiteX3648" fmla="*/ 1792151 w 6781956"/>
              <a:gd name="connsiteY3648" fmla="*/ 1695515 h 6858000"/>
              <a:gd name="connsiteX3649" fmla="*/ 1785974 w 6781956"/>
              <a:gd name="connsiteY3649" fmla="*/ 1695515 h 6858000"/>
              <a:gd name="connsiteX3650" fmla="*/ 1727292 w 6781956"/>
              <a:gd name="connsiteY3650" fmla="*/ 1689703 h 6858000"/>
              <a:gd name="connsiteX3651" fmla="*/ 1733468 w 6781956"/>
              <a:gd name="connsiteY3651" fmla="*/ 1705979 h 6858000"/>
              <a:gd name="connsiteX3652" fmla="*/ 1727292 w 6781956"/>
              <a:gd name="connsiteY3652" fmla="*/ 1689703 h 6858000"/>
              <a:gd name="connsiteX3653" fmla="*/ 1548156 w 6781956"/>
              <a:gd name="connsiteY3653" fmla="*/ 1686215 h 6858000"/>
              <a:gd name="connsiteX3654" fmla="*/ 1538891 w 6781956"/>
              <a:gd name="connsiteY3654" fmla="*/ 1707141 h 6858000"/>
              <a:gd name="connsiteX3655" fmla="*/ 1548156 w 6781956"/>
              <a:gd name="connsiteY3655" fmla="*/ 1686215 h 6858000"/>
              <a:gd name="connsiteX3656" fmla="*/ 1729351 w 6781956"/>
              <a:gd name="connsiteY3656" fmla="*/ 1659478 h 6858000"/>
              <a:gd name="connsiteX3657" fmla="*/ 1735527 w 6781956"/>
              <a:gd name="connsiteY3657" fmla="*/ 1672265 h 6858000"/>
              <a:gd name="connsiteX3658" fmla="*/ 1729351 w 6781956"/>
              <a:gd name="connsiteY3658" fmla="*/ 1659478 h 6858000"/>
              <a:gd name="connsiteX3659" fmla="*/ 1496681 w 6781956"/>
              <a:gd name="connsiteY3659" fmla="*/ 1657152 h 6858000"/>
              <a:gd name="connsiteX3660" fmla="*/ 1500799 w 6781956"/>
              <a:gd name="connsiteY3660" fmla="*/ 1686215 h 6858000"/>
              <a:gd name="connsiteX3661" fmla="*/ 1495651 w 6781956"/>
              <a:gd name="connsiteY3661" fmla="*/ 1711790 h 6858000"/>
              <a:gd name="connsiteX3662" fmla="*/ 1494621 w 6781956"/>
              <a:gd name="connsiteY3662" fmla="*/ 1686215 h 6858000"/>
              <a:gd name="connsiteX3663" fmla="*/ 1496681 w 6781956"/>
              <a:gd name="connsiteY3663" fmla="*/ 1657152 h 6858000"/>
              <a:gd name="connsiteX3664" fmla="*/ 1790092 w 6781956"/>
              <a:gd name="connsiteY3664" fmla="*/ 1623439 h 6858000"/>
              <a:gd name="connsiteX3665" fmla="*/ 1781855 w 6781956"/>
              <a:gd name="connsiteY3665" fmla="*/ 1649015 h 6858000"/>
              <a:gd name="connsiteX3666" fmla="*/ 1790092 w 6781956"/>
              <a:gd name="connsiteY3666" fmla="*/ 1623439 h 6858000"/>
              <a:gd name="connsiteX3667" fmla="*/ 1731441 w 6781956"/>
              <a:gd name="connsiteY3667" fmla="*/ 1619879 h 6858000"/>
              <a:gd name="connsiteX3668" fmla="*/ 1733468 w 6781956"/>
              <a:gd name="connsiteY3668" fmla="*/ 1636226 h 6858000"/>
              <a:gd name="connsiteX3669" fmla="*/ 1736556 w 6781956"/>
              <a:gd name="connsiteY3669" fmla="*/ 1619950 h 6858000"/>
              <a:gd name="connsiteX3670" fmla="*/ 1731441 w 6781956"/>
              <a:gd name="connsiteY3670" fmla="*/ 1619879 h 6858000"/>
              <a:gd name="connsiteX3671" fmla="*/ 1342254 w 6781956"/>
              <a:gd name="connsiteY3671" fmla="*/ 1614138 h 6858000"/>
              <a:gd name="connsiteX3672" fmla="*/ 1349461 w 6781956"/>
              <a:gd name="connsiteY3672" fmla="*/ 1635064 h 6858000"/>
              <a:gd name="connsiteX3673" fmla="*/ 1354607 w 6781956"/>
              <a:gd name="connsiteY3673" fmla="*/ 1710629 h 6858000"/>
              <a:gd name="connsiteX3674" fmla="*/ 1345342 w 6781956"/>
              <a:gd name="connsiteY3674" fmla="*/ 1728066 h 6858000"/>
              <a:gd name="connsiteX3675" fmla="*/ 1352548 w 6781956"/>
              <a:gd name="connsiteY3675" fmla="*/ 1748992 h 6858000"/>
              <a:gd name="connsiteX3676" fmla="*/ 1349461 w 6781956"/>
              <a:gd name="connsiteY3676" fmla="*/ 1753643 h 6858000"/>
              <a:gd name="connsiteX3677" fmla="*/ 1355637 w 6781956"/>
              <a:gd name="connsiteY3677" fmla="*/ 1769918 h 6858000"/>
              <a:gd name="connsiteX3678" fmla="*/ 1355637 w 6781956"/>
              <a:gd name="connsiteY3678" fmla="*/ 1778056 h 6858000"/>
              <a:gd name="connsiteX3679" fmla="*/ 1356667 w 6781956"/>
              <a:gd name="connsiteY3679" fmla="*/ 1836182 h 6858000"/>
              <a:gd name="connsiteX3680" fmla="*/ 1360785 w 6781956"/>
              <a:gd name="connsiteY3680" fmla="*/ 1861757 h 6858000"/>
              <a:gd name="connsiteX3681" fmla="*/ 1362844 w 6781956"/>
              <a:gd name="connsiteY3681" fmla="*/ 1932672 h 6858000"/>
              <a:gd name="connsiteX3682" fmla="*/ 1365933 w 6781956"/>
              <a:gd name="connsiteY3682" fmla="*/ 1945460 h 6858000"/>
              <a:gd name="connsiteX3683" fmla="*/ 1367991 w 6781956"/>
              <a:gd name="connsiteY3683" fmla="*/ 2037300 h 6858000"/>
              <a:gd name="connsiteX3684" fmla="*/ 1364903 w 6781956"/>
              <a:gd name="connsiteY3684" fmla="*/ 2050087 h 6858000"/>
              <a:gd name="connsiteX3685" fmla="*/ 1365933 w 6781956"/>
              <a:gd name="connsiteY3685" fmla="*/ 2083801 h 6858000"/>
              <a:gd name="connsiteX3686" fmla="*/ 1362844 w 6781956"/>
              <a:gd name="connsiteY3686" fmla="*/ 2104727 h 6858000"/>
              <a:gd name="connsiteX3687" fmla="*/ 1366963 w 6781956"/>
              <a:gd name="connsiteY3687" fmla="*/ 2130303 h 6858000"/>
              <a:gd name="connsiteX3688" fmla="*/ 1363874 w 6781956"/>
              <a:gd name="connsiteY3688" fmla="*/ 2151227 h 6858000"/>
              <a:gd name="connsiteX3689" fmla="*/ 1361814 w 6781956"/>
              <a:gd name="connsiteY3689" fmla="*/ 2201217 h 6858000"/>
              <a:gd name="connsiteX3690" fmla="*/ 1372110 w 6781956"/>
              <a:gd name="connsiteY3690" fmla="*/ 2217492 h 6858000"/>
              <a:gd name="connsiteX3691" fmla="*/ 1365933 w 6781956"/>
              <a:gd name="connsiteY3691" fmla="*/ 2234930 h 6858000"/>
              <a:gd name="connsiteX3692" fmla="*/ 1372110 w 6781956"/>
              <a:gd name="connsiteY3692" fmla="*/ 2251205 h 6858000"/>
              <a:gd name="connsiteX3693" fmla="*/ 1374169 w 6781956"/>
              <a:gd name="connsiteY3693" fmla="*/ 2343045 h 6858000"/>
              <a:gd name="connsiteX3694" fmla="*/ 1371080 w 6781956"/>
              <a:gd name="connsiteY3694" fmla="*/ 2359320 h 6858000"/>
              <a:gd name="connsiteX3695" fmla="*/ 1374169 w 6781956"/>
              <a:gd name="connsiteY3695" fmla="*/ 2372109 h 6858000"/>
              <a:gd name="connsiteX3696" fmla="*/ 1371080 w 6781956"/>
              <a:gd name="connsiteY3696" fmla="*/ 2388384 h 6858000"/>
              <a:gd name="connsiteX3697" fmla="*/ 1369021 w 6781956"/>
              <a:gd name="connsiteY3697" fmla="*/ 2434885 h 6858000"/>
              <a:gd name="connsiteX3698" fmla="*/ 1370050 w 6781956"/>
              <a:gd name="connsiteY3698" fmla="*/ 2463948 h 6858000"/>
              <a:gd name="connsiteX3699" fmla="*/ 1363874 w 6781956"/>
              <a:gd name="connsiteY3699" fmla="*/ 2484874 h 6858000"/>
              <a:gd name="connsiteX3700" fmla="*/ 1364122 w 6781956"/>
              <a:gd name="connsiteY3700" fmla="*/ 2496091 h 6858000"/>
              <a:gd name="connsiteX3701" fmla="*/ 1351521 w 6781956"/>
              <a:gd name="connsiteY3701" fmla="*/ 2487196 h 6858000"/>
              <a:gd name="connsiteX3702" fmla="*/ 1350522 w 6781956"/>
              <a:gd name="connsiteY3702" fmla="*/ 2486904 h 6858000"/>
              <a:gd name="connsiteX3703" fmla="*/ 1352548 w 6781956"/>
              <a:gd name="connsiteY3703" fmla="*/ 2468598 h 6858000"/>
              <a:gd name="connsiteX3704" fmla="*/ 1354607 w 6781956"/>
              <a:gd name="connsiteY3704" fmla="*/ 2434885 h 6858000"/>
              <a:gd name="connsiteX3705" fmla="*/ 1353579 w 6781956"/>
              <a:gd name="connsiteY3705" fmla="*/ 2401171 h 6858000"/>
              <a:gd name="connsiteX3706" fmla="*/ 1356667 w 6781956"/>
              <a:gd name="connsiteY3706" fmla="*/ 2388384 h 6858000"/>
              <a:gd name="connsiteX3707" fmla="*/ 1354607 w 6781956"/>
              <a:gd name="connsiteY3707" fmla="*/ 2317469 h 6858000"/>
              <a:gd name="connsiteX3708" fmla="*/ 1351520 w 6781956"/>
              <a:gd name="connsiteY3708" fmla="*/ 2309332 h 6858000"/>
              <a:gd name="connsiteX3709" fmla="*/ 1350490 w 6781956"/>
              <a:gd name="connsiteY3709" fmla="*/ 2272131 h 6858000"/>
              <a:gd name="connsiteX3710" fmla="*/ 1347401 w 6781956"/>
              <a:gd name="connsiteY3710" fmla="*/ 2259343 h 6858000"/>
              <a:gd name="connsiteX3711" fmla="*/ 1350490 w 6781956"/>
              <a:gd name="connsiteY3711" fmla="*/ 2246556 h 6858000"/>
              <a:gd name="connsiteX3712" fmla="*/ 1347401 w 6781956"/>
              <a:gd name="connsiteY3712" fmla="*/ 2230280 h 6858000"/>
              <a:gd name="connsiteX3713" fmla="*/ 1349461 w 6781956"/>
              <a:gd name="connsiteY3713" fmla="*/ 2180291 h 6858000"/>
              <a:gd name="connsiteX3714" fmla="*/ 1346372 w 6781956"/>
              <a:gd name="connsiteY3714" fmla="*/ 2167503 h 6858000"/>
              <a:gd name="connsiteX3715" fmla="*/ 1349461 w 6781956"/>
              <a:gd name="connsiteY3715" fmla="*/ 2151227 h 6858000"/>
              <a:gd name="connsiteX3716" fmla="*/ 1348431 w 6781956"/>
              <a:gd name="connsiteY3716" fmla="*/ 2122164 h 6858000"/>
              <a:gd name="connsiteX3717" fmla="*/ 1354607 w 6781956"/>
              <a:gd name="connsiteY3717" fmla="*/ 2101239 h 6858000"/>
              <a:gd name="connsiteX3718" fmla="*/ 1351520 w 6781956"/>
              <a:gd name="connsiteY3718" fmla="*/ 2088452 h 6858000"/>
              <a:gd name="connsiteX3719" fmla="*/ 1354607 w 6781956"/>
              <a:gd name="connsiteY3719" fmla="*/ 2072176 h 6858000"/>
              <a:gd name="connsiteX3720" fmla="*/ 1353579 w 6781956"/>
              <a:gd name="connsiteY3720" fmla="*/ 2022186 h 6858000"/>
              <a:gd name="connsiteX3721" fmla="*/ 1343283 w 6781956"/>
              <a:gd name="connsiteY3721" fmla="*/ 1997774 h 6858000"/>
              <a:gd name="connsiteX3722" fmla="*/ 1342254 w 6781956"/>
              <a:gd name="connsiteY3722" fmla="*/ 1951273 h 6858000"/>
              <a:gd name="connsiteX3723" fmla="*/ 1351520 w 6781956"/>
              <a:gd name="connsiteY3723" fmla="*/ 1933834 h 6858000"/>
              <a:gd name="connsiteX3724" fmla="*/ 1347401 w 6781956"/>
              <a:gd name="connsiteY3724" fmla="*/ 1891983 h 6858000"/>
              <a:gd name="connsiteX3725" fmla="*/ 1346372 w 6781956"/>
              <a:gd name="connsiteY3725" fmla="*/ 1845482 h 6858000"/>
              <a:gd name="connsiteX3726" fmla="*/ 1349461 w 6781956"/>
              <a:gd name="connsiteY3726" fmla="*/ 1829207 h 6858000"/>
              <a:gd name="connsiteX3727" fmla="*/ 1346372 w 6781956"/>
              <a:gd name="connsiteY3727" fmla="*/ 1812931 h 6858000"/>
              <a:gd name="connsiteX3728" fmla="*/ 1349461 w 6781956"/>
              <a:gd name="connsiteY3728" fmla="*/ 1792006 h 6858000"/>
              <a:gd name="connsiteX3729" fmla="*/ 1339164 w 6781956"/>
              <a:gd name="connsiteY3729" fmla="*/ 1775730 h 6858000"/>
              <a:gd name="connsiteX3730" fmla="*/ 1341224 w 6781956"/>
              <a:gd name="connsiteY3730" fmla="*/ 1725742 h 6858000"/>
              <a:gd name="connsiteX3731" fmla="*/ 1338136 w 6781956"/>
              <a:gd name="connsiteY3731" fmla="*/ 1709466 h 6858000"/>
              <a:gd name="connsiteX3732" fmla="*/ 1341224 w 6781956"/>
              <a:gd name="connsiteY3732" fmla="*/ 1693191 h 6858000"/>
              <a:gd name="connsiteX3733" fmla="*/ 1340194 w 6781956"/>
              <a:gd name="connsiteY3733" fmla="*/ 1651340 h 6858000"/>
              <a:gd name="connsiteX3734" fmla="*/ 1342254 w 6781956"/>
              <a:gd name="connsiteY3734" fmla="*/ 1614138 h 6858000"/>
              <a:gd name="connsiteX3735" fmla="*/ 1358726 w 6781956"/>
              <a:gd name="connsiteY3735" fmla="*/ 1599026 h 6858000"/>
              <a:gd name="connsiteX3736" fmla="*/ 1369021 w 6781956"/>
              <a:gd name="connsiteY3736" fmla="*/ 1623439 h 6858000"/>
              <a:gd name="connsiteX3737" fmla="*/ 1376227 w 6781956"/>
              <a:gd name="connsiteY3737" fmla="*/ 1673427 h 6858000"/>
              <a:gd name="connsiteX3738" fmla="*/ 1373139 w 6781956"/>
              <a:gd name="connsiteY3738" fmla="*/ 1681565 h 6858000"/>
              <a:gd name="connsiteX3739" fmla="*/ 1376227 w 6781956"/>
              <a:gd name="connsiteY3739" fmla="*/ 1689703 h 6858000"/>
              <a:gd name="connsiteX3740" fmla="*/ 1377257 w 6781956"/>
              <a:gd name="connsiteY3740" fmla="*/ 1710629 h 6858000"/>
              <a:gd name="connsiteX3741" fmla="*/ 1382406 w 6781956"/>
              <a:gd name="connsiteY3741" fmla="*/ 1773405 h 6858000"/>
              <a:gd name="connsiteX3742" fmla="*/ 1379317 w 6781956"/>
              <a:gd name="connsiteY3742" fmla="*/ 1778056 h 6858000"/>
              <a:gd name="connsiteX3743" fmla="*/ 1385493 w 6781956"/>
              <a:gd name="connsiteY3743" fmla="*/ 1907096 h 6858000"/>
              <a:gd name="connsiteX3744" fmla="*/ 1386523 w 6781956"/>
              <a:gd name="connsiteY3744" fmla="*/ 1928022 h 6858000"/>
              <a:gd name="connsiteX3745" fmla="*/ 1391670 w 6781956"/>
              <a:gd name="connsiteY3745" fmla="*/ 1990798 h 6858000"/>
              <a:gd name="connsiteX3746" fmla="*/ 1393730 w 6781956"/>
              <a:gd name="connsiteY3746" fmla="*/ 2069851 h 6858000"/>
              <a:gd name="connsiteX3747" fmla="*/ 1383433 w 6781956"/>
              <a:gd name="connsiteY3747" fmla="*/ 2082638 h 6858000"/>
              <a:gd name="connsiteX3748" fmla="*/ 1377257 w 6781956"/>
              <a:gd name="connsiteY3748" fmla="*/ 1961735 h 6858000"/>
              <a:gd name="connsiteX3749" fmla="*/ 1373139 w 6781956"/>
              <a:gd name="connsiteY3749" fmla="*/ 1924534 h 6858000"/>
              <a:gd name="connsiteX3750" fmla="*/ 1375198 w 6781956"/>
              <a:gd name="connsiteY3750" fmla="*/ 1890821 h 6858000"/>
              <a:gd name="connsiteX3751" fmla="*/ 1373139 w 6781956"/>
              <a:gd name="connsiteY3751" fmla="*/ 1790843 h 6858000"/>
              <a:gd name="connsiteX3752" fmla="*/ 1373139 w 6781956"/>
              <a:gd name="connsiteY3752" fmla="*/ 1782705 h 6858000"/>
              <a:gd name="connsiteX3753" fmla="*/ 1369021 w 6781956"/>
              <a:gd name="connsiteY3753" fmla="*/ 1757130 h 6858000"/>
              <a:gd name="connsiteX3754" fmla="*/ 1367991 w 6781956"/>
              <a:gd name="connsiteY3754" fmla="*/ 1719928 h 6858000"/>
              <a:gd name="connsiteX3755" fmla="*/ 1362844 w 6781956"/>
              <a:gd name="connsiteY3755" fmla="*/ 1636226 h 6858000"/>
              <a:gd name="connsiteX3756" fmla="*/ 1358726 w 6781956"/>
              <a:gd name="connsiteY3756" fmla="*/ 1599026 h 6858000"/>
              <a:gd name="connsiteX3757" fmla="*/ 1670669 w 6781956"/>
              <a:gd name="connsiteY3757" fmla="*/ 1567638 h 6858000"/>
              <a:gd name="connsiteX3758" fmla="*/ 1670669 w 6781956"/>
              <a:gd name="connsiteY3758" fmla="*/ 1580425 h 6858000"/>
              <a:gd name="connsiteX3759" fmla="*/ 1674786 w 6781956"/>
              <a:gd name="connsiteY3759" fmla="*/ 1601351 h 6858000"/>
              <a:gd name="connsiteX3760" fmla="*/ 1670669 w 6781956"/>
              <a:gd name="connsiteY3760" fmla="*/ 1567638 h 6858000"/>
              <a:gd name="connsiteX3761" fmla="*/ 1623311 w 6781956"/>
              <a:gd name="connsiteY3761" fmla="*/ 1567638 h 6858000"/>
              <a:gd name="connsiteX3762" fmla="*/ 1633605 w 6781956"/>
              <a:gd name="connsiteY3762" fmla="*/ 1604838 h 6858000"/>
              <a:gd name="connsiteX3763" fmla="*/ 1623311 w 6781956"/>
              <a:gd name="connsiteY3763" fmla="*/ 1567638 h 6858000"/>
              <a:gd name="connsiteX3764" fmla="*/ 1595514 w 6781956"/>
              <a:gd name="connsiteY3764" fmla="*/ 1543224 h 6858000"/>
              <a:gd name="connsiteX3765" fmla="*/ 1598602 w 6781956"/>
              <a:gd name="connsiteY3765" fmla="*/ 1564149 h 6858000"/>
              <a:gd name="connsiteX3766" fmla="*/ 1601691 w 6781956"/>
              <a:gd name="connsiteY3766" fmla="*/ 1564149 h 6858000"/>
              <a:gd name="connsiteX3767" fmla="*/ 1596543 w 6781956"/>
              <a:gd name="connsiteY3767" fmla="*/ 1589726 h 6858000"/>
              <a:gd name="connsiteX3768" fmla="*/ 1595514 w 6781956"/>
              <a:gd name="connsiteY3768" fmla="*/ 1543224 h 6858000"/>
              <a:gd name="connsiteX3769" fmla="*/ 1780825 w 6781956"/>
              <a:gd name="connsiteY3769" fmla="*/ 1539737 h 6858000"/>
              <a:gd name="connsiteX3770" fmla="*/ 1788032 w 6781956"/>
              <a:gd name="connsiteY3770" fmla="*/ 1576936 h 6858000"/>
              <a:gd name="connsiteX3771" fmla="*/ 1780825 w 6781956"/>
              <a:gd name="connsiteY3771" fmla="*/ 1539737 h 6858000"/>
              <a:gd name="connsiteX3772" fmla="*/ 1545068 w 6781956"/>
              <a:gd name="connsiteY3772" fmla="*/ 1539737 h 6858000"/>
              <a:gd name="connsiteX3773" fmla="*/ 1532714 w 6781956"/>
              <a:gd name="connsiteY3773" fmla="*/ 1560661 h 6858000"/>
              <a:gd name="connsiteX3774" fmla="*/ 1545068 w 6781956"/>
              <a:gd name="connsiteY3774" fmla="*/ 1539737 h 6858000"/>
              <a:gd name="connsiteX3775" fmla="*/ 1578012 w 6781956"/>
              <a:gd name="connsiteY3775" fmla="*/ 1535086 h 6858000"/>
              <a:gd name="connsiteX3776" fmla="*/ 1586248 w 6781956"/>
              <a:gd name="connsiteY3776" fmla="*/ 1576936 h 6858000"/>
              <a:gd name="connsiteX3777" fmla="*/ 1587277 w 6781956"/>
              <a:gd name="connsiteY3777" fmla="*/ 1623439 h 6858000"/>
              <a:gd name="connsiteX3778" fmla="*/ 1602720 w 6781956"/>
              <a:gd name="connsiteY3778" fmla="*/ 1597863 h 6858000"/>
              <a:gd name="connsiteX3779" fmla="*/ 1604780 w 6781956"/>
              <a:gd name="connsiteY3779" fmla="*/ 1681565 h 6858000"/>
              <a:gd name="connsiteX3780" fmla="*/ 1611986 w 6781956"/>
              <a:gd name="connsiteY3780" fmla="*/ 1710629 h 6858000"/>
              <a:gd name="connsiteX3781" fmla="*/ 1608898 w 6781956"/>
              <a:gd name="connsiteY3781" fmla="*/ 1718767 h 6858000"/>
              <a:gd name="connsiteX3782" fmla="*/ 1613015 w 6781956"/>
              <a:gd name="connsiteY3782" fmla="*/ 1744342 h 6858000"/>
              <a:gd name="connsiteX3783" fmla="*/ 1607868 w 6781956"/>
              <a:gd name="connsiteY3783" fmla="*/ 1794331 h 6858000"/>
              <a:gd name="connsiteX3784" fmla="*/ 1609927 w 6781956"/>
              <a:gd name="connsiteY3784" fmla="*/ 1865244 h 6858000"/>
              <a:gd name="connsiteX3785" fmla="*/ 1600661 w 6781956"/>
              <a:gd name="connsiteY3785" fmla="*/ 1852457 h 6858000"/>
              <a:gd name="connsiteX3786" fmla="*/ 1597572 w 6781956"/>
              <a:gd name="connsiteY3786" fmla="*/ 1847807 h 6858000"/>
              <a:gd name="connsiteX3787" fmla="*/ 1593455 w 6781956"/>
              <a:gd name="connsiteY3787" fmla="*/ 1818745 h 6858000"/>
              <a:gd name="connsiteX3788" fmla="*/ 1592425 w 6781956"/>
              <a:gd name="connsiteY3788" fmla="*/ 1789680 h 6858000"/>
              <a:gd name="connsiteX3789" fmla="*/ 1588307 w 6781956"/>
              <a:gd name="connsiteY3789" fmla="*/ 1755967 h 6858000"/>
              <a:gd name="connsiteX3790" fmla="*/ 1591395 w 6781956"/>
              <a:gd name="connsiteY3790" fmla="*/ 1747829 h 6858000"/>
              <a:gd name="connsiteX3791" fmla="*/ 1585219 w 6781956"/>
              <a:gd name="connsiteY3791" fmla="*/ 1731554 h 6858000"/>
              <a:gd name="connsiteX3792" fmla="*/ 1583160 w 6781956"/>
              <a:gd name="connsiteY3792" fmla="*/ 1652501 h 6858000"/>
              <a:gd name="connsiteX3793" fmla="*/ 1580071 w 6781956"/>
              <a:gd name="connsiteY3793" fmla="*/ 1647852 h 6858000"/>
              <a:gd name="connsiteX3794" fmla="*/ 1583160 w 6781956"/>
              <a:gd name="connsiteY3794" fmla="*/ 1626927 h 6858000"/>
              <a:gd name="connsiteX3795" fmla="*/ 1578012 w 6781956"/>
              <a:gd name="connsiteY3795" fmla="*/ 1535086 h 6858000"/>
              <a:gd name="connsiteX3796" fmla="*/ 1362844 w 6781956"/>
              <a:gd name="connsiteY3796" fmla="*/ 1535086 h 6858000"/>
              <a:gd name="connsiteX3797" fmla="*/ 1373139 w 6781956"/>
              <a:gd name="connsiteY3797" fmla="*/ 1559499 h 6858000"/>
              <a:gd name="connsiteX3798" fmla="*/ 1363874 w 6781956"/>
              <a:gd name="connsiteY3798" fmla="*/ 1560661 h 6858000"/>
              <a:gd name="connsiteX3799" fmla="*/ 1362844 w 6781956"/>
              <a:gd name="connsiteY3799" fmla="*/ 1535086 h 6858000"/>
              <a:gd name="connsiteX3800" fmla="*/ 1667580 w 6781956"/>
              <a:gd name="connsiteY3800" fmla="*/ 1533924 h 6858000"/>
              <a:gd name="connsiteX3801" fmla="*/ 1664491 w 6781956"/>
              <a:gd name="connsiteY3801" fmla="*/ 1538574 h 6858000"/>
              <a:gd name="connsiteX3802" fmla="*/ 1664491 w 6781956"/>
              <a:gd name="connsiteY3802" fmla="*/ 1546712 h 6858000"/>
              <a:gd name="connsiteX3803" fmla="*/ 1667580 w 6781956"/>
              <a:gd name="connsiteY3803" fmla="*/ 1533924 h 6858000"/>
              <a:gd name="connsiteX3804" fmla="*/ 1344313 w 6781956"/>
              <a:gd name="connsiteY3804" fmla="*/ 1522298 h 6858000"/>
              <a:gd name="connsiteX3805" fmla="*/ 1351520 w 6781956"/>
              <a:gd name="connsiteY3805" fmla="*/ 1543224 h 6858000"/>
              <a:gd name="connsiteX3806" fmla="*/ 1344313 w 6781956"/>
              <a:gd name="connsiteY3806" fmla="*/ 1522298 h 6858000"/>
              <a:gd name="connsiteX3807" fmla="*/ 1661402 w 6781956"/>
              <a:gd name="connsiteY3807" fmla="*/ 1479285 h 6858000"/>
              <a:gd name="connsiteX3808" fmla="*/ 1668610 w 6781956"/>
              <a:gd name="connsiteY3808" fmla="*/ 1503698 h 6858000"/>
              <a:gd name="connsiteX3809" fmla="*/ 1661402 w 6781956"/>
              <a:gd name="connsiteY3809" fmla="*/ 1479285 h 6858000"/>
              <a:gd name="connsiteX3810" fmla="*/ 1777994 w 6781956"/>
              <a:gd name="connsiteY3810" fmla="*/ 1473473 h 6858000"/>
              <a:gd name="connsiteX3811" fmla="*/ 1775679 w 6781956"/>
              <a:gd name="connsiteY3811" fmla="*/ 1474635 h 6858000"/>
              <a:gd name="connsiteX3812" fmla="*/ 1779796 w 6781956"/>
              <a:gd name="connsiteY3812" fmla="*/ 1511836 h 6858000"/>
              <a:gd name="connsiteX3813" fmla="*/ 1778768 w 6781956"/>
              <a:gd name="connsiteY3813" fmla="*/ 1482773 h 6858000"/>
              <a:gd name="connsiteX3814" fmla="*/ 1777994 w 6781956"/>
              <a:gd name="connsiteY3814" fmla="*/ 1473473 h 6858000"/>
              <a:gd name="connsiteX3815" fmla="*/ 1339164 w 6781956"/>
              <a:gd name="connsiteY3815" fmla="*/ 1472310 h 6858000"/>
              <a:gd name="connsiteX3816" fmla="*/ 1346372 w 6781956"/>
              <a:gd name="connsiteY3816" fmla="*/ 1514161 h 6858000"/>
              <a:gd name="connsiteX3817" fmla="*/ 1343283 w 6781956"/>
              <a:gd name="connsiteY3817" fmla="*/ 1497885 h 6858000"/>
              <a:gd name="connsiteX3818" fmla="*/ 1339164 w 6781956"/>
              <a:gd name="connsiteY3818" fmla="*/ 1472310 h 6858000"/>
              <a:gd name="connsiteX3819" fmla="*/ 1639783 w 6781956"/>
              <a:gd name="connsiteY3819" fmla="*/ 1453709 h 6858000"/>
              <a:gd name="connsiteX3820" fmla="*/ 1643900 w 6781956"/>
              <a:gd name="connsiteY3820" fmla="*/ 1487422 h 6858000"/>
              <a:gd name="connsiteX3821" fmla="*/ 1642870 w 6781956"/>
              <a:gd name="connsiteY3821" fmla="*/ 1461847 h 6858000"/>
              <a:gd name="connsiteX3822" fmla="*/ 1639783 w 6781956"/>
              <a:gd name="connsiteY3822" fmla="*/ 1453709 h 6858000"/>
              <a:gd name="connsiteX3823" fmla="*/ 1657286 w 6781956"/>
              <a:gd name="connsiteY3823" fmla="*/ 1419996 h 6858000"/>
              <a:gd name="connsiteX3824" fmla="*/ 1664491 w 6781956"/>
              <a:gd name="connsiteY3824" fmla="*/ 1457197 h 6858000"/>
              <a:gd name="connsiteX3825" fmla="*/ 1657286 w 6781956"/>
              <a:gd name="connsiteY3825" fmla="*/ 1419996 h 6858000"/>
              <a:gd name="connsiteX3826" fmla="*/ 1535801 w 6781956"/>
              <a:gd name="connsiteY3826" fmla="*/ 1417671 h 6858000"/>
              <a:gd name="connsiteX3827" fmla="*/ 1549187 w 6781956"/>
              <a:gd name="connsiteY3827" fmla="*/ 1451383 h 6858000"/>
              <a:gd name="connsiteX3828" fmla="*/ 1547127 w 6781956"/>
              <a:gd name="connsiteY3828" fmla="*/ 1480448 h 6858000"/>
              <a:gd name="connsiteX3829" fmla="*/ 1535801 w 6781956"/>
              <a:gd name="connsiteY3829" fmla="*/ 1417671 h 6858000"/>
              <a:gd name="connsiteX3830" fmla="*/ 1770531 w 6781956"/>
              <a:gd name="connsiteY3830" fmla="*/ 1416509 h 6858000"/>
              <a:gd name="connsiteX3831" fmla="*/ 1771561 w 6781956"/>
              <a:gd name="connsiteY3831" fmla="*/ 1437434 h 6858000"/>
              <a:gd name="connsiteX3832" fmla="*/ 1770531 w 6781956"/>
              <a:gd name="connsiteY3832" fmla="*/ 1416509 h 6858000"/>
              <a:gd name="connsiteX3833" fmla="*/ 1347401 w 6781956"/>
              <a:gd name="connsiteY3833" fmla="*/ 1409532 h 6858000"/>
              <a:gd name="connsiteX3834" fmla="*/ 1354607 w 6781956"/>
              <a:gd name="connsiteY3834" fmla="*/ 1438596 h 6858000"/>
              <a:gd name="connsiteX3835" fmla="*/ 1358726 w 6781956"/>
              <a:gd name="connsiteY3835" fmla="*/ 1464172 h 6858000"/>
              <a:gd name="connsiteX3836" fmla="*/ 1347401 w 6781956"/>
              <a:gd name="connsiteY3836" fmla="*/ 1409532 h 6858000"/>
              <a:gd name="connsiteX3837" fmla="*/ 1373139 w 6781956"/>
              <a:gd name="connsiteY3837" fmla="*/ 1404883 h 6858000"/>
              <a:gd name="connsiteX3838" fmla="*/ 1383433 w 6781956"/>
              <a:gd name="connsiteY3838" fmla="*/ 1438596 h 6858000"/>
              <a:gd name="connsiteX3839" fmla="*/ 1386523 w 6781956"/>
              <a:gd name="connsiteY3839" fmla="*/ 1446734 h 6858000"/>
              <a:gd name="connsiteX3840" fmla="*/ 1390641 w 6781956"/>
              <a:gd name="connsiteY3840" fmla="*/ 1501372 h 6858000"/>
              <a:gd name="connsiteX3841" fmla="*/ 1400936 w 6781956"/>
              <a:gd name="connsiteY3841" fmla="*/ 1538574 h 6858000"/>
              <a:gd name="connsiteX3842" fmla="*/ 1406083 w 6781956"/>
              <a:gd name="connsiteY3842" fmla="*/ 1606001 h 6858000"/>
              <a:gd name="connsiteX3843" fmla="*/ 1413289 w 6781956"/>
              <a:gd name="connsiteY3843" fmla="*/ 1626927 h 6858000"/>
              <a:gd name="connsiteX3844" fmla="*/ 1414319 w 6781956"/>
              <a:gd name="connsiteY3844" fmla="*/ 1676915 h 6858000"/>
              <a:gd name="connsiteX3845" fmla="*/ 1415349 w 6781956"/>
              <a:gd name="connsiteY3845" fmla="*/ 1714116 h 6858000"/>
              <a:gd name="connsiteX3846" fmla="*/ 1408143 w 6781956"/>
              <a:gd name="connsiteY3846" fmla="*/ 1668778 h 6858000"/>
              <a:gd name="connsiteX3847" fmla="*/ 1404024 w 6781956"/>
              <a:gd name="connsiteY3847" fmla="*/ 1647852 h 6858000"/>
              <a:gd name="connsiteX3848" fmla="*/ 1399906 w 6781956"/>
              <a:gd name="connsiteY3848" fmla="*/ 1601351 h 6858000"/>
              <a:gd name="connsiteX3849" fmla="*/ 1392700 w 6781956"/>
              <a:gd name="connsiteY3849" fmla="*/ 1580425 h 6858000"/>
              <a:gd name="connsiteX3850" fmla="*/ 1391670 w 6781956"/>
              <a:gd name="connsiteY3850" fmla="*/ 1551362 h 6858000"/>
              <a:gd name="connsiteX3851" fmla="*/ 1387552 w 6781956"/>
              <a:gd name="connsiteY3851" fmla="*/ 1496723 h 6858000"/>
              <a:gd name="connsiteX3852" fmla="*/ 1377257 w 6781956"/>
              <a:gd name="connsiteY3852" fmla="*/ 1475796 h 6858000"/>
              <a:gd name="connsiteX3853" fmla="*/ 1370050 w 6781956"/>
              <a:gd name="connsiteY3853" fmla="*/ 1425808 h 6858000"/>
              <a:gd name="connsiteX3854" fmla="*/ 1373139 w 6781956"/>
              <a:gd name="connsiteY3854" fmla="*/ 1404883 h 6858000"/>
              <a:gd name="connsiteX3855" fmla="*/ 1653167 w 6781956"/>
              <a:gd name="connsiteY3855" fmla="*/ 1378144 h 6858000"/>
              <a:gd name="connsiteX3856" fmla="*/ 1660373 w 6781956"/>
              <a:gd name="connsiteY3856" fmla="*/ 1399071 h 6858000"/>
              <a:gd name="connsiteX3857" fmla="*/ 1653167 w 6781956"/>
              <a:gd name="connsiteY3857" fmla="*/ 1378144 h 6858000"/>
              <a:gd name="connsiteX3858" fmla="*/ 1696406 w 6781956"/>
              <a:gd name="connsiteY3858" fmla="*/ 1365357 h 6858000"/>
              <a:gd name="connsiteX3859" fmla="*/ 1694347 w 6781956"/>
              <a:gd name="connsiteY3859" fmla="*/ 1399071 h 6858000"/>
              <a:gd name="connsiteX3860" fmla="*/ 1695376 w 6781956"/>
              <a:gd name="connsiteY3860" fmla="*/ 1449060 h 6858000"/>
              <a:gd name="connsiteX3861" fmla="*/ 1700524 w 6781956"/>
              <a:gd name="connsiteY3861" fmla="*/ 1419996 h 6858000"/>
              <a:gd name="connsiteX3862" fmla="*/ 1699495 w 6781956"/>
              <a:gd name="connsiteY3862" fmla="*/ 1378144 h 6858000"/>
              <a:gd name="connsiteX3863" fmla="*/ 1696406 w 6781956"/>
              <a:gd name="connsiteY3863" fmla="*/ 1365357 h 6858000"/>
              <a:gd name="connsiteX3864" fmla="*/ 1564629 w 6781956"/>
              <a:gd name="connsiteY3864" fmla="*/ 1325831 h 6858000"/>
              <a:gd name="connsiteX3865" fmla="*/ 1568746 w 6781956"/>
              <a:gd name="connsiteY3865" fmla="*/ 1354894 h 6858000"/>
              <a:gd name="connsiteX3866" fmla="*/ 1572864 w 6781956"/>
              <a:gd name="connsiteY3866" fmla="*/ 1396745 h 6858000"/>
              <a:gd name="connsiteX3867" fmla="*/ 1561539 w 6781956"/>
              <a:gd name="connsiteY3867" fmla="*/ 1333968 h 6858000"/>
              <a:gd name="connsiteX3868" fmla="*/ 1564629 w 6781956"/>
              <a:gd name="connsiteY3868" fmla="*/ 1325831 h 6858000"/>
              <a:gd name="connsiteX3869" fmla="*/ 1633605 w 6781956"/>
              <a:gd name="connsiteY3869" fmla="*/ 1300254 h 6858000"/>
              <a:gd name="connsiteX3870" fmla="*/ 1627428 w 6781956"/>
              <a:gd name="connsiteY3870" fmla="*/ 1332806 h 6858000"/>
              <a:gd name="connsiteX3871" fmla="*/ 1631547 w 6781956"/>
              <a:gd name="connsiteY3871" fmla="*/ 1358382 h 6858000"/>
              <a:gd name="connsiteX3872" fmla="*/ 1633605 w 6781956"/>
              <a:gd name="connsiteY3872" fmla="*/ 1300254 h 6858000"/>
              <a:gd name="connsiteX3873" fmla="*/ 1580071 w 6781956"/>
              <a:gd name="connsiteY3873" fmla="*/ 1300254 h 6858000"/>
              <a:gd name="connsiteX3874" fmla="*/ 1586248 w 6781956"/>
              <a:gd name="connsiteY3874" fmla="*/ 1304906 h 6858000"/>
              <a:gd name="connsiteX3875" fmla="*/ 1586248 w 6781956"/>
              <a:gd name="connsiteY3875" fmla="*/ 1313044 h 6858000"/>
              <a:gd name="connsiteX3876" fmla="*/ 1580071 w 6781956"/>
              <a:gd name="connsiteY3876" fmla="*/ 1300254 h 6858000"/>
              <a:gd name="connsiteX3877" fmla="*/ 1448293 w 6781956"/>
              <a:gd name="connsiteY3877" fmla="*/ 1299093 h 6858000"/>
              <a:gd name="connsiteX3878" fmla="*/ 1458588 w 6781956"/>
              <a:gd name="connsiteY3878" fmla="*/ 1328156 h 6858000"/>
              <a:gd name="connsiteX3879" fmla="*/ 1449323 w 6781956"/>
              <a:gd name="connsiteY3879" fmla="*/ 1340945 h 6858000"/>
              <a:gd name="connsiteX3880" fmla="*/ 1448293 w 6781956"/>
              <a:gd name="connsiteY3880" fmla="*/ 1299093 h 6858000"/>
              <a:gd name="connsiteX3881" fmla="*/ 1516242 w 6781956"/>
              <a:gd name="connsiteY3881" fmla="*/ 1270029 h 6858000"/>
              <a:gd name="connsiteX3882" fmla="*/ 1526537 w 6781956"/>
              <a:gd name="connsiteY3882" fmla="*/ 1306068 h 6858000"/>
              <a:gd name="connsiteX3883" fmla="*/ 1529625 w 6781956"/>
              <a:gd name="connsiteY3883" fmla="*/ 1318855 h 6858000"/>
              <a:gd name="connsiteX3884" fmla="*/ 1534772 w 6781956"/>
              <a:gd name="connsiteY3884" fmla="*/ 1381632 h 6858000"/>
              <a:gd name="connsiteX3885" fmla="*/ 1524477 w 6781956"/>
              <a:gd name="connsiteY3885" fmla="*/ 1357220 h 6858000"/>
              <a:gd name="connsiteX3886" fmla="*/ 1516242 w 6781956"/>
              <a:gd name="connsiteY3886" fmla="*/ 1270029 h 6858000"/>
              <a:gd name="connsiteX3887" fmla="*/ 1642870 w 6781956"/>
              <a:gd name="connsiteY3887" fmla="*/ 1252591 h 6858000"/>
              <a:gd name="connsiteX3888" fmla="*/ 1654196 w 6781956"/>
              <a:gd name="connsiteY3888" fmla="*/ 1302580 h 6858000"/>
              <a:gd name="connsiteX3889" fmla="*/ 1665520 w 6781956"/>
              <a:gd name="connsiteY3889" fmla="*/ 1273517 h 6858000"/>
              <a:gd name="connsiteX3890" fmla="*/ 1642870 w 6781956"/>
              <a:gd name="connsiteY3890" fmla="*/ 1252591 h 6858000"/>
              <a:gd name="connsiteX3891" fmla="*/ 1686111 w 6781956"/>
              <a:gd name="connsiteY3891" fmla="*/ 1247942 h 6858000"/>
              <a:gd name="connsiteX3892" fmla="*/ 1686111 w 6781956"/>
              <a:gd name="connsiteY3892" fmla="*/ 1306068 h 6858000"/>
              <a:gd name="connsiteX3893" fmla="*/ 1690229 w 6781956"/>
              <a:gd name="connsiteY3893" fmla="*/ 1326993 h 6858000"/>
              <a:gd name="connsiteX3894" fmla="*/ 1693318 w 6781956"/>
              <a:gd name="connsiteY3894" fmla="*/ 1306068 h 6858000"/>
              <a:gd name="connsiteX3895" fmla="*/ 1690229 w 6781956"/>
              <a:gd name="connsiteY3895" fmla="*/ 1297931 h 6858000"/>
              <a:gd name="connsiteX3896" fmla="*/ 1686111 w 6781956"/>
              <a:gd name="connsiteY3896" fmla="*/ 1247942 h 6858000"/>
              <a:gd name="connsiteX3897" fmla="*/ 1617133 w 6781956"/>
              <a:gd name="connsiteY3897" fmla="*/ 1215391 h 6858000"/>
              <a:gd name="connsiteX3898" fmla="*/ 1622281 w 6781956"/>
              <a:gd name="connsiteY3898" fmla="*/ 1278167 h 6858000"/>
              <a:gd name="connsiteX3899" fmla="*/ 1628457 w 6781956"/>
              <a:gd name="connsiteY3899" fmla="*/ 1290956 h 6858000"/>
              <a:gd name="connsiteX3900" fmla="*/ 1624340 w 6781956"/>
              <a:gd name="connsiteY3900" fmla="*/ 1257241 h 6858000"/>
              <a:gd name="connsiteX3901" fmla="*/ 1617133 w 6781956"/>
              <a:gd name="connsiteY3901" fmla="*/ 1215391 h 6858000"/>
              <a:gd name="connsiteX3902" fmla="*/ 1312188 w 6781956"/>
              <a:gd name="connsiteY3902" fmla="*/ 1208278 h 6858000"/>
              <a:gd name="connsiteX3903" fmla="*/ 1312398 w 6781956"/>
              <a:gd name="connsiteY3903" fmla="*/ 1209577 h 6858000"/>
              <a:gd name="connsiteX3904" fmla="*/ 1316516 w 6781956"/>
              <a:gd name="connsiteY3904" fmla="*/ 1246779 h 6858000"/>
              <a:gd name="connsiteX3905" fmla="*/ 1324751 w 6781956"/>
              <a:gd name="connsiteY3905" fmla="*/ 1313044 h 6858000"/>
              <a:gd name="connsiteX3906" fmla="*/ 1331958 w 6781956"/>
              <a:gd name="connsiteY3906" fmla="*/ 1333968 h 6858000"/>
              <a:gd name="connsiteX3907" fmla="*/ 1344313 w 6781956"/>
              <a:gd name="connsiteY3907" fmla="*/ 1433947 h 6858000"/>
              <a:gd name="connsiteX3908" fmla="*/ 1341224 w 6781956"/>
              <a:gd name="connsiteY3908" fmla="*/ 1450222 h 6858000"/>
              <a:gd name="connsiteX3909" fmla="*/ 1334018 w 6781956"/>
              <a:gd name="connsiteY3909" fmla="*/ 1408370 h 6858000"/>
              <a:gd name="connsiteX3910" fmla="*/ 1324751 w 6781956"/>
              <a:gd name="connsiteY3910" fmla="*/ 1389770 h 6858000"/>
              <a:gd name="connsiteX3911" fmla="*/ 1324751 w 6781956"/>
              <a:gd name="connsiteY3911" fmla="*/ 1373495 h 6858000"/>
              <a:gd name="connsiteX3912" fmla="*/ 1321663 w 6781956"/>
              <a:gd name="connsiteY3912" fmla="*/ 1360707 h 6858000"/>
              <a:gd name="connsiteX3913" fmla="*/ 1317546 w 6781956"/>
              <a:gd name="connsiteY3913" fmla="*/ 1302580 h 6858000"/>
              <a:gd name="connsiteX3914" fmla="*/ 1317546 w 6781956"/>
              <a:gd name="connsiteY3914" fmla="*/ 1294443 h 6858000"/>
              <a:gd name="connsiteX3915" fmla="*/ 1311368 w 6781956"/>
              <a:gd name="connsiteY3915" fmla="*/ 1286305 h 6858000"/>
              <a:gd name="connsiteX3916" fmla="*/ 1310551 w 6781956"/>
              <a:gd name="connsiteY3916" fmla="*/ 1277077 h 6858000"/>
              <a:gd name="connsiteX3917" fmla="*/ 1311368 w 6781956"/>
              <a:gd name="connsiteY3917" fmla="*/ 1271190 h 6858000"/>
              <a:gd name="connsiteX3918" fmla="*/ 1783914 w 6781956"/>
              <a:gd name="connsiteY3918" fmla="*/ 1203766 h 6858000"/>
              <a:gd name="connsiteX3919" fmla="*/ 1783914 w 6781956"/>
              <a:gd name="connsiteY3919" fmla="*/ 1216553 h 6858000"/>
              <a:gd name="connsiteX3920" fmla="*/ 1790092 w 6781956"/>
              <a:gd name="connsiteY3920" fmla="*/ 1216553 h 6858000"/>
              <a:gd name="connsiteX3921" fmla="*/ 1790092 w 6781956"/>
              <a:gd name="connsiteY3921" fmla="*/ 1203766 h 6858000"/>
              <a:gd name="connsiteX3922" fmla="*/ 1783914 w 6781956"/>
              <a:gd name="connsiteY3922" fmla="*/ 1203766 h 6858000"/>
              <a:gd name="connsiteX3923" fmla="*/ 1679933 w 6781956"/>
              <a:gd name="connsiteY3923" fmla="*/ 1197953 h 6858000"/>
              <a:gd name="connsiteX3924" fmla="*/ 1680963 w 6781956"/>
              <a:gd name="connsiteY3924" fmla="*/ 1235154 h 6858000"/>
              <a:gd name="connsiteX3925" fmla="*/ 1679933 w 6781956"/>
              <a:gd name="connsiteY3925" fmla="*/ 1197953 h 6858000"/>
              <a:gd name="connsiteX3926" fmla="*/ 1619949 w 6781956"/>
              <a:gd name="connsiteY3926" fmla="*/ 1190741 h 6858000"/>
              <a:gd name="connsiteX3927" fmla="*/ 1621252 w 6781956"/>
              <a:gd name="connsiteY3927" fmla="*/ 1207253 h 6858000"/>
              <a:gd name="connsiteX3928" fmla="*/ 1621252 w 6781956"/>
              <a:gd name="connsiteY3928" fmla="*/ 1199114 h 6858000"/>
              <a:gd name="connsiteX3929" fmla="*/ 1619949 w 6781956"/>
              <a:gd name="connsiteY3929" fmla="*/ 1190741 h 6858000"/>
              <a:gd name="connsiteX3930" fmla="*/ 1615975 w 6781956"/>
              <a:gd name="connsiteY3930" fmla="*/ 1169816 h 6858000"/>
              <a:gd name="connsiteX3931" fmla="*/ 1617133 w 6781956"/>
              <a:gd name="connsiteY3931" fmla="*/ 1186327 h 6858000"/>
              <a:gd name="connsiteX3932" fmla="*/ 1617133 w 6781956"/>
              <a:gd name="connsiteY3932" fmla="*/ 1178190 h 6858000"/>
              <a:gd name="connsiteX3933" fmla="*/ 1615975 w 6781956"/>
              <a:gd name="connsiteY3933" fmla="*/ 1169816 h 6858000"/>
              <a:gd name="connsiteX3934" fmla="*/ 1302501 w 6781956"/>
              <a:gd name="connsiteY3934" fmla="*/ 1166207 h 6858000"/>
              <a:gd name="connsiteX3935" fmla="*/ 1305192 w 6781956"/>
              <a:gd name="connsiteY3935" fmla="*/ 1167726 h 6858000"/>
              <a:gd name="connsiteX3936" fmla="*/ 1308280 w 6781956"/>
              <a:gd name="connsiteY3936" fmla="*/ 1184001 h 6858000"/>
              <a:gd name="connsiteX3937" fmla="*/ 1308601 w 6781956"/>
              <a:gd name="connsiteY3937" fmla="*/ 1185995 h 6858000"/>
              <a:gd name="connsiteX3938" fmla="*/ 1307638 w 6781956"/>
              <a:gd name="connsiteY3938" fmla="*/ 1184436 h 6858000"/>
              <a:gd name="connsiteX3939" fmla="*/ 1302103 w 6781956"/>
              <a:gd name="connsiteY3939" fmla="*/ 1175862 h 6858000"/>
              <a:gd name="connsiteX3940" fmla="*/ 1385493 w 6781956"/>
              <a:gd name="connsiteY3940" fmla="*/ 1157264 h 6858000"/>
              <a:gd name="connsiteX3941" fmla="*/ 1391686 w 6781956"/>
              <a:gd name="connsiteY3941" fmla="*/ 1161769 h 6858000"/>
              <a:gd name="connsiteX3942" fmla="*/ 1392160 w 6781956"/>
              <a:gd name="connsiteY3942" fmla="*/ 1163336 h 6858000"/>
              <a:gd name="connsiteX3943" fmla="*/ 1394292 w 6781956"/>
              <a:gd name="connsiteY3943" fmla="*/ 1178386 h 6858000"/>
              <a:gd name="connsiteX3944" fmla="*/ 1392700 w 6781956"/>
              <a:gd name="connsiteY3944" fmla="*/ 1194465 h 6858000"/>
              <a:gd name="connsiteX3945" fmla="*/ 1385493 w 6781956"/>
              <a:gd name="connsiteY3945" fmla="*/ 1157264 h 6858000"/>
              <a:gd name="connsiteX3946" fmla="*/ 1672726 w 6781956"/>
              <a:gd name="connsiteY3946" fmla="*/ 1151451 h 6858000"/>
              <a:gd name="connsiteX3947" fmla="*/ 1676845 w 6781956"/>
              <a:gd name="connsiteY3947" fmla="*/ 1185165 h 6858000"/>
              <a:gd name="connsiteX3948" fmla="*/ 1679933 w 6781956"/>
              <a:gd name="connsiteY3948" fmla="*/ 1180515 h 6858000"/>
              <a:gd name="connsiteX3949" fmla="*/ 1672726 w 6781956"/>
              <a:gd name="connsiteY3949" fmla="*/ 1151451 h 6858000"/>
              <a:gd name="connsiteX3950" fmla="*/ 1545068 w 6781956"/>
              <a:gd name="connsiteY3950" fmla="*/ 1137502 h 6858000"/>
              <a:gd name="connsiteX3951" fmla="*/ 1551244 w 6781956"/>
              <a:gd name="connsiteY3951" fmla="*/ 1163077 h 6858000"/>
              <a:gd name="connsiteX3952" fmla="*/ 1558451 w 6781956"/>
              <a:gd name="connsiteY3952" fmla="*/ 1187490 h 6858000"/>
              <a:gd name="connsiteX3953" fmla="*/ 1545068 w 6781956"/>
              <a:gd name="connsiteY3953" fmla="*/ 1137502 h 6858000"/>
              <a:gd name="connsiteX3954" fmla="*/ 1512123 w 6781956"/>
              <a:gd name="connsiteY3954" fmla="*/ 1114251 h 6858000"/>
              <a:gd name="connsiteX3955" fmla="*/ 1519329 w 6781956"/>
              <a:gd name="connsiteY3955" fmla="*/ 1138664 h 6858000"/>
              <a:gd name="connsiteX3956" fmla="*/ 1512123 w 6781956"/>
              <a:gd name="connsiteY3956" fmla="*/ 1114251 h 6858000"/>
              <a:gd name="connsiteX3957" fmla="*/ 1671424 w 6781956"/>
              <a:gd name="connsiteY3957" fmla="*/ 1110817 h 6858000"/>
              <a:gd name="connsiteX3958" fmla="*/ 1672726 w 6781956"/>
              <a:gd name="connsiteY3958" fmla="*/ 1135176 h 6858000"/>
              <a:gd name="connsiteX3959" fmla="*/ 1672726 w 6781956"/>
              <a:gd name="connsiteY3959" fmla="*/ 1122389 h 6858000"/>
              <a:gd name="connsiteX3960" fmla="*/ 1671424 w 6781956"/>
              <a:gd name="connsiteY3960" fmla="*/ 1110817 h 6858000"/>
              <a:gd name="connsiteX3961" fmla="*/ 1589690 w 6781956"/>
              <a:gd name="connsiteY3961" fmla="*/ 1109000 h 6858000"/>
              <a:gd name="connsiteX3962" fmla="*/ 1587277 w 6781956"/>
              <a:gd name="connsiteY3962" fmla="*/ 1115413 h 6858000"/>
              <a:gd name="connsiteX3963" fmla="*/ 1600661 w 6781956"/>
              <a:gd name="connsiteY3963" fmla="*/ 1157264 h 6858000"/>
              <a:gd name="connsiteX3964" fmla="*/ 1596543 w 6781956"/>
              <a:gd name="connsiteY3964" fmla="*/ 1123550 h 6858000"/>
              <a:gd name="connsiteX3965" fmla="*/ 1593455 w 6781956"/>
              <a:gd name="connsiteY3965" fmla="*/ 1123550 h 6858000"/>
              <a:gd name="connsiteX3966" fmla="*/ 1589690 w 6781956"/>
              <a:gd name="connsiteY3966" fmla="*/ 1109000 h 6858000"/>
              <a:gd name="connsiteX3967" fmla="*/ 1767442 w 6781956"/>
              <a:gd name="connsiteY3967" fmla="*/ 1095650 h 6858000"/>
              <a:gd name="connsiteX3968" fmla="*/ 1777736 w 6781956"/>
              <a:gd name="connsiteY3968" fmla="*/ 1111925 h 6858000"/>
              <a:gd name="connsiteX3969" fmla="*/ 1767442 w 6781956"/>
              <a:gd name="connsiteY3969" fmla="*/ 1095650 h 6858000"/>
              <a:gd name="connsiteX3970" fmla="*/ 1599631 w 6781956"/>
              <a:gd name="connsiteY3970" fmla="*/ 1064263 h 6858000"/>
              <a:gd name="connsiteX3971" fmla="*/ 1603750 w 6781956"/>
              <a:gd name="connsiteY3971" fmla="*/ 1097974 h 6858000"/>
              <a:gd name="connsiteX3972" fmla="*/ 1602720 w 6781956"/>
              <a:gd name="connsiteY3972" fmla="*/ 1115413 h 6858000"/>
              <a:gd name="connsiteX3973" fmla="*/ 1608898 w 6781956"/>
              <a:gd name="connsiteY3973" fmla="*/ 1131689 h 6858000"/>
              <a:gd name="connsiteX3974" fmla="*/ 1611986 w 6781956"/>
              <a:gd name="connsiteY3974" fmla="*/ 1147964 h 6858000"/>
              <a:gd name="connsiteX3975" fmla="*/ 1606838 w 6781956"/>
              <a:gd name="connsiteY3975" fmla="*/ 1085187 h 6858000"/>
              <a:gd name="connsiteX3976" fmla="*/ 1599631 w 6781956"/>
              <a:gd name="connsiteY3976" fmla="*/ 1064263 h 6858000"/>
              <a:gd name="connsiteX3977" fmla="*/ 1300397 w 6781956"/>
              <a:gd name="connsiteY3977" fmla="*/ 1062210 h 6858000"/>
              <a:gd name="connsiteX3978" fmla="*/ 1302103 w 6781956"/>
              <a:gd name="connsiteY3978" fmla="*/ 1088675 h 6858000"/>
              <a:gd name="connsiteX3979" fmla="*/ 1315487 w 6781956"/>
              <a:gd name="connsiteY3979" fmla="*/ 1109600 h 6858000"/>
              <a:gd name="connsiteX3980" fmla="*/ 1324751 w 6781956"/>
              <a:gd name="connsiteY3980" fmla="*/ 1227016 h 6858000"/>
              <a:gd name="connsiteX3981" fmla="*/ 1314457 w 6781956"/>
              <a:gd name="connsiteY3981" fmla="*/ 1172377 h 6858000"/>
              <a:gd name="connsiteX3982" fmla="*/ 1304162 w 6781956"/>
              <a:gd name="connsiteY3982" fmla="*/ 1135176 h 6858000"/>
              <a:gd name="connsiteX3983" fmla="*/ 1303901 w 6781956"/>
              <a:gd name="connsiteY3983" fmla="*/ 1132223 h 6858000"/>
              <a:gd name="connsiteX3984" fmla="*/ 1304162 w 6781956"/>
              <a:gd name="connsiteY3984" fmla="*/ 1125875 h 6858000"/>
              <a:gd name="connsiteX3985" fmla="*/ 1303203 w 6781956"/>
              <a:gd name="connsiteY3985" fmla="*/ 1124360 h 6858000"/>
              <a:gd name="connsiteX3986" fmla="*/ 1300044 w 6781956"/>
              <a:gd name="connsiteY3986" fmla="*/ 1088675 h 6858000"/>
              <a:gd name="connsiteX3987" fmla="*/ 1299722 w 6781956"/>
              <a:gd name="connsiteY3987" fmla="*/ 1089330 h 6858000"/>
              <a:gd name="connsiteX3988" fmla="*/ 1541979 w 6781956"/>
              <a:gd name="connsiteY3988" fmla="*/ 1053799 h 6858000"/>
              <a:gd name="connsiteX3989" fmla="*/ 1536831 w 6781956"/>
              <a:gd name="connsiteY3989" fmla="*/ 1079375 h 6858000"/>
              <a:gd name="connsiteX3990" fmla="*/ 1541979 w 6781956"/>
              <a:gd name="connsiteY3990" fmla="*/ 1053799 h 6858000"/>
              <a:gd name="connsiteX3991" fmla="*/ 1566687 w 6781956"/>
              <a:gd name="connsiteY3991" fmla="*/ 1049149 h 6858000"/>
              <a:gd name="connsiteX3992" fmla="*/ 1573894 w 6781956"/>
              <a:gd name="connsiteY3992" fmla="*/ 1099137 h 6858000"/>
              <a:gd name="connsiteX3993" fmla="*/ 1576982 w 6781956"/>
              <a:gd name="connsiteY3993" fmla="*/ 1078212 h 6858000"/>
              <a:gd name="connsiteX3994" fmla="*/ 1566687 w 6781956"/>
              <a:gd name="connsiteY3994" fmla="*/ 1049149 h 6858000"/>
              <a:gd name="connsiteX3995" fmla="*/ 1766412 w 6781956"/>
              <a:gd name="connsiteY3995" fmla="*/ 1045661 h 6858000"/>
              <a:gd name="connsiteX3996" fmla="*/ 1773619 w 6781956"/>
              <a:gd name="connsiteY3996" fmla="*/ 1070074 h 6858000"/>
              <a:gd name="connsiteX3997" fmla="*/ 1766412 w 6781956"/>
              <a:gd name="connsiteY3997" fmla="*/ 1045661 h 6858000"/>
              <a:gd name="connsiteX3998" fmla="*/ 1370050 w 6781956"/>
              <a:gd name="connsiteY3998" fmla="*/ 1041011 h 6858000"/>
              <a:gd name="connsiteX3999" fmla="*/ 1376777 w 6781956"/>
              <a:gd name="connsiteY3999" fmla="*/ 1060542 h 6858000"/>
              <a:gd name="connsiteX4000" fmla="*/ 1376886 w 6781956"/>
              <a:gd name="connsiteY4000" fmla="*/ 1061655 h 6858000"/>
              <a:gd name="connsiteX4001" fmla="*/ 1369794 w 6781956"/>
              <a:gd name="connsiteY4001" fmla="*/ 1056269 h 6858000"/>
              <a:gd name="connsiteX4002" fmla="*/ 1370050 w 6781956"/>
              <a:gd name="connsiteY4002" fmla="*/ 1041011 h 6858000"/>
              <a:gd name="connsiteX4003" fmla="*/ 1582822 w 6781956"/>
              <a:gd name="connsiteY4003" fmla="*/ 1038231 h 6858000"/>
              <a:gd name="connsiteX4004" fmla="*/ 1579042 w 6781956"/>
              <a:gd name="connsiteY4004" fmla="*/ 1041011 h 6858000"/>
              <a:gd name="connsiteX4005" fmla="*/ 1580071 w 6781956"/>
              <a:gd name="connsiteY4005" fmla="*/ 1061937 h 6858000"/>
              <a:gd name="connsiteX4006" fmla="*/ 1582822 w 6781956"/>
              <a:gd name="connsiteY4006" fmla="*/ 1038231 h 6858000"/>
              <a:gd name="connsiteX4007" fmla="*/ 1762295 w 6781956"/>
              <a:gd name="connsiteY4007" fmla="*/ 1010785 h 6858000"/>
              <a:gd name="connsiteX4008" fmla="*/ 1762295 w 6781956"/>
              <a:gd name="connsiteY4008" fmla="*/ 1018923 h 6858000"/>
              <a:gd name="connsiteX4009" fmla="*/ 1768472 w 6781956"/>
              <a:gd name="connsiteY4009" fmla="*/ 1018923 h 6858000"/>
              <a:gd name="connsiteX4010" fmla="*/ 1768472 w 6781956"/>
              <a:gd name="connsiteY4010" fmla="*/ 1010785 h 6858000"/>
              <a:gd name="connsiteX4011" fmla="*/ 1762295 w 6781956"/>
              <a:gd name="connsiteY4011" fmla="*/ 1010785 h 6858000"/>
              <a:gd name="connsiteX4012" fmla="*/ 1564371 w 6781956"/>
              <a:gd name="connsiteY4012" fmla="*/ 1001612 h 6858000"/>
              <a:gd name="connsiteX4013" fmla="*/ 1559481 w 6781956"/>
              <a:gd name="connsiteY4013" fmla="*/ 1003810 h 6858000"/>
              <a:gd name="connsiteX4014" fmla="*/ 1566687 w 6781956"/>
              <a:gd name="connsiteY4014" fmla="*/ 1041011 h 6858000"/>
              <a:gd name="connsiteX4015" fmla="*/ 1564371 w 6781956"/>
              <a:gd name="connsiteY4015" fmla="*/ 1001612 h 6858000"/>
              <a:gd name="connsiteX4016" fmla="*/ 1311368 w 6781956"/>
              <a:gd name="connsiteY4016" fmla="*/ 984047 h 6858000"/>
              <a:gd name="connsiteX4017" fmla="*/ 1321663 w 6781956"/>
              <a:gd name="connsiteY4017" fmla="*/ 1000322 h 6858000"/>
              <a:gd name="connsiteX4018" fmla="*/ 1322693 w 6781956"/>
              <a:gd name="connsiteY4018" fmla="*/ 1029386 h 6858000"/>
              <a:gd name="connsiteX4019" fmla="*/ 1325781 w 6781956"/>
              <a:gd name="connsiteY4019" fmla="*/ 1054961 h 6858000"/>
              <a:gd name="connsiteX4020" fmla="*/ 1331958 w 6781956"/>
              <a:gd name="connsiteY4020" fmla="*/ 1071238 h 6858000"/>
              <a:gd name="connsiteX4021" fmla="*/ 1332989 w 6781956"/>
              <a:gd name="connsiteY4021" fmla="*/ 1104950 h 6858000"/>
              <a:gd name="connsiteX4022" fmla="*/ 1343283 w 6781956"/>
              <a:gd name="connsiteY4022" fmla="*/ 1138664 h 6858000"/>
              <a:gd name="connsiteX4023" fmla="*/ 1350490 w 6781956"/>
              <a:gd name="connsiteY4023" fmla="*/ 1175864 h 6858000"/>
              <a:gd name="connsiteX4024" fmla="*/ 1375198 w 6781956"/>
              <a:gd name="connsiteY4024" fmla="*/ 1401395 h 6858000"/>
              <a:gd name="connsiteX4025" fmla="*/ 1364903 w 6781956"/>
              <a:gd name="connsiteY4025" fmla="*/ 1364195 h 6858000"/>
              <a:gd name="connsiteX4026" fmla="*/ 1352548 w 6781956"/>
              <a:gd name="connsiteY4026" fmla="*/ 1264217 h 6858000"/>
              <a:gd name="connsiteX4027" fmla="*/ 1341224 w 6781956"/>
              <a:gd name="connsiteY4027" fmla="*/ 1201440 h 6858000"/>
              <a:gd name="connsiteX4028" fmla="*/ 1319605 w 6781956"/>
              <a:gd name="connsiteY4028" fmla="*/ 1075887 h 6858000"/>
              <a:gd name="connsiteX4029" fmla="*/ 1311368 w 6781956"/>
              <a:gd name="connsiteY4029" fmla="*/ 984047 h 6858000"/>
              <a:gd name="connsiteX4030" fmla="*/ 1614044 w 6781956"/>
              <a:gd name="connsiteY4030" fmla="*/ 979397 h 6858000"/>
              <a:gd name="connsiteX4031" fmla="*/ 1618163 w 6781956"/>
              <a:gd name="connsiteY4031" fmla="*/ 1013110 h 6858000"/>
              <a:gd name="connsiteX4032" fmla="*/ 1616104 w 6781956"/>
              <a:gd name="connsiteY4032" fmla="*/ 1023572 h 6858000"/>
              <a:gd name="connsiteX4033" fmla="*/ 1619193 w 6781956"/>
              <a:gd name="connsiteY4033" fmla="*/ 1036361 h 6858000"/>
              <a:gd name="connsiteX4034" fmla="*/ 1622281 w 6781956"/>
              <a:gd name="connsiteY4034" fmla="*/ 1052637 h 6858000"/>
              <a:gd name="connsiteX4035" fmla="*/ 1622281 w 6781956"/>
              <a:gd name="connsiteY4035" fmla="*/ 1065424 h 6858000"/>
              <a:gd name="connsiteX4036" fmla="*/ 1625370 w 6781956"/>
              <a:gd name="connsiteY4036" fmla="*/ 1070074 h 6858000"/>
              <a:gd name="connsiteX4037" fmla="*/ 1635664 w 6781956"/>
              <a:gd name="connsiteY4037" fmla="*/ 1111925 h 6858000"/>
              <a:gd name="connsiteX4038" fmla="*/ 1631547 w 6781956"/>
              <a:gd name="connsiteY4038" fmla="*/ 1074724 h 6858000"/>
              <a:gd name="connsiteX4039" fmla="*/ 1628457 w 6781956"/>
              <a:gd name="connsiteY4039" fmla="*/ 1074724 h 6858000"/>
              <a:gd name="connsiteX4040" fmla="*/ 1628457 w 6781956"/>
              <a:gd name="connsiteY4040" fmla="*/ 1066586 h 6858000"/>
              <a:gd name="connsiteX4041" fmla="*/ 1620222 w 6781956"/>
              <a:gd name="connsiteY4041" fmla="*/ 1008459 h 6858000"/>
              <a:gd name="connsiteX4042" fmla="*/ 1620222 w 6781956"/>
              <a:gd name="connsiteY4042" fmla="*/ 992184 h 6858000"/>
              <a:gd name="connsiteX4043" fmla="*/ 1614044 w 6781956"/>
              <a:gd name="connsiteY4043" fmla="*/ 979397 h 6858000"/>
              <a:gd name="connsiteX4044" fmla="*/ 1644930 w 6781956"/>
              <a:gd name="connsiteY4044" fmla="*/ 938707 h 6858000"/>
              <a:gd name="connsiteX4045" fmla="*/ 1653167 w 6781956"/>
              <a:gd name="connsiteY4045" fmla="*/ 1014272 h 6858000"/>
              <a:gd name="connsiteX4046" fmla="*/ 1661402 w 6781956"/>
              <a:gd name="connsiteY4046" fmla="*/ 1072400 h 6858000"/>
              <a:gd name="connsiteX4047" fmla="*/ 1668610 w 6781956"/>
              <a:gd name="connsiteY4047" fmla="*/ 1093324 h 6858000"/>
              <a:gd name="connsiteX4048" fmla="*/ 1652137 w 6781956"/>
              <a:gd name="connsiteY4048" fmla="*/ 954983 h 6858000"/>
              <a:gd name="connsiteX4049" fmla="*/ 1644930 w 6781956"/>
              <a:gd name="connsiteY4049" fmla="*/ 938707 h 6858000"/>
              <a:gd name="connsiteX4050" fmla="*/ 1750969 w 6781956"/>
              <a:gd name="connsiteY4050" fmla="*/ 930570 h 6858000"/>
              <a:gd name="connsiteX4051" fmla="*/ 1750969 w 6781956"/>
              <a:gd name="connsiteY4051" fmla="*/ 943359 h 6858000"/>
              <a:gd name="connsiteX4052" fmla="*/ 1757147 w 6781956"/>
              <a:gd name="connsiteY4052" fmla="*/ 943359 h 6858000"/>
              <a:gd name="connsiteX4053" fmla="*/ 1757147 w 6781956"/>
              <a:gd name="connsiteY4053" fmla="*/ 930570 h 6858000"/>
              <a:gd name="connsiteX4054" fmla="*/ 1750969 w 6781956"/>
              <a:gd name="connsiteY4054" fmla="*/ 930570 h 6858000"/>
              <a:gd name="connsiteX4055" fmla="*/ 1431821 w 6781956"/>
              <a:gd name="connsiteY4055" fmla="*/ 930570 h 6858000"/>
              <a:gd name="connsiteX4056" fmla="*/ 1442117 w 6781956"/>
              <a:gd name="connsiteY4056" fmla="*/ 964283 h 6858000"/>
              <a:gd name="connsiteX4057" fmla="*/ 1445205 w 6781956"/>
              <a:gd name="connsiteY4057" fmla="*/ 980560 h 6858000"/>
              <a:gd name="connsiteX4058" fmla="*/ 1458588 w 6781956"/>
              <a:gd name="connsiteY4058" fmla="*/ 1097974 h 6858000"/>
              <a:gd name="connsiteX4059" fmla="*/ 1451382 w 6781956"/>
              <a:gd name="connsiteY4059" fmla="*/ 1068912 h 6858000"/>
              <a:gd name="connsiteX4060" fmla="*/ 1437999 w 6781956"/>
              <a:gd name="connsiteY4060" fmla="*/ 1039847 h 6858000"/>
              <a:gd name="connsiteX4061" fmla="*/ 1431821 w 6781956"/>
              <a:gd name="connsiteY4061" fmla="*/ 930570 h 6858000"/>
              <a:gd name="connsiteX4062" fmla="*/ 1641843 w 6781956"/>
              <a:gd name="connsiteY4062" fmla="*/ 922432 h 6858000"/>
              <a:gd name="connsiteX4063" fmla="*/ 1641843 w 6781956"/>
              <a:gd name="connsiteY4063" fmla="*/ 935221 h 6858000"/>
              <a:gd name="connsiteX4064" fmla="*/ 1648019 w 6781956"/>
              <a:gd name="connsiteY4064" fmla="*/ 935221 h 6858000"/>
              <a:gd name="connsiteX4065" fmla="*/ 1648019 w 6781956"/>
              <a:gd name="connsiteY4065" fmla="*/ 922432 h 6858000"/>
              <a:gd name="connsiteX4066" fmla="*/ 1641843 w 6781956"/>
              <a:gd name="connsiteY4066" fmla="*/ 922432 h 6858000"/>
              <a:gd name="connsiteX4067" fmla="*/ 1300044 w 6781956"/>
              <a:gd name="connsiteY4067" fmla="*/ 908483 h 6858000"/>
              <a:gd name="connsiteX4068" fmla="*/ 1307250 w 6781956"/>
              <a:gd name="connsiteY4068" fmla="*/ 929408 h 6858000"/>
              <a:gd name="connsiteX4069" fmla="*/ 1300044 w 6781956"/>
              <a:gd name="connsiteY4069" fmla="*/ 908483 h 6858000"/>
              <a:gd name="connsiteX4070" fmla="*/ 1110493 w 6781956"/>
              <a:gd name="connsiteY4070" fmla="*/ 906527 h 6858000"/>
              <a:gd name="connsiteX4071" fmla="*/ 1113188 w 6781956"/>
              <a:gd name="connsiteY4071" fmla="*/ 916184 h 6858000"/>
              <a:gd name="connsiteX4072" fmla="*/ 1122967 w 6781956"/>
              <a:gd name="connsiteY4072" fmla="*/ 937546 h 6858000"/>
              <a:gd name="connsiteX4073" fmla="*/ 1120909 w 6781956"/>
              <a:gd name="connsiteY4073" fmla="*/ 995673 h 6858000"/>
              <a:gd name="connsiteX4074" fmla="*/ 1130468 w 6781956"/>
              <a:gd name="connsiteY4074" fmla="*/ 1022657 h 6858000"/>
              <a:gd name="connsiteX4075" fmla="*/ 1130969 w 6781956"/>
              <a:gd name="connsiteY4075" fmla="*/ 1030184 h 6858000"/>
              <a:gd name="connsiteX4076" fmla="*/ 1130561 w 6781956"/>
              <a:gd name="connsiteY4076" fmla="*/ 1039704 h 6858000"/>
              <a:gd name="connsiteX4077" fmla="*/ 1126056 w 6781956"/>
              <a:gd name="connsiteY4077" fmla="*/ 1050311 h 6858000"/>
              <a:gd name="connsiteX4078" fmla="*/ 1133263 w 6781956"/>
              <a:gd name="connsiteY4078" fmla="*/ 1074724 h 6858000"/>
              <a:gd name="connsiteX4079" fmla="*/ 1127086 w 6781956"/>
              <a:gd name="connsiteY4079" fmla="*/ 1087513 h 6858000"/>
              <a:gd name="connsiteX4080" fmla="*/ 1137382 w 6781956"/>
              <a:gd name="connsiteY4080" fmla="*/ 1121226 h 6858000"/>
              <a:gd name="connsiteX4081" fmla="*/ 1138410 w 6781956"/>
              <a:gd name="connsiteY4081" fmla="*/ 1158426 h 6858000"/>
              <a:gd name="connsiteX4082" fmla="*/ 1141499 w 6781956"/>
              <a:gd name="connsiteY4082" fmla="*/ 1174701 h 6858000"/>
              <a:gd name="connsiteX4083" fmla="*/ 1138410 w 6781956"/>
              <a:gd name="connsiteY4083" fmla="*/ 1187490 h 6858000"/>
              <a:gd name="connsiteX4084" fmla="*/ 1144379 w 6781956"/>
              <a:gd name="connsiteY4084" fmla="*/ 1203217 h 6858000"/>
              <a:gd name="connsiteX4085" fmla="*/ 1141499 w 6781956"/>
              <a:gd name="connsiteY4085" fmla="*/ 1246776 h 6858000"/>
              <a:gd name="connsiteX4086" fmla="*/ 1148706 w 6781956"/>
              <a:gd name="connsiteY4086" fmla="*/ 1262326 h 6858000"/>
              <a:gd name="connsiteX4087" fmla="*/ 1149698 w 6781956"/>
              <a:gd name="connsiteY4087" fmla="*/ 1263154 h 6858000"/>
              <a:gd name="connsiteX4088" fmla="*/ 1149735 w 6781956"/>
              <a:gd name="connsiteY4088" fmla="*/ 1271192 h 6858000"/>
              <a:gd name="connsiteX4089" fmla="*/ 1149092 w 6781956"/>
              <a:gd name="connsiteY4089" fmla="*/ 1288776 h 6858000"/>
              <a:gd name="connsiteX4090" fmla="*/ 1150603 w 6781956"/>
              <a:gd name="connsiteY4090" fmla="*/ 1314882 h 6858000"/>
              <a:gd name="connsiteX4091" fmla="*/ 1150073 w 6781956"/>
              <a:gd name="connsiteY4091" fmla="*/ 1318472 h 6858000"/>
              <a:gd name="connsiteX4092" fmla="*/ 1149736 w 6781956"/>
              <a:gd name="connsiteY4092" fmla="*/ 1340942 h 6858000"/>
              <a:gd name="connsiteX4093" fmla="*/ 1152309 w 6781956"/>
              <a:gd name="connsiteY4093" fmla="*/ 1346754 h 6858000"/>
              <a:gd name="connsiteX4094" fmla="*/ 1154882 w 6781956"/>
              <a:gd name="connsiteY4094" fmla="*/ 1349080 h 6858000"/>
              <a:gd name="connsiteX4095" fmla="*/ 1154882 w 6781956"/>
              <a:gd name="connsiteY4095" fmla="*/ 1349081 h 6858000"/>
              <a:gd name="connsiteX4096" fmla="*/ 1149220 w 6781956"/>
              <a:gd name="connsiteY4096" fmla="*/ 1362013 h 6858000"/>
              <a:gd name="connsiteX4097" fmla="*/ 1143558 w 6781956"/>
              <a:gd name="connsiteY4097" fmla="*/ 1375818 h 6858000"/>
              <a:gd name="connsiteX4098" fmla="*/ 1147612 w 6781956"/>
              <a:gd name="connsiteY4098" fmla="*/ 1484860 h 6858000"/>
              <a:gd name="connsiteX4099" fmla="*/ 1140120 w 6781956"/>
              <a:gd name="connsiteY4099" fmla="*/ 1510570 h 6858000"/>
              <a:gd name="connsiteX4100" fmla="*/ 1139439 w 6781956"/>
              <a:gd name="connsiteY4100" fmla="*/ 1497885 h 6858000"/>
              <a:gd name="connsiteX4101" fmla="*/ 1139439 w 6781956"/>
              <a:gd name="connsiteY4101" fmla="*/ 1485097 h 6858000"/>
              <a:gd name="connsiteX4102" fmla="*/ 1136351 w 6781956"/>
              <a:gd name="connsiteY4102" fmla="*/ 1480448 h 6858000"/>
              <a:gd name="connsiteX4103" fmla="*/ 1139439 w 6781956"/>
              <a:gd name="connsiteY4103" fmla="*/ 1464172 h 6858000"/>
              <a:gd name="connsiteX4104" fmla="*/ 1136351 w 6781956"/>
              <a:gd name="connsiteY4104" fmla="*/ 1447896 h 6858000"/>
              <a:gd name="connsiteX4105" fmla="*/ 1138410 w 6781956"/>
              <a:gd name="connsiteY4105" fmla="*/ 1422322 h 6858000"/>
              <a:gd name="connsiteX4106" fmla="*/ 1131204 w 6781956"/>
              <a:gd name="connsiteY4106" fmla="*/ 1393257 h 6858000"/>
              <a:gd name="connsiteX4107" fmla="*/ 1130175 w 6781956"/>
              <a:gd name="connsiteY4107" fmla="*/ 1367682 h 6858000"/>
              <a:gd name="connsiteX4108" fmla="*/ 1127086 w 6781956"/>
              <a:gd name="connsiteY4108" fmla="*/ 1363031 h 6858000"/>
              <a:gd name="connsiteX4109" fmla="*/ 1127086 w 6781956"/>
              <a:gd name="connsiteY4109" fmla="*/ 1354894 h 6858000"/>
              <a:gd name="connsiteX4110" fmla="*/ 1130175 w 6781956"/>
              <a:gd name="connsiteY4110" fmla="*/ 1333968 h 6858000"/>
              <a:gd name="connsiteX4111" fmla="*/ 1127086 w 6781956"/>
              <a:gd name="connsiteY4111" fmla="*/ 1317693 h 6858000"/>
              <a:gd name="connsiteX4112" fmla="*/ 1130175 w 6781956"/>
              <a:gd name="connsiteY4112" fmla="*/ 1309555 h 6858000"/>
              <a:gd name="connsiteX4113" fmla="*/ 1127086 w 6781956"/>
              <a:gd name="connsiteY4113" fmla="*/ 1304906 h 6858000"/>
              <a:gd name="connsiteX4114" fmla="*/ 1126056 w 6781956"/>
              <a:gd name="connsiteY4114" fmla="*/ 1263055 h 6858000"/>
              <a:gd name="connsiteX4115" fmla="*/ 1121939 w 6781956"/>
              <a:gd name="connsiteY4115" fmla="*/ 1213066 h 6858000"/>
              <a:gd name="connsiteX4116" fmla="*/ 1117820 w 6781956"/>
              <a:gd name="connsiteY4116" fmla="*/ 1158426 h 6858000"/>
              <a:gd name="connsiteX4117" fmla="*/ 1114732 w 6781956"/>
              <a:gd name="connsiteY4117" fmla="*/ 1153777 h 6858000"/>
              <a:gd name="connsiteX4118" fmla="*/ 1113701 w 6781956"/>
              <a:gd name="connsiteY4118" fmla="*/ 1107275 h 6858000"/>
              <a:gd name="connsiteX4119" fmla="*/ 1110099 w 6781956"/>
              <a:gd name="connsiteY4119" fmla="*/ 1033600 h 6858000"/>
              <a:gd name="connsiteX4120" fmla="*/ 1109801 w 6781956"/>
              <a:gd name="connsiteY4120" fmla="*/ 1027574 h 6858000"/>
              <a:gd name="connsiteX4121" fmla="*/ 1137382 w 6781956"/>
              <a:gd name="connsiteY4121" fmla="*/ 887557 h 6858000"/>
              <a:gd name="connsiteX4122" fmla="*/ 1143120 w 6781956"/>
              <a:gd name="connsiteY4122" fmla="*/ 906999 h 6858000"/>
              <a:gd name="connsiteX4123" fmla="*/ 1142532 w 6781956"/>
              <a:gd name="connsiteY4123" fmla="*/ 909270 h 6858000"/>
              <a:gd name="connsiteX4124" fmla="*/ 1138281 w 6781956"/>
              <a:gd name="connsiteY4124" fmla="*/ 903687 h 6858000"/>
              <a:gd name="connsiteX4125" fmla="*/ 1137382 w 6781956"/>
              <a:gd name="connsiteY4125" fmla="*/ 887557 h 6858000"/>
              <a:gd name="connsiteX4126" fmla="*/ 1749941 w 6781956"/>
              <a:gd name="connsiteY4126" fmla="*/ 881744 h 6858000"/>
              <a:gd name="connsiteX4127" fmla="*/ 1750969 w 6781956"/>
              <a:gd name="connsiteY4127" fmla="*/ 907319 h 6858000"/>
              <a:gd name="connsiteX4128" fmla="*/ 1749941 w 6781956"/>
              <a:gd name="connsiteY4128" fmla="*/ 881744 h 6858000"/>
              <a:gd name="connsiteX4129" fmla="*/ 1702582 w 6781956"/>
              <a:gd name="connsiteY4129" fmla="*/ 861982 h 6858000"/>
              <a:gd name="connsiteX4130" fmla="*/ 1700524 w 6781956"/>
              <a:gd name="connsiteY4130" fmla="*/ 887557 h 6858000"/>
              <a:gd name="connsiteX4131" fmla="*/ 1710819 w 6781956"/>
              <a:gd name="connsiteY4131" fmla="*/ 911970 h 6858000"/>
              <a:gd name="connsiteX4132" fmla="*/ 1715967 w 6781956"/>
              <a:gd name="connsiteY4132" fmla="*/ 1011948 h 6858000"/>
              <a:gd name="connsiteX4133" fmla="*/ 1719055 w 6781956"/>
              <a:gd name="connsiteY4133" fmla="*/ 1020085 h 6858000"/>
              <a:gd name="connsiteX4134" fmla="*/ 1725232 w 6781956"/>
              <a:gd name="connsiteY4134" fmla="*/ 1028223 h 6858000"/>
              <a:gd name="connsiteX4135" fmla="*/ 1730380 w 6781956"/>
              <a:gd name="connsiteY4135" fmla="*/ 1120063 h 6858000"/>
              <a:gd name="connsiteX4136" fmla="*/ 1751999 w 6781956"/>
              <a:gd name="connsiteY4136" fmla="*/ 1224690 h 6858000"/>
              <a:gd name="connsiteX4137" fmla="*/ 1743763 w 6781956"/>
              <a:gd name="connsiteY4137" fmla="*/ 1250266 h 6858000"/>
              <a:gd name="connsiteX4138" fmla="*/ 1746852 w 6781956"/>
              <a:gd name="connsiteY4138" fmla="*/ 1266542 h 6858000"/>
              <a:gd name="connsiteX4139" fmla="*/ 1751999 w 6781956"/>
              <a:gd name="connsiteY4139" fmla="*/ 1329319 h 6858000"/>
              <a:gd name="connsiteX4140" fmla="*/ 1762295 w 6781956"/>
              <a:gd name="connsiteY4140" fmla="*/ 1345594 h 6858000"/>
              <a:gd name="connsiteX4141" fmla="*/ 1766412 w 6781956"/>
              <a:gd name="connsiteY4141" fmla="*/ 1379308 h 6858000"/>
              <a:gd name="connsiteX4142" fmla="*/ 1765383 w 6781956"/>
              <a:gd name="connsiteY4142" fmla="*/ 1337456 h 6858000"/>
              <a:gd name="connsiteX4143" fmla="*/ 1765383 w 6781956"/>
              <a:gd name="connsiteY4143" fmla="*/ 1324668 h 6858000"/>
              <a:gd name="connsiteX4144" fmla="*/ 1765383 w 6781956"/>
              <a:gd name="connsiteY4144" fmla="*/ 1308392 h 6858000"/>
              <a:gd name="connsiteX4145" fmla="*/ 1760236 w 6781956"/>
              <a:gd name="connsiteY4145" fmla="*/ 1240965 h 6858000"/>
              <a:gd name="connsiteX4146" fmla="*/ 1757147 w 6781956"/>
              <a:gd name="connsiteY4146" fmla="*/ 1224690 h 6858000"/>
              <a:gd name="connsiteX4147" fmla="*/ 1756118 w 6781956"/>
              <a:gd name="connsiteY4147" fmla="*/ 1195627 h 6858000"/>
              <a:gd name="connsiteX4148" fmla="*/ 1747882 w 6781956"/>
              <a:gd name="connsiteY4148" fmla="*/ 1132850 h 6858000"/>
              <a:gd name="connsiteX4149" fmla="*/ 1747882 w 6781956"/>
              <a:gd name="connsiteY4149" fmla="*/ 1120063 h 6858000"/>
              <a:gd name="connsiteX4150" fmla="*/ 1732439 w 6781956"/>
              <a:gd name="connsiteY4150" fmla="*/ 1020085 h 6858000"/>
              <a:gd name="connsiteX4151" fmla="*/ 1729351 w 6781956"/>
              <a:gd name="connsiteY4151" fmla="*/ 1007297 h 6858000"/>
              <a:gd name="connsiteX4152" fmla="*/ 1725232 w 6781956"/>
              <a:gd name="connsiteY4152" fmla="*/ 957308 h 6858000"/>
              <a:gd name="connsiteX4153" fmla="*/ 1719055 w 6781956"/>
              <a:gd name="connsiteY4153" fmla="*/ 941033 h 6858000"/>
              <a:gd name="connsiteX4154" fmla="*/ 1722143 w 6781956"/>
              <a:gd name="connsiteY4154" fmla="*/ 920108 h 6858000"/>
              <a:gd name="connsiteX4155" fmla="*/ 1719055 w 6781956"/>
              <a:gd name="connsiteY4155" fmla="*/ 907319 h 6858000"/>
              <a:gd name="connsiteX4156" fmla="*/ 1702582 w 6781956"/>
              <a:gd name="connsiteY4156" fmla="*/ 861982 h 6858000"/>
              <a:gd name="connsiteX4157" fmla="*/ 1635407 w 6781956"/>
              <a:gd name="connsiteY4157" fmla="*/ 835952 h 6858000"/>
              <a:gd name="connsiteX4158" fmla="*/ 1630517 w 6781956"/>
              <a:gd name="connsiteY4158" fmla="*/ 843381 h 6858000"/>
              <a:gd name="connsiteX4159" fmla="*/ 1637724 w 6781956"/>
              <a:gd name="connsiteY4159" fmla="*/ 880581 h 6858000"/>
              <a:gd name="connsiteX4160" fmla="*/ 1640813 w 6781956"/>
              <a:gd name="connsiteY4160" fmla="*/ 859656 h 6858000"/>
              <a:gd name="connsiteX4161" fmla="*/ 1637724 w 6781956"/>
              <a:gd name="connsiteY4161" fmla="*/ 859656 h 6858000"/>
              <a:gd name="connsiteX4162" fmla="*/ 1635407 w 6781956"/>
              <a:gd name="connsiteY4162" fmla="*/ 835952 h 6858000"/>
              <a:gd name="connsiteX4163" fmla="*/ 1597572 w 6781956"/>
              <a:gd name="connsiteY4163" fmla="*/ 831755 h 6858000"/>
              <a:gd name="connsiteX4164" fmla="*/ 1603750 w 6781956"/>
              <a:gd name="connsiteY4164" fmla="*/ 902670 h 6858000"/>
              <a:gd name="connsiteX4165" fmla="*/ 1607868 w 6781956"/>
              <a:gd name="connsiteY4165" fmla="*/ 928246 h 6858000"/>
              <a:gd name="connsiteX4166" fmla="*/ 1611986 w 6781956"/>
              <a:gd name="connsiteY4166" fmla="*/ 949171 h 6858000"/>
              <a:gd name="connsiteX4167" fmla="*/ 1610957 w 6781956"/>
              <a:gd name="connsiteY4167" fmla="*/ 899182 h 6858000"/>
              <a:gd name="connsiteX4168" fmla="*/ 1607868 w 6781956"/>
              <a:gd name="connsiteY4168" fmla="*/ 886395 h 6858000"/>
              <a:gd name="connsiteX4169" fmla="*/ 1597572 w 6781956"/>
              <a:gd name="connsiteY4169" fmla="*/ 831755 h 6858000"/>
              <a:gd name="connsiteX4170" fmla="*/ 1414319 w 6781956"/>
              <a:gd name="connsiteY4170" fmla="*/ 830593 h 6858000"/>
              <a:gd name="connsiteX4171" fmla="*/ 1427703 w 6781956"/>
              <a:gd name="connsiteY4171" fmla="*/ 846868 h 6858000"/>
              <a:gd name="connsiteX4172" fmla="*/ 1424614 w 6781956"/>
              <a:gd name="connsiteY4172" fmla="*/ 855006 h 6858000"/>
              <a:gd name="connsiteX4173" fmla="*/ 1418438 w 6781956"/>
              <a:gd name="connsiteY4173" fmla="*/ 855006 h 6858000"/>
              <a:gd name="connsiteX4174" fmla="*/ 1414319 w 6781956"/>
              <a:gd name="connsiteY4174" fmla="*/ 830593 h 6858000"/>
              <a:gd name="connsiteX4175" fmla="*/ 1628329 w 6781956"/>
              <a:gd name="connsiteY4175" fmla="*/ 797133 h 6858000"/>
              <a:gd name="connsiteX4176" fmla="*/ 1629487 w 6781956"/>
              <a:gd name="connsiteY4176" fmla="*/ 813154 h 6858000"/>
              <a:gd name="connsiteX4177" fmla="*/ 1629487 w 6781956"/>
              <a:gd name="connsiteY4177" fmla="*/ 805017 h 6858000"/>
              <a:gd name="connsiteX4178" fmla="*/ 1628329 w 6781956"/>
              <a:gd name="connsiteY4178" fmla="*/ 797133 h 6858000"/>
              <a:gd name="connsiteX4179" fmla="*/ 1276033 w 6781956"/>
              <a:gd name="connsiteY4179" fmla="*/ 783979 h 6858000"/>
              <a:gd name="connsiteX4180" fmla="*/ 1278424 w 6781956"/>
              <a:gd name="connsiteY4180" fmla="*/ 787579 h 6858000"/>
              <a:gd name="connsiteX4181" fmla="*/ 1278424 w 6781956"/>
              <a:gd name="connsiteY4181" fmla="*/ 792230 h 6858000"/>
              <a:gd name="connsiteX4182" fmla="*/ 1288719 w 6781956"/>
              <a:gd name="connsiteY4182" fmla="*/ 846868 h 6858000"/>
              <a:gd name="connsiteX4183" fmla="*/ 1285631 w 6781956"/>
              <a:gd name="connsiteY4183" fmla="*/ 855006 h 6858000"/>
              <a:gd name="connsiteX4184" fmla="*/ 1282542 w 6781956"/>
              <a:gd name="connsiteY4184" fmla="*/ 846868 h 6858000"/>
              <a:gd name="connsiteX4185" fmla="*/ 1275268 w 6781956"/>
              <a:gd name="connsiteY4185" fmla="*/ 811546 h 6858000"/>
              <a:gd name="connsiteX4186" fmla="*/ 1275207 w 6781956"/>
              <a:gd name="connsiteY4186" fmla="*/ 809666 h 6858000"/>
              <a:gd name="connsiteX4187" fmla="*/ 1619193 w 6781956"/>
              <a:gd name="connsiteY4187" fmla="*/ 767816 h 6858000"/>
              <a:gd name="connsiteX4188" fmla="*/ 1626400 w 6781956"/>
              <a:gd name="connsiteY4188" fmla="*/ 788741 h 6858000"/>
              <a:gd name="connsiteX4189" fmla="*/ 1619193 w 6781956"/>
              <a:gd name="connsiteY4189" fmla="*/ 767816 h 6858000"/>
              <a:gd name="connsiteX4190" fmla="*/ 1271878 w 6781956"/>
              <a:gd name="connsiteY4190" fmla="*/ 760336 h 6858000"/>
              <a:gd name="connsiteX4191" fmla="*/ 1273838 w 6781956"/>
              <a:gd name="connsiteY4191" fmla="*/ 773152 h 6858000"/>
              <a:gd name="connsiteX4192" fmla="*/ 1270188 w 6781956"/>
              <a:gd name="connsiteY4192" fmla="*/ 772465 h 6858000"/>
              <a:gd name="connsiteX4193" fmla="*/ 1270832 w 6781956"/>
              <a:gd name="connsiteY4193" fmla="*/ 765490 h 6858000"/>
              <a:gd name="connsiteX4194" fmla="*/ 1723173 w 6781956"/>
              <a:gd name="connsiteY4194" fmla="*/ 758516 h 6858000"/>
              <a:gd name="connsiteX4195" fmla="*/ 1738616 w 6781956"/>
              <a:gd name="connsiteY4195" fmla="*/ 842219 h 6858000"/>
              <a:gd name="connsiteX4196" fmla="*/ 1723173 w 6781956"/>
              <a:gd name="connsiteY4196" fmla="*/ 758516 h 6858000"/>
              <a:gd name="connsiteX4197" fmla="*/ 1737586 w 6781956"/>
              <a:gd name="connsiteY4197" fmla="*/ 749216 h 6858000"/>
              <a:gd name="connsiteX4198" fmla="*/ 1743763 w 6781956"/>
              <a:gd name="connsiteY4198" fmla="*/ 765491 h 6858000"/>
              <a:gd name="connsiteX4199" fmla="*/ 1737586 w 6781956"/>
              <a:gd name="connsiteY4199" fmla="*/ 749216 h 6858000"/>
              <a:gd name="connsiteX4200" fmla="*/ 1262347 w 6781956"/>
              <a:gd name="connsiteY4200" fmla="*/ 724328 h 6858000"/>
              <a:gd name="connsiteX4201" fmla="*/ 1268129 w 6781956"/>
              <a:gd name="connsiteY4201" fmla="*/ 741078 h 6858000"/>
              <a:gd name="connsiteX4202" fmla="*/ 1271263 w 6781956"/>
              <a:gd name="connsiteY4202" fmla="*/ 757003 h 6858000"/>
              <a:gd name="connsiteX4203" fmla="*/ 1267227 w 6781956"/>
              <a:gd name="connsiteY4203" fmla="*/ 750812 h 6858000"/>
              <a:gd name="connsiteX4204" fmla="*/ 1262981 w 6781956"/>
              <a:gd name="connsiteY4204" fmla="*/ 742238 h 6858000"/>
              <a:gd name="connsiteX4205" fmla="*/ 1573894 w 6781956"/>
              <a:gd name="connsiteY4205" fmla="*/ 714340 h 6858000"/>
              <a:gd name="connsiteX4206" fmla="*/ 1582130 w 6781956"/>
              <a:gd name="connsiteY4206" fmla="*/ 777117 h 6858000"/>
              <a:gd name="connsiteX4207" fmla="*/ 1591395 w 6781956"/>
              <a:gd name="connsiteY4207" fmla="*/ 789904 h 6858000"/>
              <a:gd name="connsiteX4208" fmla="*/ 1573894 w 6781956"/>
              <a:gd name="connsiteY4208" fmla="*/ 714340 h 6858000"/>
              <a:gd name="connsiteX4209" fmla="*/ 1535801 w 6781956"/>
              <a:gd name="connsiteY4209" fmla="*/ 712014 h 6858000"/>
              <a:gd name="connsiteX4210" fmla="*/ 1544038 w 6781956"/>
              <a:gd name="connsiteY4210" fmla="*/ 774791 h 6858000"/>
              <a:gd name="connsiteX4211" fmla="*/ 1554333 w 6781956"/>
              <a:gd name="connsiteY4211" fmla="*/ 808505 h 6858000"/>
              <a:gd name="connsiteX4212" fmla="*/ 1554333 w 6781956"/>
              <a:gd name="connsiteY4212" fmla="*/ 824780 h 6858000"/>
              <a:gd name="connsiteX4213" fmla="*/ 1554333 w 6781956"/>
              <a:gd name="connsiteY4213" fmla="*/ 832917 h 6858000"/>
              <a:gd name="connsiteX4214" fmla="*/ 1552274 w 6781956"/>
              <a:gd name="connsiteY4214" fmla="*/ 866631 h 6858000"/>
              <a:gd name="connsiteX4215" fmla="*/ 1544038 w 6781956"/>
              <a:gd name="connsiteY4215" fmla="*/ 808505 h 6858000"/>
              <a:gd name="connsiteX4216" fmla="*/ 1540949 w 6781956"/>
              <a:gd name="connsiteY4216" fmla="*/ 795717 h 6858000"/>
              <a:gd name="connsiteX4217" fmla="*/ 1534772 w 6781956"/>
              <a:gd name="connsiteY4217" fmla="*/ 792230 h 6858000"/>
              <a:gd name="connsiteX4218" fmla="*/ 1546098 w 6781956"/>
              <a:gd name="connsiteY4218" fmla="*/ 871281 h 6858000"/>
              <a:gd name="connsiteX4219" fmla="*/ 1547127 w 6781956"/>
              <a:gd name="connsiteY4219" fmla="*/ 892206 h 6858000"/>
              <a:gd name="connsiteX4220" fmla="*/ 1554333 w 6781956"/>
              <a:gd name="connsiteY4220" fmla="*/ 921271 h 6858000"/>
              <a:gd name="connsiteX4221" fmla="*/ 1558451 w 6781956"/>
              <a:gd name="connsiteY4221" fmla="*/ 963122 h 6858000"/>
              <a:gd name="connsiteX4222" fmla="*/ 1565657 w 6781956"/>
              <a:gd name="connsiteY4222" fmla="*/ 992184 h 6858000"/>
              <a:gd name="connsiteX4223" fmla="*/ 1571835 w 6781956"/>
              <a:gd name="connsiteY4223" fmla="*/ 974747 h 6858000"/>
              <a:gd name="connsiteX4224" fmla="*/ 1582130 w 6781956"/>
              <a:gd name="connsiteY4224" fmla="*/ 999159 h 6858000"/>
              <a:gd name="connsiteX4225" fmla="*/ 1573894 w 6781956"/>
              <a:gd name="connsiteY4225" fmla="*/ 965446 h 6858000"/>
              <a:gd name="connsiteX4226" fmla="*/ 1570805 w 6781956"/>
              <a:gd name="connsiteY4226" fmla="*/ 949171 h 6858000"/>
              <a:gd name="connsiteX4227" fmla="*/ 1564629 w 6781956"/>
              <a:gd name="connsiteY4227" fmla="*/ 961959 h 6858000"/>
              <a:gd name="connsiteX4228" fmla="*/ 1560511 w 6781956"/>
              <a:gd name="connsiteY4228" fmla="*/ 924758 h 6858000"/>
              <a:gd name="connsiteX4229" fmla="*/ 1557422 w 6781956"/>
              <a:gd name="connsiteY4229" fmla="*/ 916620 h 6858000"/>
              <a:gd name="connsiteX4230" fmla="*/ 1560511 w 6781956"/>
              <a:gd name="connsiteY4230" fmla="*/ 903832 h 6858000"/>
              <a:gd name="connsiteX4231" fmla="*/ 1554333 w 6781956"/>
              <a:gd name="connsiteY4231" fmla="*/ 895695 h 6858000"/>
              <a:gd name="connsiteX4232" fmla="*/ 1557422 w 6781956"/>
              <a:gd name="connsiteY4232" fmla="*/ 879420 h 6858000"/>
              <a:gd name="connsiteX4233" fmla="*/ 1567717 w 6781956"/>
              <a:gd name="connsiteY4233" fmla="*/ 900345 h 6858000"/>
              <a:gd name="connsiteX4234" fmla="*/ 1559481 w 6781956"/>
              <a:gd name="connsiteY4234" fmla="*/ 821292 h 6858000"/>
              <a:gd name="connsiteX4235" fmla="*/ 1549187 w 6781956"/>
              <a:gd name="connsiteY4235" fmla="*/ 766653 h 6858000"/>
              <a:gd name="connsiteX4236" fmla="*/ 1535801 w 6781956"/>
              <a:gd name="connsiteY4236" fmla="*/ 712014 h 6858000"/>
              <a:gd name="connsiteX4237" fmla="*/ 1729269 w 6781956"/>
              <a:gd name="connsiteY4237" fmla="*/ 702242 h 6858000"/>
              <a:gd name="connsiteX4238" fmla="*/ 1727292 w 6781956"/>
              <a:gd name="connsiteY4238" fmla="*/ 707365 h 6858000"/>
              <a:gd name="connsiteX4239" fmla="*/ 1730380 w 6781956"/>
              <a:gd name="connsiteY4239" fmla="*/ 712014 h 6858000"/>
              <a:gd name="connsiteX4240" fmla="*/ 1733468 w 6781956"/>
              <a:gd name="connsiteY4240" fmla="*/ 724802 h 6858000"/>
              <a:gd name="connsiteX4241" fmla="*/ 1729269 w 6781956"/>
              <a:gd name="connsiteY4241" fmla="*/ 702242 h 6858000"/>
              <a:gd name="connsiteX4242" fmla="*/ 1674240 w 6781956"/>
              <a:gd name="connsiteY4242" fmla="*/ 690635 h 6858000"/>
              <a:gd name="connsiteX4243" fmla="*/ 1676845 w 6781956"/>
              <a:gd name="connsiteY4243" fmla="*/ 703876 h 6858000"/>
              <a:gd name="connsiteX4244" fmla="*/ 1670669 w 6781956"/>
              <a:gd name="connsiteY4244" fmla="*/ 695739 h 6858000"/>
              <a:gd name="connsiteX4245" fmla="*/ 1674240 w 6781956"/>
              <a:gd name="connsiteY4245" fmla="*/ 690635 h 6858000"/>
              <a:gd name="connsiteX4246" fmla="*/ 1541979 w 6781956"/>
              <a:gd name="connsiteY4246" fmla="*/ 656213 h 6858000"/>
              <a:gd name="connsiteX4247" fmla="*/ 1546098 w 6781956"/>
              <a:gd name="connsiteY4247" fmla="*/ 685277 h 6858000"/>
              <a:gd name="connsiteX4248" fmla="*/ 1555362 w 6781956"/>
              <a:gd name="connsiteY4248" fmla="*/ 710853 h 6858000"/>
              <a:gd name="connsiteX4249" fmla="*/ 1541979 w 6781956"/>
              <a:gd name="connsiteY4249" fmla="*/ 656213 h 6858000"/>
              <a:gd name="connsiteX4250" fmla="*/ 1522418 w 6781956"/>
              <a:gd name="connsiteY4250" fmla="*/ 644589 h 6858000"/>
              <a:gd name="connsiteX4251" fmla="*/ 1532714 w 6781956"/>
              <a:gd name="connsiteY4251" fmla="*/ 673651 h 6858000"/>
              <a:gd name="connsiteX4252" fmla="*/ 1522418 w 6781956"/>
              <a:gd name="connsiteY4252" fmla="*/ 644589 h 6858000"/>
              <a:gd name="connsiteX4253" fmla="*/ 1631547 w 6781956"/>
              <a:gd name="connsiteY4253" fmla="*/ 638775 h 6858000"/>
              <a:gd name="connsiteX4254" fmla="*/ 1634636 w 6781956"/>
              <a:gd name="connsiteY4254" fmla="*/ 655051 h 6858000"/>
              <a:gd name="connsiteX4255" fmla="*/ 1631547 w 6781956"/>
              <a:gd name="connsiteY4255" fmla="*/ 638775 h 6858000"/>
              <a:gd name="connsiteX4256" fmla="*/ 1559481 w 6781956"/>
              <a:gd name="connsiteY4256" fmla="*/ 622499 h 6858000"/>
              <a:gd name="connsiteX4257" fmla="*/ 1560511 w 6781956"/>
              <a:gd name="connsiteY4257" fmla="*/ 648076 h 6858000"/>
              <a:gd name="connsiteX4258" fmla="*/ 1570805 w 6781956"/>
              <a:gd name="connsiteY4258" fmla="*/ 669001 h 6858000"/>
              <a:gd name="connsiteX4259" fmla="*/ 1559481 w 6781956"/>
              <a:gd name="connsiteY4259" fmla="*/ 622499 h 6858000"/>
              <a:gd name="connsiteX4260" fmla="*/ 1428862 w 6781956"/>
              <a:gd name="connsiteY4260" fmla="*/ 618577 h 6858000"/>
              <a:gd name="connsiteX4261" fmla="*/ 1430792 w 6781956"/>
              <a:gd name="connsiteY4261" fmla="*/ 620175 h 6858000"/>
              <a:gd name="connsiteX4262" fmla="*/ 1444175 w 6781956"/>
              <a:gd name="connsiteY4262" fmla="*/ 641101 h 6858000"/>
              <a:gd name="connsiteX4263" fmla="*/ 1448293 w 6781956"/>
              <a:gd name="connsiteY4263" fmla="*/ 682952 h 6858000"/>
              <a:gd name="connsiteX4264" fmla="*/ 1455500 w 6781956"/>
              <a:gd name="connsiteY4264" fmla="*/ 712014 h 6858000"/>
              <a:gd name="connsiteX4265" fmla="*/ 1458588 w 6781956"/>
              <a:gd name="connsiteY4265" fmla="*/ 712014 h 6858000"/>
              <a:gd name="connsiteX4266" fmla="*/ 1458588 w 6781956"/>
              <a:gd name="connsiteY4266" fmla="*/ 720153 h 6858000"/>
              <a:gd name="connsiteX4267" fmla="*/ 1462706 w 6781956"/>
              <a:gd name="connsiteY4267" fmla="*/ 745728 h 6858000"/>
              <a:gd name="connsiteX4268" fmla="*/ 1469913 w 6781956"/>
              <a:gd name="connsiteY4268" fmla="*/ 766653 h 6858000"/>
              <a:gd name="connsiteX4269" fmla="*/ 1476089 w 6781956"/>
              <a:gd name="connsiteY4269" fmla="*/ 782929 h 6858000"/>
              <a:gd name="connsiteX4270" fmla="*/ 1473002 w 6781956"/>
              <a:gd name="connsiteY4270" fmla="*/ 803855 h 6858000"/>
              <a:gd name="connsiteX4271" fmla="*/ 1484326 w 6781956"/>
              <a:gd name="connsiteY4271" fmla="*/ 882907 h 6858000"/>
              <a:gd name="connsiteX4272" fmla="*/ 1494621 w 6781956"/>
              <a:gd name="connsiteY4272" fmla="*/ 924758 h 6858000"/>
              <a:gd name="connsiteX4273" fmla="*/ 1495651 w 6781956"/>
              <a:gd name="connsiteY4273" fmla="*/ 953821 h 6858000"/>
              <a:gd name="connsiteX4274" fmla="*/ 1498739 w 6781956"/>
              <a:gd name="connsiteY4274" fmla="*/ 970096 h 6858000"/>
              <a:gd name="connsiteX4275" fmla="*/ 1495651 w 6781956"/>
              <a:gd name="connsiteY4275" fmla="*/ 986373 h 6858000"/>
              <a:gd name="connsiteX4276" fmla="*/ 1506975 w 6781956"/>
              <a:gd name="connsiteY4276" fmla="*/ 1044499 h 6858000"/>
              <a:gd name="connsiteX4277" fmla="*/ 1511094 w 6781956"/>
              <a:gd name="connsiteY4277" fmla="*/ 1073561 h 6858000"/>
              <a:gd name="connsiteX4278" fmla="*/ 1512123 w 6781956"/>
              <a:gd name="connsiteY4278" fmla="*/ 1099137 h 6858000"/>
              <a:gd name="connsiteX4279" fmla="*/ 1495651 w 6781956"/>
              <a:gd name="connsiteY4279" fmla="*/ 1074724 h 6858000"/>
              <a:gd name="connsiteX4280" fmla="*/ 1491532 w 6781956"/>
              <a:gd name="connsiteY4280" fmla="*/ 1016597 h 6858000"/>
              <a:gd name="connsiteX4281" fmla="*/ 1487415 w 6781956"/>
              <a:gd name="connsiteY4281" fmla="*/ 979397 h 6858000"/>
              <a:gd name="connsiteX4282" fmla="*/ 1480208 w 6781956"/>
              <a:gd name="connsiteY4282" fmla="*/ 958472 h 6858000"/>
              <a:gd name="connsiteX4283" fmla="*/ 1476089 w 6781956"/>
              <a:gd name="connsiteY4283" fmla="*/ 924758 h 6858000"/>
              <a:gd name="connsiteX4284" fmla="*/ 1473002 w 6781956"/>
              <a:gd name="connsiteY4284" fmla="*/ 911970 h 6858000"/>
              <a:gd name="connsiteX4285" fmla="*/ 1476089 w 6781956"/>
              <a:gd name="connsiteY4285" fmla="*/ 903832 h 6858000"/>
              <a:gd name="connsiteX4286" fmla="*/ 1476089 w 6781956"/>
              <a:gd name="connsiteY4286" fmla="*/ 895695 h 6858000"/>
              <a:gd name="connsiteX4287" fmla="*/ 1469913 w 6781956"/>
              <a:gd name="connsiteY4287" fmla="*/ 879420 h 6858000"/>
              <a:gd name="connsiteX4288" fmla="*/ 1468883 w 6781956"/>
              <a:gd name="connsiteY4288" fmla="*/ 850356 h 6858000"/>
              <a:gd name="connsiteX4289" fmla="*/ 1453441 w 6781956"/>
              <a:gd name="connsiteY4289" fmla="*/ 766653 h 6858000"/>
              <a:gd name="connsiteX4290" fmla="*/ 1462706 w 6781956"/>
              <a:gd name="connsiteY4290" fmla="*/ 770142 h 6858000"/>
              <a:gd name="connsiteX4291" fmla="*/ 1446235 w 6781956"/>
              <a:gd name="connsiteY4291" fmla="*/ 724802 h 6858000"/>
              <a:gd name="connsiteX4292" fmla="*/ 1445205 w 6781956"/>
              <a:gd name="connsiteY4292" fmla="*/ 691089 h 6858000"/>
              <a:gd name="connsiteX4293" fmla="*/ 1434910 w 6781956"/>
              <a:gd name="connsiteY4293" fmla="*/ 670163 h 6858000"/>
              <a:gd name="connsiteX4294" fmla="*/ 1430792 w 6781956"/>
              <a:gd name="connsiteY4294" fmla="*/ 641101 h 6858000"/>
              <a:gd name="connsiteX4295" fmla="*/ 1427703 w 6781956"/>
              <a:gd name="connsiteY4295" fmla="*/ 624825 h 6858000"/>
              <a:gd name="connsiteX4296" fmla="*/ 1428862 w 6781956"/>
              <a:gd name="connsiteY4296" fmla="*/ 618577 h 6858000"/>
              <a:gd name="connsiteX4297" fmla="*/ 1624340 w 6781956"/>
              <a:gd name="connsiteY4297" fmla="*/ 613199 h 6858000"/>
              <a:gd name="connsiteX4298" fmla="*/ 1631547 w 6781956"/>
              <a:gd name="connsiteY4298" fmla="*/ 634125 h 6858000"/>
              <a:gd name="connsiteX4299" fmla="*/ 1624340 w 6781956"/>
              <a:gd name="connsiteY4299" fmla="*/ 613199 h 6858000"/>
              <a:gd name="connsiteX4300" fmla="*/ 1515212 w 6781956"/>
              <a:gd name="connsiteY4300" fmla="*/ 610875 h 6858000"/>
              <a:gd name="connsiteX4301" fmla="*/ 1521388 w 6781956"/>
              <a:gd name="connsiteY4301" fmla="*/ 623662 h 6858000"/>
              <a:gd name="connsiteX4302" fmla="*/ 1515212 w 6781956"/>
              <a:gd name="connsiteY4302" fmla="*/ 610875 h 6858000"/>
              <a:gd name="connsiteX4303" fmla="*/ 1702325 w 6781956"/>
              <a:gd name="connsiteY4303" fmla="*/ 574255 h 6858000"/>
              <a:gd name="connsiteX4304" fmla="*/ 1704642 w 6781956"/>
              <a:gd name="connsiteY4304" fmla="*/ 581812 h 6858000"/>
              <a:gd name="connsiteX4305" fmla="*/ 1707730 w 6781956"/>
              <a:gd name="connsiteY4305" fmla="*/ 577161 h 6858000"/>
              <a:gd name="connsiteX4306" fmla="*/ 1702325 w 6781956"/>
              <a:gd name="connsiteY4306" fmla="*/ 574255 h 6858000"/>
              <a:gd name="connsiteX4307" fmla="*/ 1586248 w 6781956"/>
              <a:gd name="connsiteY4307" fmla="*/ 571348 h 6858000"/>
              <a:gd name="connsiteX4308" fmla="*/ 1597572 w 6781956"/>
              <a:gd name="connsiteY4308" fmla="*/ 642263 h 6858000"/>
              <a:gd name="connsiteX4309" fmla="*/ 1593455 w 6781956"/>
              <a:gd name="connsiteY4309" fmla="*/ 608550 h 6858000"/>
              <a:gd name="connsiteX4310" fmla="*/ 1590367 w 6781956"/>
              <a:gd name="connsiteY4310" fmla="*/ 603899 h 6858000"/>
              <a:gd name="connsiteX4311" fmla="*/ 1593455 w 6781956"/>
              <a:gd name="connsiteY4311" fmla="*/ 591112 h 6858000"/>
              <a:gd name="connsiteX4312" fmla="*/ 1586248 w 6781956"/>
              <a:gd name="connsiteY4312" fmla="*/ 571348 h 6858000"/>
              <a:gd name="connsiteX4313" fmla="*/ 1686111 w 6781956"/>
              <a:gd name="connsiteY4313" fmla="*/ 552748 h 6858000"/>
              <a:gd name="connsiteX4314" fmla="*/ 1683023 w 6781956"/>
              <a:gd name="connsiteY4314" fmla="*/ 565536 h 6858000"/>
              <a:gd name="connsiteX4315" fmla="*/ 1676845 w 6781956"/>
              <a:gd name="connsiteY4315" fmla="*/ 562048 h 6858000"/>
              <a:gd name="connsiteX4316" fmla="*/ 1688169 w 6781956"/>
              <a:gd name="connsiteY4316" fmla="*/ 620175 h 6858000"/>
              <a:gd name="connsiteX4317" fmla="*/ 1698465 w 6781956"/>
              <a:gd name="connsiteY4317" fmla="*/ 636451 h 6858000"/>
              <a:gd name="connsiteX4318" fmla="*/ 1702582 w 6781956"/>
              <a:gd name="connsiteY4318" fmla="*/ 678301 h 6858000"/>
              <a:gd name="connsiteX4319" fmla="*/ 1709789 w 6781956"/>
              <a:gd name="connsiteY4319" fmla="*/ 702715 h 6858000"/>
              <a:gd name="connsiteX4320" fmla="*/ 1715967 w 6781956"/>
              <a:gd name="connsiteY4320" fmla="*/ 710853 h 6858000"/>
              <a:gd name="connsiteX4321" fmla="*/ 1709789 w 6781956"/>
              <a:gd name="connsiteY4321" fmla="*/ 728290 h 6858000"/>
              <a:gd name="connsiteX4322" fmla="*/ 1719055 w 6781956"/>
              <a:gd name="connsiteY4322" fmla="*/ 728290 h 6858000"/>
              <a:gd name="connsiteX4323" fmla="*/ 1722143 w 6781956"/>
              <a:gd name="connsiteY4323" fmla="*/ 736428 h 6858000"/>
              <a:gd name="connsiteX4324" fmla="*/ 1706701 w 6781956"/>
              <a:gd name="connsiteY4324" fmla="*/ 636451 h 6858000"/>
              <a:gd name="connsiteX4325" fmla="*/ 1700524 w 6781956"/>
              <a:gd name="connsiteY4325" fmla="*/ 628313 h 6858000"/>
              <a:gd name="connsiteX4326" fmla="*/ 1694347 w 6781956"/>
              <a:gd name="connsiteY4326" fmla="*/ 615524 h 6858000"/>
              <a:gd name="connsiteX4327" fmla="*/ 1686111 w 6781956"/>
              <a:gd name="connsiteY4327" fmla="*/ 552748 h 6858000"/>
              <a:gd name="connsiteX4328" fmla="*/ 1372110 w 6781956"/>
              <a:gd name="connsiteY4328" fmla="*/ 536472 h 6858000"/>
              <a:gd name="connsiteX4329" fmla="*/ 1382406 w 6781956"/>
              <a:gd name="connsiteY4329" fmla="*/ 565536 h 6858000"/>
              <a:gd name="connsiteX4330" fmla="*/ 1385493 w 6781956"/>
              <a:gd name="connsiteY4330" fmla="*/ 570186 h 6858000"/>
              <a:gd name="connsiteX4331" fmla="*/ 1395789 w 6781956"/>
              <a:gd name="connsiteY4331" fmla="*/ 624825 h 6858000"/>
              <a:gd name="connsiteX4332" fmla="*/ 1402995 w 6781956"/>
              <a:gd name="connsiteY4332" fmla="*/ 653887 h 6858000"/>
              <a:gd name="connsiteX4333" fmla="*/ 1404024 w 6781956"/>
              <a:gd name="connsiteY4333" fmla="*/ 682952 h 6858000"/>
              <a:gd name="connsiteX4334" fmla="*/ 1407113 w 6781956"/>
              <a:gd name="connsiteY4334" fmla="*/ 691089 h 6858000"/>
              <a:gd name="connsiteX4335" fmla="*/ 1397847 w 6781956"/>
              <a:gd name="connsiteY4335" fmla="*/ 708527 h 6858000"/>
              <a:gd name="connsiteX4336" fmla="*/ 1401965 w 6781956"/>
              <a:gd name="connsiteY4336" fmla="*/ 729453 h 6858000"/>
              <a:gd name="connsiteX4337" fmla="*/ 1395789 w 6781956"/>
              <a:gd name="connsiteY4337" fmla="*/ 709690 h 6858000"/>
              <a:gd name="connsiteX4338" fmla="*/ 1392700 w 6781956"/>
              <a:gd name="connsiteY4338" fmla="*/ 709690 h 6858000"/>
              <a:gd name="connsiteX4339" fmla="*/ 1395789 w 6781956"/>
              <a:gd name="connsiteY4339" fmla="*/ 693414 h 6858000"/>
              <a:gd name="connsiteX4340" fmla="*/ 1389612 w 6781956"/>
              <a:gd name="connsiteY4340" fmla="*/ 677139 h 6858000"/>
              <a:gd name="connsiteX4341" fmla="*/ 1385493 w 6781956"/>
              <a:gd name="connsiteY4341" fmla="*/ 630637 h 6858000"/>
              <a:gd name="connsiteX4342" fmla="*/ 1385493 w 6781956"/>
              <a:gd name="connsiteY4342" fmla="*/ 622499 h 6858000"/>
              <a:gd name="connsiteX4343" fmla="*/ 1382406 w 6781956"/>
              <a:gd name="connsiteY4343" fmla="*/ 606224 h 6858000"/>
              <a:gd name="connsiteX4344" fmla="*/ 1379317 w 6781956"/>
              <a:gd name="connsiteY4344" fmla="*/ 598087 h 6858000"/>
              <a:gd name="connsiteX4345" fmla="*/ 1379317 w 6781956"/>
              <a:gd name="connsiteY4345" fmla="*/ 581812 h 6858000"/>
              <a:gd name="connsiteX4346" fmla="*/ 1372110 w 6781956"/>
              <a:gd name="connsiteY4346" fmla="*/ 536472 h 6858000"/>
              <a:gd name="connsiteX4347" fmla="*/ 1516242 w 6781956"/>
              <a:gd name="connsiteY4347" fmla="*/ 519036 h 6858000"/>
              <a:gd name="connsiteX4348" fmla="*/ 1526537 w 6781956"/>
              <a:gd name="connsiteY4348" fmla="*/ 560886 h 6858000"/>
              <a:gd name="connsiteX4349" fmla="*/ 1516242 w 6781956"/>
              <a:gd name="connsiteY4349" fmla="*/ 519036 h 6858000"/>
              <a:gd name="connsiteX4350" fmla="*/ 1496681 w 6781956"/>
              <a:gd name="connsiteY4350" fmla="*/ 489971 h 6858000"/>
              <a:gd name="connsiteX4351" fmla="*/ 1508005 w 6781956"/>
              <a:gd name="connsiteY4351" fmla="*/ 565536 h 6858000"/>
              <a:gd name="connsiteX4352" fmla="*/ 1508005 w 6781956"/>
              <a:gd name="connsiteY4352" fmla="*/ 573674 h 6858000"/>
              <a:gd name="connsiteX4353" fmla="*/ 1511094 w 6781956"/>
              <a:gd name="connsiteY4353" fmla="*/ 573674 h 6858000"/>
              <a:gd name="connsiteX4354" fmla="*/ 1518301 w 6781956"/>
              <a:gd name="connsiteY4354" fmla="*/ 602737 h 6858000"/>
              <a:gd name="connsiteX4355" fmla="*/ 1506975 w 6781956"/>
              <a:gd name="connsiteY4355" fmla="*/ 539960 h 6858000"/>
              <a:gd name="connsiteX4356" fmla="*/ 1496681 w 6781956"/>
              <a:gd name="connsiteY4356" fmla="*/ 489971 h 6858000"/>
              <a:gd name="connsiteX4357" fmla="*/ 1512123 w 6781956"/>
              <a:gd name="connsiteY4357" fmla="*/ 473696 h 6858000"/>
              <a:gd name="connsiteX4358" fmla="*/ 1519329 w 6781956"/>
              <a:gd name="connsiteY4358" fmla="*/ 510896 h 6858000"/>
              <a:gd name="connsiteX4359" fmla="*/ 1512123 w 6781956"/>
              <a:gd name="connsiteY4359" fmla="*/ 473696 h 6858000"/>
              <a:gd name="connsiteX4360" fmla="*/ 1354720 w 6781956"/>
              <a:gd name="connsiteY4360" fmla="*/ 468574 h 6858000"/>
              <a:gd name="connsiteX4361" fmla="*/ 1361814 w 6781956"/>
              <a:gd name="connsiteY4361" fmla="*/ 480671 h 6858000"/>
              <a:gd name="connsiteX4362" fmla="*/ 1362844 w 6781956"/>
              <a:gd name="connsiteY4362" fmla="*/ 501597 h 6858000"/>
              <a:gd name="connsiteX4363" fmla="*/ 1352548 w 6781956"/>
              <a:gd name="connsiteY4363" fmla="*/ 472534 h 6858000"/>
              <a:gd name="connsiteX4364" fmla="*/ 1354720 w 6781956"/>
              <a:gd name="connsiteY4364" fmla="*/ 468574 h 6858000"/>
              <a:gd name="connsiteX4365" fmla="*/ 1682653 w 6781956"/>
              <a:gd name="connsiteY4365" fmla="*/ 465486 h 6858000"/>
              <a:gd name="connsiteX4366" fmla="*/ 1680963 w 6781956"/>
              <a:gd name="connsiteY4366" fmla="*/ 469045 h 6858000"/>
              <a:gd name="connsiteX4367" fmla="*/ 1687140 w 6781956"/>
              <a:gd name="connsiteY4367" fmla="*/ 481834 h 6858000"/>
              <a:gd name="connsiteX4368" fmla="*/ 1682653 w 6781956"/>
              <a:gd name="connsiteY4368" fmla="*/ 465486 h 6858000"/>
              <a:gd name="connsiteX4369" fmla="*/ 1561539 w 6781956"/>
              <a:gd name="connsiteY4369" fmla="*/ 459746 h 6858000"/>
              <a:gd name="connsiteX4370" fmla="*/ 1567717 w 6781956"/>
              <a:gd name="connsiteY4370" fmla="*/ 476022 h 6858000"/>
              <a:gd name="connsiteX4371" fmla="*/ 1561539 w 6781956"/>
              <a:gd name="connsiteY4371" fmla="*/ 459746 h 6858000"/>
              <a:gd name="connsiteX4372" fmla="*/ 1504916 w 6781956"/>
              <a:gd name="connsiteY4372" fmla="*/ 451608 h 6858000"/>
              <a:gd name="connsiteX4373" fmla="*/ 1511094 w 6781956"/>
              <a:gd name="connsiteY4373" fmla="*/ 464396 h 6858000"/>
              <a:gd name="connsiteX4374" fmla="*/ 1504916 w 6781956"/>
              <a:gd name="connsiteY4374" fmla="*/ 451608 h 6858000"/>
              <a:gd name="connsiteX4375" fmla="*/ 1489473 w 6781956"/>
              <a:gd name="connsiteY4375" fmla="*/ 448120 h 6858000"/>
              <a:gd name="connsiteX4376" fmla="*/ 1495651 w 6781956"/>
              <a:gd name="connsiteY4376" fmla="*/ 460908 h 6858000"/>
              <a:gd name="connsiteX4377" fmla="*/ 1492562 w 6781956"/>
              <a:gd name="connsiteY4377" fmla="*/ 460908 h 6858000"/>
              <a:gd name="connsiteX4378" fmla="*/ 1489473 w 6781956"/>
              <a:gd name="connsiteY4378" fmla="*/ 448120 h 6858000"/>
              <a:gd name="connsiteX4379" fmla="*/ 1278424 w 6781956"/>
              <a:gd name="connsiteY4379" fmla="*/ 431845 h 6858000"/>
              <a:gd name="connsiteX4380" fmla="*/ 1296956 w 6781956"/>
              <a:gd name="connsiteY4380" fmla="*/ 510896 h 6858000"/>
              <a:gd name="connsiteX4381" fmla="*/ 1306220 w 6781956"/>
              <a:gd name="connsiteY4381" fmla="*/ 519036 h 6858000"/>
              <a:gd name="connsiteX4382" fmla="*/ 1310339 w 6781956"/>
              <a:gd name="connsiteY4382" fmla="*/ 556235 h 6858000"/>
              <a:gd name="connsiteX4383" fmla="*/ 1326811 w 6781956"/>
              <a:gd name="connsiteY4383" fmla="*/ 585300 h 6858000"/>
              <a:gd name="connsiteX4384" fmla="*/ 1327840 w 6781956"/>
              <a:gd name="connsiteY4384" fmla="*/ 627150 h 6858000"/>
              <a:gd name="connsiteX4385" fmla="*/ 1338136 w 6781956"/>
              <a:gd name="connsiteY4385" fmla="*/ 648076 h 6858000"/>
              <a:gd name="connsiteX4386" fmla="*/ 1338136 w 6781956"/>
              <a:gd name="connsiteY4386" fmla="*/ 652726 h 6858000"/>
              <a:gd name="connsiteX4387" fmla="*/ 1342254 w 6781956"/>
              <a:gd name="connsiteY4387" fmla="*/ 678301 h 6858000"/>
              <a:gd name="connsiteX4388" fmla="*/ 1349461 w 6781956"/>
              <a:gd name="connsiteY4388" fmla="*/ 702715 h 6858000"/>
              <a:gd name="connsiteX4389" fmla="*/ 1349461 w 6781956"/>
              <a:gd name="connsiteY4389" fmla="*/ 718990 h 6858000"/>
              <a:gd name="connsiteX4390" fmla="*/ 1352548 w 6781956"/>
              <a:gd name="connsiteY4390" fmla="*/ 723640 h 6858000"/>
              <a:gd name="connsiteX4391" fmla="*/ 1362844 w 6781956"/>
              <a:gd name="connsiteY4391" fmla="*/ 773629 h 6858000"/>
              <a:gd name="connsiteX4392" fmla="*/ 1380346 w 6781956"/>
              <a:gd name="connsiteY4392" fmla="*/ 839893 h 6858000"/>
              <a:gd name="connsiteX4393" fmla="*/ 1386523 w 6781956"/>
              <a:gd name="connsiteY4393" fmla="*/ 848030 h 6858000"/>
              <a:gd name="connsiteX4394" fmla="*/ 1392700 w 6781956"/>
              <a:gd name="connsiteY4394" fmla="*/ 856168 h 6858000"/>
              <a:gd name="connsiteX4395" fmla="*/ 1383433 w 6781956"/>
              <a:gd name="connsiteY4395" fmla="*/ 864306 h 6858000"/>
              <a:gd name="connsiteX4396" fmla="*/ 1384463 w 6781956"/>
              <a:gd name="connsiteY4396" fmla="*/ 885232 h 6858000"/>
              <a:gd name="connsiteX4397" fmla="*/ 1393730 w 6781956"/>
              <a:gd name="connsiteY4397" fmla="*/ 888719 h 6858000"/>
              <a:gd name="connsiteX4398" fmla="*/ 1396817 w 6781956"/>
              <a:gd name="connsiteY4398" fmla="*/ 884069 h 6858000"/>
              <a:gd name="connsiteX4399" fmla="*/ 1402995 w 6781956"/>
              <a:gd name="connsiteY4399" fmla="*/ 892206 h 6858000"/>
              <a:gd name="connsiteX4400" fmla="*/ 1407113 w 6781956"/>
              <a:gd name="connsiteY4400" fmla="*/ 913133 h 6858000"/>
              <a:gd name="connsiteX4401" fmla="*/ 1397847 w 6781956"/>
              <a:gd name="connsiteY4401" fmla="*/ 934058 h 6858000"/>
              <a:gd name="connsiteX4402" fmla="*/ 1398876 w 6781956"/>
              <a:gd name="connsiteY4402" fmla="*/ 975909 h 6858000"/>
              <a:gd name="connsiteX4403" fmla="*/ 1411231 w 6781956"/>
              <a:gd name="connsiteY4403" fmla="*/ 984047 h 6858000"/>
              <a:gd name="connsiteX4404" fmla="*/ 1412260 w 6781956"/>
              <a:gd name="connsiteY4404" fmla="*/ 1013110 h 6858000"/>
              <a:gd name="connsiteX4405" fmla="*/ 1419467 w 6781956"/>
              <a:gd name="connsiteY4405" fmla="*/ 1063099 h 6858000"/>
              <a:gd name="connsiteX4406" fmla="*/ 1429762 w 6781956"/>
              <a:gd name="connsiteY4406" fmla="*/ 1100300 h 6858000"/>
              <a:gd name="connsiteX4407" fmla="*/ 1433880 w 6781956"/>
              <a:gd name="connsiteY4407" fmla="*/ 1129363 h 6858000"/>
              <a:gd name="connsiteX4408" fmla="*/ 1437999 w 6781956"/>
              <a:gd name="connsiteY4408" fmla="*/ 1184001 h 6858000"/>
              <a:gd name="connsiteX4409" fmla="*/ 1448293 w 6781956"/>
              <a:gd name="connsiteY4409" fmla="*/ 1200277 h 6858000"/>
              <a:gd name="connsiteX4410" fmla="*/ 1448293 w 6781956"/>
              <a:gd name="connsiteY4410" fmla="*/ 1213066 h 6858000"/>
              <a:gd name="connsiteX4411" fmla="*/ 1446235 w 6781956"/>
              <a:gd name="connsiteY4411" fmla="*/ 1238642 h 6858000"/>
              <a:gd name="connsiteX4412" fmla="*/ 1450352 w 6781956"/>
              <a:gd name="connsiteY4412" fmla="*/ 1293280 h 6858000"/>
              <a:gd name="connsiteX4413" fmla="*/ 1436969 w 6781956"/>
              <a:gd name="connsiteY4413" fmla="*/ 1277004 h 6858000"/>
              <a:gd name="connsiteX4414" fmla="*/ 1434910 w 6781956"/>
              <a:gd name="connsiteY4414" fmla="*/ 1214228 h 6858000"/>
              <a:gd name="connsiteX4415" fmla="*/ 1427703 w 6781956"/>
              <a:gd name="connsiteY4415" fmla="*/ 1189815 h 6858000"/>
              <a:gd name="connsiteX4416" fmla="*/ 1423586 w 6781956"/>
              <a:gd name="connsiteY4416" fmla="*/ 1156102 h 6858000"/>
              <a:gd name="connsiteX4417" fmla="*/ 1417407 w 6781956"/>
              <a:gd name="connsiteY4417" fmla="*/ 1147964 h 6858000"/>
              <a:gd name="connsiteX4418" fmla="*/ 1420496 w 6781956"/>
              <a:gd name="connsiteY4418" fmla="*/ 1135176 h 6858000"/>
              <a:gd name="connsiteX4419" fmla="*/ 1417407 w 6781956"/>
              <a:gd name="connsiteY4419" fmla="*/ 1122389 h 6858000"/>
              <a:gd name="connsiteX4420" fmla="*/ 1410202 w 6781956"/>
              <a:gd name="connsiteY4420" fmla="*/ 1072400 h 6858000"/>
              <a:gd name="connsiteX4421" fmla="*/ 1410202 w 6781956"/>
              <a:gd name="connsiteY4421" fmla="*/ 1064263 h 6858000"/>
              <a:gd name="connsiteX4422" fmla="*/ 1407113 w 6781956"/>
              <a:gd name="connsiteY4422" fmla="*/ 1064263 h 6858000"/>
              <a:gd name="connsiteX4423" fmla="*/ 1410202 w 6781956"/>
              <a:gd name="connsiteY4423" fmla="*/ 1051473 h 6858000"/>
              <a:gd name="connsiteX4424" fmla="*/ 1407113 w 6781956"/>
              <a:gd name="connsiteY4424" fmla="*/ 1051473 h 6858000"/>
              <a:gd name="connsiteX4425" fmla="*/ 1399906 w 6781956"/>
              <a:gd name="connsiteY4425" fmla="*/ 1006135 h 6858000"/>
              <a:gd name="connsiteX4426" fmla="*/ 1399906 w 6781956"/>
              <a:gd name="connsiteY4426" fmla="*/ 993347 h 6858000"/>
              <a:gd name="connsiteX4427" fmla="*/ 1396817 w 6781956"/>
              <a:gd name="connsiteY4427" fmla="*/ 988697 h 6858000"/>
              <a:gd name="connsiteX4428" fmla="*/ 1396817 w 6781956"/>
              <a:gd name="connsiteY4428" fmla="*/ 984047 h 6858000"/>
              <a:gd name="connsiteX4429" fmla="*/ 1389612 w 6781956"/>
              <a:gd name="connsiteY4429" fmla="*/ 946846 h 6858000"/>
              <a:gd name="connsiteX4430" fmla="*/ 1382406 w 6781956"/>
              <a:gd name="connsiteY4430" fmla="*/ 922432 h 6858000"/>
              <a:gd name="connsiteX4431" fmla="*/ 1378287 w 6781956"/>
              <a:gd name="connsiteY4431" fmla="*/ 885232 h 6858000"/>
              <a:gd name="connsiteX4432" fmla="*/ 1371080 w 6781956"/>
              <a:gd name="connsiteY4432" fmla="*/ 851519 h 6858000"/>
              <a:gd name="connsiteX4433" fmla="*/ 1367991 w 6781956"/>
              <a:gd name="connsiteY4433" fmla="*/ 846868 h 6858000"/>
              <a:gd name="connsiteX4434" fmla="*/ 1367991 w 6781956"/>
              <a:gd name="connsiteY4434" fmla="*/ 842219 h 6858000"/>
              <a:gd name="connsiteX4435" fmla="*/ 1361814 w 6781956"/>
              <a:gd name="connsiteY4435" fmla="*/ 834081 h 6858000"/>
              <a:gd name="connsiteX4436" fmla="*/ 1361814 w 6781956"/>
              <a:gd name="connsiteY4436" fmla="*/ 825942 h 6858000"/>
              <a:gd name="connsiteX4437" fmla="*/ 1357696 w 6781956"/>
              <a:gd name="connsiteY4437" fmla="*/ 805017 h 6858000"/>
              <a:gd name="connsiteX4438" fmla="*/ 1350490 w 6781956"/>
              <a:gd name="connsiteY4438" fmla="*/ 784092 h 6858000"/>
              <a:gd name="connsiteX4439" fmla="*/ 1350490 w 6781956"/>
              <a:gd name="connsiteY4439" fmla="*/ 767816 h 6858000"/>
              <a:gd name="connsiteX4440" fmla="*/ 1343283 w 6781956"/>
              <a:gd name="connsiteY4440" fmla="*/ 725966 h 6858000"/>
              <a:gd name="connsiteX4441" fmla="*/ 1329900 w 6781956"/>
              <a:gd name="connsiteY4441" fmla="*/ 705039 h 6858000"/>
              <a:gd name="connsiteX4442" fmla="*/ 1331958 w 6781956"/>
              <a:gd name="connsiteY4442" fmla="*/ 679464 h 6858000"/>
              <a:gd name="connsiteX4443" fmla="*/ 1322693 w 6781956"/>
              <a:gd name="connsiteY4443" fmla="*/ 666676 h 6858000"/>
              <a:gd name="connsiteX4444" fmla="*/ 1318575 w 6781956"/>
              <a:gd name="connsiteY4444" fmla="*/ 645750 h 6858000"/>
              <a:gd name="connsiteX4445" fmla="*/ 1315487 w 6781956"/>
              <a:gd name="connsiteY4445" fmla="*/ 632963 h 6858000"/>
              <a:gd name="connsiteX4446" fmla="*/ 1312398 w 6781956"/>
              <a:gd name="connsiteY4446" fmla="*/ 620175 h 6858000"/>
              <a:gd name="connsiteX4447" fmla="*/ 1309308 w 6781956"/>
              <a:gd name="connsiteY4447" fmla="*/ 603899 h 6858000"/>
              <a:gd name="connsiteX4448" fmla="*/ 1303132 w 6781956"/>
              <a:gd name="connsiteY4448" fmla="*/ 591112 h 6858000"/>
              <a:gd name="connsiteX4449" fmla="*/ 1299014 w 6781956"/>
              <a:gd name="connsiteY4449" fmla="*/ 565536 h 6858000"/>
              <a:gd name="connsiteX4450" fmla="*/ 1304162 w 6781956"/>
              <a:gd name="connsiteY4450" fmla="*/ 531823 h 6858000"/>
              <a:gd name="connsiteX4451" fmla="*/ 1281513 w 6781956"/>
              <a:gd name="connsiteY4451" fmla="*/ 515548 h 6858000"/>
              <a:gd name="connsiteX4452" fmla="*/ 1270188 w 6781956"/>
              <a:gd name="connsiteY4452" fmla="*/ 449283 h 6858000"/>
              <a:gd name="connsiteX4453" fmla="*/ 1276364 w 6781956"/>
              <a:gd name="connsiteY4453" fmla="*/ 457421 h 6858000"/>
              <a:gd name="connsiteX4454" fmla="*/ 1278424 w 6781956"/>
              <a:gd name="connsiteY4454" fmla="*/ 431845 h 6858000"/>
              <a:gd name="connsiteX4455" fmla="*/ 1264011 w 6781956"/>
              <a:gd name="connsiteY4455" fmla="*/ 431845 h 6858000"/>
              <a:gd name="connsiteX4456" fmla="*/ 1270188 w 6781956"/>
              <a:gd name="connsiteY4456" fmla="*/ 444632 h 6858000"/>
              <a:gd name="connsiteX4457" fmla="*/ 1264011 w 6781956"/>
              <a:gd name="connsiteY4457" fmla="*/ 431845 h 6858000"/>
              <a:gd name="connsiteX4458" fmla="*/ 1594211 w 6781956"/>
              <a:gd name="connsiteY4458" fmla="*/ 429283 h 6858000"/>
              <a:gd name="connsiteX4459" fmla="*/ 1595514 w 6781956"/>
              <a:gd name="connsiteY4459" fmla="*/ 445795 h 6858000"/>
              <a:gd name="connsiteX4460" fmla="*/ 1595514 w 6781956"/>
              <a:gd name="connsiteY4460" fmla="*/ 437658 h 6858000"/>
              <a:gd name="connsiteX4461" fmla="*/ 1594211 w 6781956"/>
              <a:gd name="connsiteY4461" fmla="*/ 429283 h 6858000"/>
              <a:gd name="connsiteX4462" fmla="*/ 1541979 w 6781956"/>
              <a:gd name="connsiteY4462" fmla="*/ 422545 h 6858000"/>
              <a:gd name="connsiteX4463" fmla="*/ 1549187 w 6781956"/>
              <a:gd name="connsiteY4463" fmla="*/ 446958 h 6858000"/>
              <a:gd name="connsiteX4464" fmla="*/ 1541979 w 6781956"/>
              <a:gd name="connsiteY4464" fmla="*/ 422545 h 6858000"/>
              <a:gd name="connsiteX4465" fmla="*/ 1482268 w 6781956"/>
              <a:gd name="connsiteY4465" fmla="*/ 409758 h 6858000"/>
              <a:gd name="connsiteX4466" fmla="*/ 1492562 w 6781956"/>
              <a:gd name="connsiteY4466" fmla="*/ 443471 h 6858000"/>
              <a:gd name="connsiteX4467" fmla="*/ 1482268 w 6781956"/>
              <a:gd name="connsiteY4467" fmla="*/ 409758 h 6858000"/>
              <a:gd name="connsiteX4468" fmla="*/ 1531684 w 6781956"/>
              <a:gd name="connsiteY4468" fmla="*/ 393480 h 6858000"/>
              <a:gd name="connsiteX4469" fmla="*/ 1545068 w 6781956"/>
              <a:gd name="connsiteY4469" fmla="*/ 414407 h 6858000"/>
              <a:gd name="connsiteX4470" fmla="*/ 1531684 w 6781956"/>
              <a:gd name="connsiteY4470" fmla="*/ 393480 h 6858000"/>
              <a:gd name="connsiteX4471" fmla="*/ 1261951 w 6781956"/>
              <a:gd name="connsiteY4471" fmla="*/ 386506 h 6858000"/>
              <a:gd name="connsiteX4472" fmla="*/ 1261951 w 6781956"/>
              <a:gd name="connsiteY4472" fmla="*/ 399294 h 6858000"/>
              <a:gd name="connsiteX4473" fmla="*/ 1268129 w 6781956"/>
              <a:gd name="connsiteY4473" fmla="*/ 399294 h 6858000"/>
              <a:gd name="connsiteX4474" fmla="*/ 1268129 w 6781956"/>
              <a:gd name="connsiteY4474" fmla="*/ 386506 h 6858000"/>
              <a:gd name="connsiteX4475" fmla="*/ 1261951 w 6781956"/>
              <a:gd name="connsiteY4475" fmla="*/ 386506 h 6858000"/>
              <a:gd name="connsiteX4476" fmla="*/ 1547127 w 6781956"/>
              <a:gd name="connsiteY4476" fmla="*/ 376044 h 6858000"/>
              <a:gd name="connsiteX4477" fmla="*/ 1554333 w 6781956"/>
              <a:gd name="connsiteY4477" fmla="*/ 405106 h 6858000"/>
              <a:gd name="connsiteX4478" fmla="*/ 1564629 w 6781956"/>
              <a:gd name="connsiteY4478" fmla="*/ 450446 h 6858000"/>
              <a:gd name="connsiteX4479" fmla="*/ 1547127 w 6781956"/>
              <a:gd name="connsiteY4479" fmla="*/ 376044 h 6858000"/>
              <a:gd name="connsiteX4480" fmla="*/ 1609927 w 6781956"/>
              <a:gd name="connsiteY4480" fmla="*/ 374882 h 6858000"/>
              <a:gd name="connsiteX4481" fmla="*/ 1613015 w 6781956"/>
              <a:gd name="connsiteY4481" fmla="*/ 391157 h 6858000"/>
              <a:gd name="connsiteX4482" fmla="*/ 1613015 w 6781956"/>
              <a:gd name="connsiteY4482" fmla="*/ 383019 h 6858000"/>
              <a:gd name="connsiteX4483" fmla="*/ 1609927 w 6781956"/>
              <a:gd name="connsiteY4483" fmla="*/ 374882 h 6858000"/>
              <a:gd name="connsiteX4484" fmla="*/ 1470943 w 6781956"/>
              <a:gd name="connsiteY4484" fmla="*/ 373718 h 6858000"/>
              <a:gd name="connsiteX4485" fmla="*/ 1481238 w 6781956"/>
              <a:gd name="connsiteY4485" fmla="*/ 398132 h 6858000"/>
              <a:gd name="connsiteX4486" fmla="*/ 1470943 w 6781956"/>
              <a:gd name="connsiteY4486" fmla="*/ 373718 h 6858000"/>
              <a:gd name="connsiteX4487" fmla="*/ 1406083 w 6781956"/>
              <a:gd name="connsiteY4487" fmla="*/ 366743 h 6858000"/>
              <a:gd name="connsiteX4488" fmla="*/ 1416379 w 6781956"/>
              <a:gd name="connsiteY4488" fmla="*/ 391157 h 6858000"/>
              <a:gd name="connsiteX4489" fmla="*/ 1416379 w 6781956"/>
              <a:gd name="connsiteY4489" fmla="*/ 399294 h 6858000"/>
              <a:gd name="connsiteX4490" fmla="*/ 1420496 w 6781956"/>
              <a:gd name="connsiteY4490" fmla="*/ 424870 h 6858000"/>
              <a:gd name="connsiteX4491" fmla="*/ 1416379 w 6781956"/>
              <a:gd name="connsiteY4491" fmla="*/ 416732 h 6858000"/>
              <a:gd name="connsiteX4492" fmla="*/ 1406083 w 6781956"/>
              <a:gd name="connsiteY4492" fmla="*/ 366743 h 6858000"/>
              <a:gd name="connsiteX4493" fmla="*/ 1578012 w 6781956"/>
              <a:gd name="connsiteY4493" fmla="*/ 358606 h 6858000"/>
              <a:gd name="connsiteX4494" fmla="*/ 1585219 w 6781956"/>
              <a:gd name="connsiteY4494" fmla="*/ 383019 h 6858000"/>
              <a:gd name="connsiteX4495" fmla="*/ 1594485 w 6781956"/>
              <a:gd name="connsiteY4495" fmla="*/ 374882 h 6858000"/>
              <a:gd name="connsiteX4496" fmla="*/ 1578012 w 6781956"/>
              <a:gd name="connsiteY4496" fmla="*/ 358606 h 6858000"/>
              <a:gd name="connsiteX4497" fmla="*/ 1509035 w 6781956"/>
              <a:gd name="connsiteY4497" fmla="*/ 356281 h 6858000"/>
              <a:gd name="connsiteX4498" fmla="*/ 1513153 w 6781956"/>
              <a:gd name="connsiteY4498" fmla="*/ 402781 h 6858000"/>
              <a:gd name="connsiteX4499" fmla="*/ 1526537 w 6781956"/>
              <a:gd name="connsiteY4499" fmla="*/ 439982 h 6858000"/>
              <a:gd name="connsiteX4500" fmla="*/ 1530655 w 6781956"/>
              <a:gd name="connsiteY4500" fmla="*/ 481834 h 6858000"/>
              <a:gd name="connsiteX4501" fmla="*/ 1537861 w 6781956"/>
              <a:gd name="connsiteY4501" fmla="*/ 502758 h 6858000"/>
              <a:gd name="connsiteX4502" fmla="*/ 1552274 w 6781956"/>
              <a:gd name="connsiteY4502" fmla="*/ 560886 h 6858000"/>
              <a:gd name="connsiteX4503" fmla="*/ 1519329 w 6781956"/>
              <a:gd name="connsiteY4503" fmla="*/ 377205 h 6858000"/>
              <a:gd name="connsiteX4504" fmla="*/ 1509035 w 6781956"/>
              <a:gd name="connsiteY4504" fmla="*/ 356281 h 6858000"/>
              <a:gd name="connsiteX4505" fmla="*/ 1226406 w 6781956"/>
              <a:gd name="connsiteY4505" fmla="*/ 351364 h 6858000"/>
              <a:gd name="connsiteX4506" fmla="*/ 1226949 w 6781956"/>
              <a:gd name="connsiteY4506" fmla="*/ 352793 h 6858000"/>
              <a:gd name="connsiteX4507" fmla="*/ 1230038 w 6781956"/>
              <a:gd name="connsiteY4507" fmla="*/ 369068 h 6858000"/>
              <a:gd name="connsiteX4508" fmla="*/ 1236214 w 6781956"/>
              <a:gd name="connsiteY4508" fmla="*/ 377205 h 6858000"/>
              <a:gd name="connsiteX4509" fmla="*/ 1240332 w 6781956"/>
              <a:gd name="connsiteY4509" fmla="*/ 398132 h 6858000"/>
              <a:gd name="connsiteX4510" fmla="*/ 1243421 w 6781956"/>
              <a:gd name="connsiteY4510" fmla="*/ 414407 h 6858000"/>
              <a:gd name="connsiteX4511" fmla="*/ 1250627 w 6781956"/>
              <a:gd name="connsiteY4511" fmla="*/ 438820 h 6858000"/>
              <a:gd name="connsiteX4512" fmla="*/ 1253715 w 6781956"/>
              <a:gd name="connsiteY4512" fmla="*/ 455095 h 6858000"/>
              <a:gd name="connsiteX4513" fmla="*/ 1260924 w 6781956"/>
              <a:gd name="connsiteY4513" fmla="*/ 496947 h 6858000"/>
              <a:gd name="connsiteX4514" fmla="*/ 1271218 w 6781956"/>
              <a:gd name="connsiteY4514" fmla="*/ 517872 h 6858000"/>
              <a:gd name="connsiteX4515" fmla="*/ 1274307 w 6781956"/>
              <a:gd name="connsiteY4515" fmla="*/ 522522 h 6858000"/>
              <a:gd name="connsiteX4516" fmla="*/ 1278424 w 6781956"/>
              <a:gd name="connsiteY4516" fmla="*/ 551586 h 6858000"/>
              <a:gd name="connsiteX4517" fmla="*/ 1285631 w 6781956"/>
              <a:gd name="connsiteY4517" fmla="*/ 575999 h 6858000"/>
              <a:gd name="connsiteX4518" fmla="*/ 1300044 w 6781956"/>
              <a:gd name="connsiteY4518" fmla="*/ 646912 h 6858000"/>
              <a:gd name="connsiteX4519" fmla="*/ 1293867 w 6781956"/>
              <a:gd name="connsiteY4519" fmla="*/ 655051 h 6858000"/>
              <a:gd name="connsiteX4520" fmla="*/ 1280482 w 6781956"/>
              <a:gd name="connsiteY4520" fmla="*/ 625988 h 6858000"/>
              <a:gd name="connsiteX4521" fmla="*/ 1290777 w 6781956"/>
              <a:gd name="connsiteY4521" fmla="*/ 675977 h 6858000"/>
              <a:gd name="connsiteX4522" fmla="*/ 1306220 w 6781956"/>
              <a:gd name="connsiteY4522" fmla="*/ 671326 h 6858000"/>
              <a:gd name="connsiteX4523" fmla="*/ 1319605 w 6781956"/>
              <a:gd name="connsiteY4523" fmla="*/ 721315 h 6858000"/>
              <a:gd name="connsiteX4524" fmla="*/ 1322693 w 6781956"/>
              <a:gd name="connsiteY4524" fmla="*/ 725966 h 6858000"/>
              <a:gd name="connsiteX4525" fmla="*/ 1322693 w 6781956"/>
              <a:gd name="connsiteY4525" fmla="*/ 730615 h 6858000"/>
              <a:gd name="connsiteX4526" fmla="*/ 1334018 w 6781956"/>
              <a:gd name="connsiteY4526" fmla="*/ 788741 h 6858000"/>
              <a:gd name="connsiteX4527" fmla="*/ 1337106 w 6781956"/>
              <a:gd name="connsiteY4527" fmla="*/ 793392 h 6858000"/>
              <a:gd name="connsiteX4528" fmla="*/ 1340194 w 6781956"/>
              <a:gd name="connsiteY4528" fmla="*/ 809667 h 6858000"/>
              <a:gd name="connsiteX4529" fmla="*/ 1347401 w 6781956"/>
              <a:gd name="connsiteY4529" fmla="*/ 830593 h 6858000"/>
              <a:gd name="connsiteX4530" fmla="*/ 1350490 w 6781956"/>
              <a:gd name="connsiteY4530" fmla="*/ 846868 h 6858000"/>
              <a:gd name="connsiteX4531" fmla="*/ 1356667 w 6781956"/>
              <a:gd name="connsiteY4531" fmla="*/ 855006 h 6858000"/>
              <a:gd name="connsiteX4532" fmla="*/ 1357696 w 6781956"/>
              <a:gd name="connsiteY4532" fmla="*/ 875931 h 6858000"/>
              <a:gd name="connsiteX4533" fmla="*/ 1363874 w 6781956"/>
              <a:gd name="connsiteY4533" fmla="*/ 884069 h 6858000"/>
              <a:gd name="connsiteX4534" fmla="*/ 1371080 w 6781956"/>
              <a:gd name="connsiteY4534" fmla="*/ 934058 h 6858000"/>
              <a:gd name="connsiteX4535" fmla="*/ 1371080 w 6781956"/>
              <a:gd name="connsiteY4535" fmla="*/ 942195 h 6858000"/>
              <a:gd name="connsiteX4536" fmla="*/ 1378287 w 6781956"/>
              <a:gd name="connsiteY4536" fmla="*/ 979397 h 6858000"/>
              <a:gd name="connsiteX4537" fmla="*/ 1381374 w 6781956"/>
              <a:gd name="connsiteY4537" fmla="*/ 992184 h 6858000"/>
              <a:gd name="connsiteX4538" fmla="*/ 1388581 w 6781956"/>
              <a:gd name="connsiteY4538" fmla="*/ 1021249 h 6858000"/>
              <a:gd name="connsiteX4539" fmla="*/ 1392700 w 6781956"/>
              <a:gd name="connsiteY4539" fmla="*/ 1071238 h 6858000"/>
              <a:gd name="connsiteX4540" fmla="*/ 1395789 w 6781956"/>
              <a:gd name="connsiteY4540" fmla="*/ 1084025 h 6858000"/>
              <a:gd name="connsiteX4541" fmla="*/ 1402995 w 6781956"/>
              <a:gd name="connsiteY4541" fmla="*/ 1117737 h 6858000"/>
              <a:gd name="connsiteX4542" fmla="*/ 1402995 w 6781956"/>
              <a:gd name="connsiteY4542" fmla="*/ 1134013 h 6858000"/>
              <a:gd name="connsiteX4543" fmla="*/ 1406083 w 6781956"/>
              <a:gd name="connsiteY4543" fmla="*/ 1142151 h 6858000"/>
              <a:gd name="connsiteX4544" fmla="*/ 1407113 w 6781956"/>
              <a:gd name="connsiteY4544" fmla="*/ 1163077 h 6858000"/>
              <a:gd name="connsiteX4545" fmla="*/ 1417407 w 6781956"/>
              <a:gd name="connsiteY4545" fmla="*/ 1213066 h 6858000"/>
              <a:gd name="connsiteX4546" fmla="*/ 1421526 w 6781956"/>
              <a:gd name="connsiteY4546" fmla="*/ 1259567 h 6858000"/>
              <a:gd name="connsiteX4547" fmla="*/ 1428732 w 6781956"/>
              <a:gd name="connsiteY4547" fmla="*/ 1293280 h 6858000"/>
              <a:gd name="connsiteX4548" fmla="*/ 1429762 w 6781956"/>
              <a:gd name="connsiteY4548" fmla="*/ 1322343 h 6858000"/>
              <a:gd name="connsiteX4549" fmla="*/ 1432850 w 6781956"/>
              <a:gd name="connsiteY4549" fmla="*/ 1335131 h 6858000"/>
              <a:gd name="connsiteX4550" fmla="*/ 1436969 w 6781956"/>
              <a:gd name="connsiteY4550" fmla="*/ 1385119 h 6858000"/>
              <a:gd name="connsiteX4551" fmla="*/ 1441088 w 6781956"/>
              <a:gd name="connsiteY4551" fmla="*/ 1406046 h 6858000"/>
              <a:gd name="connsiteX4552" fmla="*/ 1444175 w 6781956"/>
              <a:gd name="connsiteY4552" fmla="*/ 1418833 h 6858000"/>
              <a:gd name="connsiteX4553" fmla="*/ 1449323 w 6781956"/>
              <a:gd name="connsiteY4553" fmla="*/ 1486260 h 6858000"/>
              <a:gd name="connsiteX4554" fmla="*/ 1456530 w 6781956"/>
              <a:gd name="connsiteY4554" fmla="*/ 1510672 h 6858000"/>
              <a:gd name="connsiteX4555" fmla="*/ 1457559 w 6781956"/>
              <a:gd name="connsiteY4555" fmla="*/ 1557175 h 6858000"/>
              <a:gd name="connsiteX4556" fmla="*/ 1464766 w 6781956"/>
              <a:gd name="connsiteY4556" fmla="*/ 1590888 h 6858000"/>
              <a:gd name="connsiteX4557" fmla="*/ 1461677 w 6781956"/>
              <a:gd name="connsiteY4557" fmla="*/ 1599026 h 6858000"/>
              <a:gd name="connsiteX4558" fmla="*/ 1464766 w 6781956"/>
              <a:gd name="connsiteY4558" fmla="*/ 1603675 h 6858000"/>
              <a:gd name="connsiteX4559" fmla="*/ 1468883 w 6781956"/>
              <a:gd name="connsiteY4559" fmla="*/ 1658315 h 6858000"/>
              <a:gd name="connsiteX4560" fmla="*/ 1462706 w 6781956"/>
              <a:gd name="connsiteY4560" fmla="*/ 1654826 h 6858000"/>
              <a:gd name="connsiteX4561" fmla="*/ 1465795 w 6781956"/>
              <a:gd name="connsiteY4561" fmla="*/ 1646689 h 6858000"/>
              <a:gd name="connsiteX4562" fmla="*/ 1462706 w 6781956"/>
              <a:gd name="connsiteY4562" fmla="*/ 1638551 h 6858000"/>
              <a:gd name="connsiteX4563" fmla="*/ 1462706 w 6781956"/>
              <a:gd name="connsiteY4563" fmla="*/ 1625764 h 6858000"/>
              <a:gd name="connsiteX4564" fmla="*/ 1452412 w 6781956"/>
              <a:gd name="connsiteY4564" fmla="*/ 1588562 h 6858000"/>
              <a:gd name="connsiteX4565" fmla="*/ 1445205 w 6781956"/>
              <a:gd name="connsiteY4565" fmla="*/ 1546712 h 6858000"/>
              <a:gd name="connsiteX4566" fmla="*/ 1446235 w 6781956"/>
              <a:gd name="connsiteY4566" fmla="*/ 1580425 h 6858000"/>
              <a:gd name="connsiteX4567" fmla="*/ 1450352 w 6781956"/>
              <a:gd name="connsiteY4567" fmla="*/ 1626927 h 6858000"/>
              <a:gd name="connsiteX4568" fmla="*/ 1454471 w 6781956"/>
              <a:gd name="connsiteY4568" fmla="*/ 1673427 h 6858000"/>
              <a:gd name="connsiteX4569" fmla="*/ 1458588 w 6781956"/>
              <a:gd name="connsiteY4569" fmla="*/ 1702492 h 6858000"/>
              <a:gd name="connsiteX4570" fmla="*/ 1455500 w 6781956"/>
              <a:gd name="connsiteY4570" fmla="*/ 1707141 h 6858000"/>
              <a:gd name="connsiteX4571" fmla="*/ 1458588 w 6781956"/>
              <a:gd name="connsiteY4571" fmla="*/ 1711790 h 6858000"/>
              <a:gd name="connsiteX4572" fmla="*/ 1458588 w 6781956"/>
              <a:gd name="connsiteY4572" fmla="*/ 1728066 h 6858000"/>
              <a:gd name="connsiteX4573" fmla="*/ 1461677 w 6781956"/>
              <a:gd name="connsiteY4573" fmla="*/ 1740855 h 6858000"/>
              <a:gd name="connsiteX4574" fmla="*/ 1458588 w 6781956"/>
              <a:gd name="connsiteY4574" fmla="*/ 1757130 h 6858000"/>
              <a:gd name="connsiteX4575" fmla="*/ 1459618 w 6781956"/>
              <a:gd name="connsiteY4575" fmla="*/ 1815256 h 6858000"/>
              <a:gd name="connsiteX4576" fmla="*/ 1455500 w 6781956"/>
              <a:gd name="connsiteY4576" fmla="*/ 1789680 h 6858000"/>
              <a:gd name="connsiteX4577" fmla="*/ 1452412 w 6781956"/>
              <a:gd name="connsiteY4577" fmla="*/ 1785031 h 6858000"/>
              <a:gd name="connsiteX4578" fmla="*/ 1451382 w 6781956"/>
              <a:gd name="connsiteY4578" fmla="*/ 1759455 h 6858000"/>
              <a:gd name="connsiteX4579" fmla="*/ 1448293 w 6781956"/>
              <a:gd name="connsiteY4579" fmla="*/ 1743180 h 6858000"/>
              <a:gd name="connsiteX4580" fmla="*/ 1450352 w 6781956"/>
              <a:gd name="connsiteY4580" fmla="*/ 1717603 h 6858000"/>
              <a:gd name="connsiteX4581" fmla="*/ 1446235 w 6781956"/>
              <a:gd name="connsiteY4581" fmla="*/ 1696678 h 6858000"/>
              <a:gd name="connsiteX4582" fmla="*/ 1430792 w 6781956"/>
              <a:gd name="connsiteY4582" fmla="*/ 1579262 h 6858000"/>
              <a:gd name="connsiteX4583" fmla="*/ 1432850 w 6781956"/>
              <a:gd name="connsiteY4583" fmla="*/ 1550200 h 6858000"/>
              <a:gd name="connsiteX4584" fmla="*/ 1425645 w 6781956"/>
              <a:gd name="connsiteY4584" fmla="*/ 1529273 h 6858000"/>
              <a:gd name="connsiteX4585" fmla="*/ 1421526 w 6781956"/>
              <a:gd name="connsiteY4585" fmla="*/ 1500211 h 6858000"/>
              <a:gd name="connsiteX4586" fmla="*/ 1417407 w 6781956"/>
              <a:gd name="connsiteY4586" fmla="*/ 1442085 h 6858000"/>
              <a:gd name="connsiteX4587" fmla="*/ 1424614 w 6781956"/>
              <a:gd name="connsiteY4587" fmla="*/ 1466497 h 6858000"/>
              <a:gd name="connsiteX4588" fmla="*/ 1431821 w 6781956"/>
              <a:gd name="connsiteY4588" fmla="*/ 1503698 h 6858000"/>
              <a:gd name="connsiteX4589" fmla="*/ 1434910 w 6781956"/>
              <a:gd name="connsiteY4589" fmla="*/ 1490910 h 6858000"/>
              <a:gd name="connsiteX4590" fmla="*/ 1429762 w 6781956"/>
              <a:gd name="connsiteY4590" fmla="*/ 1428133 h 6858000"/>
              <a:gd name="connsiteX4591" fmla="*/ 1426674 w 6781956"/>
              <a:gd name="connsiteY4591" fmla="*/ 1423484 h 6858000"/>
              <a:gd name="connsiteX4592" fmla="*/ 1419467 w 6781956"/>
              <a:gd name="connsiteY4592" fmla="*/ 1399071 h 6858000"/>
              <a:gd name="connsiteX4593" fmla="*/ 1408143 w 6781956"/>
              <a:gd name="connsiteY4593" fmla="*/ 1336294 h 6858000"/>
              <a:gd name="connsiteX4594" fmla="*/ 1407113 w 6781956"/>
              <a:gd name="connsiteY4594" fmla="*/ 1294443 h 6858000"/>
              <a:gd name="connsiteX4595" fmla="*/ 1410202 w 6781956"/>
              <a:gd name="connsiteY4595" fmla="*/ 1286305 h 6858000"/>
              <a:gd name="connsiteX4596" fmla="*/ 1407113 w 6781956"/>
              <a:gd name="connsiteY4596" fmla="*/ 1273517 h 6858000"/>
              <a:gd name="connsiteX4597" fmla="*/ 1410202 w 6781956"/>
              <a:gd name="connsiteY4597" fmla="*/ 1265379 h 6858000"/>
              <a:gd name="connsiteX4598" fmla="*/ 1402995 w 6781956"/>
              <a:gd name="connsiteY4598" fmla="*/ 1223529 h 6858000"/>
              <a:gd name="connsiteX4599" fmla="*/ 1387552 w 6781956"/>
              <a:gd name="connsiteY4599" fmla="*/ 1236316 h 6858000"/>
              <a:gd name="connsiteX4600" fmla="*/ 1386523 w 6781956"/>
              <a:gd name="connsiteY4600" fmla="*/ 1215391 h 6858000"/>
              <a:gd name="connsiteX4601" fmla="*/ 1392700 w 6781956"/>
              <a:gd name="connsiteY4601" fmla="*/ 1210740 h 6858000"/>
              <a:gd name="connsiteX4602" fmla="*/ 1398876 w 6781956"/>
              <a:gd name="connsiteY4602" fmla="*/ 1210740 h 6858000"/>
              <a:gd name="connsiteX4603" fmla="*/ 1394292 w 6781956"/>
              <a:gd name="connsiteY4603" fmla="*/ 1178386 h 6858000"/>
              <a:gd name="connsiteX4604" fmla="*/ 1394888 w 6781956"/>
              <a:gd name="connsiteY4604" fmla="*/ 1172377 h 6858000"/>
              <a:gd name="connsiteX4605" fmla="*/ 1392160 w 6781956"/>
              <a:gd name="connsiteY4605" fmla="*/ 1163336 h 6858000"/>
              <a:gd name="connsiteX4606" fmla="*/ 1390641 w 6781956"/>
              <a:gd name="connsiteY4606" fmla="*/ 1152613 h 6858000"/>
              <a:gd name="connsiteX4607" fmla="*/ 1386523 w 6781956"/>
              <a:gd name="connsiteY4607" fmla="*/ 1115413 h 6858000"/>
              <a:gd name="connsiteX4608" fmla="*/ 1379317 w 6781956"/>
              <a:gd name="connsiteY4608" fmla="*/ 1086349 h 6858000"/>
              <a:gd name="connsiteX4609" fmla="*/ 1376886 w 6781956"/>
              <a:gd name="connsiteY4609" fmla="*/ 1061655 h 6858000"/>
              <a:gd name="connsiteX4610" fmla="*/ 1377257 w 6781956"/>
              <a:gd name="connsiteY4610" fmla="*/ 1061937 h 6858000"/>
              <a:gd name="connsiteX4611" fmla="*/ 1376777 w 6781956"/>
              <a:gd name="connsiteY4611" fmla="*/ 1060542 h 6858000"/>
              <a:gd name="connsiteX4612" fmla="*/ 1375198 w 6781956"/>
              <a:gd name="connsiteY4612" fmla="*/ 1044499 h 6858000"/>
              <a:gd name="connsiteX4613" fmla="*/ 1372110 w 6781956"/>
              <a:gd name="connsiteY4613" fmla="*/ 1039847 h 6858000"/>
              <a:gd name="connsiteX4614" fmla="*/ 1372110 w 6781956"/>
              <a:gd name="connsiteY4614" fmla="*/ 1027060 h 6858000"/>
              <a:gd name="connsiteX4615" fmla="*/ 1364903 w 6781956"/>
              <a:gd name="connsiteY4615" fmla="*/ 993347 h 6858000"/>
              <a:gd name="connsiteX4616" fmla="*/ 1358726 w 6781956"/>
              <a:gd name="connsiteY4616" fmla="*/ 985209 h 6858000"/>
              <a:gd name="connsiteX4617" fmla="*/ 1358726 w 6781956"/>
              <a:gd name="connsiteY4617" fmla="*/ 968934 h 6858000"/>
              <a:gd name="connsiteX4618" fmla="*/ 1352548 w 6781956"/>
              <a:gd name="connsiteY4618" fmla="*/ 952659 h 6858000"/>
              <a:gd name="connsiteX4619" fmla="*/ 1351520 w 6781956"/>
              <a:gd name="connsiteY4619" fmla="*/ 927083 h 6858000"/>
              <a:gd name="connsiteX4620" fmla="*/ 1351520 w 6781956"/>
              <a:gd name="connsiteY4620" fmla="*/ 914294 h 6858000"/>
              <a:gd name="connsiteX4621" fmla="*/ 1341224 w 6781956"/>
              <a:gd name="connsiteY4621" fmla="*/ 889882 h 6858000"/>
              <a:gd name="connsiteX4622" fmla="*/ 1335048 w 6781956"/>
              <a:gd name="connsiteY4622" fmla="*/ 889882 h 6858000"/>
              <a:gd name="connsiteX4623" fmla="*/ 1331958 w 6781956"/>
              <a:gd name="connsiteY4623" fmla="*/ 877095 h 6858000"/>
              <a:gd name="connsiteX4624" fmla="*/ 1319605 w 6781956"/>
              <a:gd name="connsiteY4624" fmla="*/ 864306 h 6858000"/>
              <a:gd name="connsiteX4625" fmla="*/ 1321663 w 6781956"/>
              <a:gd name="connsiteY4625" fmla="*/ 835243 h 6858000"/>
              <a:gd name="connsiteX4626" fmla="*/ 1338136 w 6781956"/>
              <a:gd name="connsiteY4626" fmla="*/ 880581 h 6858000"/>
              <a:gd name="connsiteX4627" fmla="*/ 1340194 w 6781956"/>
              <a:gd name="connsiteY4627" fmla="*/ 855006 h 6858000"/>
              <a:gd name="connsiteX4628" fmla="*/ 1336077 w 6781956"/>
              <a:gd name="connsiteY4628" fmla="*/ 834081 h 6858000"/>
              <a:gd name="connsiteX4629" fmla="*/ 1329900 w 6781956"/>
              <a:gd name="connsiteY4629" fmla="*/ 825942 h 6858000"/>
              <a:gd name="connsiteX4630" fmla="*/ 1325781 w 6781956"/>
              <a:gd name="connsiteY4630" fmla="*/ 788741 h 6858000"/>
              <a:gd name="connsiteX4631" fmla="*/ 1319605 w 6781956"/>
              <a:gd name="connsiteY4631" fmla="*/ 780604 h 6858000"/>
              <a:gd name="connsiteX4632" fmla="*/ 1319605 w 6781956"/>
              <a:gd name="connsiteY4632" fmla="*/ 767816 h 6858000"/>
              <a:gd name="connsiteX4633" fmla="*/ 1310339 w 6781956"/>
              <a:gd name="connsiteY4633" fmla="*/ 755028 h 6858000"/>
              <a:gd name="connsiteX4634" fmla="*/ 1303132 w 6781956"/>
              <a:gd name="connsiteY4634" fmla="*/ 734103 h 6858000"/>
              <a:gd name="connsiteX4635" fmla="*/ 1302103 w 6781956"/>
              <a:gd name="connsiteY4635" fmla="*/ 705039 h 6858000"/>
              <a:gd name="connsiteX4636" fmla="*/ 1296956 w 6781956"/>
              <a:gd name="connsiteY4636" fmla="*/ 734103 h 6858000"/>
              <a:gd name="connsiteX4637" fmla="*/ 1303132 w 6781956"/>
              <a:gd name="connsiteY4637" fmla="*/ 750378 h 6858000"/>
              <a:gd name="connsiteX4638" fmla="*/ 1303132 w 6781956"/>
              <a:gd name="connsiteY4638" fmla="*/ 763165 h 6858000"/>
              <a:gd name="connsiteX4639" fmla="*/ 1289749 w 6781956"/>
              <a:gd name="connsiteY4639" fmla="*/ 734103 h 6858000"/>
              <a:gd name="connsiteX4640" fmla="*/ 1282542 w 6781956"/>
              <a:gd name="connsiteY4640" fmla="*/ 700389 h 6858000"/>
              <a:gd name="connsiteX4641" fmla="*/ 1297985 w 6781956"/>
              <a:gd name="connsiteY4641" fmla="*/ 682952 h 6858000"/>
              <a:gd name="connsiteX4642" fmla="*/ 1291807 w 6781956"/>
              <a:gd name="connsiteY4642" fmla="*/ 679464 h 6858000"/>
              <a:gd name="connsiteX4643" fmla="*/ 1288719 w 6781956"/>
              <a:gd name="connsiteY4643" fmla="*/ 687601 h 6858000"/>
              <a:gd name="connsiteX4644" fmla="*/ 1266070 w 6781956"/>
              <a:gd name="connsiteY4644" fmla="*/ 650401 h 6858000"/>
              <a:gd name="connsiteX4645" fmla="*/ 1261951 w 6781956"/>
              <a:gd name="connsiteY4645" fmla="*/ 592274 h 6858000"/>
              <a:gd name="connsiteX4646" fmla="*/ 1268129 w 6781956"/>
              <a:gd name="connsiteY4646" fmla="*/ 605062 h 6858000"/>
              <a:gd name="connsiteX4647" fmla="*/ 1267099 w 6781956"/>
              <a:gd name="connsiteY4647" fmla="*/ 575999 h 6858000"/>
              <a:gd name="connsiteX4648" fmla="*/ 1256161 w 6781956"/>
              <a:gd name="connsiteY4648" fmla="*/ 562339 h 6858000"/>
              <a:gd name="connsiteX4649" fmla="*/ 1249786 w 6781956"/>
              <a:gd name="connsiteY4649" fmla="*/ 553954 h 6858000"/>
              <a:gd name="connsiteX4650" fmla="*/ 1248825 w 6781956"/>
              <a:gd name="connsiteY4650" fmla="*/ 547369 h 6858000"/>
              <a:gd name="connsiteX4651" fmla="*/ 1248568 w 6781956"/>
              <a:gd name="connsiteY4651" fmla="*/ 537633 h 6858000"/>
              <a:gd name="connsiteX4652" fmla="*/ 1243421 w 6781956"/>
              <a:gd name="connsiteY4652" fmla="*/ 529496 h 6858000"/>
              <a:gd name="connsiteX4653" fmla="*/ 1239302 w 6781956"/>
              <a:gd name="connsiteY4653" fmla="*/ 478344 h 6858000"/>
              <a:gd name="connsiteX4654" fmla="*/ 1233126 w 6781956"/>
              <a:gd name="connsiteY4654" fmla="*/ 477182 h 6858000"/>
              <a:gd name="connsiteX4655" fmla="*/ 1235184 w 6781956"/>
              <a:gd name="connsiteY4655" fmla="*/ 463230 h 6858000"/>
              <a:gd name="connsiteX4656" fmla="*/ 1233598 w 6781956"/>
              <a:gd name="connsiteY4656" fmla="*/ 434565 h 6858000"/>
              <a:gd name="connsiteX4657" fmla="*/ 1235184 w 6781956"/>
              <a:gd name="connsiteY4657" fmla="*/ 436494 h 6858000"/>
              <a:gd name="connsiteX4658" fmla="*/ 1233336 w 6781956"/>
              <a:gd name="connsiteY4658" fmla="*/ 426061 h 6858000"/>
              <a:gd name="connsiteX4659" fmla="*/ 1233126 w 6781956"/>
              <a:gd name="connsiteY4659" fmla="*/ 405104 h 6858000"/>
              <a:gd name="connsiteX4660" fmla="*/ 1234155 w 6781956"/>
              <a:gd name="connsiteY4660" fmla="*/ 398130 h 6858000"/>
              <a:gd name="connsiteX4661" fmla="*/ 1229008 w 6781956"/>
              <a:gd name="connsiteY4661" fmla="*/ 389991 h 6858000"/>
              <a:gd name="connsiteX4662" fmla="*/ 1227978 w 6781956"/>
              <a:gd name="connsiteY4662" fmla="*/ 360929 h 6858000"/>
              <a:gd name="connsiteX4663" fmla="*/ 1522708 w 6781956"/>
              <a:gd name="connsiteY4663" fmla="*/ 347144 h 6858000"/>
              <a:gd name="connsiteX4664" fmla="*/ 1518301 w 6781956"/>
              <a:gd name="connsiteY4664" fmla="*/ 351630 h 6858000"/>
              <a:gd name="connsiteX4665" fmla="*/ 1531684 w 6781956"/>
              <a:gd name="connsiteY4665" fmla="*/ 367907 h 6858000"/>
              <a:gd name="connsiteX4666" fmla="*/ 1522708 w 6781956"/>
              <a:gd name="connsiteY4666" fmla="*/ 347144 h 6858000"/>
              <a:gd name="connsiteX4667" fmla="*/ 1262472 w 6781956"/>
              <a:gd name="connsiteY4667" fmla="*/ 339052 h 6858000"/>
              <a:gd name="connsiteX4668" fmla="*/ 1262981 w 6781956"/>
              <a:gd name="connsiteY4668" fmla="*/ 341168 h 6858000"/>
              <a:gd name="connsiteX4669" fmla="*/ 1262527 w 6781956"/>
              <a:gd name="connsiteY4669" fmla="*/ 341031 h 6858000"/>
              <a:gd name="connsiteX4670" fmla="*/ 1248568 w 6781956"/>
              <a:gd name="connsiteY4670" fmla="*/ 336517 h 6858000"/>
              <a:gd name="connsiteX4671" fmla="*/ 1251069 w 6781956"/>
              <a:gd name="connsiteY4671" fmla="*/ 342432 h 6858000"/>
              <a:gd name="connsiteX4672" fmla="*/ 1251142 w 6781956"/>
              <a:gd name="connsiteY4672" fmla="*/ 343218 h 6858000"/>
              <a:gd name="connsiteX4673" fmla="*/ 1248568 w 6781956"/>
              <a:gd name="connsiteY4673" fmla="*/ 349306 h 6858000"/>
              <a:gd name="connsiteX4674" fmla="*/ 1248568 w 6781956"/>
              <a:gd name="connsiteY4674" fmla="*/ 336517 h 6858000"/>
              <a:gd name="connsiteX4675" fmla="*/ 1261951 w 6781956"/>
              <a:gd name="connsiteY4675" fmla="*/ 320242 h 6858000"/>
              <a:gd name="connsiteX4676" fmla="*/ 1262472 w 6781956"/>
              <a:gd name="connsiteY4676" fmla="*/ 339052 h 6858000"/>
              <a:gd name="connsiteX4677" fmla="*/ 1260150 w 6781956"/>
              <a:gd name="connsiteY4677" fmla="*/ 329397 h 6858000"/>
              <a:gd name="connsiteX4678" fmla="*/ 1261951 w 6781956"/>
              <a:gd name="connsiteY4678" fmla="*/ 320242 h 6858000"/>
              <a:gd name="connsiteX4679" fmla="*/ 1460648 w 6781956"/>
              <a:gd name="connsiteY4679" fmla="*/ 319079 h 6858000"/>
              <a:gd name="connsiteX4680" fmla="*/ 1470943 w 6781956"/>
              <a:gd name="connsiteY4680" fmla="*/ 364418 h 6858000"/>
              <a:gd name="connsiteX4681" fmla="*/ 1460648 w 6781956"/>
              <a:gd name="connsiteY4681" fmla="*/ 319079 h 6858000"/>
              <a:gd name="connsiteX4682" fmla="*/ 1238274 w 6781956"/>
              <a:gd name="connsiteY4682" fmla="*/ 306292 h 6858000"/>
              <a:gd name="connsiteX4683" fmla="*/ 1235184 w 6781956"/>
              <a:gd name="connsiteY4683" fmla="*/ 319079 h 6858000"/>
              <a:gd name="connsiteX4684" fmla="*/ 1235184 w 6781956"/>
              <a:gd name="connsiteY4684" fmla="*/ 310941 h 6858000"/>
              <a:gd name="connsiteX4685" fmla="*/ 1238274 w 6781956"/>
              <a:gd name="connsiteY4685" fmla="*/ 306292 h 6858000"/>
              <a:gd name="connsiteX4686" fmla="*/ 1385301 w 6781956"/>
              <a:gd name="connsiteY4686" fmla="*/ 305766 h 6858000"/>
              <a:gd name="connsiteX4687" fmla="*/ 1381374 w 6781956"/>
              <a:gd name="connsiteY4687" fmla="*/ 308618 h 6858000"/>
              <a:gd name="connsiteX4688" fmla="*/ 1398876 w 6781956"/>
              <a:gd name="connsiteY4688" fmla="*/ 353955 h 6858000"/>
              <a:gd name="connsiteX4689" fmla="*/ 1391670 w 6781956"/>
              <a:gd name="connsiteY4689" fmla="*/ 324893 h 6858000"/>
              <a:gd name="connsiteX4690" fmla="*/ 1385301 w 6781956"/>
              <a:gd name="connsiteY4690" fmla="*/ 305766 h 6858000"/>
              <a:gd name="connsiteX4691" fmla="*/ 1528595 w 6781956"/>
              <a:gd name="connsiteY4691" fmla="*/ 305130 h 6858000"/>
              <a:gd name="connsiteX4692" fmla="*/ 1535801 w 6781956"/>
              <a:gd name="connsiteY4692" fmla="*/ 326055 h 6858000"/>
              <a:gd name="connsiteX4693" fmla="*/ 1528595 w 6781956"/>
              <a:gd name="connsiteY4693" fmla="*/ 305130 h 6858000"/>
              <a:gd name="connsiteX4694" fmla="*/ 1473002 w 6781956"/>
              <a:gd name="connsiteY4694" fmla="*/ 301641 h 6858000"/>
              <a:gd name="connsiteX4695" fmla="*/ 1480208 w 6781956"/>
              <a:gd name="connsiteY4695" fmla="*/ 322567 h 6858000"/>
              <a:gd name="connsiteX4696" fmla="*/ 1473002 w 6781956"/>
              <a:gd name="connsiteY4696" fmla="*/ 301641 h 6858000"/>
              <a:gd name="connsiteX4697" fmla="*/ 1644930 w 6781956"/>
              <a:gd name="connsiteY4697" fmla="*/ 290017 h 6858000"/>
              <a:gd name="connsiteX4698" fmla="*/ 1648019 w 6781956"/>
              <a:gd name="connsiteY4698" fmla="*/ 302804 h 6858000"/>
              <a:gd name="connsiteX4699" fmla="*/ 1651107 w 6781956"/>
              <a:gd name="connsiteY4699" fmla="*/ 298154 h 6858000"/>
              <a:gd name="connsiteX4700" fmla="*/ 1644930 w 6781956"/>
              <a:gd name="connsiteY4700" fmla="*/ 290017 h 6858000"/>
              <a:gd name="connsiteX4701" fmla="*/ 1511995 w 6781956"/>
              <a:gd name="connsiteY4701" fmla="*/ 276320 h 6858000"/>
              <a:gd name="connsiteX4702" fmla="*/ 1513153 w 6781956"/>
              <a:gd name="connsiteY4702" fmla="*/ 292342 h 6858000"/>
              <a:gd name="connsiteX4703" fmla="*/ 1513153 w 6781956"/>
              <a:gd name="connsiteY4703" fmla="*/ 284203 h 6858000"/>
              <a:gd name="connsiteX4704" fmla="*/ 1511995 w 6781956"/>
              <a:gd name="connsiteY4704" fmla="*/ 276320 h 6858000"/>
              <a:gd name="connsiteX4705" fmla="*/ 1274307 w 6781956"/>
              <a:gd name="connsiteY4705" fmla="*/ 269090 h 6858000"/>
              <a:gd name="connsiteX4706" fmla="*/ 1284601 w 6781956"/>
              <a:gd name="connsiteY4706" fmla="*/ 298154 h 6858000"/>
              <a:gd name="connsiteX4707" fmla="*/ 1274307 w 6781956"/>
              <a:gd name="connsiteY4707" fmla="*/ 269090 h 6858000"/>
              <a:gd name="connsiteX4708" fmla="*/ 1311368 w 6781956"/>
              <a:gd name="connsiteY4708" fmla="*/ 259790 h 6858000"/>
              <a:gd name="connsiteX4709" fmla="*/ 1324751 w 6781956"/>
              <a:gd name="connsiteY4709" fmla="*/ 280716 h 6858000"/>
              <a:gd name="connsiteX4710" fmla="*/ 1324751 w 6781956"/>
              <a:gd name="connsiteY4710" fmla="*/ 288853 h 6858000"/>
              <a:gd name="connsiteX4711" fmla="*/ 1335048 w 6781956"/>
              <a:gd name="connsiteY4711" fmla="*/ 330705 h 6858000"/>
              <a:gd name="connsiteX4712" fmla="*/ 1339164 w 6781956"/>
              <a:gd name="connsiteY4712" fmla="*/ 359768 h 6858000"/>
              <a:gd name="connsiteX4713" fmla="*/ 1325781 w 6781956"/>
              <a:gd name="connsiteY4713" fmla="*/ 317916 h 6858000"/>
              <a:gd name="connsiteX4714" fmla="*/ 1318575 w 6781956"/>
              <a:gd name="connsiteY4714" fmla="*/ 284203 h 6858000"/>
              <a:gd name="connsiteX4715" fmla="*/ 1311368 w 6781956"/>
              <a:gd name="connsiteY4715" fmla="*/ 259790 h 6858000"/>
              <a:gd name="connsiteX4716" fmla="*/ 1227593 w 6781956"/>
              <a:gd name="connsiteY4716" fmla="*/ 257320 h 6858000"/>
              <a:gd name="connsiteX4717" fmla="*/ 1234155 w 6781956"/>
              <a:gd name="connsiteY4717" fmla="*/ 269090 h 6858000"/>
              <a:gd name="connsiteX4718" fmla="*/ 1221801 w 6781956"/>
              <a:gd name="connsiteY4718" fmla="*/ 269090 h 6858000"/>
              <a:gd name="connsiteX4719" fmla="*/ 1227593 w 6781956"/>
              <a:gd name="connsiteY4719" fmla="*/ 257320 h 6858000"/>
              <a:gd name="connsiteX4720" fmla="*/ 1482268 w 6781956"/>
              <a:gd name="connsiteY4720" fmla="*/ 256303 h 6858000"/>
              <a:gd name="connsiteX4721" fmla="*/ 1484326 w 6781956"/>
              <a:gd name="connsiteY4721" fmla="*/ 277228 h 6858000"/>
              <a:gd name="connsiteX4722" fmla="*/ 1497711 w 6781956"/>
              <a:gd name="connsiteY4722" fmla="*/ 314430 h 6858000"/>
              <a:gd name="connsiteX4723" fmla="*/ 1497711 w 6781956"/>
              <a:gd name="connsiteY4723" fmla="*/ 322567 h 6858000"/>
              <a:gd name="connsiteX4724" fmla="*/ 1506975 w 6781956"/>
              <a:gd name="connsiteY4724" fmla="*/ 335354 h 6858000"/>
              <a:gd name="connsiteX4725" fmla="*/ 1489473 w 6781956"/>
              <a:gd name="connsiteY4725" fmla="*/ 280716 h 6858000"/>
              <a:gd name="connsiteX4726" fmla="*/ 1482268 w 6781956"/>
              <a:gd name="connsiteY4726" fmla="*/ 256303 h 6858000"/>
              <a:gd name="connsiteX4727" fmla="*/ 1265040 w 6781956"/>
              <a:gd name="connsiteY4727" fmla="*/ 243515 h 6858000"/>
              <a:gd name="connsiteX4728" fmla="*/ 1275335 w 6781956"/>
              <a:gd name="connsiteY4728" fmla="*/ 264440 h 6858000"/>
              <a:gd name="connsiteX4729" fmla="*/ 1265040 w 6781956"/>
              <a:gd name="connsiteY4729" fmla="*/ 243515 h 6858000"/>
              <a:gd name="connsiteX4730" fmla="*/ 1512123 w 6781956"/>
              <a:gd name="connsiteY4730" fmla="*/ 234214 h 6858000"/>
              <a:gd name="connsiteX4731" fmla="*/ 1519329 w 6781956"/>
              <a:gd name="connsiteY4731" fmla="*/ 255140 h 6858000"/>
              <a:gd name="connsiteX4732" fmla="*/ 1512123 w 6781956"/>
              <a:gd name="connsiteY4732" fmla="*/ 234214 h 6858000"/>
              <a:gd name="connsiteX4733" fmla="*/ 1557069 w 6781956"/>
              <a:gd name="connsiteY4733" fmla="*/ 230146 h 6858000"/>
              <a:gd name="connsiteX4734" fmla="*/ 1562570 w 6781956"/>
              <a:gd name="connsiteY4734" fmla="*/ 245839 h 6858000"/>
              <a:gd name="connsiteX4735" fmla="*/ 1559481 w 6781956"/>
              <a:gd name="connsiteY4735" fmla="*/ 233053 h 6858000"/>
              <a:gd name="connsiteX4736" fmla="*/ 1557069 w 6781956"/>
              <a:gd name="connsiteY4736" fmla="*/ 230146 h 6858000"/>
              <a:gd name="connsiteX4737" fmla="*/ 1543008 w 6781956"/>
              <a:gd name="connsiteY4737" fmla="*/ 221427 h 6858000"/>
              <a:gd name="connsiteX4738" fmla="*/ 1550214 w 6781956"/>
              <a:gd name="connsiteY4738" fmla="*/ 266765 h 6858000"/>
              <a:gd name="connsiteX4739" fmla="*/ 1559481 w 6781956"/>
              <a:gd name="connsiteY4739" fmla="*/ 279553 h 6858000"/>
              <a:gd name="connsiteX4740" fmla="*/ 1549187 w 6781956"/>
              <a:gd name="connsiteY4740" fmla="*/ 242352 h 6858000"/>
              <a:gd name="connsiteX4741" fmla="*/ 1543008 w 6781956"/>
              <a:gd name="connsiteY4741" fmla="*/ 221427 h 6858000"/>
              <a:gd name="connsiteX4742" fmla="*/ 1208417 w 6781956"/>
              <a:gd name="connsiteY4742" fmla="*/ 210963 h 6858000"/>
              <a:gd name="connsiteX4743" fmla="*/ 1217682 w 6781956"/>
              <a:gd name="connsiteY4743" fmla="*/ 215615 h 6858000"/>
              <a:gd name="connsiteX4744" fmla="*/ 1217682 w 6781956"/>
              <a:gd name="connsiteY4744" fmla="*/ 223753 h 6858000"/>
              <a:gd name="connsiteX4745" fmla="*/ 1208417 w 6781956"/>
              <a:gd name="connsiteY4745" fmla="*/ 223753 h 6858000"/>
              <a:gd name="connsiteX4746" fmla="*/ 1208417 w 6781956"/>
              <a:gd name="connsiteY4746" fmla="*/ 210963 h 6858000"/>
              <a:gd name="connsiteX4747" fmla="*/ 1267099 w 6781956"/>
              <a:gd name="connsiteY4747" fmla="*/ 209801 h 6858000"/>
              <a:gd name="connsiteX4748" fmla="*/ 1273276 w 6781956"/>
              <a:gd name="connsiteY4748" fmla="*/ 222589 h 6858000"/>
              <a:gd name="connsiteX4749" fmla="*/ 1267099 w 6781956"/>
              <a:gd name="connsiteY4749" fmla="*/ 209801 h 6858000"/>
              <a:gd name="connsiteX4750" fmla="*/ 1488445 w 6781956"/>
              <a:gd name="connsiteY4750" fmla="*/ 197014 h 6858000"/>
              <a:gd name="connsiteX4751" fmla="*/ 1498739 w 6781956"/>
              <a:gd name="connsiteY4751" fmla="*/ 230727 h 6858000"/>
              <a:gd name="connsiteX4752" fmla="*/ 1488445 w 6781956"/>
              <a:gd name="connsiteY4752" fmla="*/ 197014 h 6858000"/>
              <a:gd name="connsiteX4753" fmla="*/ 1444047 w 6781956"/>
              <a:gd name="connsiteY4753" fmla="*/ 169839 h 6858000"/>
              <a:gd name="connsiteX4754" fmla="*/ 1442117 w 6781956"/>
              <a:gd name="connsiteY4754" fmla="*/ 171438 h 6858000"/>
              <a:gd name="connsiteX4755" fmla="*/ 1446235 w 6781956"/>
              <a:gd name="connsiteY4755" fmla="*/ 197014 h 6858000"/>
              <a:gd name="connsiteX4756" fmla="*/ 1449323 w 6781956"/>
              <a:gd name="connsiteY4756" fmla="*/ 197014 h 6858000"/>
              <a:gd name="connsiteX4757" fmla="*/ 1448293 w 6781956"/>
              <a:gd name="connsiteY4757" fmla="*/ 206314 h 6858000"/>
              <a:gd name="connsiteX4758" fmla="*/ 1458588 w 6781956"/>
              <a:gd name="connsiteY4758" fmla="*/ 230727 h 6858000"/>
              <a:gd name="connsiteX4759" fmla="*/ 1445205 w 6781956"/>
              <a:gd name="connsiteY4759" fmla="*/ 176087 h 6858000"/>
              <a:gd name="connsiteX4760" fmla="*/ 1444047 w 6781956"/>
              <a:gd name="connsiteY4760" fmla="*/ 169839 h 6858000"/>
              <a:gd name="connsiteX4761" fmla="*/ 1526041 w 6781956"/>
              <a:gd name="connsiteY4761" fmla="*/ 160401 h 6858000"/>
              <a:gd name="connsiteX4762" fmla="*/ 1526725 w 6781956"/>
              <a:gd name="connsiteY4762" fmla="*/ 160660 h 6858000"/>
              <a:gd name="connsiteX4763" fmla="*/ 1527425 w 6781956"/>
              <a:gd name="connsiteY4763" fmla="*/ 161810 h 6858000"/>
              <a:gd name="connsiteX4764" fmla="*/ 1527084 w 6781956"/>
              <a:gd name="connsiteY4764" fmla="*/ 163816 h 6858000"/>
              <a:gd name="connsiteX4765" fmla="*/ 1518301 w 6781956"/>
              <a:gd name="connsiteY4765" fmla="*/ 157489 h 6858000"/>
              <a:gd name="connsiteX4766" fmla="*/ 1519329 w 6781956"/>
              <a:gd name="connsiteY4766" fmla="*/ 191200 h 6858000"/>
              <a:gd name="connsiteX4767" fmla="*/ 1525506 w 6781956"/>
              <a:gd name="connsiteY4767" fmla="*/ 199339 h 6858000"/>
              <a:gd name="connsiteX4768" fmla="*/ 1525506 w 6781956"/>
              <a:gd name="connsiteY4768" fmla="*/ 207476 h 6858000"/>
              <a:gd name="connsiteX4769" fmla="*/ 1531684 w 6781956"/>
              <a:gd name="connsiteY4769" fmla="*/ 223753 h 6858000"/>
              <a:gd name="connsiteX4770" fmla="*/ 1534772 w 6781956"/>
              <a:gd name="connsiteY4770" fmla="*/ 228402 h 6858000"/>
              <a:gd name="connsiteX4771" fmla="*/ 1538891 w 6781956"/>
              <a:gd name="connsiteY4771" fmla="*/ 249328 h 6858000"/>
              <a:gd name="connsiteX4772" fmla="*/ 1535801 w 6781956"/>
              <a:gd name="connsiteY4772" fmla="*/ 253978 h 6858000"/>
              <a:gd name="connsiteX4773" fmla="*/ 1541979 w 6781956"/>
              <a:gd name="connsiteY4773" fmla="*/ 270253 h 6858000"/>
              <a:gd name="connsiteX4774" fmla="*/ 1538891 w 6781956"/>
              <a:gd name="connsiteY4774" fmla="*/ 274904 h 6858000"/>
              <a:gd name="connsiteX4775" fmla="*/ 1541979 w 6781956"/>
              <a:gd name="connsiteY4775" fmla="*/ 283042 h 6858000"/>
              <a:gd name="connsiteX4776" fmla="*/ 1541979 w 6781956"/>
              <a:gd name="connsiteY4776" fmla="*/ 291179 h 6858000"/>
              <a:gd name="connsiteX4777" fmla="*/ 1545068 w 6781956"/>
              <a:gd name="connsiteY4777" fmla="*/ 291179 h 6858000"/>
              <a:gd name="connsiteX4778" fmla="*/ 1549187 w 6781956"/>
              <a:gd name="connsiteY4778" fmla="*/ 320242 h 6858000"/>
              <a:gd name="connsiteX4779" fmla="*/ 1559481 w 6781956"/>
              <a:gd name="connsiteY4779" fmla="*/ 341168 h 6858000"/>
              <a:gd name="connsiteX4780" fmla="*/ 1560511 w 6781956"/>
              <a:gd name="connsiteY4780" fmla="*/ 370230 h 6858000"/>
              <a:gd name="connsiteX4781" fmla="*/ 1569776 w 6781956"/>
              <a:gd name="connsiteY4781" fmla="*/ 383019 h 6858000"/>
              <a:gd name="connsiteX4782" fmla="*/ 1575954 w 6781956"/>
              <a:gd name="connsiteY4782" fmla="*/ 395806 h 6858000"/>
              <a:gd name="connsiteX4783" fmla="*/ 1580071 w 6781956"/>
              <a:gd name="connsiteY4783" fmla="*/ 424870 h 6858000"/>
              <a:gd name="connsiteX4784" fmla="*/ 1576982 w 6781956"/>
              <a:gd name="connsiteY4784" fmla="*/ 441146 h 6858000"/>
              <a:gd name="connsiteX4785" fmla="*/ 1580071 w 6781956"/>
              <a:gd name="connsiteY4785" fmla="*/ 453933 h 6858000"/>
              <a:gd name="connsiteX4786" fmla="*/ 1584188 w 6781956"/>
              <a:gd name="connsiteY4786" fmla="*/ 474858 h 6858000"/>
              <a:gd name="connsiteX4787" fmla="*/ 1587277 w 6781956"/>
              <a:gd name="connsiteY4787" fmla="*/ 487647 h 6858000"/>
              <a:gd name="connsiteX4788" fmla="*/ 1590367 w 6781956"/>
              <a:gd name="connsiteY4788" fmla="*/ 503922 h 6858000"/>
              <a:gd name="connsiteX4789" fmla="*/ 1593455 w 6781956"/>
              <a:gd name="connsiteY4789" fmla="*/ 508572 h 6858000"/>
              <a:gd name="connsiteX4790" fmla="*/ 1597572 w 6781956"/>
              <a:gd name="connsiteY4790" fmla="*/ 545772 h 6858000"/>
              <a:gd name="connsiteX4791" fmla="*/ 1601691 w 6781956"/>
              <a:gd name="connsiteY4791" fmla="*/ 571348 h 6858000"/>
              <a:gd name="connsiteX4792" fmla="*/ 1601691 w 6781956"/>
              <a:gd name="connsiteY4792" fmla="*/ 579486 h 6858000"/>
              <a:gd name="connsiteX4793" fmla="*/ 1604780 w 6781956"/>
              <a:gd name="connsiteY4793" fmla="*/ 579486 h 6858000"/>
              <a:gd name="connsiteX4794" fmla="*/ 1604780 w 6781956"/>
              <a:gd name="connsiteY4794" fmla="*/ 587623 h 6858000"/>
              <a:gd name="connsiteX4795" fmla="*/ 1607868 w 6781956"/>
              <a:gd name="connsiteY4795" fmla="*/ 587623 h 6858000"/>
              <a:gd name="connsiteX4796" fmla="*/ 1607868 w 6781956"/>
              <a:gd name="connsiteY4796" fmla="*/ 595761 h 6858000"/>
              <a:gd name="connsiteX4797" fmla="*/ 1610957 w 6781956"/>
              <a:gd name="connsiteY4797" fmla="*/ 603899 h 6858000"/>
              <a:gd name="connsiteX4798" fmla="*/ 1607868 w 6781956"/>
              <a:gd name="connsiteY4798" fmla="*/ 624825 h 6858000"/>
              <a:gd name="connsiteX4799" fmla="*/ 1610957 w 6781956"/>
              <a:gd name="connsiteY4799" fmla="*/ 624825 h 6858000"/>
              <a:gd name="connsiteX4800" fmla="*/ 1610957 w 6781956"/>
              <a:gd name="connsiteY4800" fmla="*/ 641101 h 6858000"/>
              <a:gd name="connsiteX4801" fmla="*/ 1624340 w 6781956"/>
              <a:gd name="connsiteY4801" fmla="*/ 695739 h 6858000"/>
              <a:gd name="connsiteX4802" fmla="*/ 1627428 w 6781956"/>
              <a:gd name="connsiteY4802" fmla="*/ 712014 h 6858000"/>
              <a:gd name="connsiteX4803" fmla="*/ 1631547 w 6781956"/>
              <a:gd name="connsiteY4803" fmla="*/ 732941 h 6858000"/>
              <a:gd name="connsiteX4804" fmla="*/ 1634636 w 6781956"/>
              <a:gd name="connsiteY4804" fmla="*/ 737590 h 6858000"/>
              <a:gd name="connsiteX4805" fmla="*/ 1638754 w 6781956"/>
              <a:gd name="connsiteY4805" fmla="*/ 758516 h 6858000"/>
              <a:gd name="connsiteX4806" fmla="*/ 1638754 w 6781956"/>
              <a:gd name="connsiteY4806" fmla="*/ 766653 h 6858000"/>
              <a:gd name="connsiteX4807" fmla="*/ 1642870 w 6781956"/>
              <a:gd name="connsiteY4807" fmla="*/ 787579 h 6858000"/>
              <a:gd name="connsiteX4808" fmla="*/ 1645960 w 6781956"/>
              <a:gd name="connsiteY4808" fmla="*/ 800367 h 6858000"/>
              <a:gd name="connsiteX4809" fmla="*/ 1654196 w 6781956"/>
              <a:gd name="connsiteY4809" fmla="*/ 866631 h 6858000"/>
              <a:gd name="connsiteX4810" fmla="*/ 1654196 w 6781956"/>
              <a:gd name="connsiteY4810" fmla="*/ 882907 h 6858000"/>
              <a:gd name="connsiteX4811" fmla="*/ 1660373 w 6781956"/>
              <a:gd name="connsiteY4811" fmla="*/ 899182 h 6858000"/>
              <a:gd name="connsiteX4812" fmla="*/ 1657286 w 6781956"/>
              <a:gd name="connsiteY4812" fmla="*/ 907319 h 6858000"/>
              <a:gd name="connsiteX4813" fmla="*/ 1660373 w 6781956"/>
              <a:gd name="connsiteY4813" fmla="*/ 920108 h 6858000"/>
              <a:gd name="connsiteX4814" fmla="*/ 1664491 w 6781956"/>
              <a:gd name="connsiteY4814" fmla="*/ 970096 h 6858000"/>
              <a:gd name="connsiteX4815" fmla="*/ 1665520 w 6781956"/>
              <a:gd name="connsiteY4815" fmla="*/ 991022 h 6858000"/>
              <a:gd name="connsiteX4816" fmla="*/ 1672726 w 6781956"/>
              <a:gd name="connsiteY4816" fmla="*/ 1011948 h 6858000"/>
              <a:gd name="connsiteX4817" fmla="*/ 1677875 w 6781956"/>
              <a:gd name="connsiteY4817" fmla="*/ 1074724 h 6858000"/>
              <a:gd name="connsiteX4818" fmla="*/ 1680963 w 6781956"/>
              <a:gd name="connsiteY4818" fmla="*/ 1082861 h 6858000"/>
              <a:gd name="connsiteX4819" fmla="*/ 1680963 w 6781956"/>
              <a:gd name="connsiteY4819" fmla="*/ 1099137 h 6858000"/>
              <a:gd name="connsiteX4820" fmla="*/ 1684052 w 6781956"/>
              <a:gd name="connsiteY4820" fmla="*/ 1107275 h 6858000"/>
              <a:gd name="connsiteX4821" fmla="*/ 1684052 w 6781956"/>
              <a:gd name="connsiteY4821" fmla="*/ 1123550 h 6858000"/>
              <a:gd name="connsiteX4822" fmla="*/ 1690229 w 6781956"/>
              <a:gd name="connsiteY4822" fmla="*/ 1139826 h 6858000"/>
              <a:gd name="connsiteX4823" fmla="*/ 1687140 w 6781956"/>
              <a:gd name="connsiteY4823" fmla="*/ 1152613 h 6858000"/>
              <a:gd name="connsiteX4824" fmla="*/ 1690229 w 6781956"/>
              <a:gd name="connsiteY4824" fmla="*/ 1157264 h 6858000"/>
              <a:gd name="connsiteX4825" fmla="*/ 1691258 w 6781956"/>
              <a:gd name="connsiteY4825" fmla="*/ 1182839 h 6858000"/>
              <a:gd name="connsiteX4826" fmla="*/ 1698465 w 6781956"/>
              <a:gd name="connsiteY4826" fmla="*/ 1207253 h 6858000"/>
              <a:gd name="connsiteX4827" fmla="*/ 1699495 w 6781956"/>
              <a:gd name="connsiteY4827" fmla="*/ 1249103 h 6858000"/>
              <a:gd name="connsiteX4828" fmla="*/ 1699495 w 6781956"/>
              <a:gd name="connsiteY4828" fmla="*/ 1261891 h 6858000"/>
              <a:gd name="connsiteX4829" fmla="*/ 1700524 w 6781956"/>
              <a:gd name="connsiteY4829" fmla="*/ 1282818 h 6858000"/>
              <a:gd name="connsiteX4830" fmla="*/ 1700524 w 6781956"/>
              <a:gd name="connsiteY4830" fmla="*/ 1299093 h 6858000"/>
              <a:gd name="connsiteX4831" fmla="*/ 1704642 w 6781956"/>
              <a:gd name="connsiteY4831" fmla="*/ 1349082 h 6858000"/>
              <a:gd name="connsiteX4832" fmla="*/ 1707730 w 6781956"/>
              <a:gd name="connsiteY4832" fmla="*/ 1361869 h 6858000"/>
              <a:gd name="connsiteX4833" fmla="*/ 1704642 w 6781956"/>
              <a:gd name="connsiteY4833" fmla="*/ 1374657 h 6858000"/>
              <a:gd name="connsiteX4834" fmla="*/ 1707730 w 6781956"/>
              <a:gd name="connsiteY4834" fmla="*/ 1379308 h 6858000"/>
              <a:gd name="connsiteX4835" fmla="*/ 1708760 w 6781956"/>
              <a:gd name="connsiteY4835" fmla="*/ 1404883 h 6858000"/>
              <a:gd name="connsiteX4836" fmla="*/ 1711849 w 6781956"/>
              <a:gd name="connsiteY4836" fmla="*/ 1417671 h 6858000"/>
              <a:gd name="connsiteX4837" fmla="*/ 1708760 w 6781956"/>
              <a:gd name="connsiteY4837" fmla="*/ 1433947 h 6858000"/>
              <a:gd name="connsiteX4838" fmla="*/ 1711849 w 6781956"/>
              <a:gd name="connsiteY4838" fmla="*/ 1450222 h 6858000"/>
              <a:gd name="connsiteX4839" fmla="*/ 1713908 w 6781956"/>
              <a:gd name="connsiteY4839" fmla="*/ 1512998 h 6858000"/>
              <a:gd name="connsiteX4840" fmla="*/ 1727292 w 6781956"/>
              <a:gd name="connsiteY4840" fmla="*/ 1542062 h 6858000"/>
              <a:gd name="connsiteX4841" fmla="*/ 1734498 w 6781956"/>
              <a:gd name="connsiteY4841" fmla="*/ 1596700 h 6858000"/>
              <a:gd name="connsiteX4842" fmla="*/ 1729351 w 6781956"/>
              <a:gd name="connsiteY4842" fmla="*/ 1508349 h 6858000"/>
              <a:gd name="connsiteX4843" fmla="*/ 1725232 w 6781956"/>
              <a:gd name="connsiteY4843" fmla="*/ 1487422 h 6858000"/>
              <a:gd name="connsiteX4844" fmla="*/ 1724203 w 6781956"/>
              <a:gd name="connsiteY4844" fmla="*/ 1432784 h 6858000"/>
              <a:gd name="connsiteX4845" fmla="*/ 1716996 w 6781956"/>
              <a:gd name="connsiteY4845" fmla="*/ 1378144 h 6858000"/>
              <a:gd name="connsiteX4846" fmla="*/ 1718025 w 6781956"/>
              <a:gd name="connsiteY4846" fmla="*/ 1330481 h 6858000"/>
              <a:gd name="connsiteX4847" fmla="*/ 1706701 w 6781956"/>
              <a:gd name="connsiteY4847" fmla="*/ 1243291 h 6858000"/>
              <a:gd name="connsiteX4848" fmla="*/ 1705671 w 6781956"/>
              <a:gd name="connsiteY4848" fmla="*/ 1222366 h 6858000"/>
              <a:gd name="connsiteX4849" fmla="*/ 1704642 w 6781956"/>
              <a:gd name="connsiteY4849" fmla="*/ 1175864 h 6858000"/>
              <a:gd name="connsiteX4850" fmla="*/ 1697436 w 6781956"/>
              <a:gd name="connsiteY4850" fmla="*/ 1151451 h 6858000"/>
              <a:gd name="connsiteX4851" fmla="*/ 1700524 w 6781956"/>
              <a:gd name="connsiteY4851" fmla="*/ 1146802 h 6858000"/>
              <a:gd name="connsiteX4852" fmla="*/ 1696406 w 6781956"/>
              <a:gd name="connsiteY4852" fmla="*/ 1121226 h 6858000"/>
              <a:gd name="connsiteX4853" fmla="*/ 1692287 w 6781956"/>
              <a:gd name="connsiteY4853" fmla="*/ 1074724 h 6858000"/>
              <a:gd name="connsiteX4854" fmla="*/ 1701554 w 6781956"/>
              <a:gd name="connsiteY4854" fmla="*/ 1074724 h 6858000"/>
              <a:gd name="connsiteX4855" fmla="*/ 1688169 w 6781956"/>
              <a:gd name="connsiteY4855" fmla="*/ 1050311 h 6858000"/>
              <a:gd name="connsiteX4856" fmla="*/ 1687140 w 6781956"/>
              <a:gd name="connsiteY4856" fmla="*/ 1013110 h 6858000"/>
              <a:gd name="connsiteX4857" fmla="*/ 1697436 w 6781956"/>
              <a:gd name="connsiteY4857" fmla="*/ 1037524 h 6858000"/>
              <a:gd name="connsiteX4858" fmla="*/ 1693318 w 6781956"/>
              <a:gd name="connsiteY4858" fmla="*/ 995673 h 6858000"/>
              <a:gd name="connsiteX4859" fmla="*/ 1680963 w 6781956"/>
              <a:gd name="connsiteY4859" fmla="*/ 1008459 h 6858000"/>
              <a:gd name="connsiteX4860" fmla="*/ 1672726 w 6781956"/>
              <a:gd name="connsiteY4860" fmla="*/ 916620 h 6858000"/>
              <a:gd name="connsiteX4861" fmla="*/ 1665520 w 6781956"/>
              <a:gd name="connsiteY4861" fmla="*/ 882907 h 6858000"/>
              <a:gd name="connsiteX4862" fmla="*/ 1662432 w 6781956"/>
              <a:gd name="connsiteY4862" fmla="*/ 882907 h 6858000"/>
              <a:gd name="connsiteX4863" fmla="*/ 1662432 w 6781956"/>
              <a:gd name="connsiteY4863" fmla="*/ 866631 h 6858000"/>
              <a:gd name="connsiteX4864" fmla="*/ 1658313 w 6781956"/>
              <a:gd name="connsiteY4864" fmla="*/ 816642 h 6858000"/>
              <a:gd name="connsiteX4865" fmla="*/ 1661402 w 6781956"/>
              <a:gd name="connsiteY4865" fmla="*/ 795717 h 6858000"/>
              <a:gd name="connsiteX4866" fmla="*/ 1664491 w 6781956"/>
              <a:gd name="connsiteY4866" fmla="*/ 808505 h 6858000"/>
              <a:gd name="connsiteX4867" fmla="*/ 1664491 w 6781956"/>
              <a:gd name="connsiteY4867" fmla="*/ 795717 h 6858000"/>
              <a:gd name="connsiteX4868" fmla="*/ 1664491 w 6781956"/>
              <a:gd name="connsiteY4868" fmla="*/ 787579 h 6858000"/>
              <a:gd name="connsiteX4869" fmla="*/ 1655226 w 6781956"/>
              <a:gd name="connsiteY4869" fmla="*/ 792230 h 6858000"/>
              <a:gd name="connsiteX4870" fmla="*/ 1648019 w 6781956"/>
              <a:gd name="connsiteY4870" fmla="*/ 755028 h 6858000"/>
              <a:gd name="connsiteX4871" fmla="*/ 1644930 w 6781956"/>
              <a:gd name="connsiteY4871" fmla="*/ 750378 h 6858000"/>
              <a:gd name="connsiteX4872" fmla="*/ 1637724 w 6781956"/>
              <a:gd name="connsiteY4872" fmla="*/ 708527 h 6858000"/>
              <a:gd name="connsiteX4873" fmla="*/ 1627428 w 6781956"/>
              <a:gd name="connsiteY4873" fmla="*/ 671326 h 6858000"/>
              <a:gd name="connsiteX4874" fmla="*/ 1627428 w 6781956"/>
              <a:gd name="connsiteY4874" fmla="*/ 655051 h 6858000"/>
              <a:gd name="connsiteX4875" fmla="*/ 1617133 w 6781956"/>
              <a:gd name="connsiteY4875" fmla="*/ 609713 h 6858000"/>
              <a:gd name="connsiteX4876" fmla="*/ 1620222 w 6781956"/>
              <a:gd name="connsiteY4876" fmla="*/ 593437 h 6858000"/>
              <a:gd name="connsiteX4877" fmla="*/ 1614044 w 6781956"/>
              <a:gd name="connsiteY4877" fmla="*/ 585300 h 6858000"/>
              <a:gd name="connsiteX4878" fmla="*/ 1617133 w 6781956"/>
              <a:gd name="connsiteY4878" fmla="*/ 569024 h 6858000"/>
              <a:gd name="connsiteX4879" fmla="*/ 1610957 w 6781956"/>
              <a:gd name="connsiteY4879" fmla="*/ 560886 h 6858000"/>
              <a:gd name="connsiteX4880" fmla="*/ 1607868 w 6781956"/>
              <a:gd name="connsiteY4880" fmla="*/ 544610 h 6858000"/>
              <a:gd name="connsiteX4881" fmla="*/ 1603750 w 6781956"/>
              <a:gd name="connsiteY4881" fmla="*/ 519036 h 6858000"/>
              <a:gd name="connsiteX4882" fmla="*/ 1593455 w 6781956"/>
              <a:gd name="connsiteY4882" fmla="*/ 469045 h 6858000"/>
              <a:gd name="connsiteX4883" fmla="*/ 1586248 w 6781956"/>
              <a:gd name="connsiteY4883" fmla="*/ 431845 h 6858000"/>
              <a:gd name="connsiteX4884" fmla="*/ 1579042 w 6781956"/>
              <a:gd name="connsiteY4884" fmla="*/ 389994 h 6858000"/>
              <a:gd name="connsiteX4885" fmla="*/ 1565657 w 6781956"/>
              <a:gd name="connsiteY4885" fmla="*/ 340006 h 6858000"/>
              <a:gd name="connsiteX4886" fmla="*/ 1565657 w 6781956"/>
              <a:gd name="connsiteY4886" fmla="*/ 331867 h 6858000"/>
              <a:gd name="connsiteX4887" fmla="*/ 1537861 w 6781956"/>
              <a:gd name="connsiteY4887" fmla="*/ 223753 h 6858000"/>
              <a:gd name="connsiteX4888" fmla="*/ 1537861 w 6781956"/>
              <a:gd name="connsiteY4888" fmla="*/ 215615 h 6858000"/>
              <a:gd name="connsiteX4889" fmla="*/ 1534772 w 6781956"/>
              <a:gd name="connsiteY4889" fmla="*/ 210963 h 6858000"/>
              <a:gd name="connsiteX4890" fmla="*/ 1530655 w 6781956"/>
              <a:gd name="connsiteY4890" fmla="*/ 190039 h 6858000"/>
              <a:gd name="connsiteX4891" fmla="*/ 1524477 w 6781956"/>
              <a:gd name="connsiteY4891" fmla="*/ 173764 h 6858000"/>
              <a:gd name="connsiteX4892" fmla="*/ 1526408 w 6781956"/>
              <a:gd name="connsiteY4892" fmla="*/ 167805 h 6858000"/>
              <a:gd name="connsiteX4893" fmla="*/ 1527084 w 6781956"/>
              <a:gd name="connsiteY4893" fmla="*/ 163816 h 6858000"/>
              <a:gd name="connsiteX4894" fmla="*/ 1535801 w 6781956"/>
              <a:gd name="connsiteY4894" fmla="*/ 192363 h 6858000"/>
              <a:gd name="connsiteX4895" fmla="*/ 1533356 w 6781956"/>
              <a:gd name="connsiteY4895" fmla="*/ 171584 h 6858000"/>
              <a:gd name="connsiteX4896" fmla="*/ 1527425 w 6781956"/>
              <a:gd name="connsiteY4896" fmla="*/ 161810 h 6858000"/>
              <a:gd name="connsiteX4897" fmla="*/ 1527566 w 6781956"/>
              <a:gd name="connsiteY4897" fmla="*/ 160976 h 6858000"/>
              <a:gd name="connsiteX4898" fmla="*/ 1526725 w 6781956"/>
              <a:gd name="connsiteY4898" fmla="*/ 160660 h 6858000"/>
              <a:gd name="connsiteX4899" fmla="*/ 1525506 w 6781956"/>
              <a:gd name="connsiteY4899" fmla="*/ 158650 h 6858000"/>
              <a:gd name="connsiteX4900" fmla="*/ 1526041 w 6781956"/>
              <a:gd name="connsiteY4900" fmla="*/ 160401 h 6858000"/>
              <a:gd name="connsiteX4901" fmla="*/ 1197720 w 6781956"/>
              <a:gd name="connsiteY4901" fmla="*/ 147969 h 6858000"/>
              <a:gd name="connsiteX4902" fmla="*/ 1200181 w 6781956"/>
              <a:gd name="connsiteY4902" fmla="*/ 165626 h 6858000"/>
              <a:gd name="connsiteX4903" fmla="*/ 1206358 w 6781956"/>
              <a:gd name="connsiteY4903" fmla="*/ 178413 h 6858000"/>
              <a:gd name="connsiteX4904" fmla="*/ 1206358 w 6781956"/>
              <a:gd name="connsiteY4904" fmla="*/ 194688 h 6858000"/>
              <a:gd name="connsiteX4905" fmla="*/ 1196063 w 6781956"/>
              <a:gd name="connsiteY4905" fmla="*/ 170276 h 6858000"/>
              <a:gd name="connsiteX4906" fmla="*/ 1190990 w 6781956"/>
              <a:gd name="connsiteY4906" fmla="*/ 160693 h 6858000"/>
              <a:gd name="connsiteX4907" fmla="*/ 1190573 w 6781956"/>
              <a:gd name="connsiteY4907" fmla="*/ 153766 h 6858000"/>
              <a:gd name="connsiteX4908" fmla="*/ 1191945 w 6781956"/>
              <a:gd name="connsiteY4908" fmla="*/ 149350 h 6858000"/>
              <a:gd name="connsiteX4909" fmla="*/ 1197720 w 6781956"/>
              <a:gd name="connsiteY4909" fmla="*/ 147969 h 6858000"/>
              <a:gd name="connsiteX4910" fmla="*/ 1265040 w 6781956"/>
              <a:gd name="connsiteY4910" fmla="*/ 142375 h 6858000"/>
              <a:gd name="connsiteX4911" fmla="*/ 1272247 w 6781956"/>
              <a:gd name="connsiteY4911" fmla="*/ 171438 h 6858000"/>
              <a:gd name="connsiteX4912" fmla="*/ 1282542 w 6781956"/>
              <a:gd name="connsiteY4912" fmla="*/ 197014 h 6858000"/>
              <a:gd name="connsiteX4913" fmla="*/ 1265040 w 6781956"/>
              <a:gd name="connsiteY4913" fmla="*/ 142375 h 6858000"/>
              <a:gd name="connsiteX4914" fmla="*/ 1552209 w 6781956"/>
              <a:gd name="connsiteY4914" fmla="*/ 123138 h 6858000"/>
              <a:gd name="connsiteX4915" fmla="*/ 1557422 w 6781956"/>
              <a:gd name="connsiteY4915" fmla="*/ 145863 h 6858000"/>
              <a:gd name="connsiteX4916" fmla="*/ 1550214 w 6781956"/>
              <a:gd name="connsiteY4916" fmla="*/ 124936 h 6858000"/>
              <a:gd name="connsiteX4917" fmla="*/ 1552209 w 6781956"/>
              <a:gd name="connsiteY4917" fmla="*/ 123138 h 6858000"/>
              <a:gd name="connsiteX4918" fmla="*/ 1289749 w 6781956"/>
              <a:gd name="connsiteY4918" fmla="*/ 121449 h 6858000"/>
              <a:gd name="connsiteX4919" fmla="*/ 1293867 w 6781956"/>
              <a:gd name="connsiteY4919" fmla="*/ 150512 h 6858000"/>
              <a:gd name="connsiteX4920" fmla="*/ 1289749 w 6781956"/>
              <a:gd name="connsiteY4920" fmla="*/ 121449 h 6858000"/>
              <a:gd name="connsiteX4921" fmla="*/ 1483297 w 6781956"/>
              <a:gd name="connsiteY4921" fmla="*/ 109823 h 6858000"/>
              <a:gd name="connsiteX4922" fmla="*/ 1490504 w 6781956"/>
              <a:gd name="connsiteY4922" fmla="*/ 134237 h 6858000"/>
              <a:gd name="connsiteX4923" fmla="*/ 1483297 w 6781956"/>
              <a:gd name="connsiteY4923" fmla="*/ 109823 h 6858000"/>
              <a:gd name="connsiteX4924" fmla="*/ 1254456 w 6781956"/>
              <a:gd name="connsiteY4924" fmla="*/ 105047 h 6858000"/>
              <a:gd name="connsiteX4925" fmla="*/ 1251657 w 6781956"/>
              <a:gd name="connsiteY4925" fmla="*/ 109823 h 6858000"/>
              <a:gd name="connsiteX4926" fmla="*/ 1265040 w 6781956"/>
              <a:gd name="connsiteY4926" fmla="*/ 138888 h 6858000"/>
              <a:gd name="connsiteX4927" fmla="*/ 1264011 w 6781956"/>
              <a:gd name="connsiteY4927" fmla="*/ 117962 h 6858000"/>
              <a:gd name="connsiteX4928" fmla="*/ 1254456 w 6781956"/>
              <a:gd name="connsiteY4928" fmla="*/ 105047 h 6858000"/>
              <a:gd name="connsiteX4929" fmla="*/ 1179793 w 6781956"/>
              <a:gd name="connsiteY4929" fmla="*/ 95766 h 6858000"/>
              <a:gd name="connsiteX4930" fmla="*/ 1182680 w 6781956"/>
              <a:gd name="connsiteY4930" fmla="*/ 107498 h 6858000"/>
              <a:gd name="connsiteX4931" fmla="*/ 1185768 w 6781956"/>
              <a:gd name="connsiteY4931" fmla="*/ 115637 h 6858000"/>
              <a:gd name="connsiteX4932" fmla="*/ 1186798 w 6781956"/>
              <a:gd name="connsiteY4932" fmla="*/ 136562 h 6858000"/>
              <a:gd name="connsiteX4933" fmla="*/ 1184815 w 6781956"/>
              <a:gd name="connsiteY4933" fmla="*/ 133725 h 6858000"/>
              <a:gd name="connsiteX4934" fmla="*/ 1185768 w 6781956"/>
              <a:gd name="connsiteY4934" fmla="*/ 127259 h 6858000"/>
              <a:gd name="connsiteX4935" fmla="*/ 1180621 w 6781956"/>
              <a:gd name="connsiteY4935" fmla="*/ 119122 h 6858000"/>
              <a:gd name="connsiteX4936" fmla="*/ 1220771 w 6781956"/>
              <a:gd name="connsiteY4936" fmla="*/ 90061 h 6858000"/>
              <a:gd name="connsiteX4937" fmla="*/ 1234155 w 6781956"/>
              <a:gd name="connsiteY4937" fmla="*/ 123775 h 6858000"/>
              <a:gd name="connsiteX4938" fmla="*/ 1220771 w 6781956"/>
              <a:gd name="connsiteY4938" fmla="*/ 90061 h 6858000"/>
              <a:gd name="connsiteX4939" fmla="*/ 1460648 w 6781956"/>
              <a:gd name="connsiteY4939" fmla="*/ 79599 h 6858000"/>
              <a:gd name="connsiteX4940" fmla="*/ 1460648 w 6781956"/>
              <a:gd name="connsiteY4940" fmla="*/ 95874 h 6858000"/>
              <a:gd name="connsiteX4941" fmla="*/ 1461677 w 6781956"/>
              <a:gd name="connsiteY4941" fmla="*/ 121449 h 6858000"/>
              <a:gd name="connsiteX4942" fmla="*/ 1467855 w 6781956"/>
              <a:gd name="connsiteY4942" fmla="*/ 134237 h 6858000"/>
              <a:gd name="connsiteX4943" fmla="*/ 1475061 w 6781956"/>
              <a:gd name="connsiteY4943" fmla="*/ 158650 h 6858000"/>
              <a:gd name="connsiteX4944" fmla="*/ 1478149 w 6781956"/>
              <a:gd name="connsiteY4944" fmla="*/ 121449 h 6858000"/>
              <a:gd name="connsiteX4945" fmla="*/ 1468883 w 6781956"/>
              <a:gd name="connsiteY4945" fmla="*/ 121449 h 6858000"/>
              <a:gd name="connsiteX4946" fmla="*/ 1470943 w 6781956"/>
              <a:gd name="connsiteY4946" fmla="*/ 95874 h 6858000"/>
              <a:gd name="connsiteX4947" fmla="*/ 1460648 w 6781956"/>
              <a:gd name="connsiteY4947" fmla="*/ 79599 h 6858000"/>
              <a:gd name="connsiteX4948" fmla="*/ 1476089 w 6781956"/>
              <a:gd name="connsiteY4948" fmla="*/ 76111 h 6858000"/>
              <a:gd name="connsiteX4949" fmla="*/ 1483297 w 6781956"/>
              <a:gd name="connsiteY4949" fmla="*/ 97036 h 6858000"/>
              <a:gd name="connsiteX4950" fmla="*/ 1476089 w 6781956"/>
              <a:gd name="connsiteY4950" fmla="*/ 76111 h 6858000"/>
              <a:gd name="connsiteX4951" fmla="*/ 1219742 w 6781956"/>
              <a:gd name="connsiteY4951" fmla="*/ 69135 h 6858000"/>
              <a:gd name="connsiteX4952" fmla="*/ 1222831 w 6781956"/>
              <a:gd name="connsiteY4952" fmla="*/ 85410 h 6858000"/>
              <a:gd name="connsiteX4953" fmla="*/ 1219742 w 6781956"/>
              <a:gd name="connsiteY4953" fmla="*/ 69135 h 6858000"/>
              <a:gd name="connsiteX4954" fmla="*/ 1507749 w 6781956"/>
              <a:gd name="connsiteY4954" fmla="*/ 49663 h 6858000"/>
              <a:gd name="connsiteX4955" fmla="*/ 1500799 w 6781956"/>
              <a:gd name="connsiteY4955" fmla="*/ 54022 h 6858000"/>
              <a:gd name="connsiteX4956" fmla="*/ 1511094 w 6781956"/>
              <a:gd name="connsiteY4956" fmla="*/ 99361 h 6858000"/>
              <a:gd name="connsiteX4957" fmla="*/ 1518301 w 6781956"/>
              <a:gd name="connsiteY4957" fmla="*/ 128424 h 6858000"/>
              <a:gd name="connsiteX4958" fmla="*/ 1512123 w 6781956"/>
              <a:gd name="connsiteY4958" fmla="*/ 136562 h 6858000"/>
              <a:gd name="connsiteX4959" fmla="*/ 1527566 w 6781956"/>
              <a:gd name="connsiteY4959" fmla="*/ 149350 h 6858000"/>
              <a:gd name="connsiteX4960" fmla="*/ 1510064 w 6781956"/>
              <a:gd name="connsiteY4960" fmla="*/ 73785 h 6858000"/>
              <a:gd name="connsiteX4961" fmla="*/ 1516242 w 6781956"/>
              <a:gd name="connsiteY4961" fmla="*/ 54022 h 6858000"/>
              <a:gd name="connsiteX4962" fmla="*/ 1507749 w 6781956"/>
              <a:gd name="connsiteY4962" fmla="*/ 49663 h 6858000"/>
              <a:gd name="connsiteX4963" fmla="*/ 1396817 w 6781956"/>
              <a:gd name="connsiteY4963" fmla="*/ 31933 h 6858000"/>
              <a:gd name="connsiteX4964" fmla="*/ 1396817 w 6781956"/>
              <a:gd name="connsiteY4964" fmla="*/ 42397 h 6858000"/>
              <a:gd name="connsiteX4965" fmla="*/ 1402995 w 6781956"/>
              <a:gd name="connsiteY4965" fmla="*/ 58672 h 6858000"/>
              <a:gd name="connsiteX4966" fmla="*/ 1396817 w 6781956"/>
              <a:gd name="connsiteY4966" fmla="*/ 66810 h 6858000"/>
              <a:gd name="connsiteX4967" fmla="*/ 1375198 w 6781956"/>
              <a:gd name="connsiteY4967" fmla="*/ 36585 h 6858000"/>
              <a:gd name="connsiteX4968" fmla="*/ 1378287 w 6781956"/>
              <a:gd name="connsiteY4968" fmla="*/ 49372 h 6858000"/>
              <a:gd name="connsiteX4969" fmla="*/ 1381374 w 6781956"/>
              <a:gd name="connsiteY4969" fmla="*/ 54022 h 6858000"/>
              <a:gd name="connsiteX4970" fmla="*/ 1385493 w 6781956"/>
              <a:gd name="connsiteY4970" fmla="*/ 74947 h 6858000"/>
              <a:gd name="connsiteX4971" fmla="*/ 1391670 w 6781956"/>
              <a:gd name="connsiteY4971" fmla="*/ 91223 h 6858000"/>
              <a:gd name="connsiteX4972" fmla="*/ 1395789 w 6781956"/>
              <a:gd name="connsiteY4972" fmla="*/ 116798 h 6858000"/>
              <a:gd name="connsiteX4973" fmla="*/ 1410202 w 6781956"/>
              <a:gd name="connsiteY4973" fmla="*/ 203989 h 6858000"/>
              <a:gd name="connsiteX4974" fmla="*/ 1423586 w 6781956"/>
              <a:gd name="connsiteY4974" fmla="*/ 245839 h 6858000"/>
              <a:gd name="connsiteX4975" fmla="*/ 1426674 w 6781956"/>
              <a:gd name="connsiteY4975" fmla="*/ 250490 h 6858000"/>
              <a:gd name="connsiteX4976" fmla="*/ 1430792 w 6781956"/>
              <a:gd name="connsiteY4976" fmla="*/ 296992 h 6858000"/>
              <a:gd name="connsiteX4977" fmla="*/ 1441088 w 6781956"/>
              <a:gd name="connsiteY4977" fmla="*/ 326055 h 6858000"/>
              <a:gd name="connsiteX4978" fmla="*/ 1441088 w 6781956"/>
              <a:gd name="connsiteY4978" fmla="*/ 342330 h 6858000"/>
              <a:gd name="connsiteX4979" fmla="*/ 1454471 w 6781956"/>
              <a:gd name="connsiteY4979" fmla="*/ 387669 h 6858000"/>
              <a:gd name="connsiteX4980" fmla="*/ 1457559 w 6781956"/>
              <a:gd name="connsiteY4980" fmla="*/ 392319 h 6858000"/>
              <a:gd name="connsiteX4981" fmla="*/ 1461677 w 6781956"/>
              <a:gd name="connsiteY4981" fmla="*/ 417895 h 6858000"/>
              <a:gd name="connsiteX4982" fmla="*/ 1465795 w 6781956"/>
              <a:gd name="connsiteY4982" fmla="*/ 451608 h 6858000"/>
              <a:gd name="connsiteX4983" fmla="*/ 1471973 w 6781956"/>
              <a:gd name="connsiteY4983" fmla="*/ 459746 h 6858000"/>
              <a:gd name="connsiteX4984" fmla="*/ 1476089 w 6781956"/>
              <a:gd name="connsiteY4984" fmla="*/ 506247 h 6858000"/>
              <a:gd name="connsiteX4985" fmla="*/ 1483297 w 6781956"/>
              <a:gd name="connsiteY4985" fmla="*/ 527173 h 6858000"/>
              <a:gd name="connsiteX4986" fmla="*/ 1488445 w 6781956"/>
              <a:gd name="connsiteY4986" fmla="*/ 598087 h 6858000"/>
              <a:gd name="connsiteX4987" fmla="*/ 1491532 w 6781956"/>
              <a:gd name="connsiteY4987" fmla="*/ 606224 h 6858000"/>
              <a:gd name="connsiteX4988" fmla="*/ 1491532 w 6781956"/>
              <a:gd name="connsiteY4988" fmla="*/ 622499 h 6858000"/>
              <a:gd name="connsiteX4989" fmla="*/ 1498739 w 6781956"/>
              <a:gd name="connsiteY4989" fmla="*/ 643426 h 6858000"/>
              <a:gd name="connsiteX4990" fmla="*/ 1516242 w 6781956"/>
              <a:gd name="connsiteY4990" fmla="*/ 696901 h 6858000"/>
              <a:gd name="connsiteX4991" fmla="*/ 1501829 w 6781956"/>
              <a:gd name="connsiteY4991" fmla="*/ 609713 h 6858000"/>
              <a:gd name="connsiteX4992" fmla="*/ 1494621 w 6781956"/>
              <a:gd name="connsiteY4992" fmla="*/ 564373 h 6858000"/>
              <a:gd name="connsiteX4993" fmla="*/ 1483297 w 6781956"/>
              <a:gd name="connsiteY4993" fmla="*/ 498109 h 6858000"/>
              <a:gd name="connsiteX4994" fmla="*/ 1483297 w 6781956"/>
              <a:gd name="connsiteY4994" fmla="*/ 489971 h 6858000"/>
              <a:gd name="connsiteX4995" fmla="*/ 1480208 w 6781956"/>
              <a:gd name="connsiteY4995" fmla="*/ 477184 h 6858000"/>
              <a:gd name="connsiteX4996" fmla="*/ 1480208 w 6781956"/>
              <a:gd name="connsiteY4996" fmla="*/ 460908 h 6858000"/>
              <a:gd name="connsiteX4997" fmla="*/ 1474031 w 6781956"/>
              <a:gd name="connsiteY4997" fmla="*/ 444632 h 6858000"/>
              <a:gd name="connsiteX4998" fmla="*/ 1469913 w 6781956"/>
              <a:gd name="connsiteY4998" fmla="*/ 423707 h 6858000"/>
              <a:gd name="connsiteX4999" fmla="*/ 1469913 w 6781956"/>
              <a:gd name="connsiteY4999" fmla="*/ 410919 h 6858000"/>
              <a:gd name="connsiteX5000" fmla="*/ 1466825 w 6781956"/>
              <a:gd name="connsiteY5000" fmla="*/ 406270 h 6858000"/>
              <a:gd name="connsiteX5001" fmla="*/ 1462706 w 6781956"/>
              <a:gd name="connsiteY5001" fmla="*/ 359768 h 6858000"/>
              <a:gd name="connsiteX5002" fmla="*/ 1452412 w 6781956"/>
              <a:gd name="connsiteY5002" fmla="*/ 338842 h 6858000"/>
              <a:gd name="connsiteX5003" fmla="*/ 1451382 w 6781956"/>
              <a:gd name="connsiteY5003" fmla="*/ 317916 h 6858000"/>
              <a:gd name="connsiteX5004" fmla="*/ 1441088 w 6781956"/>
              <a:gd name="connsiteY5004" fmla="*/ 288853 h 6858000"/>
              <a:gd name="connsiteX5005" fmla="*/ 1434910 w 6781956"/>
              <a:gd name="connsiteY5005" fmla="*/ 272578 h 6858000"/>
              <a:gd name="connsiteX5006" fmla="*/ 1430792 w 6781956"/>
              <a:gd name="connsiteY5006" fmla="*/ 235377 h 6858000"/>
              <a:gd name="connsiteX5007" fmla="*/ 1424614 w 6781956"/>
              <a:gd name="connsiteY5007" fmla="*/ 227240 h 6858000"/>
              <a:gd name="connsiteX5008" fmla="*/ 1421526 w 6781956"/>
              <a:gd name="connsiteY5008" fmla="*/ 210963 h 6858000"/>
              <a:gd name="connsiteX5009" fmla="*/ 1410202 w 6781956"/>
              <a:gd name="connsiteY5009" fmla="*/ 144699 h 6858000"/>
              <a:gd name="connsiteX5010" fmla="*/ 1410202 w 6781956"/>
              <a:gd name="connsiteY5010" fmla="*/ 140050 h 6858000"/>
              <a:gd name="connsiteX5011" fmla="*/ 1407113 w 6781956"/>
              <a:gd name="connsiteY5011" fmla="*/ 135399 h 6858000"/>
              <a:gd name="connsiteX5012" fmla="*/ 1399906 w 6781956"/>
              <a:gd name="connsiteY5012" fmla="*/ 98199 h 6858000"/>
              <a:gd name="connsiteX5013" fmla="*/ 1402995 w 6781956"/>
              <a:gd name="connsiteY5013" fmla="*/ 81924 h 6858000"/>
              <a:gd name="connsiteX5014" fmla="*/ 1410202 w 6781956"/>
              <a:gd name="connsiteY5014" fmla="*/ 115637 h 6858000"/>
              <a:gd name="connsiteX5015" fmla="*/ 1413289 w 6781956"/>
              <a:gd name="connsiteY5015" fmla="*/ 120287 h 6858000"/>
              <a:gd name="connsiteX5016" fmla="*/ 1417407 w 6781956"/>
              <a:gd name="connsiteY5016" fmla="*/ 141212 h 6858000"/>
              <a:gd name="connsiteX5017" fmla="*/ 1424614 w 6781956"/>
              <a:gd name="connsiteY5017" fmla="*/ 162138 h 6858000"/>
              <a:gd name="connsiteX5018" fmla="*/ 1425645 w 6781956"/>
              <a:gd name="connsiteY5018" fmla="*/ 183062 h 6858000"/>
              <a:gd name="connsiteX5019" fmla="*/ 1431821 w 6781956"/>
              <a:gd name="connsiteY5019" fmla="*/ 191200 h 6858000"/>
              <a:gd name="connsiteX5020" fmla="*/ 1439028 w 6781956"/>
              <a:gd name="connsiteY5020" fmla="*/ 233053 h 6858000"/>
              <a:gd name="connsiteX5021" fmla="*/ 1439028 w 6781956"/>
              <a:gd name="connsiteY5021" fmla="*/ 241190 h 6858000"/>
              <a:gd name="connsiteX5022" fmla="*/ 1449323 w 6781956"/>
              <a:gd name="connsiteY5022" fmla="*/ 274904 h 6858000"/>
              <a:gd name="connsiteX5023" fmla="*/ 1449323 w 6781956"/>
              <a:gd name="connsiteY5023" fmla="*/ 283042 h 6858000"/>
              <a:gd name="connsiteX5024" fmla="*/ 1452412 w 6781956"/>
              <a:gd name="connsiteY5024" fmla="*/ 283042 h 6858000"/>
              <a:gd name="connsiteX5025" fmla="*/ 1452412 w 6781956"/>
              <a:gd name="connsiteY5025" fmla="*/ 291179 h 6858000"/>
              <a:gd name="connsiteX5026" fmla="*/ 1462706 w 6781956"/>
              <a:gd name="connsiteY5026" fmla="*/ 307454 h 6858000"/>
              <a:gd name="connsiteX5027" fmla="*/ 1455500 w 6781956"/>
              <a:gd name="connsiteY5027" fmla="*/ 286529 h 6858000"/>
              <a:gd name="connsiteX5028" fmla="*/ 1455500 w 6781956"/>
              <a:gd name="connsiteY5028" fmla="*/ 281879 h 6858000"/>
              <a:gd name="connsiteX5029" fmla="*/ 1452412 w 6781956"/>
              <a:gd name="connsiteY5029" fmla="*/ 277228 h 6858000"/>
              <a:gd name="connsiteX5030" fmla="*/ 1448293 w 6781956"/>
              <a:gd name="connsiteY5030" fmla="*/ 240028 h 6858000"/>
              <a:gd name="connsiteX5031" fmla="*/ 1442117 w 6781956"/>
              <a:gd name="connsiteY5031" fmla="*/ 231890 h 6858000"/>
              <a:gd name="connsiteX5032" fmla="*/ 1439028 w 6781956"/>
              <a:gd name="connsiteY5032" fmla="*/ 215615 h 6858000"/>
              <a:gd name="connsiteX5033" fmla="*/ 1434910 w 6781956"/>
              <a:gd name="connsiteY5033" fmla="*/ 186551 h 6858000"/>
              <a:gd name="connsiteX5034" fmla="*/ 1424614 w 6781956"/>
              <a:gd name="connsiteY5034" fmla="*/ 131912 h 6858000"/>
              <a:gd name="connsiteX5035" fmla="*/ 1410202 w 6781956"/>
              <a:gd name="connsiteY5035" fmla="*/ 73785 h 6858000"/>
              <a:gd name="connsiteX5036" fmla="*/ 1407113 w 6781956"/>
              <a:gd name="connsiteY5036" fmla="*/ 69135 h 6858000"/>
              <a:gd name="connsiteX5037" fmla="*/ 1402995 w 6781956"/>
              <a:gd name="connsiteY5037" fmla="*/ 40073 h 6858000"/>
              <a:gd name="connsiteX5038" fmla="*/ 1396817 w 6781956"/>
              <a:gd name="connsiteY5038" fmla="*/ 31933 h 6858000"/>
              <a:gd name="connsiteX5039" fmla="*/ 1264011 w 6781956"/>
              <a:gd name="connsiteY5039" fmla="*/ 22635 h 6858000"/>
              <a:gd name="connsiteX5040" fmla="*/ 1273276 w 6781956"/>
              <a:gd name="connsiteY5040" fmla="*/ 30772 h 6858000"/>
              <a:gd name="connsiteX5041" fmla="*/ 1267099 w 6781956"/>
              <a:gd name="connsiteY5041" fmla="*/ 38910 h 6858000"/>
              <a:gd name="connsiteX5042" fmla="*/ 1274307 w 6781956"/>
              <a:gd name="connsiteY5042" fmla="*/ 80761 h 6858000"/>
              <a:gd name="connsiteX5043" fmla="*/ 1268829 w 6781956"/>
              <a:gd name="connsiteY5043" fmla="*/ 75728 h 6858000"/>
              <a:gd name="connsiteX5044" fmla="*/ 1268714 w 6781956"/>
              <a:gd name="connsiteY5044" fmla="*/ 75405 h 6858000"/>
              <a:gd name="connsiteX5045" fmla="*/ 1267099 w 6781956"/>
              <a:gd name="connsiteY5045" fmla="*/ 67973 h 6858000"/>
              <a:gd name="connsiteX5046" fmla="*/ 1264661 w 6781956"/>
              <a:gd name="connsiteY5046" fmla="*/ 61547 h 6858000"/>
              <a:gd name="connsiteX5047" fmla="*/ 1263678 w 6781956"/>
              <a:gd name="connsiteY5047" fmla="*/ 58078 h 6858000"/>
              <a:gd name="connsiteX5048" fmla="*/ 1260924 w 6781956"/>
              <a:gd name="connsiteY5048" fmla="*/ 43559 h 6858000"/>
              <a:gd name="connsiteX5049" fmla="*/ 1264011 w 6781956"/>
              <a:gd name="connsiteY5049" fmla="*/ 22635 h 6858000"/>
              <a:gd name="connsiteX5050" fmla="*/ 1351520 w 6781956"/>
              <a:gd name="connsiteY5050" fmla="*/ 1403 h 6858000"/>
              <a:gd name="connsiteX5051" fmla="*/ 1375634 w 6781956"/>
              <a:gd name="connsiteY5051" fmla="*/ 1403 h 6858000"/>
              <a:gd name="connsiteX5052" fmla="*/ 1377901 w 6781956"/>
              <a:gd name="connsiteY5052" fmla="*/ 11881 h 6858000"/>
              <a:gd name="connsiteX5053" fmla="*/ 1381374 w 6781956"/>
              <a:gd name="connsiteY5053" fmla="*/ 12171 h 6858000"/>
              <a:gd name="connsiteX5054" fmla="*/ 1378287 w 6781956"/>
              <a:gd name="connsiteY5054" fmla="*/ 4034 h 6858000"/>
              <a:gd name="connsiteX5055" fmla="*/ 1380285 w 6781956"/>
              <a:gd name="connsiteY5055" fmla="*/ 1403 h 6858000"/>
              <a:gd name="connsiteX5056" fmla="*/ 1386249 w 6781956"/>
              <a:gd name="connsiteY5056" fmla="*/ 1403 h 6858000"/>
              <a:gd name="connsiteX5057" fmla="*/ 1386394 w 6781956"/>
              <a:gd name="connsiteY5057" fmla="*/ 1854 h 6858000"/>
              <a:gd name="connsiteX5058" fmla="*/ 1387552 w 6781956"/>
              <a:gd name="connsiteY5058" fmla="*/ 8683 h 6858000"/>
              <a:gd name="connsiteX5059" fmla="*/ 1393730 w 6781956"/>
              <a:gd name="connsiteY5059" fmla="*/ 24959 h 6858000"/>
              <a:gd name="connsiteX5060" fmla="*/ 1396817 w 6781956"/>
              <a:gd name="connsiteY5060" fmla="*/ 29610 h 6858000"/>
              <a:gd name="connsiteX5061" fmla="*/ 1396817 w 6781956"/>
              <a:gd name="connsiteY5061" fmla="*/ 15658 h 6858000"/>
              <a:gd name="connsiteX5062" fmla="*/ 1390641 w 6781956"/>
              <a:gd name="connsiteY5062" fmla="*/ 7521 h 6858000"/>
              <a:gd name="connsiteX5063" fmla="*/ 1390641 w 6781956"/>
              <a:gd name="connsiteY5063" fmla="*/ 1403 h 6858000"/>
              <a:gd name="connsiteX5064" fmla="*/ 1423354 w 6781956"/>
              <a:gd name="connsiteY5064" fmla="*/ 1403 h 6858000"/>
              <a:gd name="connsiteX5065" fmla="*/ 1423586 w 6781956"/>
              <a:gd name="connsiteY5065" fmla="*/ 1709 h 6858000"/>
              <a:gd name="connsiteX5066" fmla="*/ 1427703 w 6781956"/>
              <a:gd name="connsiteY5066" fmla="*/ 27284 h 6858000"/>
              <a:gd name="connsiteX5067" fmla="*/ 1430792 w 6781956"/>
              <a:gd name="connsiteY5067" fmla="*/ 31933 h 6858000"/>
              <a:gd name="connsiteX5068" fmla="*/ 1434910 w 6781956"/>
              <a:gd name="connsiteY5068" fmla="*/ 60998 h 6858000"/>
              <a:gd name="connsiteX5069" fmla="*/ 1439028 w 6781956"/>
              <a:gd name="connsiteY5069" fmla="*/ 86573 h 6858000"/>
              <a:gd name="connsiteX5070" fmla="*/ 1453441 w 6781956"/>
              <a:gd name="connsiteY5070" fmla="*/ 149350 h 6858000"/>
              <a:gd name="connsiteX5071" fmla="*/ 1456530 w 6781956"/>
              <a:gd name="connsiteY5071" fmla="*/ 154000 h 6858000"/>
              <a:gd name="connsiteX5072" fmla="*/ 1459618 w 6781956"/>
              <a:gd name="connsiteY5072" fmla="*/ 166787 h 6858000"/>
              <a:gd name="connsiteX5073" fmla="*/ 1459618 w 6781956"/>
              <a:gd name="connsiteY5073" fmla="*/ 174925 h 6858000"/>
              <a:gd name="connsiteX5074" fmla="*/ 1465795 w 6781956"/>
              <a:gd name="connsiteY5074" fmla="*/ 191200 h 6858000"/>
              <a:gd name="connsiteX5075" fmla="*/ 1473002 w 6781956"/>
              <a:gd name="connsiteY5075" fmla="*/ 224914 h 6858000"/>
              <a:gd name="connsiteX5076" fmla="*/ 1483297 w 6781956"/>
              <a:gd name="connsiteY5076" fmla="*/ 245839 h 6858000"/>
              <a:gd name="connsiteX5077" fmla="*/ 1479179 w 6781956"/>
              <a:gd name="connsiteY5077" fmla="*/ 216776 h 6858000"/>
              <a:gd name="connsiteX5078" fmla="*/ 1473002 w 6781956"/>
              <a:gd name="connsiteY5078" fmla="*/ 208639 h 6858000"/>
              <a:gd name="connsiteX5079" fmla="*/ 1473002 w 6781956"/>
              <a:gd name="connsiteY5079" fmla="*/ 200501 h 6858000"/>
              <a:gd name="connsiteX5080" fmla="*/ 1462706 w 6781956"/>
              <a:gd name="connsiteY5080" fmla="*/ 164464 h 6858000"/>
              <a:gd name="connsiteX5081" fmla="*/ 1459618 w 6781956"/>
              <a:gd name="connsiteY5081" fmla="*/ 148188 h 6858000"/>
              <a:gd name="connsiteX5082" fmla="*/ 1455500 w 6781956"/>
              <a:gd name="connsiteY5082" fmla="*/ 106337 h 6858000"/>
              <a:gd name="connsiteX5083" fmla="*/ 1452412 w 6781956"/>
              <a:gd name="connsiteY5083" fmla="*/ 106337 h 6858000"/>
              <a:gd name="connsiteX5084" fmla="*/ 1452412 w 6781956"/>
              <a:gd name="connsiteY5084" fmla="*/ 98199 h 6858000"/>
              <a:gd name="connsiteX5085" fmla="*/ 1441088 w 6781956"/>
              <a:gd name="connsiteY5085" fmla="*/ 40073 h 6858000"/>
              <a:gd name="connsiteX5086" fmla="*/ 1429633 w 6781956"/>
              <a:gd name="connsiteY5086" fmla="*/ 8248 h 6858000"/>
              <a:gd name="connsiteX5087" fmla="*/ 1427849 w 6781956"/>
              <a:gd name="connsiteY5087" fmla="*/ 1403 h 6858000"/>
              <a:gd name="connsiteX5088" fmla="*/ 1454193 w 6781956"/>
              <a:gd name="connsiteY5088" fmla="*/ 1403 h 6858000"/>
              <a:gd name="connsiteX5089" fmla="*/ 1456530 w 6781956"/>
              <a:gd name="connsiteY5089" fmla="*/ 9846 h 6858000"/>
              <a:gd name="connsiteX5090" fmla="*/ 1462706 w 6781956"/>
              <a:gd name="connsiteY5090" fmla="*/ 26122 h 6858000"/>
              <a:gd name="connsiteX5091" fmla="*/ 1469913 w 6781956"/>
              <a:gd name="connsiteY5091" fmla="*/ 47047 h 6858000"/>
              <a:gd name="connsiteX5092" fmla="*/ 1459092 w 6781956"/>
              <a:gd name="connsiteY5092" fmla="*/ 1403 h 6858000"/>
              <a:gd name="connsiteX5093" fmla="*/ 1469047 w 6781956"/>
              <a:gd name="connsiteY5093" fmla="*/ 1403 h 6858000"/>
              <a:gd name="connsiteX5094" fmla="*/ 1470943 w 6781956"/>
              <a:gd name="connsiteY5094" fmla="*/ 8683 h 6858000"/>
              <a:gd name="connsiteX5095" fmla="*/ 1480208 w 6781956"/>
              <a:gd name="connsiteY5095" fmla="*/ 16822 h 6858000"/>
              <a:gd name="connsiteX5096" fmla="*/ 1483297 w 6781956"/>
              <a:gd name="connsiteY5096" fmla="*/ 24959 h 6858000"/>
              <a:gd name="connsiteX5097" fmla="*/ 1484326 w 6781956"/>
              <a:gd name="connsiteY5097" fmla="*/ 50534 h 6858000"/>
              <a:gd name="connsiteX5098" fmla="*/ 1487415 w 6781956"/>
              <a:gd name="connsiteY5098" fmla="*/ 50534 h 6858000"/>
              <a:gd name="connsiteX5099" fmla="*/ 1500799 w 6781956"/>
              <a:gd name="connsiteY5099" fmla="*/ 92386 h 6858000"/>
              <a:gd name="connsiteX5100" fmla="*/ 1491276 w 6781956"/>
              <a:gd name="connsiteY5100" fmla="*/ 42106 h 6858000"/>
              <a:gd name="connsiteX5101" fmla="*/ 1480437 w 6781956"/>
              <a:gd name="connsiteY5101" fmla="*/ 1403 h 6858000"/>
              <a:gd name="connsiteX5102" fmla="*/ 1494073 w 6781956"/>
              <a:gd name="connsiteY5102" fmla="*/ 1403 h 6858000"/>
              <a:gd name="connsiteX5103" fmla="*/ 1496681 w 6781956"/>
              <a:gd name="connsiteY5103" fmla="*/ 21472 h 6858000"/>
              <a:gd name="connsiteX5104" fmla="*/ 1502858 w 6781956"/>
              <a:gd name="connsiteY5104" fmla="*/ 15804 h 6858000"/>
              <a:gd name="connsiteX5105" fmla="*/ 1502858 w 6781956"/>
              <a:gd name="connsiteY5105" fmla="*/ 1403 h 6858000"/>
              <a:gd name="connsiteX5106" fmla="*/ 1519463 w 6781956"/>
              <a:gd name="connsiteY5106" fmla="*/ 1403 h 6858000"/>
              <a:gd name="connsiteX5107" fmla="*/ 1522418 w 6781956"/>
              <a:gd name="connsiteY5107" fmla="*/ 7521 h 6858000"/>
              <a:gd name="connsiteX5108" fmla="*/ 1525506 w 6781956"/>
              <a:gd name="connsiteY5108" fmla="*/ 2871 h 6858000"/>
              <a:gd name="connsiteX5109" fmla="*/ 1529625 w 6781956"/>
              <a:gd name="connsiteY5109" fmla="*/ 23796 h 6858000"/>
              <a:gd name="connsiteX5110" fmla="*/ 1523448 w 6781956"/>
              <a:gd name="connsiteY5110" fmla="*/ 28447 h 6858000"/>
              <a:gd name="connsiteX5111" fmla="*/ 1533744 w 6781956"/>
              <a:gd name="connsiteY5111" fmla="*/ 62160 h 6858000"/>
              <a:gd name="connsiteX5112" fmla="*/ 1551244 w 6781956"/>
              <a:gd name="connsiteY5112" fmla="*/ 149350 h 6858000"/>
              <a:gd name="connsiteX5113" fmla="*/ 1554333 w 6781956"/>
              <a:gd name="connsiteY5113" fmla="*/ 162138 h 6858000"/>
              <a:gd name="connsiteX5114" fmla="*/ 1557422 w 6781956"/>
              <a:gd name="connsiteY5114" fmla="*/ 166787 h 6858000"/>
              <a:gd name="connsiteX5115" fmla="*/ 1564629 w 6781956"/>
              <a:gd name="connsiteY5115" fmla="*/ 203989 h 6858000"/>
              <a:gd name="connsiteX5116" fmla="*/ 1582130 w 6781956"/>
              <a:gd name="connsiteY5116" fmla="*/ 274904 h 6858000"/>
              <a:gd name="connsiteX5117" fmla="*/ 1589337 w 6781956"/>
              <a:gd name="connsiteY5117" fmla="*/ 303966 h 6858000"/>
              <a:gd name="connsiteX5118" fmla="*/ 1592425 w 6781956"/>
              <a:gd name="connsiteY5118" fmla="*/ 308618 h 6858000"/>
              <a:gd name="connsiteX5119" fmla="*/ 1602720 w 6781956"/>
              <a:gd name="connsiteY5119" fmla="*/ 342330 h 6858000"/>
              <a:gd name="connsiteX5120" fmla="*/ 1608898 w 6781956"/>
              <a:gd name="connsiteY5120" fmla="*/ 329542 h 6858000"/>
              <a:gd name="connsiteX5121" fmla="*/ 1613015 w 6781956"/>
              <a:gd name="connsiteY5121" fmla="*/ 366743 h 6858000"/>
              <a:gd name="connsiteX5122" fmla="*/ 1616104 w 6781956"/>
              <a:gd name="connsiteY5122" fmla="*/ 366743 h 6858000"/>
              <a:gd name="connsiteX5123" fmla="*/ 1619193 w 6781956"/>
              <a:gd name="connsiteY5123" fmla="*/ 379531 h 6858000"/>
              <a:gd name="connsiteX5124" fmla="*/ 1619193 w 6781956"/>
              <a:gd name="connsiteY5124" fmla="*/ 387669 h 6858000"/>
              <a:gd name="connsiteX5125" fmla="*/ 1633605 w 6781956"/>
              <a:gd name="connsiteY5125" fmla="*/ 463233 h 6858000"/>
              <a:gd name="connsiteX5126" fmla="*/ 1624340 w 6781956"/>
              <a:gd name="connsiteY5126" fmla="*/ 450446 h 6858000"/>
              <a:gd name="connsiteX5127" fmla="*/ 1642870 w 6781956"/>
              <a:gd name="connsiteY5127" fmla="*/ 571348 h 6858000"/>
              <a:gd name="connsiteX5128" fmla="*/ 1645960 w 6781956"/>
              <a:gd name="connsiteY5128" fmla="*/ 579486 h 6858000"/>
              <a:gd name="connsiteX5129" fmla="*/ 1652137 w 6781956"/>
              <a:gd name="connsiteY5129" fmla="*/ 579486 h 6858000"/>
              <a:gd name="connsiteX5130" fmla="*/ 1650078 w 6781956"/>
              <a:gd name="connsiteY5130" fmla="*/ 605062 h 6858000"/>
              <a:gd name="connsiteX5131" fmla="*/ 1664491 w 6781956"/>
              <a:gd name="connsiteY5131" fmla="*/ 667839 h 6858000"/>
              <a:gd name="connsiteX5132" fmla="*/ 1664491 w 6781956"/>
              <a:gd name="connsiteY5132" fmla="*/ 675977 h 6858000"/>
              <a:gd name="connsiteX5133" fmla="*/ 1678904 w 6781956"/>
              <a:gd name="connsiteY5133" fmla="*/ 751541 h 6858000"/>
              <a:gd name="connsiteX5134" fmla="*/ 1688169 w 6781956"/>
              <a:gd name="connsiteY5134" fmla="*/ 743403 h 6858000"/>
              <a:gd name="connsiteX5135" fmla="*/ 1695376 w 6781956"/>
              <a:gd name="connsiteY5135" fmla="*/ 785254 h 6858000"/>
              <a:gd name="connsiteX5136" fmla="*/ 1692287 w 6781956"/>
              <a:gd name="connsiteY5136" fmla="*/ 801530 h 6858000"/>
              <a:gd name="connsiteX5137" fmla="*/ 1686111 w 6781956"/>
              <a:gd name="connsiteY5137" fmla="*/ 788741 h 6858000"/>
              <a:gd name="connsiteX5138" fmla="*/ 1706701 w 6781956"/>
              <a:gd name="connsiteY5138" fmla="*/ 846868 h 6858000"/>
              <a:gd name="connsiteX5139" fmla="*/ 1702582 w 6781956"/>
              <a:gd name="connsiteY5139" fmla="*/ 800367 h 6858000"/>
              <a:gd name="connsiteX5140" fmla="*/ 1698465 w 6781956"/>
              <a:gd name="connsiteY5140" fmla="*/ 745728 h 6858000"/>
              <a:gd name="connsiteX5141" fmla="*/ 1692287 w 6781956"/>
              <a:gd name="connsiteY5141" fmla="*/ 729453 h 6858000"/>
              <a:gd name="connsiteX5142" fmla="*/ 1686111 w 6781956"/>
              <a:gd name="connsiteY5142" fmla="*/ 703876 h 6858000"/>
              <a:gd name="connsiteX5143" fmla="*/ 1683023 w 6781956"/>
              <a:gd name="connsiteY5143" fmla="*/ 687601 h 6858000"/>
              <a:gd name="connsiteX5144" fmla="*/ 1678904 w 6781956"/>
              <a:gd name="connsiteY5144" fmla="*/ 666676 h 6858000"/>
              <a:gd name="connsiteX5145" fmla="*/ 1675816 w 6781956"/>
              <a:gd name="connsiteY5145" fmla="*/ 662025 h 6858000"/>
              <a:gd name="connsiteX5146" fmla="*/ 1661402 w 6781956"/>
              <a:gd name="connsiteY5146" fmla="*/ 582974 h 6858000"/>
              <a:gd name="connsiteX5147" fmla="*/ 1661402 w 6781956"/>
              <a:gd name="connsiteY5147" fmla="*/ 574836 h 6858000"/>
              <a:gd name="connsiteX5148" fmla="*/ 1658313 w 6781956"/>
              <a:gd name="connsiteY5148" fmla="*/ 574836 h 6858000"/>
              <a:gd name="connsiteX5149" fmla="*/ 1658313 w 6781956"/>
              <a:gd name="connsiteY5149" fmla="*/ 566699 h 6858000"/>
              <a:gd name="connsiteX5150" fmla="*/ 1643900 w 6781956"/>
              <a:gd name="connsiteY5150" fmla="*/ 479508 h 6858000"/>
              <a:gd name="connsiteX5151" fmla="*/ 1639783 w 6781956"/>
              <a:gd name="connsiteY5151" fmla="*/ 453933 h 6858000"/>
              <a:gd name="connsiteX5152" fmla="*/ 1629487 w 6781956"/>
              <a:gd name="connsiteY5152" fmla="*/ 412081 h 6858000"/>
              <a:gd name="connsiteX5153" fmla="*/ 1625370 w 6781956"/>
              <a:gd name="connsiteY5153" fmla="*/ 391157 h 6858000"/>
              <a:gd name="connsiteX5154" fmla="*/ 1625370 w 6781956"/>
              <a:gd name="connsiteY5154" fmla="*/ 383019 h 6858000"/>
              <a:gd name="connsiteX5155" fmla="*/ 1618163 w 6781956"/>
              <a:gd name="connsiteY5155" fmla="*/ 349306 h 6858000"/>
              <a:gd name="connsiteX5156" fmla="*/ 1600661 w 6781956"/>
              <a:gd name="connsiteY5156" fmla="*/ 286529 h 6858000"/>
              <a:gd name="connsiteX5157" fmla="*/ 1600661 w 6781956"/>
              <a:gd name="connsiteY5157" fmla="*/ 278391 h 6858000"/>
              <a:gd name="connsiteX5158" fmla="*/ 1586248 w 6781956"/>
              <a:gd name="connsiteY5158" fmla="*/ 220264 h 6858000"/>
              <a:gd name="connsiteX5159" fmla="*/ 1580071 w 6781956"/>
              <a:gd name="connsiteY5159" fmla="*/ 203989 h 6858000"/>
              <a:gd name="connsiteX5160" fmla="*/ 1572864 w 6781956"/>
              <a:gd name="connsiteY5160" fmla="*/ 179576 h 6858000"/>
              <a:gd name="connsiteX5161" fmla="*/ 1572864 w 6781956"/>
              <a:gd name="connsiteY5161" fmla="*/ 171438 h 6858000"/>
              <a:gd name="connsiteX5162" fmla="*/ 1565657 w 6781956"/>
              <a:gd name="connsiteY5162" fmla="*/ 137725 h 6858000"/>
              <a:gd name="connsiteX5163" fmla="*/ 1551244 w 6781956"/>
              <a:gd name="connsiteY5163" fmla="*/ 79599 h 6858000"/>
              <a:gd name="connsiteX5164" fmla="*/ 1548156 w 6781956"/>
              <a:gd name="connsiteY5164" fmla="*/ 74947 h 6858000"/>
              <a:gd name="connsiteX5165" fmla="*/ 1537861 w 6781956"/>
              <a:gd name="connsiteY5165" fmla="*/ 33097 h 6858000"/>
              <a:gd name="connsiteX5166" fmla="*/ 1533100 w 6781956"/>
              <a:gd name="connsiteY5166" fmla="*/ 8975 h 6858000"/>
              <a:gd name="connsiteX5167" fmla="*/ 1532384 w 6781956"/>
              <a:gd name="connsiteY5167" fmla="*/ 1403 h 6858000"/>
              <a:gd name="connsiteX5168" fmla="*/ 1550327 w 6781956"/>
              <a:gd name="connsiteY5168" fmla="*/ 1403 h 6858000"/>
              <a:gd name="connsiteX5169" fmla="*/ 1555362 w 6781956"/>
              <a:gd name="connsiteY5169" fmla="*/ 24959 h 6858000"/>
              <a:gd name="connsiteX5170" fmla="*/ 1561539 w 6781956"/>
              <a:gd name="connsiteY5170" fmla="*/ 41234 h 6858000"/>
              <a:gd name="connsiteX5171" fmla="*/ 1568746 w 6781956"/>
              <a:gd name="connsiteY5171" fmla="*/ 91223 h 6858000"/>
              <a:gd name="connsiteX5172" fmla="*/ 1579042 w 6781956"/>
              <a:gd name="connsiteY5172" fmla="*/ 115637 h 6858000"/>
              <a:gd name="connsiteX5173" fmla="*/ 1589337 w 6781956"/>
              <a:gd name="connsiteY5173" fmla="*/ 144699 h 6858000"/>
              <a:gd name="connsiteX5174" fmla="*/ 1592425 w 6781956"/>
              <a:gd name="connsiteY5174" fmla="*/ 144699 h 6858000"/>
              <a:gd name="connsiteX5175" fmla="*/ 1592425 w 6781956"/>
              <a:gd name="connsiteY5175" fmla="*/ 152838 h 6858000"/>
              <a:gd name="connsiteX5176" fmla="*/ 1595514 w 6781956"/>
              <a:gd name="connsiteY5176" fmla="*/ 160976 h 6858000"/>
              <a:gd name="connsiteX5177" fmla="*/ 1596543 w 6781956"/>
              <a:gd name="connsiteY5177" fmla="*/ 181901 h 6858000"/>
              <a:gd name="connsiteX5178" fmla="*/ 1600661 w 6781956"/>
              <a:gd name="connsiteY5178" fmla="*/ 210963 h 6858000"/>
              <a:gd name="connsiteX5179" fmla="*/ 1603750 w 6781956"/>
              <a:gd name="connsiteY5179" fmla="*/ 215615 h 6858000"/>
              <a:gd name="connsiteX5180" fmla="*/ 1607868 w 6781956"/>
              <a:gd name="connsiteY5180" fmla="*/ 236540 h 6858000"/>
              <a:gd name="connsiteX5181" fmla="*/ 1621252 w 6781956"/>
              <a:gd name="connsiteY5181" fmla="*/ 270253 h 6858000"/>
              <a:gd name="connsiteX5182" fmla="*/ 1625370 w 6781956"/>
              <a:gd name="connsiteY5182" fmla="*/ 299317 h 6858000"/>
              <a:gd name="connsiteX5183" fmla="*/ 1625370 w 6781956"/>
              <a:gd name="connsiteY5183" fmla="*/ 315592 h 6858000"/>
              <a:gd name="connsiteX5184" fmla="*/ 1631547 w 6781956"/>
              <a:gd name="connsiteY5184" fmla="*/ 323729 h 6858000"/>
              <a:gd name="connsiteX5185" fmla="*/ 1631547 w 6781956"/>
              <a:gd name="connsiteY5185" fmla="*/ 340006 h 6858000"/>
              <a:gd name="connsiteX5186" fmla="*/ 1637724 w 6781956"/>
              <a:gd name="connsiteY5186" fmla="*/ 352793 h 6858000"/>
              <a:gd name="connsiteX5187" fmla="*/ 1643900 w 6781956"/>
              <a:gd name="connsiteY5187" fmla="*/ 365581 h 6858000"/>
              <a:gd name="connsiteX5188" fmla="*/ 1644930 w 6781956"/>
              <a:gd name="connsiteY5188" fmla="*/ 399294 h 6858000"/>
              <a:gd name="connsiteX5189" fmla="*/ 1655226 w 6781956"/>
              <a:gd name="connsiteY5189" fmla="*/ 441146 h 6858000"/>
              <a:gd name="connsiteX5190" fmla="*/ 1655226 w 6781956"/>
              <a:gd name="connsiteY5190" fmla="*/ 445795 h 6858000"/>
              <a:gd name="connsiteX5191" fmla="*/ 1658313 w 6781956"/>
              <a:gd name="connsiteY5191" fmla="*/ 450446 h 6858000"/>
              <a:gd name="connsiteX5192" fmla="*/ 1662432 w 6781956"/>
              <a:gd name="connsiteY5192" fmla="*/ 471370 h 6858000"/>
              <a:gd name="connsiteX5193" fmla="*/ 1663461 w 6781956"/>
              <a:gd name="connsiteY5193" fmla="*/ 500435 h 6858000"/>
              <a:gd name="connsiteX5194" fmla="*/ 1669638 w 6781956"/>
              <a:gd name="connsiteY5194" fmla="*/ 503922 h 6858000"/>
              <a:gd name="connsiteX5195" fmla="*/ 1667580 w 6781956"/>
              <a:gd name="connsiteY5195" fmla="*/ 529497 h 6858000"/>
              <a:gd name="connsiteX5196" fmla="*/ 1679933 w 6781956"/>
              <a:gd name="connsiteY5196" fmla="*/ 529497 h 6858000"/>
              <a:gd name="connsiteX5197" fmla="*/ 1683023 w 6781956"/>
              <a:gd name="connsiteY5197" fmla="*/ 508572 h 6858000"/>
              <a:gd name="connsiteX5198" fmla="*/ 1679933 w 6781956"/>
              <a:gd name="connsiteY5198" fmla="*/ 500435 h 6858000"/>
              <a:gd name="connsiteX5199" fmla="*/ 1676845 w 6781956"/>
              <a:gd name="connsiteY5199" fmla="*/ 495784 h 6858000"/>
              <a:gd name="connsiteX5200" fmla="*/ 1669638 w 6781956"/>
              <a:gd name="connsiteY5200" fmla="*/ 445795 h 6858000"/>
              <a:gd name="connsiteX5201" fmla="*/ 1669638 w 6781956"/>
              <a:gd name="connsiteY5201" fmla="*/ 441146 h 6858000"/>
              <a:gd name="connsiteX5202" fmla="*/ 1666550 w 6781956"/>
              <a:gd name="connsiteY5202" fmla="*/ 436494 h 6858000"/>
              <a:gd name="connsiteX5203" fmla="*/ 1662432 w 6781956"/>
              <a:gd name="connsiteY5203" fmla="*/ 402781 h 6858000"/>
              <a:gd name="connsiteX5204" fmla="*/ 1659343 w 6781956"/>
              <a:gd name="connsiteY5204" fmla="*/ 398132 h 6858000"/>
              <a:gd name="connsiteX5205" fmla="*/ 1655226 w 6781956"/>
              <a:gd name="connsiteY5205" fmla="*/ 377205 h 6858000"/>
              <a:gd name="connsiteX5206" fmla="*/ 1640813 w 6781956"/>
              <a:gd name="connsiteY5206" fmla="*/ 310941 h 6858000"/>
              <a:gd name="connsiteX5207" fmla="*/ 1633605 w 6781956"/>
              <a:gd name="connsiteY5207" fmla="*/ 286529 h 6858000"/>
              <a:gd name="connsiteX5208" fmla="*/ 1633605 w 6781956"/>
              <a:gd name="connsiteY5208" fmla="*/ 273741 h 6858000"/>
              <a:gd name="connsiteX5209" fmla="*/ 1627428 w 6781956"/>
              <a:gd name="connsiteY5209" fmla="*/ 265604 h 6858000"/>
              <a:gd name="connsiteX5210" fmla="*/ 1624340 w 6781956"/>
              <a:gd name="connsiteY5210" fmla="*/ 252815 h 6858000"/>
              <a:gd name="connsiteX5211" fmla="*/ 1618163 w 6781956"/>
              <a:gd name="connsiteY5211" fmla="*/ 244677 h 6858000"/>
              <a:gd name="connsiteX5212" fmla="*/ 1610957 w 6781956"/>
              <a:gd name="connsiteY5212" fmla="*/ 190039 h 6858000"/>
              <a:gd name="connsiteX5213" fmla="*/ 1603750 w 6781956"/>
              <a:gd name="connsiteY5213" fmla="*/ 165626 h 6858000"/>
              <a:gd name="connsiteX5214" fmla="*/ 1600661 w 6781956"/>
              <a:gd name="connsiteY5214" fmla="*/ 149350 h 6858000"/>
              <a:gd name="connsiteX5215" fmla="*/ 1594485 w 6781956"/>
              <a:gd name="connsiteY5215" fmla="*/ 133074 h 6858000"/>
              <a:gd name="connsiteX5216" fmla="*/ 1593455 w 6781956"/>
              <a:gd name="connsiteY5216" fmla="*/ 112149 h 6858000"/>
              <a:gd name="connsiteX5217" fmla="*/ 1587277 w 6781956"/>
              <a:gd name="connsiteY5217" fmla="*/ 104011 h 6858000"/>
              <a:gd name="connsiteX5218" fmla="*/ 1580071 w 6781956"/>
              <a:gd name="connsiteY5218" fmla="*/ 66810 h 6858000"/>
              <a:gd name="connsiteX5219" fmla="*/ 1580071 w 6781956"/>
              <a:gd name="connsiteY5219" fmla="*/ 58672 h 6858000"/>
              <a:gd name="connsiteX5220" fmla="*/ 1572864 w 6781956"/>
              <a:gd name="connsiteY5220" fmla="*/ 21472 h 6858000"/>
              <a:gd name="connsiteX5221" fmla="*/ 1565952 w 6781956"/>
              <a:gd name="connsiteY5221" fmla="*/ 1403 h 6858000"/>
              <a:gd name="connsiteX5222" fmla="*/ 6781956 w 6781956"/>
              <a:gd name="connsiteY5222" fmla="*/ 1403 h 6858000"/>
              <a:gd name="connsiteX5223" fmla="*/ 6781956 w 6781956"/>
              <a:gd name="connsiteY5223" fmla="*/ 6858000 h 6858000"/>
              <a:gd name="connsiteX5224" fmla="*/ 438508 w 6781956"/>
              <a:gd name="connsiteY5224" fmla="*/ 6858000 h 6858000"/>
              <a:gd name="connsiteX5225" fmla="*/ 482613 w 6781956"/>
              <a:gd name="connsiteY5225" fmla="*/ 6795534 h 6858000"/>
              <a:gd name="connsiteX5226" fmla="*/ 492908 w 6781956"/>
              <a:gd name="connsiteY5226" fmla="*/ 6765309 h 6858000"/>
              <a:gd name="connsiteX5227" fmla="*/ 504233 w 6781956"/>
              <a:gd name="connsiteY5227" fmla="*/ 6754847 h 6858000"/>
              <a:gd name="connsiteX5228" fmla="*/ 526882 w 6781956"/>
              <a:gd name="connsiteY5228" fmla="*/ 6721133 h 6858000"/>
              <a:gd name="connsiteX5229" fmla="*/ 533059 w 6781956"/>
              <a:gd name="connsiteY5229" fmla="*/ 6719970 h 6858000"/>
              <a:gd name="connsiteX5230" fmla="*/ 541295 w 6781956"/>
              <a:gd name="connsiteY5230" fmla="*/ 6694394 h 6858000"/>
              <a:gd name="connsiteX5231" fmla="*/ 561884 w 6781956"/>
              <a:gd name="connsiteY5231" fmla="*/ 6653706 h 6858000"/>
              <a:gd name="connsiteX5232" fmla="*/ 541295 w 6781956"/>
              <a:gd name="connsiteY5232" fmla="*/ 6682770 h 6858000"/>
              <a:gd name="connsiteX5233" fmla="*/ 536147 w 6781956"/>
              <a:gd name="connsiteY5233" fmla="*/ 6692071 h 6858000"/>
              <a:gd name="connsiteX5234" fmla="*/ 532028 w 6781956"/>
              <a:gd name="connsiteY5234" fmla="*/ 6689745 h 6858000"/>
              <a:gd name="connsiteX5235" fmla="*/ 520704 w 6781956"/>
              <a:gd name="connsiteY5235" fmla="*/ 6711833 h 6858000"/>
              <a:gd name="connsiteX5236" fmla="*/ 491878 w 6781956"/>
              <a:gd name="connsiteY5236" fmla="*/ 6746709 h 6858000"/>
              <a:gd name="connsiteX5237" fmla="*/ 488790 w 6781956"/>
              <a:gd name="connsiteY5237" fmla="*/ 6762984 h 6858000"/>
              <a:gd name="connsiteX5238" fmla="*/ 480554 w 6781956"/>
              <a:gd name="connsiteY5238" fmla="*/ 6768797 h 6858000"/>
              <a:gd name="connsiteX5239" fmla="*/ 447610 w 6781956"/>
              <a:gd name="connsiteY5239" fmla="*/ 6831573 h 6858000"/>
              <a:gd name="connsiteX5240" fmla="*/ 427405 w 6781956"/>
              <a:gd name="connsiteY5240" fmla="*/ 6851335 h 6858000"/>
              <a:gd name="connsiteX5241" fmla="*/ 426185 w 6781956"/>
              <a:gd name="connsiteY5241" fmla="*/ 6858000 h 6858000"/>
              <a:gd name="connsiteX5242" fmla="*/ 406965 w 6781956"/>
              <a:gd name="connsiteY5242" fmla="*/ 6858000 h 6858000"/>
              <a:gd name="connsiteX5243" fmla="*/ 428047 w 6781956"/>
              <a:gd name="connsiteY5243" fmla="*/ 6825761 h 6858000"/>
              <a:gd name="connsiteX5244" fmla="*/ 439372 w 6781956"/>
              <a:gd name="connsiteY5244" fmla="*/ 6815298 h 6858000"/>
              <a:gd name="connsiteX5245" fmla="*/ 438343 w 6781956"/>
              <a:gd name="connsiteY5245" fmla="*/ 6808323 h 6858000"/>
              <a:gd name="connsiteX5246" fmla="*/ 446579 w 6781956"/>
              <a:gd name="connsiteY5246" fmla="*/ 6802511 h 6858000"/>
              <a:gd name="connsiteX5247" fmla="*/ 451727 w 6781956"/>
              <a:gd name="connsiteY5247" fmla="*/ 6793210 h 6858000"/>
              <a:gd name="connsiteX5248" fmla="*/ 457903 w 6781956"/>
              <a:gd name="connsiteY5248" fmla="*/ 6792047 h 6858000"/>
              <a:gd name="connsiteX5249" fmla="*/ 456874 w 6781956"/>
              <a:gd name="connsiteY5249" fmla="*/ 6785072 h 6858000"/>
              <a:gd name="connsiteX5250" fmla="*/ 495996 w 6781956"/>
              <a:gd name="connsiteY5250" fmla="*/ 6719970 h 6858000"/>
              <a:gd name="connsiteX5251" fmla="*/ 506290 w 6781956"/>
              <a:gd name="connsiteY5251" fmla="*/ 6689745 h 6858000"/>
              <a:gd name="connsiteX5252" fmla="*/ 445550 w 6781956"/>
              <a:gd name="connsiteY5252" fmla="*/ 6775771 h 6858000"/>
              <a:gd name="connsiteX5253" fmla="*/ 397345 w 6781956"/>
              <a:gd name="connsiteY5253" fmla="*/ 6858000 h 6858000"/>
              <a:gd name="connsiteX5254" fmla="*/ 361190 w 6781956"/>
              <a:gd name="connsiteY5254" fmla="*/ 6858000 h 6858000"/>
              <a:gd name="connsiteX5255" fmla="*/ 364220 w 6781956"/>
              <a:gd name="connsiteY5255" fmla="*/ 6842036 h 6858000"/>
              <a:gd name="connsiteX5256" fmla="*/ 367307 w 6781956"/>
              <a:gd name="connsiteY5256" fmla="*/ 6825761 h 6858000"/>
              <a:gd name="connsiteX5257" fmla="*/ 387897 w 6781956"/>
              <a:gd name="connsiteY5257" fmla="*/ 6796697 h 6858000"/>
              <a:gd name="connsiteX5258" fmla="*/ 400252 w 6781956"/>
              <a:gd name="connsiteY5258" fmla="*/ 6793210 h 6858000"/>
              <a:gd name="connsiteX5259" fmla="*/ 407459 w 6781956"/>
              <a:gd name="connsiteY5259" fmla="*/ 6779259 h 6858000"/>
              <a:gd name="connsiteX5260" fmla="*/ 413635 w 6781956"/>
              <a:gd name="connsiteY5260" fmla="*/ 6778097 h 6858000"/>
              <a:gd name="connsiteX5261" fmla="*/ 428048 w 6781956"/>
              <a:gd name="connsiteY5261" fmla="*/ 6751358 h 6858000"/>
              <a:gd name="connsiteX5262" fmla="*/ 447610 w 6781956"/>
              <a:gd name="connsiteY5262" fmla="*/ 6733921 h 6858000"/>
              <a:gd name="connsiteX5263" fmla="*/ 466141 w 6781956"/>
              <a:gd name="connsiteY5263" fmla="*/ 6697882 h 6858000"/>
              <a:gd name="connsiteX5264" fmla="*/ 472739 w 6781956"/>
              <a:gd name="connsiteY5264" fmla="*/ 6689891 h 6858000"/>
              <a:gd name="connsiteX5265" fmla="*/ 473863 w 6781956"/>
              <a:gd name="connsiteY5265" fmla="*/ 6692216 h 6858000"/>
              <a:gd name="connsiteX5266" fmla="*/ 478784 w 6781956"/>
              <a:gd name="connsiteY5266" fmla="*/ 6691725 h 6858000"/>
              <a:gd name="connsiteX5267" fmla="*/ 478543 w 6781956"/>
              <a:gd name="connsiteY5267" fmla="*/ 6682295 h 6858000"/>
              <a:gd name="connsiteX5268" fmla="*/ 481584 w 6781956"/>
              <a:gd name="connsiteY5268" fmla="*/ 6678119 h 6858000"/>
              <a:gd name="connsiteX5269" fmla="*/ 485701 w 6781956"/>
              <a:gd name="connsiteY5269" fmla="*/ 6650218 h 6858000"/>
              <a:gd name="connsiteX5270" fmla="*/ 506291 w 6781956"/>
              <a:gd name="connsiteY5270" fmla="*/ 6621155 h 6858000"/>
              <a:gd name="connsiteX5271" fmla="*/ 526882 w 6781956"/>
              <a:gd name="connsiteY5271" fmla="*/ 6611855 h 6858000"/>
              <a:gd name="connsiteX5272" fmla="*/ 525853 w 6781956"/>
              <a:gd name="connsiteY5272" fmla="*/ 6593254 h 6858000"/>
              <a:gd name="connsiteX5273" fmla="*/ 539236 w 6781956"/>
              <a:gd name="connsiteY5273" fmla="*/ 6578141 h 6858000"/>
              <a:gd name="connsiteX5274" fmla="*/ 544384 w 6781956"/>
              <a:gd name="connsiteY5274" fmla="*/ 6557215 h 6858000"/>
              <a:gd name="connsiteX5275" fmla="*/ 555709 w 6781956"/>
              <a:gd name="connsiteY5275" fmla="*/ 6546753 h 6858000"/>
              <a:gd name="connsiteX5276" fmla="*/ 576299 w 6781956"/>
              <a:gd name="connsiteY5276" fmla="*/ 6517690 h 6858000"/>
              <a:gd name="connsiteX5277" fmla="*/ 590710 w 6781956"/>
              <a:gd name="connsiteY5277" fmla="*/ 6490951 h 6858000"/>
              <a:gd name="connsiteX5278" fmla="*/ 624685 w 6781956"/>
              <a:gd name="connsiteY5278" fmla="*/ 6446776 h 6858000"/>
              <a:gd name="connsiteX5279" fmla="*/ 645276 w 6781956"/>
              <a:gd name="connsiteY5279" fmla="*/ 6406086 h 6858000"/>
              <a:gd name="connsiteX5280" fmla="*/ 653512 w 6781956"/>
              <a:gd name="connsiteY5280" fmla="*/ 6380511 h 6858000"/>
              <a:gd name="connsiteX5281" fmla="*/ 664836 w 6781956"/>
              <a:gd name="connsiteY5281" fmla="*/ 6370049 h 6858000"/>
              <a:gd name="connsiteX5282" fmla="*/ 688515 w 6781956"/>
              <a:gd name="connsiteY5282" fmla="*/ 6324709 h 6858000"/>
              <a:gd name="connsiteX5283" fmla="*/ 699840 w 6781956"/>
              <a:gd name="connsiteY5283" fmla="*/ 6302623 h 6858000"/>
              <a:gd name="connsiteX5284" fmla="*/ 718371 w 6781956"/>
              <a:gd name="connsiteY5284" fmla="*/ 6266583 h 6858000"/>
              <a:gd name="connsiteX5285" fmla="*/ 742051 w 6781956"/>
              <a:gd name="connsiteY5285" fmla="*/ 6221246 h 6858000"/>
              <a:gd name="connsiteX5286" fmla="*/ 765728 w 6781956"/>
              <a:gd name="connsiteY5286" fmla="*/ 6195670 h 6858000"/>
              <a:gd name="connsiteX5287" fmla="*/ 773964 w 6781956"/>
              <a:gd name="connsiteY5287" fmla="*/ 6170093 h 6858000"/>
              <a:gd name="connsiteX5288" fmla="*/ 788378 w 6781956"/>
              <a:gd name="connsiteY5288" fmla="*/ 6143356 h 6858000"/>
              <a:gd name="connsiteX5289" fmla="*/ 793525 w 6781956"/>
              <a:gd name="connsiteY5289" fmla="*/ 6122430 h 6858000"/>
              <a:gd name="connsiteX5290" fmla="*/ 808968 w 6781956"/>
              <a:gd name="connsiteY5290" fmla="*/ 6102667 h 6858000"/>
              <a:gd name="connsiteX5291" fmla="*/ 817204 w 6781956"/>
              <a:gd name="connsiteY5291" fmla="*/ 6065466 h 6858000"/>
              <a:gd name="connsiteX5292" fmla="*/ 836765 w 6781956"/>
              <a:gd name="connsiteY5292" fmla="*/ 6048027 h 6858000"/>
              <a:gd name="connsiteX5293" fmla="*/ 833677 w 6781956"/>
              <a:gd name="connsiteY5293" fmla="*/ 6032915 h 6858000"/>
              <a:gd name="connsiteX5294" fmla="*/ 855296 w 6781956"/>
              <a:gd name="connsiteY5294" fmla="*/ 6010828 h 6858000"/>
              <a:gd name="connsiteX5295" fmla="*/ 861473 w 6781956"/>
              <a:gd name="connsiteY5295" fmla="*/ 5978276 h 6858000"/>
              <a:gd name="connsiteX5296" fmla="*/ 888240 w 6781956"/>
              <a:gd name="connsiteY5296" fmla="*/ 5966650 h 6858000"/>
              <a:gd name="connsiteX5297" fmla="*/ 882063 w 6781956"/>
              <a:gd name="connsiteY5297" fmla="*/ 5999202 h 6858000"/>
              <a:gd name="connsiteX5298" fmla="*/ 867650 w 6781956"/>
              <a:gd name="connsiteY5298" fmla="*/ 6007339 h 6858000"/>
              <a:gd name="connsiteX5299" fmla="*/ 859415 w 6781956"/>
              <a:gd name="connsiteY5299" fmla="*/ 6032915 h 6858000"/>
              <a:gd name="connsiteX5300" fmla="*/ 870739 w 6781956"/>
              <a:gd name="connsiteY5300" fmla="*/ 6022452 h 6858000"/>
              <a:gd name="connsiteX5301" fmla="*/ 853237 w 6781956"/>
              <a:gd name="connsiteY5301" fmla="*/ 6046866 h 6858000"/>
              <a:gd name="connsiteX5302" fmla="*/ 852207 w 6781956"/>
              <a:gd name="connsiteY5302" fmla="*/ 6058491 h 6858000"/>
              <a:gd name="connsiteX5303" fmla="*/ 832647 w 6781956"/>
              <a:gd name="connsiteY5303" fmla="*/ 6075928 h 6858000"/>
              <a:gd name="connsiteX5304" fmla="*/ 830588 w 6781956"/>
              <a:gd name="connsiteY5304" fmla="*/ 6111968 h 6858000"/>
              <a:gd name="connsiteX5305" fmla="*/ 811027 w 6781956"/>
              <a:gd name="connsiteY5305" fmla="*/ 6129405 h 6858000"/>
              <a:gd name="connsiteX5306" fmla="*/ 812057 w 6781956"/>
              <a:gd name="connsiteY5306" fmla="*/ 6136379 h 6858000"/>
              <a:gd name="connsiteX5307" fmla="*/ 803821 w 6781956"/>
              <a:gd name="connsiteY5307" fmla="*/ 6142192 h 6858000"/>
              <a:gd name="connsiteX5308" fmla="*/ 798673 w 6781956"/>
              <a:gd name="connsiteY5308" fmla="*/ 6163119 h 6858000"/>
              <a:gd name="connsiteX5309" fmla="*/ 774994 w 6781956"/>
              <a:gd name="connsiteY5309" fmla="*/ 6208456 h 6858000"/>
              <a:gd name="connsiteX5310" fmla="*/ 767788 w 6781956"/>
              <a:gd name="connsiteY5310" fmla="*/ 6222407 h 6858000"/>
              <a:gd name="connsiteX5311" fmla="*/ 764700 w 6781956"/>
              <a:gd name="connsiteY5311" fmla="*/ 6238683 h 6858000"/>
              <a:gd name="connsiteX5312" fmla="*/ 745138 w 6781956"/>
              <a:gd name="connsiteY5312" fmla="*/ 6256122 h 6858000"/>
              <a:gd name="connsiteX5313" fmla="*/ 742051 w 6781956"/>
              <a:gd name="connsiteY5313" fmla="*/ 6272396 h 6858000"/>
              <a:gd name="connsiteX5314" fmla="*/ 730725 w 6781956"/>
              <a:gd name="connsiteY5314" fmla="*/ 6282858 h 6858000"/>
              <a:gd name="connsiteX5315" fmla="*/ 725578 w 6781956"/>
              <a:gd name="connsiteY5315" fmla="*/ 6303785 h 6858000"/>
              <a:gd name="connsiteX5316" fmla="*/ 712195 w 6781956"/>
              <a:gd name="connsiteY5316" fmla="*/ 6318898 h 6858000"/>
              <a:gd name="connsiteX5317" fmla="*/ 701898 w 6781956"/>
              <a:gd name="connsiteY5317" fmla="*/ 6349123 h 6858000"/>
              <a:gd name="connsiteX5318" fmla="*/ 716312 w 6781956"/>
              <a:gd name="connsiteY5318" fmla="*/ 6340985 h 6858000"/>
              <a:gd name="connsiteX5319" fmla="*/ 721005 w 6781956"/>
              <a:gd name="connsiteY5319" fmla="*/ 6340101 h 6858000"/>
              <a:gd name="connsiteX5320" fmla="*/ 720623 w 6781956"/>
              <a:gd name="connsiteY5320" fmla="*/ 6340676 h 6858000"/>
              <a:gd name="connsiteX5321" fmla="*/ 704988 w 6781956"/>
              <a:gd name="connsiteY5321" fmla="*/ 6383998 h 6858000"/>
              <a:gd name="connsiteX5322" fmla="*/ 693663 w 6781956"/>
              <a:gd name="connsiteY5322" fmla="*/ 6394462 h 6858000"/>
              <a:gd name="connsiteX5323" fmla="*/ 669983 w 6781956"/>
              <a:gd name="connsiteY5323" fmla="*/ 6439801 h 6858000"/>
              <a:gd name="connsiteX5324" fmla="*/ 656600 w 6781956"/>
              <a:gd name="connsiteY5324" fmla="*/ 6454914 h 6858000"/>
              <a:gd name="connsiteX5325" fmla="*/ 642187 w 6781956"/>
              <a:gd name="connsiteY5325" fmla="*/ 6463052 h 6858000"/>
              <a:gd name="connsiteX5326" fmla="*/ 627773 w 6781956"/>
              <a:gd name="connsiteY5326" fmla="*/ 6489790 h 6858000"/>
              <a:gd name="connsiteX5327" fmla="*/ 613360 w 6781956"/>
              <a:gd name="connsiteY5327" fmla="*/ 6516527 h 6858000"/>
              <a:gd name="connsiteX5328" fmla="*/ 605125 w 6781956"/>
              <a:gd name="connsiteY5328" fmla="*/ 6522341 h 6858000"/>
              <a:gd name="connsiteX5329" fmla="*/ 606153 w 6781956"/>
              <a:gd name="connsiteY5329" fmla="*/ 6529316 h 6858000"/>
              <a:gd name="connsiteX5330" fmla="*/ 601007 w 6781956"/>
              <a:gd name="connsiteY5330" fmla="*/ 6538616 h 6858000"/>
              <a:gd name="connsiteX5331" fmla="*/ 587623 w 6781956"/>
              <a:gd name="connsiteY5331" fmla="*/ 6553728 h 6858000"/>
              <a:gd name="connsiteX5332" fmla="*/ 576299 w 6781956"/>
              <a:gd name="connsiteY5332" fmla="*/ 6595580 h 6858000"/>
              <a:gd name="connsiteX5333" fmla="*/ 602036 w 6781956"/>
              <a:gd name="connsiteY5333" fmla="*/ 6564192 h 6858000"/>
              <a:gd name="connsiteX5334" fmla="*/ 607183 w 6781956"/>
              <a:gd name="connsiteY5334" fmla="*/ 6543265 h 6858000"/>
              <a:gd name="connsiteX5335" fmla="*/ 620567 w 6781956"/>
              <a:gd name="connsiteY5335" fmla="*/ 6528152 h 6858000"/>
              <a:gd name="connsiteX5336" fmla="*/ 633951 w 6781956"/>
              <a:gd name="connsiteY5336" fmla="*/ 6513041 h 6858000"/>
              <a:gd name="connsiteX5337" fmla="*/ 646305 w 6781956"/>
              <a:gd name="connsiteY5337" fmla="*/ 6478164 h 6858000"/>
              <a:gd name="connsiteX5338" fmla="*/ 652482 w 6781956"/>
              <a:gd name="connsiteY5338" fmla="*/ 6477001 h 6858000"/>
              <a:gd name="connsiteX5339" fmla="*/ 679250 w 6781956"/>
              <a:gd name="connsiteY5339" fmla="*/ 6435151 h 6858000"/>
              <a:gd name="connsiteX5340" fmla="*/ 689948 w 6781956"/>
              <a:gd name="connsiteY5340" fmla="*/ 6425611 h 6858000"/>
              <a:gd name="connsiteX5341" fmla="*/ 686456 w 6781956"/>
              <a:gd name="connsiteY5341" fmla="*/ 6430500 h 6858000"/>
              <a:gd name="connsiteX5342" fmla="*/ 649394 w 6781956"/>
              <a:gd name="connsiteY5342" fmla="*/ 6490951 h 6858000"/>
              <a:gd name="connsiteX5343" fmla="*/ 653315 w 6781956"/>
              <a:gd name="connsiteY5343" fmla="*/ 6491836 h 6858000"/>
              <a:gd name="connsiteX5344" fmla="*/ 638327 w 6781956"/>
              <a:gd name="connsiteY5344" fmla="*/ 6516674 h 6858000"/>
              <a:gd name="connsiteX5345" fmla="*/ 608213 w 6781956"/>
              <a:gd name="connsiteY5345" fmla="*/ 6563028 h 6858000"/>
              <a:gd name="connsiteX5346" fmla="*/ 578357 w 6781956"/>
              <a:gd name="connsiteY5346" fmla="*/ 6640918 h 6858000"/>
              <a:gd name="connsiteX5347" fmla="*/ 636010 w 6781956"/>
              <a:gd name="connsiteY5347" fmla="*/ 6551404 h 6858000"/>
              <a:gd name="connsiteX5348" fmla="*/ 678220 w 6781956"/>
              <a:gd name="connsiteY5348" fmla="*/ 6470027 h 6858000"/>
              <a:gd name="connsiteX5349" fmla="*/ 676999 w 6781956"/>
              <a:gd name="connsiteY5349" fmla="*/ 6469166 h 6858000"/>
              <a:gd name="connsiteX5350" fmla="*/ 682339 w 6781956"/>
              <a:gd name="connsiteY5350" fmla="*/ 6458401 h 6858000"/>
              <a:gd name="connsiteX5351" fmla="*/ 693663 w 6781956"/>
              <a:gd name="connsiteY5351" fmla="*/ 6447939 h 6858000"/>
              <a:gd name="connsiteX5352" fmla="*/ 698809 w 6781956"/>
              <a:gd name="connsiteY5352" fmla="*/ 6427012 h 6858000"/>
              <a:gd name="connsiteX5353" fmla="*/ 712195 w 6781956"/>
              <a:gd name="connsiteY5353" fmla="*/ 6411900 h 6858000"/>
              <a:gd name="connsiteX5354" fmla="*/ 720430 w 6781956"/>
              <a:gd name="connsiteY5354" fmla="*/ 6386324 h 6858000"/>
              <a:gd name="connsiteX5355" fmla="*/ 731754 w 6781956"/>
              <a:gd name="connsiteY5355" fmla="*/ 6375861 h 6858000"/>
              <a:gd name="connsiteX5356" fmla="*/ 749257 w 6781956"/>
              <a:gd name="connsiteY5356" fmla="*/ 6332847 h 6858000"/>
              <a:gd name="connsiteX5357" fmla="*/ 772935 w 6781956"/>
              <a:gd name="connsiteY5357" fmla="*/ 6287509 h 6858000"/>
              <a:gd name="connsiteX5358" fmla="*/ 787349 w 6781956"/>
              <a:gd name="connsiteY5358" fmla="*/ 6260771 h 6858000"/>
              <a:gd name="connsiteX5359" fmla="*/ 795584 w 6781956"/>
              <a:gd name="connsiteY5359" fmla="*/ 6254957 h 6858000"/>
              <a:gd name="connsiteX5360" fmla="*/ 809997 w 6781956"/>
              <a:gd name="connsiteY5360" fmla="*/ 6215433 h 6858000"/>
              <a:gd name="connsiteX5361" fmla="*/ 827500 w 6781956"/>
              <a:gd name="connsiteY5361" fmla="*/ 6191019 h 6858000"/>
              <a:gd name="connsiteX5362" fmla="*/ 835734 w 6781956"/>
              <a:gd name="connsiteY5362" fmla="*/ 6165443 h 6858000"/>
              <a:gd name="connsiteX5363" fmla="*/ 847060 w 6781956"/>
              <a:gd name="connsiteY5363" fmla="*/ 6154982 h 6858000"/>
              <a:gd name="connsiteX5364" fmla="*/ 866620 w 6781956"/>
              <a:gd name="connsiteY5364" fmla="*/ 6107316 h 6858000"/>
              <a:gd name="connsiteX5365" fmla="*/ 887210 w 6781956"/>
              <a:gd name="connsiteY5365" fmla="*/ 6078253 h 6858000"/>
              <a:gd name="connsiteX5366" fmla="*/ 899565 w 6781956"/>
              <a:gd name="connsiteY5366" fmla="*/ 6043378 h 6858000"/>
              <a:gd name="connsiteX5367" fmla="*/ 910890 w 6781956"/>
              <a:gd name="connsiteY5367" fmla="*/ 6021290 h 6858000"/>
              <a:gd name="connsiteX5368" fmla="*/ 937380 w 6781956"/>
              <a:gd name="connsiteY5368" fmla="*/ 5969005 h 6858000"/>
              <a:gd name="connsiteX5369" fmla="*/ 942804 w 6781956"/>
              <a:gd name="connsiteY5369" fmla="*/ 5960839 h 6858000"/>
              <a:gd name="connsiteX5370" fmla="*/ 946776 w 6781956"/>
              <a:gd name="connsiteY5370" fmla="*/ 5951079 h 6858000"/>
              <a:gd name="connsiteX5371" fmla="*/ 969572 w 6781956"/>
              <a:gd name="connsiteY5371" fmla="*/ 5908524 h 6858000"/>
              <a:gd name="connsiteX5372" fmla="*/ 975749 w 6781956"/>
              <a:gd name="connsiteY5372" fmla="*/ 5907362 h 6858000"/>
              <a:gd name="connsiteX5373" fmla="*/ 979679 w 6781956"/>
              <a:gd name="connsiteY5373" fmla="*/ 5880730 h 6858000"/>
              <a:gd name="connsiteX5374" fmla="*/ 983041 w 6781956"/>
              <a:gd name="connsiteY5374" fmla="*/ 5874293 h 6858000"/>
              <a:gd name="connsiteX5375" fmla="*/ 989776 w 6781956"/>
              <a:gd name="connsiteY5375" fmla="*/ 5863331 h 6858000"/>
              <a:gd name="connsiteX5376" fmla="*/ 997369 w 6781956"/>
              <a:gd name="connsiteY5376" fmla="*/ 5855048 h 6858000"/>
              <a:gd name="connsiteX5377" fmla="*/ 993405 w 6781956"/>
              <a:gd name="connsiteY5377" fmla="*/ 5852249 h 6858000"/>
              <a:gd name="connsiteX5378" fmla="*/ 1006294 w 6781956"/>
              <a:gd name="connsiteY5378" fmla="*/ 5824559 h 6858000"/>
              <a:gd name="connsiteX5379" fmla="*/ 1009722 w 6781956"/>
              <a:gd name="connsiteY5379" fmla="*/ 5820173 h 6858000"/>
              <a:gd name="connsiteX5380" fmla="*/ 1025552 w 6781956"/>
              <a:gd name="connsiteY5380" fmla="*/ 5788202 h 6858000"/>
              <a:gd name="connsiteX5381" fmla="*/ 1034013 w 6781956"/>
              <a:gd name="connsiteY5381" fmla="*/ 5764384 h 6858000"/>
              <a:gd name="connsiteX5382" fmla="*/ 1035188 w 6781956"/>
              <a:gd name="connsiteY5382" fmla="*/ 5761764 h 6858000"/>
              <a:gd name="connsiteX5383" fmla="*/ 1050903 w 6781956"/>
              <a:gd name="connsiteY5383" fmla="*/ 5731820 h 6858000"/>
              <a:gd name="connsiteX5384" fmla="*/ 1052573 w 6781956"/>
              <a:gd name="connsiteY5384" fmla="*/ 5723019 h 6858000"/>
              <a:gd name="connsiteX5385" fmla="*/ 1065316 w 6781956"/>
              <a:gd name="connsiteY5385" fmla="*/ 5694618 h 6858000"/>
              <a:gd name="connsiteX5386" fmla="*/ 1065277 w 6781956"/>
              <a:gd name="connsiteY5386" fmla="*/ 5694351 h 6858000"/>
              <a:gd name="connsiteX5387" fmla="*/ 1076897 w 6781956"/>
              <a:gd name="connsiteY5387" fmla="*/ 5672530 h 6858000"/>
              <a:gd name="connsiteX5388" fmla="*/ 1098260 w 6781956"/>
              <a:gd name="connsiteY5388" fmla="*/ 5629517 h 6858000"/>
              <a:gd name="connsiteX5389" fmla="*/ 1100549 w 6781956"/>
              <a:gd name="connsiteY5389" fmla="*/ 5617459 h 6858000"/>
              <a:gd name="connsiteX5390" fmla="*/ 1113703 w 6781956"/>
              <a:gd name="connsiteY5390" fmla="*/ 5592315 h 6858000"/>
              <a:gd name="connsiteX5391" fmla="*/ 1118190 w 6781956"/>
              <a:gd name="connsiteY5391" fmla="*/ 5580802 h 6858000"/>
              <a:gd name="connsiteX5392" fmla="*/ 1136353 w 6781956"/>
              <a:gd name="connsiteY5392" fmla="*/ 5545814 h 6858000"/>
              <a:gd name="connsiteX5393" fmla="*/ 1139440 w 6781956"/>
              <a:gd name="connsiteY5393" fmla="*/ 5529539 h 6858000"/>
              <a:gd name="connsiteX5394" fmla="*/ 1156943 w 6781956"/>
              <a:gd name="connsiteY5394" fmla="*/ 5486526 h 6858000"/>
              <a:gd name="connsiteX5395" fmla="*/ 1163235 w 6781956"/>
              <a:gd name="connsiteY5395" fmla="*/ 5470183 h 6858000"/>
              <a:gd name="connsiteX5396" fmla="*/ 1171099 w 6781956"/>
              <a:gd name="connsiteY5396" fmla="*/ 5452522 h 6858000"/>
              <a:gd name="connsiteX5397" fmla="*/ 1186799 w 6781956"/>
              <a:gd name="connsiteY5397" fmla="*/ 5408636 h 6858000"/>
              <a:gd name="connsiteX5398" fmla="*/ 1189078 w 6781956"/>
              <a:gd name="connsiteY5398" fmla="*/ 5399368 h 6858000"/>
              <a:gd name="connsiteX5399" fmla="*/ 1202241 w 6781956"/>
              <a:gd name="connsiteY5399" fmla="*/ 5369110 h 6858000"/>
              <a:gd name="connsiteX5400" fmla="*/ 1202884 w 6781956"/>
              <a:gd name="connsiteY5400" fmla="*/ 5364751 h 6858000"/>
              <a:gd name="connsiteX5401" fmla="*/ 1201460 w 6781956"/>
              <a:gd name="connsiteY5401" fmla="*/ 5362523 h 6858000"/>
              <a:gd name="connsiteX5402" fmla="*/ 1201901 w 6781956"/>
              <a:gd name="connsiteY5402" fmla="*/ 5361356 h 6858000"/>
              <a:gd name="connsiteX5403" fmla="*/ 1205331 w 6781956"/>
              <a:gd name="connsiteY5403" fmla="*/ 5357484 h 6858000"/>
              <a:gd name="connsiteX5404" fmla="*/ 1209448 w 6781956"/>
              <a:gd name="connsiteY5404" fmla="*/ 5356322 h 6858000"/>
              <a:gd name="connsiteX5405" fmla="*/ 1214596 w 6781956"/>
              <a:gd name="connsiteY5405" fmla="*/ 5335396 h 6858000"/>
              <a:gd name="connsiteX5406" fmla="*/ 1215094 w 6781956"/>
              <a:gd name="connsiteY5406" fmla="*/ 5333874 h 6858000"/>
              <a:gd name="connsiteX5407" fmla="*/ 1216654 w 6781956"/>
              <a:gd name="connsiteY5407" fmla="*/ 5330747 h 6858000"/>
              <a:gd name="connsiteX5408" fmla="*/ 1219203 w 6781956"/>
              <a:gd name="connsiteY5408" fmla="*/ 5321329 h 6858000"/>
              <a:gd name="connsiteX5409" fmla="*/ 1237131 w 6781956"/>
              <a:gd name="connsiteY5409" fmla="*/ 5266594 h 6858000"/>
              <a:gd name="connsiteX5410" fmla="*/ 1247539 w 6781956"/>
              <a:gd name="connsiteY5410" fmla="*/ 5241231 h 6858000"/>
              <a:gd name="connsiteX5411" fmla="*/ 1252087 w 6781956"/>
              <a:gd name="connsiteY5411" fmla="*/ 5228222 h 6858000"/>
              <a:gd name="connsiteX5412" fmla="*/ 1252559 w 6781956"/>
              <a:gd name="connsiteY5412" fmla="*/ 5227136 h 6858000"/>
              <a:gd name="connsiteX5413" fmla="*/ 1261952 w 6781956"/>
              <a:gd name="connsiteY5413" fmla="*/ 5202868 h 6858000"/>
              <a:gd name="connsiteX5414" fmla="*/ 1262687 w 6781956"/>
              <a:gd name="connsiteY5414" fmla="*/ 5197894 h 6858000"/>
              <a:gd name="connsiteX5415" fmla="*/ 1272377 w 6781956"/>
              <a:gd name="connsiteY5415" fmla="*/ 5170172 h 6858000"/>
              <a:gd name="connsiteX5416" fmla="*/ 1277017 w 6781956"/>
              <a:gd name="connsiteY5416" fmla="*/ 5154661 h 6858000"/>
              <a:gd name="connsiteX5417" fmla="*/ 1280484 w 6781956"/>
              <a:gd name="connsiteY5417" fmla="*/ 5148229 h 6858000"/>
              <a:gd name="connsiteX5418" fmla="*/ 1281134 w 6781956"/>
              <a:gd name="connsiteY5418" fmla="*/ 5140901 h 6858000"/>
              <a:gd name="connsiteX5419" fmla="*/ 1283781 w 6781956"/>
              <a:gd name="connsiteY5419" fmla="*/ 5132054 h 6858000"/>
              <a:gd name="connsiteX5420" fmla="*/ 1290779 w 6781956"/>
              <a:gd name="connsiteY5420" fmla="*/ 5118003 h 6858000"/>
              <a:gd name="connsiteX5421" fmla="*/ 1300859 w 6781956"/>
              <a:gd name="connsiteY5421" fmla="*/ 5087048 h 6858000"/>
              <a:gd name="connsiteX5422" fmla="*/ 1301075 w 6781956"/>
              <a:gd name="connsiteY5422" fmla="*/ 5086615 h 6858000"/>
              <a:gd name="connsiteX5423" fmla="*/ 1301069 w 6781956"/>
              <a:gd name="connsiteY5423" fmla="*/ 5086404 h 6858000"/>
              <a:gd name="connsiteX5424" fmla="*/ 1304550 w 6781956"/>
              <a:gd name="connsiteY5424" fmla="*/ 5075716 h 6858000"/>
              <a:gd name="connsiteX5425" fmla="*/ 1304779 w 6781956"/>
              <a:gd name="connsiteY5425" fmla="*/ 5074917 h 6858000"/>
              <a:gd name="connsiteX5426" fmla="*/ 1308281 w 6781956"/>
              <a:gd name="connsiteY5426" fmla="*/ 5073827 h 6858000"/>
              <a:gd name="connsiteX5427" fmla="*/ 1319606 w 6781956"/>
              <a:gd name="connsiteY5427" fmla="*/ 5031976 h 6858000"/>
              <a:gd name="connsiteX5428" fmla="*/ 1347403 w 6781956"/>
              <a:gd name="connsiteY5428" fmla="*/ 4947111 h 6858000"/>
              <a:gd name="connsiteX5429" fmla="*/ 1354222 w 6781956"/>
              <a:gd name="connsiteY5429" fmla="*/ 4916886 h 6858000"/>
              <a:gd name="connsiteX5430" fmla="*/ 1355632 w 6781956"/>
              <a:gd name="connsiteY5430" fmla="*/ 4909614 h 6858000"/>
              <a:gd name="connsiteX5431" fmla="*/ 1358213 w 6781956"/>
              <a:gd name="connsiteY5431" fmla="*/ 4900755 h 6858000"/>
              <a:gd name="connsiteX5432" fmla="*/ 1362390 w 6781956"/>
              <a:gd name="connsiteY5432" fmla="*/ 4882515 h 6858000"/>
              <a:gd name="connsiteX5433" fmla="*/ 1364904 w 6781956"/>
              <a:gd name="connsiteY5433" fmla="*/ 4874889 h 6858000"/>
              <a:gd name="connsiteX5434" fmla="*/ 1371081 w 6781956"/>
              <a:gd name="connsiteY5434" fmla="*/ 4858760 h 6858000"/>
              <a:gd name="connsiteX5435" fmla="*/ 1389613 w 6781956"/>
              <a:gd name="connsiteY5435" fmla="*/ 4802957 h 6858000"/>
              <a:gd name="connsiteX5436" fmla="*/ 1388583 w 6781956"/>
              <a:gd name="connsiteY5436" fmla="*/ 4795982 h 6858000"/>
              <a:gd name="connsiteX5437" fmla="*/ 1407114 w 6781956"/>
              <a:gd name="connsiteY5437" fmla="*/ 4740181 h 6858000"/>
              <a:gd name="connsiteX5438" fmla="*/ 1406084 w 6781956"/>
              <a:gd name="connsiteY5438" fmla="*/ 4733206 h 6858000"/>
              <a:gd name="connsiteX5439" fmla="*/ 1415479 w 6781956"/>
              <a:gd name="connsiteY5439" fmla="*/ 4706903 h 6858000"/>
              <a:gd name="connsiteX5440" fmla="*/ 1417930 w 6781956"/>
              <a:gd name="connsiteY5440" fmla="*/ 4694496 h 6858000"/>
              <a:gd name="connsiteX5441" fmla="*/ 1419340 w 6781956"/>
              <a:gd name="connsiteY5441" fmla="*/ 4689756 h 6858000"/>
              <a:gd name="connsiteX5442" fmla="*/ 1420902 w 6781956"/>
              <a:gd name="connsiteY5442" fmla="*/ 4683414 h 6858000"/>
              <a:gd name="connsiteX5443" fmla="*/ 1423329 w 6781956"/>
              <a:gd name="connsiteY5443" fmla="*/ 4677840 h 6858000"/>
              <a:gd name="connsiteX5444" fmla="*/ 1428734 w 6781956"/>
              <a:gd name="connsiteY5444" fmla="*/ 4668104 h 6858000"/>
              <a:gd name="connsiteX5445" fmla="*/ 1425168 w 6781956"/>
              <a:gd name="connsiteY5445" fmla="*/ 4666090 h 6858000"/>
              <a:gd name="connsiteX5446" fmla="*/ 1426061 w 6781956"/>
              <a:gd name="connsiteY5446" fmla="*/ 4662460 h 6858000"/>
              <a:gd name="connsiteX5447" fmla="*/ 1428477 w 6781956"/>
              <a:gd name="connsiteY5447" fmla="*/ 4656914 h 6858000"/>
              <a:gd name="connsiteX5448" fmla="*/ 1433882 w 6781956"/>
              <a:gd name="connsiteY5448" fmla="*/ 4647178 h 6858000"/>
              <a:gd name="connsiteX5449" fmla="*/ 1445206 w 6781956"/>
              <a:gd name="connsiteY5449" fmla="*/ 4605327 h 6858000"/>
              <a:gd name="connsiteX5450" fmla="*/ 1450353 w 6781956"/>
              <a:gd name="connsiteY5450" fmla="*/ 4584402 h 6858000"/>
              <a:gd name="connsiteX5451" fmla="*/ 1458590 w 6781956"/>
              <a:gd name="connsiteY5451" fmla="*/ 4558827 h 6858000"/>
              <a:gd name="connsiteX5452" fmla="*/ 1462402 w 6781956"/>
              <a:gd name="connsiteY5452" fmla="*/ 4544071 h 6858000"/>
              <a:gd name="connsiteX5453" fmla="*/ 1463737 w 6781956"/>
              <a:gd name="connsiteY5453" fmla="*/ 4541389 h 6858000"/>
              <a:gd name="connsiteX5454" fmla="*/ 1463503 w 6781956"/>
              <a:gd name="connsiteY5454" fmla="*/ 4539804 h 6858000"/>
              <a:gd name="connsiteX5455" fmla="*/ 1472709 w 6781956"/>
              <a:gd name="connsiteY5455" fmla="*/ 4504164 h 6858000"/>
              <a:gd name="connsiteX5456" fmla="*/ 1473518 w 6781956"/>
              <a:gd name="connsiteY5456" fmla="*/ 4501716 h 6858000"/>
              <a:gd name="connsiteX5457" fmla="*/ 1481239 w 6781956"/>
              <a:gd name="connsiteY5457" fmla="*/ 4478611 h 6858000"/>
              <a:gd name="connsiteX5458" fmla="*/ 1484327 w 6781956"/>
              <a:gd name="connsiteY5458" fmla="*/ 4462336 h 6858000"/>
              <a:gd name="connsiteX5459" fmla="*/ 1492564 w 6781956"/>
              <a:gd name="connsiteY5459" fmla="*/ 4436760 h 6858000"/>
              <a:gd name="connsiteX5460" fmla="*/ 1491534 w 6781956"/>
              <a:gd name="connsiteY5460" fmla="*/ 4429785 h 6858000"/>
              <a:gd name="connsiteX5461" fmla="*/ 1501058 w 6781956"/>
              <a:gd name="connsiteY5461" fmla="*/ 4390406 h 6858000"/>
              <a:gd name="connsiteX5462" fmla="*/ 1503418 w 6781956"/>
              <a:gd name="connsiteY5462" fmla="*/ 4380045 h 6858000"/>
              <a:gd name="connsiteX5463" fmla="*/ 1505948 w 6781956"/>
              <a:gd name="connsiteY5463" fmla="*/ 4375147 h 6858000"/>
              <a:gd name="connsiteX5464" fmla="*/ 1505819 w 6781956"/>
              <a:gd name="connsiteY5464" fmla="*/ 4370351 h 6858000"/>
              <a:gd name="connsiteX5465" fmla="*/ 1505694 w 6781956"/>
              <a:gd name="connsiteY5465" fmla="*/ 4370050 h 6858000"/>
              <a:gd name="connsiteX5466" fmla="*/ 1509036 w 6781956"/>
              <a:gd name="connsiteY5466" fmla="*/ 4355383 h 6858000"/>
              <a:gd name="connsiteX5467" fmla="*/ 1511468 w 6781956"/>
              <a:gd name="connsiteY5467" fmla="*/ 4344395 h 6858000"/>
              <a:gd name="connsiteX5468" fmla="*/ 1513926 w 6781956"/>
              <a:gd name="connsiteY5468" fmla="*/ 4335475 h 6858000"/>
              <a:gd name="connsiteX5469" fmla="*/ 1521391 w 6781956"/>
              <a:gd name="connsiteY5469" fmla="*/ 4305394 h 6858000"/>
              <a:gd name="connsiteX5470" fmla="*/ 1524162 w 6781956"/>
              <a:gd name="connsiteY5470" fmla="*/ 4286613 h 6858000"/>
              <a:gd name="connsiteX5471" fmla="*/ 1524478 w 6781956"/>
              <a:gd name="connsiteY5471" fmla="*/ 4285631 h 6858000"/>
              <a:gd name="connsiteX5472" fmla="*/ 1524736 w 6781956"/>
              <a:gd name="connsiteY5472" fmla="*/ 4282730 h 6858000"/>
              <a:gd name="connsiteX5473" fmla="*/ 1525508 w 6781956"/>
              <a:gd name="connsiteY5473" fmla="*/ 4277493 h 6858000"/>
              <a:gd name="connsiteX5474" fmla="*/ 1527568 w 6781956"/>
              <a:gd name="connsiteY5474" fmla="*/ 4272844 h 6858000"/>
              <a:gd name="connsiteX5475" fmla="*/ 1526538 w 6781956"/>
              <a:gd name="connsiteY5475" fmla="*/ 4265869 h 6858000"/>
              <a:gd name="connsiteX5476" fmla="*/ 1533230 w 6781956"/>
              <a:gd name="connsiteY5476" fmla="*/ 4244216 h 6858000"/>
              <a:gd name="connsiteX5477" fmla="*/ 1533362 w 6781956"/>
              <a:gd name="connsiteY5477" fmla="*/ 4238425 h 6858000"/>
              <a:gd name="connsiteX5478" fmla="*/ 1536832 w 6781956"/>
              <a:gd name="connsiteY5478" fmla="*/ 4232155 h 6858000"/>
              <a:gd name="connsiteX5479" fmla="*/ 1533549 w 6781956"/>
              <a:gd name="connsiteY5479" fmla="*/ 4230301 h 6858000"/>
              <a:gd name="connsiteX5480" fmla="*/ 1533595 w 6781956"/>
              <a:gd name="connsiteY5480" fmla="*/ 4228240 h 6858000"/>
              <a:gd name="connsiteX5481" fmla="*/ 1537862 w 6781956"/>
              <a:gd name="connsiteY5481" fmla="*/ 4220530 h 6858000"/>
              <a:gd name="connsiteX5482" fmla="*/ 1541981 w 6781956"/>
              <a:gd name="connsiteY5482" fmla="*/ 4192628 h 6858000"/>
              <a:gd name="connsiteX5483" fmla="*/ 1558452 w 6781956"/>
              <a:gd name="connsiteY5483" fmla="*/ 4129852 h 6858000"/>
              <a:gd name="connsiteX5484" fmla="*/ 1563601 w 6781956"/>
              <a:gd name="connsiteY5484" fmla="*/ 4120553 h 6858000"/>
              <a:gd name="connsiteX5485" fmla="*/ 1559482 w 6781956"/>
              <a:gd name="connsiteY5485" fmla="*/ 4118227 h 6858000"/>
              <a:gd name="connsiteX5486" fmla="*/ 1564631 w 6781956"/>
              <a:gd name="connsiteY5486" fmla="*/ 4108927 h 6858000"/>
              <a:gd name="connsiteX5487" fmla="*/ 1566688 w 6781956"/>
              <a:gd name="connsiteY5487" fmla="*/ 4085676 h 6858000"/>
              <a:gd name="connsiteX5488" fmla="*/ 1571836 w 6781956"/>
              <a:gd name="connsiteY5488" fmla="*/ 4076375 h 6858000"/>
              <a:gd name="connsiteX5489" fmla="*/ 1570807 w 6781956"/>
              <a:gd name="connsiteY5489" fmla="*/ 4069401 h 6858000"/>
              <a:gd name="connsiteX5490" fmla="*/ 1586249 w 6781956"/>
              <a:gd name="connsiteY5490" fmla="*/ 4018250 h 6858000"/>
              <a:gd name="connsiteX5491" fmla="*/ 1591397 w 6781956"/>
              <a:gd name="connsiteY5491" fmla="*/ 3978723 h 6858000"/>
              <a:gd name="connsiteX5492" fmla="*/ 1590368 w 6781956"/>
              <a:gd name="connsiteY5492" fmla="*/ 3971748 h 6858000"/>
              <a:gd name="connsiteX5493" fmla="*/ 1599633 w 6781956"/>
              <a:gd name="connsiteY5493" fmla="*/ 3922921 h 6858000"/>
              <a:gd name="connsiteX5494" fmla="*/ 1602721 w 6781956"/>
              <a:gd name="connsiteY5494" fmla="*/ 3906646 h 6858000"/>
              <a:gd name="connsiteX5495" fmla="*/ 1607869 w 6781956"/>
              <a:gd name="connsiteY5495" fmla="*/ 3897345 h 6858000"/>
              <a:gd name="connsiteX5496" fmla="*/ 1604781 w 6781956"/>
              <a:gd name="connsiteY5496" fmla="*/ 3882234 h 6858000"/>
              <a:gd name="connsiteX5497" fmla="*/ 1610958 w 6781956"/>
              <a:gd name="connsiteY5497" fmla="*/ 3849682 h 6858000"/>
              <a:gd name="connsiteX5498" fmla="*/ 1616106 w 6781956"/>
              <a:gd name="connsiteY5498" fmla="*/ 3840382 h 6858000"/>
              <a:gd name="connsiteX5499" fmla="*/ 1611988 w 6781956"/>
              <a:gd name="connsiteY5499" fmla="*/ 3838056 h 6858000"/>
              <a:gd name="connsiteX5500" fmla="*/ 1617134 w 6781956"/>
              <a:gd name="connsiteY5500" fmla="*/ 3828758 h 6858000"/>
              <a:gd name="connsiteX5501" fmla="*/ 1613017 w 6781956"/>
              <a:gd name="connsiteY5501" fmla="*/ 3826432 h 6858000"/>
              <a:gd name="connsiteX5502" fmla="*/ 1618164 w 6781956"/>
              <a:gd name="connsiteY5502" fmla="*/ 3817132 h 6858000"/>
              <a:gd name="connsiteX5503" fmla="*/ 1624341 w 6781956"/>
              <a:gd name="connsiteY5503" fmla="*/ 3753193 h 6858000"/>
              <a:gd name="connsiteX5504" fmla="*/ 1629489 w 6781956"/>
              <a:gd name="connsiteY5504" fmla="*/ 3732267 h 6858000"/>
              <a:gd name="connsiteX5505" fmla="*/ 1640814 w 6781956"/>
              <a:gd name="connsiteY5505" fmla="*/ 3659028 h 6858000"/>
              <a:gd name="connsiteX5506" fmla="*/ 1644931 w 6781956"/>
              <a:gd name="connsiteY5506" fmla="*/ 3631127 h 6858000"/>
              <a:gd name="connsiteX5507" fmla="*/ 1643901 w 6781956"/>
              <a:gd name="connsiteY5507" fmla="*/ 3624151 h 6858000"/>
              <a:gd name="connsiteX5508" fmla="*/ 1654197 w 6781956"/>
              <a:gd name="connsiteY5508" fmla="*/ 3563700 h 6858000"/>
              <a:gd name="connsiteX5509" fmla="*/ 1659344 w 6781956"/>
              <a:gd name="connsiteY5509" fmla="*/ 3524175 h 6858000"/>
              <a:gd name="connsiteX5510" fmla="*/ 1658314 w 6781956"/>
              <a:gd name="connsiteY5510" fmla="*/ 3517199 h 6858000"/>
              <a:gd name="connsiteX5511" fmla="*/ 1669640 w 6781956"/>
              <a:gd name="connsiteY5511" fmla="*/ 3463722 h 6858000"/>
              <a:gd name="connsiteX5512" fmla="*/ 1674787 w 6781956"/>
              <a:gd name="connsiteY5512" fmla="*/ 3454422 h 6858000"/>
              <a:gd name="connsiteX5513" fmla="*/ 1671700 w 6781956"/>
              <a:gd name="connsiteY5513" fmla="*/ 3439309 h 6858000"/>
              <a:gd name="connsiteX5514" fmla="*/ 1674787 w 6781956"/>
              <a:gd name="connsiteY5514" fmla="*/ 3423034 h 6858000"/>
              <a:gd name="connsiteX5515" fmla="*/ 1671700 w 6781956"/>
              <a:gd name="connsiteY5515" fmla="*/ 3407922 h 6858000"/>
              <a:gd name="connsiteX5516" fmla="*/ 1676846 w 6781956"/>
              <a:gd name="connsiteY5516" fmla="*/ 3386995 h 6858000"/>
              <a:gd name="connsiteX5517" fmla="*/ 1678906 w 6781956"/>
              <a:gd name="connsiteY5517" fmla="*/ 3363744 h 6858000"/>
              <a:gd name="connsiteX5518" fmla="*/ 1675817 w 6781956"/>
              <a:gd name="connsiteY5518" fmla="*/ 3348633 h 6858000"/>
              <a:gd name="connsiteX5519" fmla="*/ 1683024 w 6781956"/>
              <a:gd name="connsiteY5519" fmla="*/ 3334681 h 6858000"/>
              <a:gd name="connsiteX5520" fmla="*/ 1679934 w 6781956"/>
              <a:gd name="connsiteY5520" fmla="*/ 3319568 h 6858000"/>
              <a:gd name="connsiteX5521" fmla="*/ 1683024 w 6781956"/>
              <a:gd name="connsiteY5521" fmla="*/ 3303293 h 6858000"/>
              <a:gd name="connsiteX5522" fmla="*/ 1679934 w 6781956"/>
              <a:gd name="connsiteY5522" fmla="*/ 3288180 h 6858000"/>
              <a:gd name="connsiteX5523" fmla="*/ 1684053 w 6781956"/>
              <a:gd name="connsiteY5523" fmla="*/ 3260279 h 6858000"/>
              <a:gd name="connsiteX5524" fmla="*/ 1693319 w 6781956"/>
              <a:gd name="connsiteY5524" fmla="*/ 3211453 h 6858000"/>
              <a:gd name="connsiteX5525" fmla="*/ 1686113 w 6781956"/>
              <a:gd name="connsiteY5525" fmla="*/ 3162627 h 6858000"/>
              <a:gd name="connsiteX5526" fmla="*/ 1690230 w 6781956"/>
              <a:gd name="connsiteY5526" fmla="*/ 3134726 h 6858000"/>
              <a:gd name="connsiteX5527" fmla="*/ 1689200 w 6781956"/>
              <a:gd name="connsiteY5527" fmla="*/ 3127751 h 6858000"/>
              <a:gd name="connsiteX5528" fmla="*/ 1694348 w 6781956"/>
              <a:gd name="connsiteY5528" fmla="*/ 3106826 h 6858000"/>
              <a:gd name="connsiteX5529" fmla="*/ 1693319 w 6781956"/>
              <a:gd name="connsiteY5529" fmla="*/ 3099850 h 6858000"/>
              <a:gd name="connsiteX5530" fmla="*/ 1692289 w 6781956"/>
              <a:gd name="connsiteY5530" fmla="*/ 3081249 h 6858000"/>
              <a:gd name="connsiteX5531" fmla="*/ 1697437 w 6781956"/>
              <a:gd name="connsiteY5531" fmla="*/ 3060325 h 6858000"/>
              <a:gd name="connsiteX5532" fmla="*/ 1692289 w 6781956"/>
              <a:gd name="connsiteY5532" fmla="*/ 3049861 h 6858000"/>
              <a:gd name="connsiteX5533" fmla="*/ 1691259 w 6781956"/>
              <a:gd name="connsiteY5533" fmla="*/ 3011498 h 6858000"/>
              <a:gd name="connsiteX5534" fmla="*/ 1686113 w 6781956"/>
              <a:gd name="connsiteY5534" fmla="*/ 3032423 h 6858000"/>
              <a:gd name="connsiteX5535" fmla="*/ 1687142 w 6781956"/>
              <a:gd name="connsiteY5535" fmla="*/ 3039399 h 6858000"/>
              <a:gd name="connsiteX5536" fmla="*/ 1684053 w 6781956"/>
              <a:gd name="connsiteY5536" fmla="*/ 3055674 h 6858000"/>
              <a:gd name="connsiteX5537" fmla="*/ 1683024 w 6781956"/>
              <a:gd name="connsiteY5537" fmla="*/ 3098687 h 6858000"/>
              <a:gd name="connsiteX5538" fmla="*/ 1679934 w 6781956"/>
              <a:gd name="connsiteY5538" fmla="*/ 3114963 h 6858000"/>
              <a:gd name="connsiteX5539" fmla="*/ 1683024 w 6781956"/>
              <a:gd name="connsiteY5539" fmla="*/ 3130076 h 6858000"/>
              <a:gd name="connsiteX5540" fmla="*/ 1672729 w 6781956"/>
              <a:gd name="connsiteY5540" fmla="*/ 3190528 h 6858000"/>
              <a:gd name="connsiteX5541" fmla="*/ 1675817 w 6781956"/>
              <a:gd name="connsiteY5541" fmla="*/ 3205641 h 6858000"/>
              <a:gd name="connsiteX5542" fmla="*/ 1673757 w 6781956"/>
              <a:gd name="connsiteY5542" fmla="*/ 3228891 h 6858000"/>
              <a:gd name="connsiteX5543" fmla="*/ 1670670 w 6781956"/>
              <a:gd name="connsiteY5543" fmla="*/ 3245167 h 6858000"/>
              <a:gd name="connsiteX5544" fmla="*/ 1668611 w 6781956"/>
              <a:gd name="connsiteY5544" fmla="*/ 3268417 h 6858000"/>
              <a:gd name="connsiteX5545" fmla="*/ 1665522 w 6781956"/>
              <a:gd name="connsiteY5545" fmla="*/ 3284692 h 6858000"/>
              <a:gd name="connsiteX5546" fmla="*/ 1668611 w 6781956"/>
              <a:gd name="connsiteY5546" fmla="*/ 3299806 h 6858000"/>
              <a:gd name="connsiteX5547" fmla="*/ 1662433 w 6781956"/>
              <a:gd name="connsiteY5547" fmla="*/ 3332356 h 6858000"/>
              <a:gd name="connsiteX5548" fmla="*/ 1665522 w 6781956"/>
              <a:gd name="connsiteY5548" fmla="*/ 3347469 h 6858000"/>
              <a:gd name="connsiteX5549" fmla="*/ 1664766 w 6781956"/>
              <a:gd name="connsiteY5549" fmla="*/ 3351455 h 6858000"/>
              <a:gd name="connsiteX5550" fmla="*/ 1659343 w 6781956"/>
              <a:gd name="connsiteY5550" fmla="*/ 3334682 h 6858000"/>
              <a:gd name="connsiteX5551" fmla="*/ 1653167 w 6781956"/>
              <a:gd name="connsiteY5551" fmla="*/ 3367233 h 6858000"/>
              <a:gd name="connsiteX5552" fmla="*/ 1657286 w 6781956"/>
              <a:gd name="connsiteY5552" fmla="*/ 3400946 h 6858000"/>
              <a:gd name="connsiteX5553" fmla="*/ 1660911 w 6781956"/>
              <a:gd name="connsiteY5553" fmla="*/ 3390369 h 6858000"/>
              <a:gd name="connsiteX5554" fmla="*/ 1656257 w 6781956"/>
              <a:gd name="connsiteY5554" fmla="*/ 3414897 h 6858000"/>
              <a:gd name="connsiteX5555" fmla="*/ 1652139 w 6781956"/>
              <a:gd name="connsiteY5555" fmla="*/ 3474186 h 6858000"/>
              <a:gd name="connsiteX5556" fmla="*/ 1649759 w 6781956"/>
              <a:gd name="connsiteY5556" fmla="*/ 3486723 h 6858000"/>
              <a:gd name="connsiteX5557" fmla="*/ 1646090 w 6781956"/>
              <a:gd name="connsiteY5557" fmla="*/ 3470553 h 6858000"/>
              <a:gd name="connsiteX5558" fmla="*/ 1642873 w 6781956"/>
              <a:gd name="connsiteY5558" fmla="*/ 3452098 h 6858000"/>
              <a:gd name="connsiteX5559" fmla="*/ 1638755 w 6781956"/>
              <a:gd name="connsiteY5559" fmla="*/ 3479999 h 6858000"/>
              <a:gd name="connsiteX5560" fmla="*/ 1639784 w 6781956"/>
              <a:gd name="connsiteY5560" fmla="*/ 3486974 h 6858000"/>
              <a:gd name="connsiteX5561" fmla="*/ 1634637 w 6781956"/>
              <a:gd name="connsiteY5561" fmla="*/ 3526499 h 6858000"/>
              <a:gd name="connsiteX5562" fmla="*/ 1639655 w 6781956"/>
              <a:gd name="connsiteY5562" fmla="*/ 3508188 h 6858000"/>
              <a:gd name="connsiteX5563" fmla="*/ 1649152 w 6781956"/>
              <a:gd name="connsiteY5563" fmla="*/ 3489919 h 6858000"/>
              <a:gd name="connsiteX5564" fmla="*/ 1649050 w 6781956"/>
              <a:gd name="connsiteY5564" fmla="*/ 3490461 h 6858000"/>
              <a:gd name="connsiteX5565" fmla="*/ 1648020 w 6781956"/>
              <a:gd name="connsiteY5565" fmla="*/ 3502085 h 6858000"/>
              <a:gd name="connsiteX5566" fmla="*/ 1639784 w 6781956"/>
              <a:gd name="connsiteY5566" fmla="*/ 3527662 h 6858000"/>
              <a:gd name="connsiteX5567" fmla="*/ 1637725 w 6781956"/>
              <a:gd name="connsiteY5567" fmla="*/ 3550912 h 6858000"/>
              <a:gd name="connsiteX5568" fmla="*/ 1638755 w 6781956"/>
              <a:gd name="connsiteY5568" fmla="*/ 3557887 h 6858000"/>
              <a:gd name="connsiteX5569" fmla="*/ 1633607 w 6781956"/>
              <a:gd name="connsiteY5569" fmla="*/ 3578813 h 6858000"/>
              <a:gd name="connsiteX5570" fmla="*/ 1620224 w 6781956"/>
              <a:gd name="connsiteY5570" fmla="*/ 3686927 h 6858000"/>
              <a:gd name="connsiteX5571" fmla="*/ 1607869 w 6781956"/>
              <a:gd name="connsiteY5571" fmla="*/ 3771792 h 6858000"/>
              <a:gd name="connsiteX5572" fmla="*/ 1589338 w 6781956"/>
              <a:gd name="connsiteY5572" fmla="*/ 3857820 h 6858000"/>
              <a:gd name="connsiteX5573" fmla="*/ 1588308 w 6781956"/>
              <a:gd name="connsiteY5573" fmla="*/ 3900833 h 6858000"/>
              <a:gd name="connsiteX5574" fmla="*/ 1580073 w 6781956"/>
              <a:gd name="connsiteY5574" fmla="*/ 3938035 h 6858000"/>
              <a:gd name="connsiteX5575" fmla="*/ 1575955 w 6781956"/>
              <a:gd name="connsiteY5575" fmla="*/ 3965935 h 6858000"/>
              <a:gd name="connsiteX5576" fmla="*/ 1563601 w 6781956"/>
              <a:gd name="connsiteY5576" fmla="*/ 4000811 h 6858000"/>
              <a:gd name="connsiteX5577" fmla="*/ 1572865 w 6781956"/>
              <a:gd name="connsiteY5577" fmla="*/ 3951986 h 6858000"/>
              <a:gd name="connsiteX5578" fmla="*/ 1578014 w 6781956"/>
              <a:gd name="connsiteY5578" fmla="*/ 3899671 h 6858000"/>
              <a:gd name="connsiteX5579" fmla="*/ 1583161 w 6781956"/>
              <a:gd name="connsiteY5579" fmla="*/ 3890371 h 6858000"/>
              <a:gd name="connsiteX5580" fmla="*/ 1582131 w 6781956"/>
              <a:gd name="connsiteY5580" fmla="*/ 3883396 h 6858000"/>
              <a:gd name="connsiteX5581" fmla="*/ 1587278 w 6781956"/>
              <a:gd name="connsiteY5581" fmla="*/ 3862471 h 6858000"/>
              <a:gd name="connsiteX5582" fmla="*/ 1589338 w 6781956"/>
              <a:gd name="connsiteY5582" fmla="*/ 3826432 h 6858000"/>
              <a:gd name="connsiteX5583" fmla="*/ 1596545 w 6781956"/>
              <a:gd name="connsiteY5583" fmla="*/ 3812482 h 6858000"/>
              <a:gd name="connsiteX5584" fmla="*/ 1593457 w 6781956"/>
              <a:gd name="connsiteY5584" fmla="*/ 3797368 h 6858000"/>
              <a:gd name="connsiteX5585" fmla="*/ 1598603 w 6781956"/>
              <a:gd name="connsiteY5585" fmla="*/ 3776443 h 6858000"/>
              <a:gd name="connsiteX5586" fmla="*/ 1607869 w 6781956"/>
              <a:gd name="connsiteY5586" fmla="*/ 3707854 h 6858000"/>
              <a:gd name="connsiteX5587" fmla="*/ 1609928 w 6781956"/>
              <a:gd name="connsiteY5587" fmla="*/ 3703203 h 6858000"/>
              <a:gd name="connsiteX5588" fmla="*/ 1608899 w 6781956"/>
              <a:gd name="connsiteY5588" fmla="*/ 3696228 h 6858000"/>
              <a:gd name="connsiteX5589" fmla="*/ 1610958 w 6781956"/>
              <a:gd name="connsiteY5589" fmla="*/ 3672978 h 6858000"/>
              <a:gd name="connsiteX5590" fmla="*/ 1616106 w 6781956"/>
              <a:gd name="connsiteY5590" fmla="*/ 3652052 h 6858000"/>
              <a:gd name="connsiteX5591" fmla="*/ 1621253 w 6781956"/>
              <a:gd name="connsiteY5591" fmla="*/ 3642752 h 6858000"/>
              <a:gd name="connsiteX5592" fmla="*/ 1617134 w 6781956"/>
              <a:gd name="connsiteY5592" fmla="*/ 3640427 h 6858000"/>
              <a:gd name="connsiteX5593" fmla="*/ 1622282 w 6781956"/>
              <a:gd name="connsiteY5593" fmla="*/ 3631127 h 6858000"/>
              <a:gd name="connsiteX5594" fmla="*/ 1618164 w 6781956"/>
              <a:gd name="connsiteY5594" fmla="*/ 3628801 h 6858000"/>
              <a:gd name="connsiteX5595" fmla="*/ 1623312 w 6781956"/>
              <a:gd name="connsiteY5595" fmla="*/ 3619502 h 6858000"/>
              <a:gd name="connsiteX5596" fmla="*/ 1625371 w 6781956"/>
              <a:gd name="connsiteY5596" fmla="*/ 3583463 h 6858000"/>
              <a:gd name="connsiteX5597" fmla="*/ 1615075 w 6781956"/>
              <a:gd name="connsiteY5597" fmla="*/ 3563700 h 6858000"/>
              <a:gd name="connsiteX5598" fmla="*/ 1598603 w 6781956"/>
              <a:gd name="connsiteY5598" fmla="*/ 3626477 h 6858000"/>
              <a:gd name="connsiteX5599" fmla="*/ 1592426 w 6781956"/>
              <a:gd name="connsiteY5599" fmla="*/ 3690415 h 6858000"/>
              <a:gd name="connsiteX5600" fmla="*/ 1593457 w 6781956"/>
              <a:gd name="connsiteY5600" fmla="*/ 3697391 h 6858000"/>
              <a:gd name="connsiteX5601" fmla="*/ 1585220 w 6781956"/>
              <a:gd name="connsiteY5601" fmla="*/ 3734593 h 6858000"/>
              <a:gd name="connsiteX5602" fmla="*/ 1588308 w 6781956"/>
              <a:gd name="connsiteY5602" fmla="*/ 3749705 h 6858000"/>
              <a:gd name="connsiteX5603" fmla="*/ 1583161 w 6781956"/>
              <a:gd name="connsiteY5603" fmla="*/ 3759005 h 6858000"/>
              <a:gd name="connsiteX5604" fmla="*/ 1591397 w 6781956"/>
              <a:gd name="connsiteY5604" fmla="*/ 3764817 h 6858000"/>
              <a:gd name="connsiteX5605" fmla="*/ 1588308 w 6781956"/>
              <a:gd name="connsiteY5605" fmla="*/ 3781093 h 6858000"/>
              <a:gd name="connsiteX5606" fmla="*/ 1589338 w 6781956"/>
              <a:gd name="connsiteY5606" fmla="*/ 3799693 h 6858000"/>
              <a:gd name="connsiteX5607" fmla="*/ 1555364 w 6781956"/>
              <a:gd name="connsiteY5607" fmla="*/ 3905485 h 6858000"/>
              <a:gd name="connsiteX5608" fmla="*/ 1559482 w 6781956"/>
              <a:gd name="connsiteY5608" fmla="*/ 3927572 h 6858000"/>
              <a:gd name="connsiteX5609" fmla="*/ 1554614 w 6781956"/>
              <a:gd name="connsiteY5609" fmla="*/ 3947359 h 6858000"/>
              <a:gd name="connsiteX5610" fmla="*/ 1554334 w 6781956"/>
              <a:gd name="connsiteY5610" fmla="*/ 3947334 h 6858000"/>
              <a:gd name="connsiteX5611" fmla="*/ 1554385 w 6781956"/>
              <a:gd name="connsiteY5611" fmla="*/ 3948289 h 6858000"/>
              <a:gd name="connsiteX5612" fmla="*/ 1554334 w 6781956"/>
              <a:gd name="connsiteY5612" fmla="*/ 3948498 h 6858000"/>
              <a:gd name="connsiteX5613" fmla="*/ 1552623 w 6781956"/>
              <a:gd name="connsiteY5613" fmla="*/ 3961384 h 6858000"/>
              <a:gd name="connsiteX5614" fmla="*/ 1551570 w 6781956"/>
              <a:gd name="connsiteY5614" fmla="*/ 3963492 h 6858000"/>
              <a:gd name="connsiteX5615" fmla="*/ 1545069 w 6781956"/>
              <a:gd name="connsiteY5615" fmla="*/ 3967098 h 6858000"/>
              <a:gd name="connsiteX5616" fmla="*/ 1548158 w 6781956"/>
              <a:gd name="connsiteY5616" fmla="*/ 3919434 h 6858000"/>
              <a:gd name="connsiteX5617" fmla="*/ 1549188 w 6781956"/>
              <a:gd name="connsiteY5617" fmla="*/ 3907809 h 6858000"/>
              <a:gd name="connsiteX5618" fmla="*/ 1566688 w 6781956"/>
              <a:gd name="connsiteY5618" fmla="*/ 3802019 h 6858000"/>
              <a:gd name="connsiteX5619" fmla="*/ 1582131 w 6781956"/>
              <a:gd name="connsiteY5619" fmla="*/ 3689253 h 6858000"/>
              <a:gd name="connsiteX5620" fmla="*/ 1584190 w 6781956"/>
              <a:gd name="connsiteY5620" fmla="*/ 3684604 h 6858000"/>
              <a:gd name="connsiteX5621" fmla="*/ 1583161 w 6781956"/>
              <a:gd name="connsiteY5621" fmla="*/ 3677628 h 6858000"/>
              <a:gd name="connsiteX5622" fmla="*/ 1594486 w 6781956"/>
              <a:gd name="connsiteY5622" fmla="*/ 3624151 h 6858000"/>
              <a:gd name="connsiteX5623" fmla="*/ 1599633 w 6781956"/>
              <a:gd name="connsiteY5623" fmla="*/ 3584626 h 6858000"/>
              <a:gd name="connsiteX5624" fmla="*/ 1604781 w 6781956"/>
              <a:gd name="connsiteY5624" fmla="*/ 3563700 h 6858000"/>
              <a:gd name="connsiteX5625" fmla="*/ 1599633 w 6781956"/>
              <a:gd name="connsiteY5625" fmla="*/ 3553237 h 6858000"/>
              <a:gd name="connsiteX5626" fmla="*/ 1600579 w 6781956"/>
              <a:gd name="connsiteY5626" fmla="*/ 3549392 h 6858000"/>
              <a:gd name="connsiteX5627" fmla="*/ 1600663 w 6781956"/>
              <a:gd name="connsiteY5627" fmla="*/ 3550912 h 6858000"/>
              <a:gd name="connsiteX5628" fmla="*/ 1604009 w 6781956"/>
              <a:gd name="connsiteY5628" fmla="*/ 3536380 h 6858000"/>
              <a:gd name="connsiteX5629" fmla="*/ 1603823 w 6781956"/>
              <a:gd name="connsiteY5629" fmla="*/ 3536207 h 6858000"/>
              <a:gd name="connsiteX5630" fmla="*/ 1604781 w 6781956"/>
              <a:gd name="connsiteY5630" fmla="*/ 3532312 h 6858000"/>
              <a:gd name="connsiteX5631" fmla="*/ 1610958 w 6781956"/>
              <a:gd name="connsiteY5631" fmla="*/ 3499761 h 6858000"/>
              <a:gd name="connsiteX5632" fmla="*/ 1609928 w 6781956"/>
              <a:gd name="connsiteY5632" fmla="*/ 3492787 h 6858000"/>
              <a:gd name="connsiteX5633" fmla="*/ 1616106 w 6781956"/>
              <a:gd name="connsiteY5633" fmla="*/ 3460234 h 6858000"/>
              <a:gd name="connsiteX5634" fmla="*/ 1621253 w 6781956"/>
              <a:gd name="connsiteY5634" fmla="*/ 3420709 h 6858000"/>
              <a:gd name="connsiteX5635" fmla="*/ 1626401 w 6781956"/>
              <a:gd name="connsiteY5635" fmla="*/ 3381183 h 6858000"/>
              <a:gd name="connsiteX5636" fmla="*/ 1621253 w 6781956"/>
              <a:gd name="connsiteY5636" fmla="*/ 3370720 h 6858000"/>
              <a:gd name="connsiteX5637" fmla="*/ 1626401 w 6781956"/>
              <a:gd name="connsiteY5637" fmla="*/ 3349795 h 6858000"/>
              <a:gd name="connsiteX5638" fmla="*/ 1628458 w 6781956"/>
              <a:gd name="connsiteY5638" fmla="*/ 3326543 h 6858000"/>
              <a:gd name="connsiteX5639" fmla="*/ 1631548 w 6781956"/>
              <a:gd name="connsiteY5639" fmla="*/ 3278880 h 6858000"/>
              <a:gd name="connsiteX5640" fmla="*/ 1630518 w 6781956"/>
              <a:gd name="connsiteY5640" fmla="*/ 3260279 h 6858000"/>
              <a:gd name="connsiteX5641" fmla="*/ 1632577 w 6781956"/>
              <a:gd name="connsiteY5641" fmla="*/ 3237029 h 6858000"/>
              <a:gd name="connsiteX5642" fmla="*/ 1631548 w 6781956"/>
              <a:gd name="connsiteY5642" fmla="*/ 3230054 h 6858000"/>
              <a:gd name="connsiteX5643" fmla="*/ 1636696 w 6781956"/>
              <a:gd name="connsiteY5643" fmla="*/ 3209128 h 6858000"/>
              <a:gd name="connsiteX5644" fmla="*/ 1631548 w 6781956"/>
              <a:gd name="connsiteY5644" fmla="*/ 3198666 h 6858000"/>
              <a:gd name="connsiteX5645" fmla="*/ 1636696 w 6781956"/>
              <a:gd name="connsiteY5645" fmla="*/ 3189366 h 6858000"/>
              <a:gd name="connsiteX5646" fmla="*/ 1638755 w 6781956"/>
              <a:gd name="connsiteY5646" fmla="*/ 3153327 h 6858000"/>
              <a:gd name="connsiteX5647" fmla="*/ 1638239 w 6781956"/>
              <a:gd name="connsiteY5647" fmla="*/ 3144026 h 6858000"/>
              <a:gd name="connsiteX5648" fmla="*/ 1638237 w 6781956"/>
              <a:gd name="connsiteY5648" fmla="*/ 3143987 h 6858000"/>
              <a:gd name="connsiteX5649" fmla="*/ 1640298 w 6781956"/>
              <a:gd name="connsiteY5649" fmla="*/ 3140397 h 6858000"/>
              <a:gd name="connsiteX5650" fmla="*/ 1645960 w 6781956"/>
              <a:gd name="connsiteY5650" fmla="*/ 3120779 h 6858000"/>
              <a:gd name="connsiteX5651" fmla="*/ 1637724 w 6781956"/>
              <a:gd name="connsiteY5651" fmla="*/ 3083576 h 6858000"/>
              <a:gd name="connsiteX5652" fmla="*/ 1644416 w 6781956"/>
              <a:gd name="connsiteY5652" fmla="*/ 3061199 h 6858000"/>
              <a:gd name="connsiteX5653" fmla="*/ 1642759 w 6781956"/>
              <a:gd name="connsiteY5653" fmla="*/ 3045674 h 6858000"/>
              <a:gd name="connsiteX5654" fmla="*/ 1642873 w 6781956"/>
              <a:gd name="connsiteY5654" fmla="*/ 3045212 h 6858000"/>
              <a:gd name="connsiteX5655" fmla="*/ 1642665 w 6781956"/>
              <a:gd name="connsiteY5655" fmla="*/ 3044790 h 6858000"/>
              <a:gd name="connsiteX5656" fmla="*/ 1641843 w 6781956"/>
              <a:gd name="connsiteY5656" fmla="*/ 3037076 h 6858000"/>
              <a:gd name="connsiteX5657" fmla="*/ 1638194 w 6781956"/>
              <a:gd name="connsiteY5657" fmla="*/ 3035703 h 6858000"/>
              <a:gd name="connsiteX5658" fmla="*/ 1637725 w 6781956"/>
              <a:gd name="connsiteY5658" fmla="*/ 3034749 h 6858000"/>
              <a:gd name="connsiteX5659" fmla="*/ 1642873 w 6781956"/>
              <a:gd name="connsiteY5659" fmla="*/ 3025448 h 6858000"/>
              <a:gd name="connsiteX5660" fmla="*/ 1637725 w 6781956"/>
              <a:gd name="connsiteY5660" fmla="*/ 3014986 h 6858000"/>
              <a:gd name="connsiteX5661" fmla="*/ 1642873 w 6781956"/>
              <a:gd name="connsiteY5661" fmla="*/ 3005684 h 6858000"/>
              <a:gd name="connsiteX5662" fmla="*/ 1638755 w 6781956"/>
              <a:gd name="connsiteY5662" fmla="*/ 3003361 h 6858000"/>
              <a:gd name="connsiteX5663" fmla="*/ 1643901 w 6781956"/>
              <a:gd name="connsiteY5663" fmla="*/ 2994060 h 6858000"/>
              <a:gd name="connsiteX5664" fmla="*/ 1639784 w 6781956"/>
              <a:gd name="connsiteY5664" fmla="*/ 2991735 h 6858000"/>
              <a:gd name="connsiteX5665" fmla="*/ 1644931 w 6781956"/>
              <a:gd name="connsiteY5665" fmla="*/ 2982434 h 6858000"/>
              <a:gd name="connsiteX5666" fmla="*/ 1639784 w 6781956"/>
              <a:gd name="connsiteY5666" fmla="*/ 2971973 h 6858000"/>
              <a:gd name="connsiteX5667" fmla="*/ 1639784 w 6781956"/>
              <a:gd name="connsiteY5667" fmla="*/ 2940584 h 6858000"/>
              <a:gd name="connsiteX5668" fmla="*/ 1636696 w 6781956"/>
              <a:gd name="connsiteY5668" fmla="*/ 2925471 h 6858000"/>
              <a:gd name="connsiteX5669" fmla="*/ 1631677 w 6781956"/>
              <a:gd name="connsiteY5669" fmla="*/ 2968485 h 6858000"/>
              <a:gd name="connsiteX5670" fmla="*/ 1631620 w 6781956"/>
              <a:gd name="connsiteY5670" fmla="*/ 2970396 h 6858000"/>
              <a:gd name="connsiteX5671" fmla="*/ 1621252 w 6781956"/>
              <a:gd name="connsiteY5671" fmla="*/ 2974299 h 6858000"/>
              <a:gd name="connsiteX5672" fmla="*/ 1624083 w 6781956"/>
              <a:gd name="connsiteY5672" fmla="*/ 2994062 h 6858000"/>
              <a:gd name="connsiteX5673" fmla="*/ 1630600 w 6781956"/>
              <a:gd name="connsiteY5673" fmla="*/ 3005227 h 6858000"/>
              <a:gd name="connsiteX5674" fmla="*/ 1630518 w 6781956"/>
              <a:gd name="connsiteY5674" fmla="*/ 3008010 h 6858000"/>
              <a:gd name="connsiteX5675" fmla="*/ 1627431 w 6781956"/>
              <a:gd name="connsiteY5675" fmla="*/ 3024285 h 6858000"/>
              <a:gd name="connsiteX5676" fmla="*/ 1630518 w 6781956"/>
              <a:gd name="connsiteY5676" fmla="*/ 3039399 h 6858000"/>
              <a:gd name="connsiteX5677" fmla="*/ 1630518 w 6781956"/>
              <a:gd name="connsiteY5677" fmla="*/ 3070787 h 6858000"/>
              <a:gd name="connsiteX5678" fmla="*/ 1625371 w 6781956"/>
              <a:gd name="connsiteY5678" fmla="*/ 3080088 h 6858000"/>
              <a:gd name="connsiteX5679" fmla="*/ 1626633 w 6781956"/>
              <a:gd name="connsiteY5679" fmla="*/ 3086270 h 6858000"/>
              <a:gd name="connsiteX5680" fmla="*/ 1625370 w 6781956"/>
              <a:gd name="connsiteY5680" fmla="*/ 3090552 h 6858000"/>
              <a:gd name="connsiteX5681" fmla="*/ 1619193 w 6781956"/>
              <a:gd name="connsiteY5681" fmla="*/ 3095202 h 6858000"/>
              <a:gd name="connsiteX5682" fmla="*/ 1617133 w 6781956"/>
              <a:gd name="connsiteY5682" fmla="*/ 3107990 h 6858000"/>
              <a:gd name="connsiteX5683" fmla="*/ 1615074 w 6781956"/>
              <a:gd name="connsiteY5683" fmla="*/ 3137054 h 6858000"/>
              <a:gd name="connsiteX5684" fmla="*/ 1613015 w 6781956"/>
              <a:gd name="connsiteY5684" fmla="*/ 3149841 h 6858000"/>
              <a:gd name="connsiteX5685" fmla="*/ 1613015 w 6781956"/>
              <a:gd name="connsiteY5685" fmla="*/ 3157979 h 6858000"/>
              <a:gd name="connsiteX5686" fmla="*/ 1607868 w 6781956"/>
              <a:gd name="connsiteY5686" fmla="*/ 3183554 h 6858000"/>
              <a:gd name="connsiteX5687" fmla="*/ 1605809 w 6781956"/>
              <a:gd name="connsiteY5687" fmla="*/ 3209131 h 6858000"/>
              <a:gd name="connsiteX5688" fmla="*/ 1600661 w 6781956"/>
              <a:gd name="connsiteY5688" fmla="*/ 3234706 h 6858000"/>
              <a:gd name="connsiteX5689" fmla="*/ 1599631 w 6781956"/>
              <a:gd name="connsiteY5689" fmla="*/ 3281206 h 6858000"/>
              <a:gd name="connsiteX5690" fmla="*/ 1594485 w 6781956"/>
              <a:gd name="connsiteY5690" fmla="*/ 3302133 h 6858000"/>
              <a:gd name="connsiteX5691" fmla="*/ 1594854 w 6781956"/>
              <a:gd name="connsiteY5691" fmla="*/ 3314255 h 6858000"/>
              <a:gd name="connsiteX5692" fmla="*/ 1593119 w 6781956"/>
              <a:gd name="connsiteY5692" fmla="*/ 3304928 h 6858000"/>
              <a:gd name="connsiteX5693" fmla="*/ 1590368 w 6781956"/>
              <a:gd name="connsiteY5693" fmla="*/ 3230054 h 6858000"/>
              <a:gd name="connsiteX5694" fmla="*/ 1592426 w 6781956"/>
              <a:gd name="connsiteY5694" fmla="*/ 3194015 h 6858000"/>
              <a:gd name="connsiteX5695" fmla="*/ 1585220 w 6781956"/>
              <a:gd name="connsiteY5695" fmla="*/ 3238191 h 6858000"/>
              <a:gd name="connsiteX5696" fmla="*/ 1581099 w 6781956"/>
              <a:gd name="connsiteY5696" fmla="*/ 3218543 h 6858000"/>
              <a:gd name="connsiteX5697" fmla="*/ 1581615 w 6781956"/>
              <a:gd name="connsiteY5697" fmla="*/ 3216397 h 6858000"/>
              <a:gd name="connsiteX5698" fmla="*/ 1578012 w 6781956"/>
              <a:gd name="connsiteY5698" fmla="*/ 3190530 h 6858000"/>
              <a:gd name="connsiteX5699" fmla="*/ 1576739 w 6781956"/>
              <a:gd name="connsiteY5699" fmla="*/ 3197758 h 6858000"/>
              <a:gd name="connsiteX5700" fmla="*/ 1575955 w 6781956"/>
              <a:gd name="connsiteY5700" fmla="*/ 3194015 h 6858000"/>
              <a:gd name="connsiteX5701" fmla="*/ 1584190 w 6781956"/>
              <a:gd name="connsiteY5701" fmla="*/ 3156813 h 6858000"/>
              <a:gd name="connsiteX5702" fmla="*/ 1589338 w 6781956"/>
              <a:gd name="connsiteY5702" fmla="*/ 3147515 h 6858000"/>
              <a:gd name="connsiteX5703" fmla="*/ 1588749 w 6781956"/>
              <a:gd name="connsiteY5703" fmla="*/ 3146317 h 6858000"/>
              <a:gd name="connsiteX5704" fmla="*/ 1591105 w 6781956"/>
              <a:gd name="connsiteY5704" fmla="*/ 3144337 h 6858000"/>
              <a:gd name="connsiteX5705" fmla="*/ 1591395 w 6781956"/>
              <a:gd name="connsiteY5705" fmla="*/ 3101015 h 6858000"/>
              <a:gd name="connsiteX5706" fmla="*/ 1585219 w 6781956"/>
              <a:gd name="connsiteY5706" fmla="*/ 3113802 h 6858000"/>
              <a:gd name="connsiteX5707" fmla="*/ 1584982 w 6781956"/>
              <a:gd name="connsiteY5707" fmla="*/ 3115586 h 6858000"/>
              <a:gd name="connsiteX5708" fmla="*/ 1582131 w 6781956"/>
              <a:gd name="connsiteY5708" fmla="*/ 3110313 h 6858000"/>
              <a:gd name="connsiteX5709" fmla="*/ 1565659 w 6781956"/>
              <a:gd name="connsiteY5709" fmla="*/ 3141701 h 6858000"/>
              <a:gd name="connsiteX5710" fmla="*/ 1566688 w 6781956"/>
              <a:gd name="connsiteY5710" fmla="*/ 3191690 h 6858000"/>
              <a:gd name="connsiteX5711" fmla="*/ 1560512 w 6781956"/>
              <a:gd name="connsiteY5711" fmla="*/ 3255630 h 6858000"/>
              <a:gd name="connsiteX5712" fmla="*/ 1558452 w 6781956"/>
              <a:gd name="connsiteY5712" fmla="*/ 3291667 h 6858000"/>
              <a:gd name="connsiteX5713" fmla="*/ 1549188 w 6781956"/>
              <a:gd name="connsiteY5713" fmla="*/ 3310268 h 6858000"/>
              <a:gd name="connsiteX5714" fmla="*/ 1552275 w 6781956"/>
              <a:gd name="connsiteY5714" fmla="*/ 3325381 h 6858000"/>
              <a:gd name="connsiteX5715" fmla="*/ 1550216 w 6781956"/>
              <a:gd name="connsiteY5715" fmla="*/ 3348633 h 6858000"/>
              <a:gd name="connsiteX5716" fmla="*/ 1548158 w 6781956"/>
              <a:gd name="connsiteY5716" fmla="*/ 3371882 h 6858000"/>
              <a:gd name="connsiteX5717" fmla="*/ 1543009 w 6781956"/>
              <a:gd name="connsiteY5717" fmla="*/ 3392809 h 6858000"/>
              <a:gd name="connsiteX5718" fmla="*/ 1537862 w 6781956"/>
              <a:gd name="connsiteY5718" fmla="*/ 3413733 h 6858000"/>
              <a:gd name="connsiteX5719" fmla="*/ 1539921 w 6781956"/>
              <a:gd name="connsiteY5719" fmla="*/ 3440472 h 6858000"/>
              <a:gd name="connsiteX5720" fmla="*/ 1539277 w 6781956"/>
              <a:gd name="connsiteY5720" fmla="*/ 3444396 h 6858000"/>
              <a:gd name="connsiteX5721" fmla="*/ 1539953 w 6781956"/>
              <a:gd name="connsiteY5721" fmla="*/ 3445626 h 6858000"/>
              <a:gd name="connsiteX5722" fmla="*/ 1538891 w 6781956"/>
              <a:gd name="connsiteY5722" fmla="*/ 3452099 h 6858000"/>
              <a:gd name="connsiteX5723" fmla="*/ 1527566 w 6781956"/>
              <a:gd name="connsiteY5723" fmla="*/ 3486975 h 6858000"/>
              <a:gd name="connsiteX5724" fmla="*/ 1529377 w 6781956"/>
              <a:gd name="connsiteY5724" fmla="*/ 3487998 h 6858000"/>
              <a:gd name="connsiteX5725" fmla="*/ 1525508 w 6781956"/>
              <a:gd name="connsiteY5725" fmla="*/ 3498598 h 6858000"/>
              <a:gd name="connsiteX5726" fmla="*/ 1526538 w 6781956"/>
              <a:gd name="connsiteY5726" fmla="*/ 3505574 h 6858000"/>
              <a:gd name="connsiteX5727" fmla="*/ 1526250 w 6781956"/>
              <a:gd name="connsiteY5727" fmla="*/ 3508196 h 6858000"/>
              <a:gd name="connsiteX5728" fmla="*/ 1524477 w 6781956"/>
              <a:gd name="connsiteY5728" fmla="*/ 3509063 h 6858000"/>
              <a:gd name="connsiteX5729" fmla="*/ 1524477 w 6781956"/>
              <a:gd name="connsiteY5729" fmla="*/ 3524325 h 6858000"/>
              <a:gd name="connsiteX5730" fmla="*/ 1524351 w 6781956"/>
              <a:gd name="connsiteY5730" fmla="*/ 3525482 h 6858000"/>
              <a:gd name="connsiteX5731" fmla="*/ 1518302 w 6781956"/>
              <a:gd name="connsiteY5731" fmla="*/ 3542775 h 6858000"/>
              <a:gd name="connsiteX5732" fmla="*/ 1519111 w 6781956"/>
              <a:gd name="connsiteY5732" fmla="*/ 3544731 h 6858000"/>
              <a:gd name="connsiteX5733" fmla="*/ 1514182 w 6781956"/>
              <a:gd name="connsiteY5733" fmla="*/ 3545102 h 6858000"/>
              <a:gd name="connsiteX5734" fmla="*/ 1517271 w 6781956"/>
              <a:gd name="connsiteY5734" fmla="*/ 3561377 h 6858000"/>
              <a:gd name="connsiteX5735" fmla="*/ 1524452 w 6781956"/>
              <a:gd name="connsiteY5735" fmla="*/ 3557660 h 6858000"/>
              <a:gd name="connsiteX5736" fmla="*/ 1525508 w 6781956"/>
              <a:gd name="connsiteY5736" fmla="*/ 3560213 h 6858000"/>
              <a:gd name="connsiteX5737" fmla="*/ 1518688 w 6781956"/>
              <a:gd name="connsiteY5737" fmla="*/ 3580848 h 6858000"/>
              <a:gd name="connsiteX5738" fmla="*/ 1517642 w 6781956"/>
              <a:gd name="connsiteY5738" fmla="*/ 3583449 h 6858000"/>
              <a:gd name="connsiteX5739" fmla="*/ 1513089 w 6781956"/>
              <a:gd name="connsiteY5739" fmla="*/ 3583338 h 6858000"/>
              <a:gd name="connsiteX5740" fmla="*/ 1509035 w 6781956"/>
              <a:gd name="connsiteY5740" fmla="*/ 3596253 h 6858000"/>
              <a:gd name="connsiteX5741" fmla="*/ 1505689 w 6781956"/>
              <a:gd name="connsiteY5741" fmla="*/ 3626624 h 6858000"/>
              <a:gd name="connsiteX5742" fmla="*/ 1506341 w 6781956"/>
              <a:gd name="connsiteY5742" fmla="*/ 3638937 h 6858000"/>
              <a:gd name="connsiteX5743" fmla="*/ 1505948 w 6781956"/>
              <a:gd name="connsiteY5743" fmla="*/ 3640427 h 6858000"/>
              <a:gd name="connsiteX5744" fmla="*/ 1497712 w 6781956"/>
              <a:gd name="connsiteY5744" fmla="*/ 3697391 h 6858000"/>
              <a:gd name="connsiteX5745" fmla="*/ 1501830 w 6781956"/>
              <a:gd name="connsiteY5745" fmla="*/ 3699716 h 6858000"/>
              <a:gd name="connsiteX5746" fmla="*/ 1494622 w 6781956"/>
              <a:gd name="connsiteY5746" fmla="*/ 3713666 h 6858000"/>
              <a:gd name="connsiteX5747" fmla="*/ 1495652 w 6781956"/>
              <a:gd name="connsiteY5747" fmla="*/ 3720641 h 6858000"/>
              <a:gd name="connsiteX5748" fmla="*/ 1490506 w 6781956"/>
              <a:gd name="connsiteY5748" fmla="*/ 3741567 h 6858000"/>
              <a:gd name="connsiteX5749" fmla="*/ 1474033 w 6781956"/>
              <a:gd name="connsiteY5749" fmla="*/ 3804344 h 6858000"/>
              <a:gd name="connsiteX5750" fmla="*/ 1480081 w 6781956"/>
              <a:gd name="connsiteY5750" fmla="*/ 3782401 h 6858000"/>
              <a:gd name="connsiteX5751" fmla="*/ 1479694 w 6781956"/>
              <a:gd name="connsiteY5751" fmla="*/ 3774849 h 6858000"/>
              <a:gd name="connsiteX5752" fmla="*/ 1481578 w 6781956"/>
              <a:gd name="connsiteY5752" fmla="*/ 3760482 h 6858000"/>
              <a:gd name="connsiteX5753" fmla="*/ 1484327 w 6781956"/>
              <a:gd name="connsiteY5753" fmla="*/ 3755517 h 6858000"/>
              <a:gd name="connsiteX5754" fmla="*/ 1483299 w 6781956"/>
              <a:gd name="connsiteY5754" fmla="*/ 3736917 h 6858000"/>
              <a:gd name="connsiteX5755" fmla="*/ 1488446 w 6781956"/>
              <a:gd name="connsiteY5755" fmla="*/ 3727617 h 6858000"/>
              <a:gd name="connsiteX5756" fmla="*/ 1493593 w 6781956"/>
              <a:gd name="connsiteY5756" fmla="*/ 3675303 h 6858000"/>
              <a:gd name="connsiteX5757" fmla="*/ 1492564 w 6781956"/>
              <a:gd name="connsiteY5757" fmla="*/ 3668328 h 6858000"/>
              <a:gd name="connsiteX5758" fmla="*/ 1497712 w 6781956"/>
              <a:gd name="connsiteY5758" fmla="*/ 3616014 h 6858000"/>
              <a:gd name="connsiteX5759" fmla="*/ 1506976 w 6781956"/>
              <a:gd name="connsiteY5759" fmla="*/ 3597413 h 6858000"/>
              <a:gd name="connsiteX5760" fmla="*/ 1503889 w 6781956"/>
              <a:gd name="connsiteY5760" fmla="*/ 3582301 h 6858000"/>
              <a:gd name="connsiteX5761" fmla="*/ 1509036 w 6781956"/>
              <a:gd name="connsiteY5761" fmla="*/ 3561374 h 6858000"/>
              <a:gd name="connsiteX5762" fmla="*/ 1507193 w 6781956"/>
              <a:gd name="connsiteY5762" fmla="*/ 3552359 h 6858000"/>
              <a:gd name="connsiteX5763" fmla="*/ 1508264 w 6781956"/>
              <a:gd name="connsiteY5763" fmla="*/ 3547570 h 6858000"/>
              <a:gd name="connsiteX5764" fmla="*/ 1507523 w 6781956"/>
              <a:gd name="connsiteY5764" fmla="*/ 3541777 h 6858000"/>
              <a:gd name="connsiteX5765" fmla="*/ 1505467 w 6781956"/>
              <a:gd name="connsiteY5765" fmla="*/ 3542999 h 6858000"/>
              <a:gd name="connsiteX5766" fmla="*/ 1504919 w 6781956"/>
              <a:gd name="connsiteY5766" fmla="*/ 3539286 h 6858000"/>
              <a:gd name="connsiteX5767" fmla="*/ 1505948 w 6781956"/>
              <a:gd name="connsiteY5767" fmla="*/ 3527662 h 6858000"/>
              <a:gd name="connsiteX5768" fmla="*/ 1493593 w 6781956"/>
              <a:gd name="connsiteY5768" fmla="*/ 3562537 h 6858000"/>
              <a:gd name="connsiteX5769" fmla="*/ 1495652 w 6781956"/>
              <a:gd name="connsiteY5769" fmla="*/ 3539286 h 6858000"/>
              <a:gd name="connsiteX5770" fmla="*/ 1499770 w 6781956"/>
              <a:gd name="connsiteY5770" fmla="*/ 3511385 h 6858000"/>
              <a:gd name="connsiteX5771" fmla="*/ 1496682 w 6781956"/>
              <a:gd name="connsiteY5771" fmla="*/ 3496273 h 6858000"/>
              <a:gd name="connsiteX5772" fmla="*/ 1501830 w 6781956"/>
              <a:gd name="connsiteY5772" fmla="*/ 3486973 h 6858000"/>
              <a:gd name="connsiteX5773" fmla="*/ 1505948 w 6781956"/>
              <a:gd name="connsiteY5773" fmla="*/ 3459072 h 6858000"/>
              <a:gd name="connsiteX5774" fmla="*/ 1518302 w 6781956"/>
              <a:gd name="connsiteY5774" fmla="*/ 3486973 h 6858000"/>
              <a:gd name="connsiteX5775" fmla="*/ 1525508 w 6781956"/>
              <a:gd name="connsiteY5775" fmla="*/ 3473022 h 6858000"/>
              <a:gd name="connsiteX5776" fmla="*/ 1522419 w 6781956"/>
              <a:gd name="connsiteY5776" fmla="*/ 3457910 h 6858000"/>
              <a:gd name="connsiteX5777" fmla="*/ 1534775 w 6781956"/>
              <a:gd name="connsiteY5777" fmla="*/ 3423034 h 6858000"/>
              <a:gd name="connsiteX5778" fmla="*/ 1531685 w 6781956"/>
              <a:gd name="connsiteY5778" fmla="*/ 3407922 h 6858000"/>
              <a:gd name="connsiteX5779" fmla="*/ 1532715 w 6781956"/>
              <a:gd name="connsiteY5779" fmla="*/ 3396296 h 6858000"/>
              <a:gd name="connsiteX5780" fmla="*/ 1531685 w 6781956"/>
              <a:gd name="connsiteY5780" fmla="*/ 3389321 h 6858000"/>
              <a:gd name="connsiteX5781" fmla="*/ 1538892 w 6781956"/>
              <a:gd name="connsiteY5781" fmla="*/ 3345144 h 6858000"/>
              <a:gd name="connsiteX5782" fmla="*/ 1544040 w 6781956"/>
              <a:gd name="connsiteY5782" fmla="*/ 3335843 h 6858000"/>
              <a:gd name="connsiteX5783" fmla="*/ 1540951 w 6781956"/>
              <a:gd name="connsiteY5783" fmla="*/ 3320731 h 6858000"/>
              <a:gd name="connsiteX5784" fmla="*/ 1543009 w 6781956"/>
              <a:gd name="connsiteY5784" fmla="*/ 3297480 h 6858000"/>
              <a:gd name="connsiteX5785" fmla="*/ 1545069 w 6781956"/>
              <a:gd name="connsiteY5785" fmla="*/ 3274230 h 6858000"/>
              <a:gd name="connsiteX5786" fmla="*/ 1551245 w 6781956"/>
              <a:gd name="connsiteY5786" fmla="*/ 3241680 h 6858000"/>
              <a:gd name="connsiteX5787" fmla="*/ 1548158 w 6781956"/>
              <a:gd name="connsiteY5787" fmla="*/ 3226566 h 6858000"/>
              <a:gd name="connsiteX5788" fmla="*/ 1551245 w 6781956"/>
              <a:gd name="connsiteY5788" fmla="*/ 3210290 h 6858000"/>
              <a:gd name="connsiteX5789" fmla="*/ 1548158 w 6781956"/>
              <a:gd name="connsiteY5789" fmla="*/ 3195178 h 6858000"/>
              <a:gd name="connsiteX5790" fmla="*/ 1554334 w 6781956"/>
              <a:gd name="connsiteY5790" fmla="*/ 3162627 h 6858000"/>
              <a:gd name="connsiteX5791" fmla="*/ 1551245 w 6781956"/>
              <a:gd name="connsiteY5791" fmla="*/ 3147515 h 6858000"/>
              <a:gd name="connsiteX5792" fmla="*/ 1548158 w 6781956"/>
              <a:gd name="connsiteY5792" fmla="*/ 3132402 h 6858000"/>
              <a:gd name="connsiteX5793" fmla="*/ 1548158 w 6781956"/>
              <a:gd name="connsiteY5793" fmla="*/ 3101013 h 6858000"/>
              <a:gd name="connsiteX5794" fmla="*/ 1538892 w 6781956"/>
              <a:gd name="connsiteY5794" fmla="*/ 3119614 h 6858000"/>
              <a:gd name="connsiteX5795" fmla="*/ 1539921 w 6781956"/>
              <a:gd name="connsiteY5795" fmla="*/ 3126588 h 6858000"/>
              <a:gd name="connsiteX5796" fmla="*/ 1536832 w 6781956"/>
              <a:gd name="connsiteY5796" fmla="*/ 3142864 h 6858000"/>
              <a:gd name="connsiteX5797" fmla="*/ 1537862 w 6781956"/>
              <a:gd name="connsiteY5797" fmla="*/ 3161464 h 6858000"/>
              <a:gd name="connsiteX5798" fmla="*/ 1538892 w 6781956"/>
              <a:gd name="connsiteY5798" fmla="*/ 3231216 h 6858000"/>
              <a:gd name="connsiteX5799" fmla="*/ 1529626 w 6781956"/>
              <a:gd name="connsiteY5799" fmla="*/ 3249816 h 6858000"/>
              <a:gd name="connsiteX5800" fmla="*/ 1528597 w 6781956"/>
              <a:gd name="connsiteY5800" fmla="*/ 3292830 h 6858000"/>
              <a:gd name="connsiteX5801" fmla="*/ 1532715 w 6781956"/>
              <a:gd name="connsiteY5801" fmla="*/ 3295156 h 6858000"/>
              <a:gd name="connsiteX5802" fmla="*/ 1527568 w 6781956"/>
              <a:gd name="connsiteY5802" fmla="*/ 3304456 h 6858000"/>
              <a:gd name="connsiteX5803" fmla="*/ 1525508 w 6781956"/>
              <a:gd name="connsiteY5803" fmla="*/ 3340494 h 6858000"/>
              <a:gd name="connsiteX5804" fmla="*/ 1521391 w 6781956"/>
              <a:gd name="connsiteY5804" fmla="*/ 3306781 h 6858000"/>
              <a:gd name="connsiteX5805" fmla="*/ 1520360 w 6781956"/>
              <a:gd name="connsiteY5805" fmla="*/ 3299806 h 6858000"/>
              <a:gd name="connsiteX5806" fmla="*/ 1525508 w 6781956"/>
              <a:gd name="connsiteY5806" fmla="*/ 3278880 h 6858000"/>
              <a:gd name="connsiteX5807" fmla="*/ 1521391 w 6781956"/>
              <a:gd name="connsiteY5807" fmla="*/ 3256792 h 6858000"/>
              <a:gd name="connsiteX5808" fmla="*/ 1521735 w 6781956"/>
              <a:gd name="connsiteY5808" fmla="*/ 3256171 h 6858000"/>
              <a:gd name="connsiteX5809" fmla="*/ 1525506 w 6781956"/>
              <a:gd name="connsiteY5809" fmla="*/ 3250981 h 6858000"/>
              <a:gd name="connsiteX5810" fmla="*/ 1525918 w 6781956"/>
              <a:gd name="connsiteY5810" fmla="*/ 3248612 h 6858000"/>
              <a:gd name="connsiteX5811" fmla="*/ 1526538 w 6781956"/>
              <a:gd name="connsiteY5811" fmla="*/ 3247492 h 6858000"/>
              <a:gd name="connsiteX5812" fmla="*/ 1526349 w 6781956"/>
              <a:gd name="connsiteY5812" fmla="*/ 3246134 h 6858000"/>
              <a:gd name="connsiteX5813" fmla="*/ 1528000 w 6781956"/>
              <a:gd name="connsiteY5813" fmla="*/ 3236649 h 6858000"/>
              <a:gd name="connsiteX5814" fmla="*/ 1527967 w 6781956"/>
              <a:gd name="connsiteY5814" fmla="*/ 3218449 h 6858000"/>
              <a:gd name="connsiteX5815" fmla="*/ 1527636 w 6781956"/>
              <a:gd name="connsiteY5815" fmla="*/ 3204990 h 6858000"/>
              <a:gd name="connsiteX5816" fmla="*/ 1532715 w 6781956"/>
              <a:gd name="connsiteY5816" fmla="*/ 3184714 h 6858000"/>
              <a:gd name="connsiteX5817" fmla="*/ 1529356 w 6781956"/>
              <a:gd name="connsiteY5817" fmla="*/ 3175660 h 6858000"/>
              <a:gd name="connsiteX5818" fmla="*/ 1530525 w 6781956"/>
              <a:gd name="connsiteY5818" fmla="*/ 3172947 h 6858000"/>
              <a:gd name="connsiteX5819" fmla="*/ 1533744 w 6781956"/>
              <a:gd name="connsiteY5819" fmla="*/ 3155655 h 6858000"/>
              <a:gd name="connsiteX5820" fmla="*/ 1536831 w 6781956"/>
              <a:gd name="connsiteY5820" fmla="*/ 3151004 h 6858000"/>
              <a:gd name="connsiteX5821" fmla="*/ 1532714 w 6781956"/>
              <a:gd name="connsiteY5821" fmla="*/ 3130078 h 6858000"/>
              <a:gd name="connsiteX5822" fmla="*/ 1538891 w 6781956"/>
              <a:gd name="connsiteY5822" fmla="*/ 3109153 h 6858000"/>
              <a:gd name="connsiteX5823" fmla="*/ 1537861 w 6781956"/>
              <a:gd name="connsiteY5823" fmla="*/ 3088227 h 6858000"/>
              <a:gd name="connsiteX5824" fmla="*/ 1540949 w 6781956"/>
              <a:gd name="connsiteY5824" fmla="*/ 3083576 h 6858000"/>
              <a:gd name="connsiteX5825" fmla="*/ 1544038 w 6781956"/>
              <a:gd name="connsiteY5825" fmla="*/ 3070788 h 6858000"/>
              <a:gd name="connsiteX5826" fmla="*/ 1544038 w 6781956"/>
              <a:gd name="connsiteY5826" fmla="*/ 3041726 h 6858000"/>
              <a:gd name="connsiteX5827" fmla="*/ 1559481 w 6781956"/>
              <a:gd name="connsiteY5827" fmla="*/ 3045215 h 6858000"/>
              <a:gd name="connsiteX5828" fmla="*/ 1552274 w 6781956"/>
              <a:gd name="connsiteY5828" fmla="*/ 3024288 h 6858000"/>
              <a:gd name="connsiteX5829" fmla="*/ 1558451 w 6781956"/>
              <a:gd name="connsiteY5829" fmla="*/ 3019638 h 6858000"/>
              <a:gd name="connsiteX5830" fmla="*/ 1554333 w 6781956"/>
              <a:gd name="connsiteY5830" fmla="*/ 2998713 h 6858000"/>
              <a:gd name="connsiteX5831" fmla="*/ 1569776 w 6781956"/>
              <a:gd name="connsiteY5831" fmla="*/ 2994062 h 6858000"/>
              <a:gd name="connsiteX5832" fmla="*/ 1571835 w 6781956"/>
              <a:gd name="connsiteY5832" fmla="*/ 2939422 h 6858000"/>
              <a:gd name="connsiteX5833" fmla="*/ 1578012 w 6781956"/>
              <a:gd name="connsiteY5833" fmla="*/ 2918498 h 6858000"/>
              <a:gd name="connsiteX5834" fmla="*/ 1576982 w 6781956"/>
              <a:gd name="connsiteY5834" fmla="*/ 2897572 h 6858000"/>
              <a:gd name="connsiteX5835" fmla="*/ 1580071 w 6781956"/>
              <a:gd name="connsiteY5835" fmla="*/ 2892922 h 6858000"/>
              <a:gd name="connsiteX5836" fmla="*/ 1583160 w 6781956"/>
              <a:gd name="connsiteY5836" fmla="*/ 2880134 h 6858000"/>
              <a:gd name="connsiteX5837" fmla="*/ 1583160 w 6781956"/>
              <a:gd name="connsiteY5837" fmla="*/ 2867347 h 6858000"/>
              <a:gd name="connsiteX5838" fmla="*/ 1586248 w 6781956"/>
              <a:gd name="connsiteY5838" fmla="*/ 2862696 h 6858000"/>
              <a:gd name="connsiteX5839" fmla="*/ 1582130 w 6781956"/>
              <a:gd name="connsiteY5839" fmla="*/ 2837120 h 6858000"/>
              <a:gd name="connsiteX5840" fmla="*/ 1585219 w 6781956"/>
              <a:gd name="connsiteY5840" fmla="*/ 2820845 h 6858000"/>
              <a:gd name="connsiteX5841" fmla="*/ 1584188 w 6781956"/>
              <a:gd name="connsiteY5841" fmla="*/ 2787131 h 6858000"/>
              <a:gd name="connsiteX5842" fmla="*/ 1587277 w 6781956"/>
              <a:gd name="connsiteY5842" fmla="*/ 2782482 h 6858000"/>
              <a:gd name="connsiteX5843" fmla="*/ 1592425 w 6781956"/>
              <a:gd name="connsiteY5843" fmla="*/ 2756906 h 6858000"/>
              <a:gd name="connsiteX5844" fmla="*/ 1614044 w 6781956"/>
              <a:gd name="connsiteY5844" fmla="*/ 2760394 h 6858000"/>
              <a:gd name="connsiteX5845" fmla="*/ 1606838 w 6781956"/>
              <a:gd name="connsiteY5845" fmla="*/ 2726680 h 6858000"/>
              <a:gd name="connsiteX5846" fmla="*/ 1609927 w 6781956"/>
              <a:gd name="connsiteY5846" fmla="*/ 2718544 h 6858000"/>
              <a:gd name="connsiteX5847" fmla="*/ 1614044 w 6781956"/>
              <a:gd name="connsiteY5847" fmla="*/ 2622053 h 6858000"/>
              <a:gd name="connsiteX5848" fmla="*/ 1618163 w 6781956"/>
              <a:gd name="connsiteY5848" fmla="*/ 2533700 h 6858000"/>
              <a:gd name="connsiteX5849" fmla="*/ 1620222 w 6781956"/>
              <a:gd name="connsiteY5849" fmla="*/ 2491850 h 6858000"/>
              <a:gd name="connsiteX5850" fmla="*/ 1623311 w 6781956"/>
              <a:gd name="connsiteY5850" fmla="*/ 2479061 h 6858000"/>
              <a:gd name="connsiteX5851" fmla="*/ 1622281 w 6781956"/>
              <a:gd name="connsiteY5851" fmla="*/ 2441860 h 6858000"/>
              <a:gd name="connsiteX5852" fmla="*/ 1627428 w 6781956"/>
              <a:gd name="connsiteY5852" fmla="*/ 2408146 h 6858000"/>
              <a:gd name="connsiteX5853" fmla="*/ 1620222 w 6781956"/>
              <a:gd name="connsiteY5853" fmla="*/ 2266317 h 6858000"/>
              <a:gd name="connsiteX5854" fmla="*/ 1628457 w 6781956"/>
              <a:gd name="connsiteY5854" fmla="*/ 2237255 h 6858000"/>
              <a:gd name="connsiteX5855" fmla="*/ 1630517 w 6781956"/>
              <a:gd name="connsiteY5855" fmla="*/ 2203542 h 6858000"/>
              <a:gd name="connsiteX5856" fmla="*/ 1629487 w 6781956"/>
              <a:gd name="connsiteY5856" fmla="*/ 2157039 h 6858000"/>
              <a:gd name="connsiteX5857" fmla="*/ 1642870 w 6781956"/>
              <a:gd name="connsiteY5857" fmla="*/ 2198891 h 6858000"/>
              <a:gd name="connsiteX5858" fmla="*/ 1634636 w 6781956"/>
              <a:gd name="connsiteY5858" fmla="*/ 2224467 h 6858000"/>
              <a:gd name="connsiteX5859" fmla="*/ 1644930 w 6781956"/>
              <a:gd name="connsiteY5859" fmla="*/ 2269805 h 6858000"/>
              <a:gd name="connsiteX5860" fmla="*/ 1645960 w 6781956"/>
              <a:gd name="connsiteY5860" fmla="*/ 2319794 h 6858000"/>
              <a:gd name="connsiteX5861" fmla="*/ 1649048 w 6781956"/>
              <a:gd name="connsiteY5861" fmla="*/ 2336070 h 6858000"/>
              <a:gd name="connsiteX5862" fmla="*/ 1645960 w 6781956"/>
              <a:gd name="connsiteY5862" fmla="*/ 2348859 h 6858000"/>
              <a:gd name="connsiteX5863" fmla="*/ 1649048 w 6781956"/>
              <a:gd name="connsiteY5863" fmla="*/ 2365134 h 6858000"/>
              <a:gd name="connsiteX5864" fmla="*/ 1645960 w 6781956"/>
              <a:gd name="connsiteY5864" fmla="*/ 2386058 h 6858000"/>
              <a:gd name="connsiteX5865" fmla="*/ 1658313 w 6781956"/>
              <a:gd name="connsiteY5865" fmla="*/ 2373272 h 6858000"/>
              <a:gd name="connsiteX5866" fmla="*/ 1661402 w 6781956"/>
              <a:gd name="connsiteY5866" fmla="*/ 2368621 h 6858000"/>
              <a:gd name="connsiteX5867" fmla="*/ 1667580 w 6781956"/>
              <a:gd name="connsiteY5867" fmla="*/ 2360483 h 6858000"/>
              <a:gd name="connsiteX5868" fmla="*/ 1666550 w 6781956"/>
              <a:gd name="connsiteY5868" fmla="*/ 2331420 h 6858000"/>
              <a:gd name="connsiteX5869" fmla="*/ 1663461 w 6781956"/>
              <a:gd name="connsiteY5869" fmla="*/ 2326770 h 6858000"/>
              <a:gd name="connsiteX5870" fmla="*/ 1659343 w 6781956"/>
              <a:gd name="connsiteY5870" fmla="*/ 2297707 h 6858000"/>
              <a:gd name="connsiteX5871" fmla="*/ 1652137 w 6781956"/>
              <a:gd name="connsiteY5871" fmla="*/ 2276781 h 6858000"/>
              <a:gd name="connsiteX5872" fmla="*/ 1657286 w 6781956"/>
              <a:gd name="connsiteY5872" fmla="*/ 2247718 h 6858000"/>
              <a:gd name="connsiteX5873" fmla="*/ 1653167 w 6781956"/>
              <a:gd name="connsiteY5873" fmla="*/ 2218654 h 6858000"/>
              <a:gd name="connsiteX5874" fmla="*/ 1656254 w 6781956"/>
              <a:gd name="connsiteY5874" fmla="*/ 2205867 h 6858000"/>
              <a:gd name="connsiteX5875" fmla="*/ 1656254 w 6781956"/>
              <a:gd name="connsiteY5875" fmla="*/ 2189592 h 6858000"/>
              <a:gd name="connsiteX5876" fmla="*/ 1658313 w 6781956"/>
              <a:gd name="connsiteY5876" fmla="*/ 2147741 h 6858000"/>
              <a:gd name="connsiteX5877" fmla="*/ 1657286 w 6781956"/>
              <a:gd name="connsiteY5877" fmla="*/ 2097750 h 6858000"/>
              <a:gd name="connsiteX5878" fmla="*/ 1660373 w 6781956"/>
              <a:gd name="connsiteY5878" fmla="*/ 2084963 h 6858000"/>
              <a:gd name="connsiteX5879" fmla="*/ 1659343 w 6781956"/>
              <a:gd name="connsiteY5879" fmla="*/ 2047761 h 6858000"/>
              <a:gd name="connsiteX5880" fmla="*/ 1661402 w 6781956"/>
              <a:gd name="connsiteY5880" fmla="*/ 2014049 h 6858000"/>
              <a:gd name="connsiteX5881" fmla="*/ 1661402 w 6781956"/>
              <a:gd name="connsiteY5881" fmla="*/ 1997774 h 6858000"/>
              <a:gd name="connsiteX5882" fmla="*/ 1657286 w 6781956"/>
              <a:gd name="connsiteY5882" fmla="*/ 1968710 h 6858000"/>
              <a:gd name="connsiteX5883" fmla="*/ 1656254 w 6781956"/>
              <a:gd name="connsiteY5883" fmla="*/ 1943134 h 6858000"/>
              <a:gd name="connsiteX5884" fmla="*/ 1655226 w 6781956"/>
              <a:gd name="connsiteY5884" fmla="*/ 1917559 h 6858000"/>
              <a:gd name="connsiteX5885" fmla="*/ 1654196 w 6781956"/>
              <a:gd name="connsiteY5885" fmla="*/ 1880357 h 6858000"/>
              <a:gd name="connsiteX5886" fmla="*/ 1638754 w 6781956"/>
              <a:gd name="connsiteY5886" fmla="*/ 1876870 h 6858000"/>
              <a:gd name="connsiteX5887" fmla="*/ 1637724 w 6781956"/>
              <a:gd name="connsiteY5887" fmla="*/ 1709466 h 6858000"/>
              <a:gd name="connsiteX5888" fmla="*/ 1633605 w 6781956"/>
              <a:gd name="connsiteY5888" fmla="*/ 1675753 h 6858000"/>
              <a:gd name="connsiteX5889" fmla="*/ 1632576 w 6781956"/>
              <a:gd name="connsiteY5889" fmla="*/ 1650177 h 6858000"/>
              <a:gd name="connsiteX5890" fmla="*/ 1628457 w 6781956"/>
              <a:gd name="connsiteY5890" fmla="*/ 1612976 h 6858000"/>
              <a:gd name="connsiteX5891" fmla="*/ 1622281 w 6781956"/>
              <a:gd name="connsiteY5891" fmla="*/ 1604838 h 6858000"/>
              <a:gd name="connsiteX5892" fmla="*/ 1616104 w 6781956"/>
              <a:gd name="connsiteY5892" fmla="*/ 1592050 h 6858000"/>
              <a:gd name="connsiteX5893" fmla="*/ 1615074 w 6781956"/>
              <a:gd name="connsiteY5893" fmla="*/ 1566476 h 6858000"/>
              <a:gd name="connsiteX5894" fmla="*/ 1614044 w 6781956"/>
              <a:gd name="connsiteY5894" fmla="*/ 1532762 h 6858000"/>
              <a:gd name="connsiteX5895" fmla="*/ 1606838 w 6781956"/>
              <a:gd name="connsiteY5895" fmla="*/ 1508349 h 6858000"/>
              <a:gd name="connsiteX5896" fmla="*/ 1605809 w 6781956"/>
              <a:gd name="connsiteY5896" fmla="*/ 1474635 h 6858000"/>
              <a:gd name="connsiteX5897" fmla="*/ 1610957 w 6781956"/>
              <a:gd name="connsiteY5897" fmla="*/ 1449060 h 6858000"/>
              <a:gd name="connsiteX5898" fmla="*/ 1622281 w 6781956"/>
              <a:gd name="connsiteY5898" fmla="*/ 1515323 h 6858000"/>
              <a:gd name="connsiteX5899" fmla="*/ 1616104 w 6781956"/>
              <a:gd name="connsiteY5899" fmla="*/ 1410696 h 6858000"/>
              <a:gd name="connsiteX5900" fmla="*/ 1613015 w 6781956"/>
              <a:gd name="connsiteY5900" fmla="*/ 1402558 h 6858000"/>
              <a:gd name="connsiteX5901" fmla="*/ 1606838 w 6781956"/>
              <a:gd name="connsiteY5901" fmla="*/ 1394420 h 6858000"/>
              <a:gd name="connsiteX5902" fmla="*/ 1616104 w 6781956"/>
              <a:gd name="connsiteY5902" fmla="*/ 1373495 h 6858000"/>
              <a:gd name="connsiteX5903" fmla="*/ 1611986 w 6781956"/>
              <a:gd name="connsiteY5903" fmla="*/ 1331644 h 6858000"/>
              <a:gd name="connsiteX5904" fmla="*/ 1615074 w 6781956"/>
              <a:gd name="connsiteY5904" fmla="*/ 1315368 h 6858000"/>
              <a:gd name="connsiteX5905" fmla="*/ 1611986 w 6781956"/>
              <a:gd name="connsiteY5905" fmla="*/ 1299093 h 6858000"/>
              <a:gd name="connsiteX5906" fmla="*/ 1607868 w 6781956"/>
              <a:gd name="connsiteY5906" fmla="*/ 1252591 h 6858000"/>
              <a:gd name="connsiteX5907" fmla="*/ 1604780 w 6781956"/>
              <a:gd name="connsiteY5907" fmla="*/ 1236316 h 6858000"/>
              <a:gd name="connsiteX5908" fmla="*/ 1606838 w 6781956"/>
              <a:gd name="connsiteY5908" fmla="*/ 1320018 h 6858000"/>
              <a:gd name="connsiteX5909" fmla="*/ 1607868 w 6781956"/>
              <a:gd name="connsiteY5909" fmla="*/ 1345594 h 6858000"/>
              <a:gd name="connsiteX5910" fmla="*/ 1604780 w 6781956"/>
              <a:gd name="connsiteY5910" fmla="*/ 1366520 h 6858000"/>
              <a:gd name="connsiteX5911" fmla="*/ 1594485 w 6781956"/>
              <a:gd name="connsiteY5911" fmla="*/ 1342106 h 6858000"/>
              <a:gd name="connsiteX5912" fmla="*/ 1592425 w 6781956"/>
              <a:gd name="connsiteY5912" fmla="*/ 1375819 h 6858000"/>
              <a:gd name="connsiteX5913" fmla="*/ 1582130 w 6781956"/>
              <a:gd name="connsiteY5913" fmla="*/ 1338619 h 6858000"/>
              <a:gd name="connsiteX5914" fmla="*/ 1585219 w 6781956"/>
              <a:gd name="connsiteY5914" fmla="*/ 1325831 h 6858000"/>
              <a:gd name="connsiteX5915" fmla="*/ 1588307 w 6781956"/>
              <a:gd name="connsiteY5915" fmla="*/ 1317693 h 6858000"/>
              <a:gd name="connsiteX5916" fmla="*/ 1598602 w 6781956"/>
              <a:gd name="connsiteY5916" fmla="*/ 1333968 h 6858000"/>
              <a:gd name="connsiteX5917" fmla="*/ 1592425 w 6781956"/>
              <a:gd name="connsiteY5917" fmla="*/ 1195627 h 6858000"/>
              <a:gd name="connsiteX5918" fmla="*/ 1604780 w 6781956"/>
              <a:gd name="connsiteY5918" fmla="*/ 1203766 h 6858000"/>
              <a:gd name="connsiteX5919" fmla="*/ 1597572 w 6781956"/>
              <a:gd name="connsiteY5919" fmla="*/ 1182839 h 6858000"/>
              <a:gd name="connsiteX5920" fmla="*/ 1596543 w 6781956"/>
              <a:gd name="connsiteY5920" fmla="*/ 1161914 h 6858000"/>
              <a:gd name="connsiteX5921" fmla="*/ 1584188 w 6781956"/>
              <a:gd name="connsiteY5921" fmla="*/ 1170052 h 6858000"/>
              <a:gd name="connsiteX5922" fmla="*/ 1573894 w 6781956"/>
              <a:gd name="connsiteY5922" fmla="*/ 1115413 h 6858000"/>
              <a:gd name="connsiteX5923" fmla="*/ 1571835 w 6781956"/>
              <a:gd name="connsiteY5923" fmla="*/ 1173539 h 6858000"/>
              <a:gd name="connsiteX5924" fmla="*/ 1578012 w 6781956"/>
              <a:gd name="connsiteY5924" fmla="*/ 1181677 h 6858000"/>
              <a:gd name="connsiteX5925" fmla="*/ 1576982 w 6781956"/>
              <a:gd name="connsiteY5925" fmla="*/ 1252591 h 6858000"/>
              <a:gd name="connsiteX5926" fmla="*/ 1569776 w 6781956"/>
              <a:gd name="connsiteY5926" fmla="*/ 1215391 h 6858000"/>
              <a:gd name="connsiteX5927" fmla="*/ 1568746 w 6781956"/>
              <a:gd name="connsiteY5927" fmla="*/ 1189815 h 6858000"/>
              <a:gd name="connsiteX5928" fmla="*/ 1565657 w 6781956"/>
              <a:gd name="connsiteY5928" fmla="*/ 1177027 h 6858000"/>
              <a:gd name="connsiteX5929" fmla="*/ 1561539 w 6781956"/>
              <a:gd name="connsiteY5929" fmla="*/ 1156102 h 6858000"/>
              <a:gd name="connsiteX5930" fmla="*/ 1553304 w 6781956"/>
              <a:gd name="connsiteY5930" fmla="*/ 1093324 h 6858000"/>
              <a:gd name="connsiteX5931" fmla="*/ 1549187 w 6781956"/>
              <a:gd name="connsiteY5931" fmla="*/ 1051473 h 6858000"/>
              <a:gd name="connsiteX5932" fmla="*/ 1546098 w 6781956"/>
              <a:gd name="connsiteY5932" fmla="*/ 1038686 h 6858000"/>
              <a:gd name="connsiteX5933" fmla="*/ 1545068 w 6781956"/>
              <a:gd name="connsiteY5933" fmla="*/ 1004973 h 6858000"/>
              <a:gd name="connsiteX5934" fmla="*/ 1537861 w 6781956"/>
              <a:gd name="connsiteY5934" fmla="*/ 980560 h 6858000"/>
              <a:gd name="connsiteX5935" fmla="*/ 1532714 w 6781956"/>
              <a:gd name="connsiteY5935" fmla="*/ 909645 h 6858000"/>
              <a:gd name="connsiteX5936" fmla="*/ 1525506 w 6781956"/>
              <a:gd name="connsiteY5936" fmla="*/ 880581 h 6858000"/>
              <a:gd name="connsiteX5937" fmla="*/ 1524477 w 6781956"/>
              <a:gd name="connsiteY5937" fmla="*/ 851519 h 6858000"/>
              <a:gd name="connsiteX5938" fmla="*/ 1521388 w 6781956"/>
              <a:gd name="connsiteY5938" fmla="*/ 843381 h 6858000"/>
              <a:gd name="connsiteX5939" fmla="*/ 1521388 w 6781956"/>
              <a:gd name="connsiteY5939" fmla="*/ 827106 h 6858000"/>
              <a:gd name="connsiteX5940" fmla="*/ 1506975 w 6781956"/>
              <a:gd name="connsiteY5940" fmla="*/ 751541 h 6858000"/>
              <a:gd name="connsiteX5941" fmla="*/ 1502858 w 6781956"/>
              <a:gd name="connsiteY5941" fmla="*/ 725966 h 6858000"/>
              <a:gd name="connsiteX5942" fmla="*/ 1488445 w 6781956"/>
              <a:gd name="connsiteY5942" fmla="*/ 650401 h 6858000"/>
              <a:gd name="connsiteX5943" fmla="*/ 1481238 w 6781956"/>
              <a:gd name="connsiteY5943" fmla="*/ 605062 h 6858000"/>
              <a:gd name="connsiteX5944" fmla="*/ 1477120 w 6781956"/>
              <a:gd name="connsiteY5944" fmla="*/ 567861 h 6858000"/>
              <a:gd name="connsiteX5945" fmla="*/ 1474031 w 6781956"/>
              <a:gd name="connsiteY5945" fmla="*/ 567861 h 6858000"/>
              <a:gd name="connsiteX5946" fmla="*/ 1473002 w 6781956"/>
              <a:gd name="connsiteY5946" fmla="*/ 546935 h 6858000"/>
              <a:gd name="connsiteX5947" fmla="*/ 1462706 w 6781956"/>
              <a:gd name="connsiteY5947" fmla="*/ 505084 h 6858000"/>
              <a:gd name="connsiteX5948" fmla="*/ 1458588 w 6781956"/>
              <a:gd name="connsiteY5948" fmla="*/ 471370 h 6858000"/>
              <a:gd name="connsiteX5949" fmla="*/ 1454471 w 6781956"/>
              <a:gd name="connsiteY5949" fmla="*/ 437658 h 6858000"/>
              <a:gd name="connsiteX5950" fmla="*/ 1451382 w 6781956"/>
              <a:gd name="connsiteY5950" fmla="*/ 437658 h 6858000"/>
              <a:gd name="connsiteX5951" fmla="*/ 1451382 w 6781956"/>
              <a:gd name="connsiteY5951" fmla="*/ 429520 h 6858000"/>
              <a:gd name="connsiteX5952" fmla="*/ 1447263 w 6781956"/>
              <a:gd name="connsiteY5952" fmla="*/ 408594 h 6858000"/>
              <a:gd name="connsiteX5953" fmla="*/ 1444175 w 6781956"/>
              <a:gd name="connsiteY5953" fmla="*/ 403944 h 6858000"/>
              <a:gd name="connsiteX5954" fmla="*/ 1436969 w 6781956"/>
              <a:gd name="connsiteY5954" fmla="*/ 362093 h 6858000"/>
              <a:gd name="connsiteX5955" fmla="*/ 1433880 w 6781956"/>
              <a:gd name="connsiteY5955" fmla="*/ 357443 h 6858000"/>
              <a:gd name="connsiteX5956" fmla="*/ 1433880 w 6781956"/>
              <a:gd name="connsiteY5956" fmla="*/ 349306 h 6858000"/>
              <a:gd name="connsiteX5957" fmla="*/ 1426674 w 6781956"/>
              <a:gd name="connsiteY5957" fmla="*/ 315592 h 6858000"/>
              <a:gd name="connsiteX5958" fmla="*/ 1416379 w 6781956"/>
              <a:gd name="connsiteY5958" fmla="*/ 278391 h 6858000"/>
              <a:gd name="connsiteX5959" fmla="*/ 1412260 w 6781956"/>
              <a:gd name="connsiteY5959" fmla="*/ 257465 h 6858000"/>
              <a:gd name="connsiteX5960" fmla="*/ 1408143 w 6781956"/>
              <a:gd name="connsiteY5960" fmla="*/ 228402 h 6858000"/>
              <a:gd name="connsiteX5961" fmla="*/ 1401965 w 6781956"/>
              <a:gd name="connsiteY5961" fmla="*/ 220264 h 6858000"/>
              <a:gd name="connsiteX5962" fmla="*/ 1401965 w 6781956"/>
              <a:gd name="connsiteY5962" fmla="*/ 212127 h 6858000"/>
              <a:gd name="connsiteX5963" fmla="*/ 1397847 w 6781956"/>
              <a:gd name="connsiteY5963" fmla="*/ 191200 h 6858000"/>
              <a:gd name="connsiteX5964" fmla="*/ 1394759 w 6781956"/>
              <a:gd name="connsiteY5964" fmla="*/ 186551 h 6858000"/>
              <a:gd name="connsiteX5965" fmla="*/ 1387552 w 6781956"/>
              <a:gd name="connsiteY5965" fmla="*/ 136562 h 6858000"/>
              <a:gd name="connsiteX5966" fmla="*/ 1384463 w 6781956"/>
              <a:gd name="connsiteY5966" fmla="*/ 131912 h 6858000"/>
              <a:gd name="connsiteX5967" fmla="*/ 1381374 w 6781956"/>
              <a:gd name="connsiteY5967" fmla="*/ 119124 h 6858000"/>
              <a:gd name="connsiteX5968" fmla="*/ 1381374 w 6781956"/>
              <a:gd name="connsiteY5968" fmla="*/ 114475 h 6858000"/>
              <a:gd name="connsiteX5969" fmla="*/ 1378287 w 6781956"/>
              <a:gd name="connsiteY5969" fmla="*/ 109823 h 6858000"/>
              <a:gd name="connsiteX5970" fmla="*/ 1374169 w 6781956"/>
              <a:gd name="connsiteY5970" fmla="*/ 76111 h 6858000"/>
              <a:gd name="connsiteX5971" fmla="*/ 1371080 w 6781956"/>
              <a:gd name="connsiteY5971" fmla="*/ 71461 h 6858000"/>
              <a:gd name="connsiteX5972" fmla="*/ 1367991 w 6781956"/>
              <a:gd name="connsiteY5972" fmla="*/ 58672 h 6858000"/>
              <a:gd name="connsiteX5973" fmla="*/ 1357696 w 6781956"/>
              <a:gd name="connsiteY5973" fmla="*/ 21472 h 6858000"/>
              <a:gd name="connsiteX5974" fmla="*/ 1357696 w 6781956"/>
              <a:gd name="connsiteY5974" fmla="*/ 13335 h 6858000"/>
              <a:gd name="connsiteX5975" fmla="*/ 1354607 w 6781956"/>
              <a:gd name="connsiteY5975" fmla="*/ 13335 h 6858000"/>
              <a:gd name="connsiteX5976" fmla="*/ 1354607 w 6781956"/>
              <a:gd name="connsiteY5976" fmla="*/ 5197 h 6858000"/>
              <a:gd name="connsiteX5977" fmla="*/ 1351520 w 6781956"/>
              <a:gd name="connsiteY5977" fmla="*/ 5197 h 6858000"/>
              <a:gd name="connsiteX5978" fmla="*/ 1338648 w 6781956"/>
              <a:gd name="connsiteY5978" fmla="*/ 1403 h 6858000"/>
              <a:gd name="connsiteX5979" fmla="*/ 1348092 w 6781956"/>
              <a:gd name="connsiteY5979" fmla="*/ 1403 h 6858000"/>
              <a:gd name="connsiteX5980" fmla="*/ 1354607 w 6781956"/>
              <a:gd name="connsiteY5980" fmla="*/ 42397 h 6858000"/>
              <a:gd name="connsiteX5981" fmla="*/ 1360785 w 6781956"/>
              <a:gd name="connsiteY5981" fmla="*/ 50534 h 6858000"/>
              <a:gd name="connsiteX5982" fmla="*/ 1364903 w 6781956"/>
              <a:gd name="connsiteY5982" fmla="*/ 71461 h 6858000"/>
              <a:gd name="connsiteX5983" fmla="*/ 1367991 w 6781956"/>
              <a:gd name="connsiteY5983" fmla="*/ 76111 h 6858000"/>
              <a:gd name="connsiteX5984" fmla="*/ 1378287 w 6781956"/>
              <a:gd name="connsiteY5984" fmla="*/ 126099 h 6858000"/>
              <a:gd name="connsiteX5985" fmla="*/ 1382406 w 6781956"/>
              <a:gd name="connsiteY5985" fmla="*/ 147025 h 6858000"/>
              <a:gd name="connsiteX5986" fmla="*/ 1392700 w 6781956"/>
              <a:gd name="connsiteY5986" fmla="*/ 192363 h 6858000"/>
              <a:gd name="connsiteX5987" fmla="*/ 1399906 w 6781956"/>
              <a:gd name="connsiteY5987" fmla="*/ 213289 h 6858000"/>
              <a:gd name="connsiteX5988" fmla="*/ 1404024 w 6781956"/>
              <a:gd name="connsiteY5988" fmla="*/ 238865 h 6858000"/>
              <a:gd name="connsiteX5989" fmla="*/ 1404024 w 6781956"/>
              <a:gd name="connsiteY5989" fmla="*/ 243515 h 6858000"/>
              <a:gd name="connsiteX5990" fmla="*/ 1407113 w 6781956"/>
              <a:gd name="connsiteY5990" fmla="*/ 248165 h 6858000"/>
              <a:gd name="connsiteX5991" fmla="*/ 1411231 w 6781956"/>
              <a:gd name="connsiteY5991" fmla="*/ 269090 h 6858000"/>
              <a:gd name="connsiteX5992" fmla="*/ 1421526 w 6781956"/>
              <a:gd name="connsiteY5992" fmla="*/ 306292 h 6858000"/>
              <a:gd name="connsiteX5993" fmla="*/ 1425645 w 6781956"/>
              <a:gd name="connsiteY5993" fmla="*/ 327216 h 6858000"/>
              <a:gd name="connsiteX5994" fmla="*/ 1425645 w 6781956"/>
              <a:gd name="connsiteY5994" fmla="*/ 335354 h 6858000"/>
              <a:gd name="connsiteX5995" fmla="*/ 1435939 w 6781956"/>
              <a:gd name="connsiteY5995" fmla="*/ 372556 h 6858000"/>
              <a:gd name="connsiteX5996" fmla="*/ 1440057 w 6781956"/>
              <a:gd name="connsiteY5996" fmla="*/ 398132 h 6858000"/>
              <a:gd name="connsiteX5997" fmla="*/ 1447263 w 6781956"/>
              <a:gd name="connsiteY5997" fmla="*/ 422545 h 6858000"/>
              <a:gd name="connsiteX5998" fmla="*/ 1455500 w 6781956"/>
              <a:gd name="connsiteY5998" fmla="*/ 485322 h 6858000"/>
              <a:gd name="connsiteX5999" fmla="*/ 1458588 w 6781956"/>
              <a:gd name="connsiteY5999" fmla="*/ 489971 h 6858000"/>
              <a:gd name="connsiteX6000" fmla="*/ 1462706 w 6781956"/>
              <a:gd name="connsiteY6000" fmla="*/ 519036 h 6858000"/>
              <a:gd name="connsiteX6001" fmla="*/ 1465795 w 6781956"/>
              <a:gd name="connsiteY6001" fmla="*/ 523685 h 6858000"/>
              <a:gd name="connsiteX6002" fmla="*/ 1473002 w 6781956"/>
              <a:gd name="connsiteY6002" fmla="*/ 578323 h 6858000"/>
              <a:gd name="connsiteX6003" fmla="*/ 1477120 w 6781956"/>
              <a:gd name="connsiteY6003" fmla="*/ 615524 h 6858000"/>
              <a:gd name="connsiteX6004" fmla="*/ 1484326 w 6781956"/>
              <a:gd name="connsiteY6004" fmla="*/ 636451 h 6858000"/>
              <a:gd name="connsiteX6005" fmla="*/ 1485356 w 6781956"/>
              <a:gd name="connsiteY6005" fmla="*/ 657376 h 6858000"/>
              <a:gd name="connsiteX6006" fmla="*/ 1492562 w 6781956"/>
              <a:gd name="connsiteY6006" fmla="*/ 678301 h 6858000"/>
              <a:gd name="connsiteX6007" fmla="*/ 1499769 w 6781956"/>
              <a:gd name="connsiteY6007" fmla="*/ 732941 h 6858000"/>
              <a:gd name="connsiteX6008" fmla="*/ 1510064 w 6781956"/>
              <a:gd name="connsiteY6008" fmla="*/ 787579 h 6858000"/>
              <a:gd name="connsiteX6009" fmla="*/ 1511094 w 6781956"/>
              <a:gd name="connsiteY6009" fmla="*/ 808505 h 6858000"/>
              <a:gd name="connsiteX6010" fmla="*/ 1518301 w 6781956"/>
              <a:gd name="connsiteY6010" fmla="*/ 837568 h 6858000"/>
              <a:gd name="connsiteX6011" fmla="*/ 1526537 w 6781956"/>
              <a:gd name="connsiteY6011" fmla="*/ 934058 h 6858000"/>
              <a:gd name="connsiteX6012" fmla="*/ 1529625 w 6781956"/>
              <a:gd name="connsiteY6012" fmla="*/ 946846 h 6858000"/>
              <a:gd name="connsiteX6013" fmla="*/ 1537861 w 6781956"/>
              <a:gd name="connsiteY6013" fmla="*/ 1013110 h 6858000"/>
              <a:gd name="connsiteX6014" fmla="*/ 1531684 w 6781956"/>
              <a:gd name="connsiteY6014" fmla="*/ 1025898 h 6858000"/>
              <a:gd name="connsiteX6015" fmla="*/ 1528595 w 6781956"/>
              <a:gd name="connsiteY6015" fmla="*/ 1021249 h 6858000"/>
              <a:gd name="connsiteX6016" fmla="*/ 1525506 w 6781956"/>
              <a:gd name="connsiteY6016" fmla="*/ 1016597 h 6858000"/>
              <a:gd name="connsiteX6017" fmla="*/ 1528595 w 6781956"/>
              <a:gd name="connsiteY6017" fmla="*/ 1000322 h 6858000"/>
              <a:gd name="connsiteX6018" fmla="*/ 1525506 w 6781956"/>
              <a:gd name="connsiteY6018" fmla="*/ 995673 h 6858000"/>
              <a:gd name="connsiteX6019" fmla="*/ 1525506 w 6781956"/>
              <a:gd name="connsiteY6019" fmla="*/ 982884 h 6858000"/>
              <a:gd name="connsiteX6020" fmla="*/ 1521388 w 6781956"/>
              <a:gd name="connsiteY6020" fmla="*/ 949171 h 6858000"/>
              <a:gd name="connsiteX6021" fmla="*/ 1517271 w 6781956"/>
              <a:gd name="connsiteY6021" fmla="*/ 928246 h 6858000"/>
              <a:gd name="connsiteX6022" fmla="*/ 1509035 w 6781956"/>
              <a:gd name="connsiteY6022" fmla="*/ 870120 h 6858000"/>
              <a:gd name="connsiteX6023" fmla="*/ 1509035 w 6781956"/>
              <a:gd name="connsiteY6023" fmla="*/ 857330 h 6858000"/>
              <a:gd name="connsiteX6024" fmla="*/ 1505945 w 6781956"/>
              <a:gd name="connsiteY6024" fmla="*/ 852681 h 6858000"/>
              <a:gd name="connsiteX6025" fmla="*/ 1503888 w 6781956"/>
              <a:gd name="connsiteY6025" fmla="*/ 789904 h 6858000"/>
              <a:gd name="connsiteX6026" fmla="*/ 1493592 w 6781956"/>
              <a:gd name="connsiteY6026" fmla="*/ 752704 h 6858000"/>
              <a:gd name="connsiteX6027" fmla="*/ 1482268 w 6781956"/>
              <a:gd name="connsiteY6027" fmla="*/ 694578 h 6858000"/>
              <a:gd name="connsiteX6028" fmla="*/ 1475061 w 6781956"/>
              <a:gd name="connsiteY6028" fmla="*/ 673651 h 6858000"/>
              <a:gd name="connsiteX6029" fmla="*/ 1470943 w 6781956"/>
              <a:gd name="connsiteY6029" fmla="*/ 639938 h 6858000"/>
              <a:gd name="connsiteX6030" fmla="*/ 1464766 w 6781956"/>
              <a:gd name="connsiteY6030" fmla="*/ 623662 h 6858000"/>
              <a:gd name="connsiteX6031" fmla="*/ 1456530 w 6781956"/>
              <a:gd name="connsiteY6031" fmla="*/ 557398 h 6858000"/>
              <a:gd name="connsiteX6032" fmla="*/ 1449323 w 6781956"/>
              <a:gd name="connsiteY6032" fmla="*/ 528335 h 6858000"/>
              <a:gd name="connsiteX6033" fmla="*/ 1442117 w 6781956"/>
              <a:gd name="connsiteY6033" fmla="*/ 494621 h 6858000"/>
              <a:gd name="connsiteX6034" fmla="*/ 1442117 w 6781956"/>
              <a:gd name="connsiteY6034" fmla="*/ 486483 h 6858000"/>
              <a:gd name="connsiteX6035" fmla="*/ 1439028 w 6781956"/>
              <a:gd name="connsiteY6035" fmla="*/ 486483 h 6858000"/>
              <a:gd name="connsiteX6036" fmla="*/ 1437999 w 6781956"/>
              <a:gd name="connsiteY6036" fmla="*/ 431845 h 6858000"/>
              <a:gd name="connsiteX6037" fmla="*/ 1431821 w 6781956"/>
              <a:gd name="connsiteY6037" fmla="*/ 415570 h 6858000"/>
              <a:gd name="connsiteX6038" fmla="*/ 1427703 w 6781956"/>
              <a:gd name="connsiteY6038" fmla="*/ 378368 h 6858000"/>
              <a:gd name="connsiteX6039" fmla="*/ 1424614 w 6781956"/>
              <a:gd name="connsiteY6039" fmla="*/ 378368 h 6858000"/>
              <a:gd name="connsiteX6040" fmla="*/ 1424614 w 6781956"/>
              <a:gd name="connsiteY6040" fmla="*/ 370230 h 6858000"/>
              <a:gd name="connsiteX6041" fmla="*/ 1414319 w 6781956"/>
              <a:gd name="connsiteY6041" fmla="*/ 328380 h 6858000"/>
              <a:gd name="connsiteX6042" fmla="*/ 1411231 w 6781956"/>
              <a:gd name="connsiteY6042" fmla="*/ 312104 h 6858000"/>
              <a:gd name="connsiteX6043" fmla="*/ 1404024 w 6781956"/>
              <a:gd name="connsiteY6043" fmla="*/ 287691 h 6858000"/>
              <a:gd name="connsiteX6044" fmla="*/ 1390641 w 6781956"/>
              <a:gd name="connsiteY6044" fmla="*/ 233053 h 6858000"/>
              <a:gd name="connsiteX6045" fmla="*/ 1387552 w 6781956"/>
              <a:gd name="connsiteY6045" fmla="*/ 216776 h 6858000"/>
              <a:gd name="connsiteX6046" fmla="*/ 1387552 w 6781956"/>
              <a:gd name="connsiteY6046" fmla="*/ 212127 h 6858000"/>
              <a:gd name="connsiteX6047" fmla="*/ 1384463 w 6781956"/>
              <a:gd name="connsiteY6047" fmla="*/ 207476 h 6858000"/>
              <a:gd name="connsiteX6048" fmla="*/ 1383433 w 6781956"/>
              <a:gd name="connsiteY6048" fmla="*/ 186551 h 6858000"/>
              <a:gd name="connsiteX6049" fmla="*/ 1377257 w 6781956"/>
              <a:gd name="connsiteY6049" fmla="*/ 178413 h 6858000"/>
              <a:gd name="connsiteX6050" fmla="*/ 1374169 w 6781956"/>
              <a:gd name="connsiteY6050" fmla="*/ 165626 h 6858000"/>
              <a:gd name="connsiteX6051" fmla="*/ 1377257 w 6781956"/>
              <a:gd name="connsiteY6051" fmla="*/ 160976 h 6858000"/>
              <a:gd name="connsiteX6052" fmla="*/ 1374169 w 6781956"/>
              <a:gd name="connsiteY6052" fmla="*/ 152838 h 6858000"/>
              <a:gd name="connsiteX6053" fmla="*/ 1370050 w 6781956"/>
              <a:gd name="connsiteY6053" fmla="*/ 123775 h 6858000"/>
              <a:gd name="connsiteX6054" fmla="*/ 1366963 w 6781956"/>
              <a:gd name="connsiteY6054" fmla="*/ 119124 h 6858000"/>
              <a:gd name="connsiteX6055" fmla="*/ 1359756 w 6781956"/>
              <a:gd name="connsiteY6055" fmla="*/ 77273 h 6858000"/>
              <a:gd name="connsiteX6056" fmla="*/ 1356667 w 6781956"/>
              <a:gd name="connsiteY6056" fmla="*/ 60998 h 6858000"/>
              <a:gd name="connsiteX6057" fmla="*/ 1353579 w 6781956"/>
              <a:gd name="connsiteY6057" fmla="*/ 56348 h 6858000"/>
              <a:gd name="connsiteX6058" fmla="*/ 1346372 w 6781956"/>
              <a:gd name="connsiteY6058" fmla="*/ 27284 h 6858000"/>
              <a:gd name="connsiteX6059" fmla="*/ 1340194 w 6781956"/>
              <a:gd name="connsiteY6059" fmla="*/ 11009 h 6858000"/>
              <a:gd name="connsiteX6060" fmla="*/ 1301031 w 6781956"/>
              <a:gd name="connsiteY6060" fmla="*/ 1403 h 6858000"/>
              <a:gd name="connsiteX6061" fmla="*/ 1327517 w 6781956"/>
              <a:gd name="connsiteY6061" fmla="*/ 1403 h 6858000"/>
              <a:gd name="connsiteX6062" fmla="*/ 1334018 w 6781956"/>
              <a:gd name="connsiteY6062" fmla="*/ 16822 h 6858000"/>
              <a:gd name="connsiteX6063" fmla="*/ 1337106 w 6781956"/>
              <a:gd name="connsiteY6063" fmla="*/ 33097 h 6858000"/>
              <a:gd name="connsiteX6064" fmla="*/ 1340194 w 6781956"/>
              <a:gd name="connsiteY6064" fmla="*/ 45885 h 6858000"/>
              <a:gd name="connsiteX6065" fmla="*/ 1347401 w 6781956"/>
              <a:gd name="connsiteY6065" fmla="*/ 74947 h 6858000"/>
              <a:gd name="connsiteX6066" fmla="*/ 1347401 w 6781956"/>
              <a:gd name="connsiteY6066" fmla="*/ 91223 h 6858000"/>
              <a:gd name="connsiteX6067" fmla="*/ 1353579 w 6781956"/>
              <a:gd name="connsiteY6067" fmla="*/ 107498 h 6858000"/>
              <a:gd name="connsiteX6068" fmla="*/ 1350490 w 6781956"/>
              <a:gd name="connsiteY6068" fmla="*/ 112149 h 6858000"/>
              <a:gd name="connsiteX6069" fmla="*/ 1356667 w 6781956"/>
              <a:gd name="connsiteY6069" fmla="*/ 120287 h 6858000"/>
              <a:gd name="connsiteX6070" fmla="*/ 1353579 w 6781956"/>
              <a:gd name="connsiteY6070" fmla="*/ 136562 h 6858000"/>
              <a:gd name="connsiteX6071" fmla="*/ 1363874 w 6781956"/>
              <a:gd name="connsiteY6071" fmla="*/ 152838 h 6858000"/>
              <a:gd name="connsiteX6072" fmla="*/ 1374169 w 6781956"/>
              <a:gd name="connsiteY6072" fmla="*/ 198176 h 6858000"/>
              <a:gd name="connsiteX6073" fmla="*/ 1406083 w 6781956"/>
              <a:gd name="connsiteY6073" fmla="*/ 340006 h 6858000"/>
              <a:gd name="connsiteX6074" fmla="*/ 1396817 w 6781956"/>
              <a:gd name="connsiteY6074" fmla="*/ 344655 h 6858000"/>
              <a:gd name="connsiteX6075" fmla="*/ 1407113 w 6781956"/>
              <a:gd name="connsiteY6075" fmla="*/ 389994 h 6858000"/>
              <a:gd name="connsiteX6076" fmla="*/ 1414319 w 6781956"/>
              <a:gd name="connsiteY6076" fmla="*/ 410919 h 6858000"/>
              <a:gd name="connsiteX6077" fmla="*/ 1418438 w 6781956"/>
              <a:gd name="connsiteY6077" fmla="*/ 436494 h 6858000"/>
              <a:gd name="connsiteX6078" fmla="*/ 1424614 w 6781956"/>
              <a:gd name="connsiteY6078" fmla="*/ 444632 h 6858000"/>
              <a:gd name="connsiteX6079" fmla="*/ 1424614 w 6781956"/>
              <a:gd name="connsiteY6079" fmla="*/ 452770 h 6858000"/>
              <a:gd name="connsiteX6080" fmla="*/ 1430792 w 6781956"/>
              <a:gd name="connsiteY6080" fmla="*/ 456258 h 6858000"/>
              <a:gd name="connsiteX6081" fmla="*/ 1437999 w 6781956"/>
              <a:gd name="connsiteY6081" fmla="*/ 501597 h 6858000"/>
              <a:gd name="connsiteX6082" fmla="*/ 1442117 w 6781956"/>
              <a:gd name="connsiteY6082" fmla="*/ 527173 h 6858000"/>
              <a:gd name="connsiteX6083" fmla="*/ 1432850 w 6781956"/>
              <a:gd name="connsiteY6083" fmla="*/ 535311 h 6858000"/>
              <a:gd name="connsiteX6084" fmla="*/ 1440057 w 6781956"/>
              <a:gd name="connsiteY6084" fmla="*/ 564373 h 6858000"/>
              <a:gd name="connsiteX6085" fmla="*/ 1441088 w 6781956"/>
              <a:gd name="connsiteY6085" fmla="*/ 598087 h 6858000"/>
              <a:gd name="connsiteX6086" fmla="*/ 1427703 w 6781956"/>
              <a:gd name="connsiteY6086" fmla="*/ 543449 h 6858000"/>
              <a:gd name="connsiteX6087" fmla="*/ 1424614 w 6781956"/>
              <a:gd name="connsiteY6087" fmla="*/ 543449 h 6858000"/>
              <a:gd name="connsiteX6088" fmla="*/ 1424614 w 6781956"/>
              <a:gd name="connsiteY6088" fmla="*/ 535311 h 6858000"/>
              <a:gd name="connsiteX6089" fmla="*/ 1421526 w 6781956"/>
              <a:gd name="connsiteY6089" fmla="*/ 522522 h 6858000"/>
              <a:gd name="connsiteX6090" fmla="*/ 1421526 w 6781956"/>
              <a:gd name="connsiteY6090" fmla="*/ 514384 h 6858000"/>
              <a:gd name="connsiteX6091" fmla="*/ 1418438 w 6781956"/>
              <a:gd name="connsiteY6091" fmla="*/ 514384 h 6858000"/>
              <a:gd name="connsiteX6092" fmla="*/ 1418438 w 6781956"/>
              <a:gd name="connsiteY6092" fmla="*/ 506247 h 6858000"/>
              <a:gd name="connsiteX6093" fmla="*/ 1408143 w 6781956"/>
              <a:gd name="connsiteY6093" fmla="*/ 451608 h 6858000"/>
              <a:gd name="connsiteX6094" fmla="*/ 1397847 w 6781956"/>
              <a:gd name="connsiteY6094" fmla="*/ 422545 h 6858000"/>
              <a:gd name="connsiteX6095" fmla="*/ 1404024 w 6781956"/>
              <a:gd name="connsiteY6095" fmla="*/ 401619 h 6858000"/>
              <a:gd name="connsiteX6096" fmla="*/ 1396817 w 6781956"/>
              <a:gd name="connsiteY6096" fmla="*/ 377205 h 6858000"/>
              <a:gd name="connsiteX6097" fmla="*/ 1390641 w 6781956"/>
              <a:gd name="connsiteY6097" fmla="*/ 369068 h 6858000"/>
              <a:gd name="connsiteX6098" fmla="*/ 1380346 w 6781956"/>
              <a:gd name="connsiteY6098" fmla="*/ 327216 h 6858000"/>
              <a:gd name="connsiteX6099" fmla="*/ 1380346 w 6781956"/>
              <a:gd name="connsiteY6099" fmla="*/ 319079 h 6858000"/>
              <a:gd name="connsiteX6100" fmla="*/ 1377257 w 6781956"/>
              <a:gd name="connsiteY6100" fmla="*/ 319079 h 6858000"/>
              <a:gd name="connsiteX6101" fmla="*/ 1377257 w 6781956"/>
              <a:gd name="connsiteY6101" fmla="*/ 310941 h 6858000"/>
              <a:gd name="connsiteX6102" fmla="*/ 1370050 w 6781956"/>
              <a:gd name="connsiteY6102" fmla="*/ 290017 h 6858000"/>
              <a:gd name="connsiteX6103" fmla="*/ 1362844 w 6781956"/>
              <a:gd name="connsiteY6103" fmla="*/ 248165 h 6858000"/>
              <a:gd name="connsiteX6104" fmla="*/ 1362844 w 6781956"/>
              <a:gd name="connsiteY6104" fmla="*/ 240028 h 6858000"/>
              <a:gd name="connsiteX6105" fmla="*/ 1352548 w 6781956"/>
              <a:gd name="connsiteY6105" fmla="*/ 202826 h 6858000"/>
              <a:gd name="connsiteX6106" fmla="*/ 1342254 w 6781956"/>
              <a:gd name="connsiteY6106" fmla="*/ 173764 h 6858000"/>
              <a:gd name="connsiteX6107" fmla="*/ 1342254 w 6781956"/>
              <a:gd name="connsiteY6107" fmla="*/ 169113 h 6858000"/>
              <a:gd name="connsiteX6108" fmla="*/ 1339164 w 6781956"/>
              <a:gd name="connsiteY6108" fmla="*/ 164464 h 6858000"/>
              <a:gd name="connsiteX6109" fmla="*/ 1335048 w 6781956"/>
              <a:gd name="connsiteY6109" fmla="*/ 122612 h 6858000"/>
              <a:gd name="connsiteX6110" fmla="*/ 1327840 w 6781956"/>
              <a:gd name="connsiteY6110" fmla="*/ 101686 h 6858000"/>
              <a:gd name="connsiteX6111" fmla="*/ 1314457 w 6781956"/>
              <a:gd name="connsiteY6111" fmla="*/ 51698 h 6858000"/>
              <a:gd name="connsiteX6112" fmla="*/ 1310339 w 6781956"/>
              <a:gd name="connsiteY6112" fmla="*/ 22635 h 6858000"/>
              <a:gd name="connsiteX6113" fmla="*/ 1304162 w 6781956"/>
              <a:gd name="connsiteY6113" fmla="*/ 14497 h 6858000"/>
              <a:gd name="connsiteX6114" fmla="*/ 1304162 w 6781956"/>
              <a:gd name="connsiteY6114" fmla="*/ 6359 h 6858000"/>
              <a:gd name="connsiteX6115" fmla="*/ 1301074 w 6781956"/>
              <a:gd name="connsiteY6115" fmla="*/ 1709 h 6858000"/>
              <a:gd name="connsiteX6116" fmla="*/ 1183462 w 6781956"/>
              <a:gd name="connsiteY6116" fmla="*/ 1403 h 6858000"/>
              <a:gd name="connsiteX6117" fmla="*/ 1194756 w 6781956"/>
              <a:gd name="connsiteY6117" fmla="*/ 1403 h 6858000"/>
              <a:gd name="connsiteX6118" fmla="*/ 1202240 w 6781956"/>
              <a:gd name="connsiteY6118" fmla="*/ 13335 h 6858000"/>
              <a:gd name="connsiteX6119" fmla="*/ 1201760 w 6781956"/>
              <a:gd name="connsiteY6119" fmla="*/ 1403 h 6858000"/>
              <a:gd name="connsiteX6120" fmla="*/ 1210184 w 6781956"/>
              <a:gd name="connsiteY6120" fmla="*/ 1403 h 6858000"/>
              <a:gd name="connsiteX6121" fmla="*/ 1210477 w 6781956"/>
              <a:gd name="connsiteY6121" fmla="*/ 2435 h 6858000"/>
              <a:gd name="connsiteX6122" fmla="*/ 1218712 w 6781956"/>
              <a:gd name="connsiteY6122" fmla="*/ 17984 h 6858000"/>
              <a:gd name="connsiteX6123" fmla="*/ 1245481 w 6781956"/>
              <a:gd name="connsiteY6123" fmla="*/ 80761 h 6858000"/>
              <a:gd name="connsiteX6124" fmla="*/ 1235184 w 6781956"/>
              <a:gd name="connsiteY6124" fmla="*/ 56348 h 6858000"/>
              <a:gd name="connsiteX6125" fmla="*/ 1231066 w 6781956"/>
              <a:gd name="connsiteY6125" fmla="*/ 35421 h 6858000"/>
              <a:gd name="connsiteX6126" fmla="*/ 1220771 w 6781956"/>
              <a:gd name="connsiteY6126" fmla="*/ 6359 h 6858000"/>
              <a:gd name="connsiteX6127" fmla="*/ 1217682 w 6781956"/>
              <a:gd name="connsiteY6127" fmla="*/ 1709 h 6858000"/>
              <a:gd name="connsiteX6128" fmla="*/ 1217585 w 6781956"/>
              <a:gd name="connsiteY6128" fmla="*/ 1403 h 6858000"/>
              <a:gd name="connsiteX6129" fmla="*/ 1244390 w 6781956"/>
              <a:gd name="connsiteY6129" fmla="*/ 1403 h 6858000"/>
              <a:gd name="connsiteX6130" fmla="*/ 1244449 w 6781956"/>
              <a:gd name="connsiteY6130" fmla="*/ 2871 h 6858000"/>
              <a:gd name="connsiteX6131" fmla="*/ 1257834 w 6781956"/>
              <a:gd name="connsiteY6131" fmla="*/ 37457 h 6858000"/>
              <a:gd name="connsiteX6132" fmla="*/ 1263678 w 6781956"/>
              <a:gd name="connsiteY6132" fmla="*/ 58078 h 6858000"/>
              <a:gd name="connsiteX6133" fmla="*/ 1264011 w 6781956"/>
              <a:gd name="connsiteY6133" fmla="*/ 59835 h 6858000"/>
              <a:gd name="connsiteX6134" fmla="*/ 1264661 w 6781956"/>
              <a:gd name="connsiteY6134" fmla="*/ 61547 h 6858000"/>
              <a:gd name="connsiteX6135" fmla="*/ 1268129 w 6781956"/>
              <a:gd name="connsiteY6135" fmla="*/ 73785 h 6858000"/>
              <a:gd name="connsiteX6136" fmla="*/ 1268714 w 6781956"/>
              <a:gd name="connsiteY6136" fmla="*/ 75405 h 6858000"/>
              <a:gd name="connsiteX6137" fmla="*/ 1268773 w 6781956"/>
              <a:gd name="connsiteY6137" fmla="*/ 75674 h 6858000"/>
              <a:gd name="connsiteX6138" fmla="*/ 1268829 w 6781956"/>
              <a:gd name="connsiteY6138" fmla="*/ 75728 h 6858000"/>
              <a:gd name="connsiteX6139" fmla="*/ 1276364 w 6781956"/>
              <a:gd name="connsiteY6139" fmla="*/ 96601 h 6858000"/>
              <a:gd name="connsiteX6140" fmla="*/ 1278424 w 6781956"/>
              <a:gd name="connsiteY6140" fmla="*/ 123775 h 6858000"/>
              <a:gd name="connsiteX6141" fmla="*/ 1292837 w 6781956"/>
              <a:gd name="connsiteY6141" fmla="*/ 181901 h 6858000"/>
              <a:gd name="connsiteX6142" fmla="*/ 1286661 w 6781956"/>
              <a:gd name="connsiteY6142" fmla="*/ 190039 h 6858000"/>
              <a:gd name="connsiteX6143" fmla="*/ 1289749 w 6781956"/>
              <a:gd name="connsiteY6143" fmla="*/ 206314 h 6858000"/>
              <a:gd name="connsiteX6144" fmla="*/ 1306220 w 6781956"/>
              <a:gd name="connsiteY6144" fmla="*/ 243515 h 6858000"/>
              <a:gd name="connsiteX6145" fmla="*/ 1307250 w 6781956"/>
              <a:gd name="connsiteY6145" fmla="*/ 264440 h 6858000"/>
              <a:gd name="connsiteX6146" fmla="*/ 1310339 w 6781956"/>
              <a:gd name="connsiteY6146" fmla="*/ 269090 h 6858000"/>
              <a:gd name="connsiteX6147" fmla="*/ 1313427 w 6781956"/>
              <a:gd name="connsiteY6147" fmla="*/ 281879 h 6858000"/>
              <a:gd name="connsiteX6148" fmla="*/ 1320634 w 6781956"/>
              <a:gd name="connsiteY6148" fmla="*/ 306292 h 6858000"/>
              <a:gd name="connsiteX6149" fmla="*/ 1327840 w 6781956"/>
              <a:gd name="connsiteY6149" fmla="*/ 360930 h 6858000"/>
              <a:gd name="connsiteX6150" fmla="*/ 1338136 w 6781956"/>
              <a:gd name="connsiteY6150" fmla="*/ 381856 h 6858000"/>
              <a:gd name="connsiteX6151" fmla="*/ 1331958 w 6781956"/>
              <a:gd name="connsiteY6151" fmla="*/ 402781 h 6858000"/>
              <a:gd name="connsiteX6152" fmla="*/ 1352548 w 6781956"/>
              <a:gd name="connsiteY6152" fmla="*/ 477184 h 6858000"/>
              <a:gd name="connsiteX6153" fmla="*/ 1343283 w 6781956"/>
              <a:gd name="connsiteY6153" fmla="*/ 489971 h 6858000"/>
              <a:gd name="connsiteX6154" fmla="*/ 1355637 w 6781956"/>
              <a:gd name="connsiteY6154" fmla="*/ 493460 h 6858000"/>
              <a:gd name="connsiteX6155" fmla="*/ 1352548 w 6781956"/>
              <a:gd name="connsiteY6155" fmla="*/ 498109 h 6858000"/>
              <a:gd name="connsiteX6156" fmla="*/ 1350490 w 6781956"/>
              <a:gd name="connsiteY6156" fmla="*/ 527173 h 6858000"/>
              <a:gd name="connsiteX6157" fmla="*/ 1353579 w 6781956"/>
              <a:gd name="connsiteY6157" fmla="*/ 535311 h 6858000"/>
              <a:gd name="connsiteX6158" fmla="*/ 1365933 w 6781956"/>
              <a:gd name="connsiteY6158" fmla="*/ 548098 h 6858000"/>
              <a:gd name="connsiteX6159" fmla="*/ 1359756 w 6781956"/>
              <a:gd name="connsiteY6159" fmla="*/ 565536 h 6858000"/>
              <a:gd name="connsiteX6160" fmla="*/ 1370050 w 6781956"/>
              <a:gd name="connsiteY6160" fmla="*/ 610875 h 6858000"/>
              <a:gd name="connsiteX6161" fmla="*/ 1373139 w 6781956"/>
              <a:gd name="connsiteY6161" fmla="*/ 619013 h 6858000"/>
              <a:gd name="connsiteX6162" fmla="*/ 1377257 w 6781956"/>
              <a:gd name="connsiteY6162" fmla="*/ 656213 h 6858000"/>
              <a:gd name="connsiteX6163" fmla="*/ 1381374 w 6781956"/>
              <a:gd name="connsiteY6163" fmla="*/ 702715 h 6858000"/>
              <a:gd name="connsiteX6164" fmla="*/ 1387552 w 6781956"/>
              <a:gd name="connsiteY6164" fmla="*/ 715502 h 6858000"/>
              <a:gd name="connsiteX6165" fmla="*/ 1398876 w 6781956"/>
              <a:gd name="connsiteY6165" fmla="*/ 778279 h 6858000"/>
              <a:gd name="connsiteX6166" fmla="*/ 1398876 w 6781956"/>
              <a:gd name="connsiteY6166" fmla="*/ 786417 h 6858000"/>
              <a:gd name="connsiteX6167" fmla="*/ 1406083 w 6781956"/>
              <a:gd name="connsiteY6167" fmla="*/ 823617 h 6858000"/>
              <a:gd name="connsiteX6168" fmla="*/ 1406083 w 6781956"/>
              <a:gd name="connsiteY6168" fmla="*/ 836406 h 6858000"/>
              <a:gd name="connsiteX6169" fmla="*/ 1399906 w 6781956"/>
              <a:gd name="connsiteY6169" fmla="*/ 820131 h 6858000"/>
              <a:gd name="connsiteX6170" fmla="*/ 1389612 w 6781956"/>
              <a:gd name="connsiteY6170" fmla="*/ 799205 h 6858000"/>
              <a:gd name="connsiteX6171" fmla="*/ 1389612 w 6781956"/>
              <a:gd name="connsiteY6171" fmla="*/ 791067 h 6858000"/>
              <a:gd name="connsiteX6172" fmla="*/ 1379317 w 6781956"/>
              <a:gd name="connsiteY6172" fmla="*/ 745728 h 6858000"/>
              <a:gd name="connsiteX6173" fmla="*/ 1376227 w 6781956"/>
              <a:gd name="connsiteY6173" fmla="*/ 741078 h 6858000"/>
              <a:gd name="connsiteX6174" fmla="*/ 1372110 w 6781956"/>
              <a:gd name="connsiteY6174" fmla="*/ 694578 h 6858000"/>
              <a:gd name="connsiteX6175" fmla="*/ 1358726 w 6781956"/>
              <a:gd name="connsiteY6175" fmla="*/ 670163 h 6858000"/>
              <a:gd name="connsiteX6176" fmla="*/ 1316516 w 6781956"/>
              <a:gd name="connsiteY6176" fmla="*/ 470208 h 6858000"/>
              <a:gd name="connsiteX6177" fmla="*/ 1289749 w 6781956"/>
              <a:gd name="connsiteY6177" fmla="*/ 391157 h 6858000"/>
              <a:gd name="connsiteX6178" fmla="*/ 1265040 w 6781956"/>
              <a:gd name="connsiteY6178" fmla="*/ 408594 h 6858000"/>
              <a:gd name="connsiteX6179" fmla="*/ 1254359 w 6781956"/>
              <a:gd name="connsiteY6179" fmla="*/ 377933 h 6858000"/>
              <a:gd name="connsiteX6180" fmla="*/ 1251142 w 6781956"/>
              <a:gd name="connsiteY6180" fmla="*/ 343218 h 6858000"/>
              <a:gd name="connsiteX6181" fmla="*/ 1251270 w 6781956"/>
              <a:gd name="connsiteY6181" fmla="*/ 342912 h 6858000"/>
              <a:gd name="connsiteX6182" fmla="*/ 1251069 w 6781956"/>
              <a:gd name="connsiteY6182" fmla="*/ 342432 h 6858000"/>
              <a:gd name="connsiteX6183" fmla="*/ 1250627 w 6781956"/>
              <a:gd name="connsiteY6183" fmla="*/ 337680 h 6858000"/>
              <a:gd name="connsiteX6184" fmla="*/ 1257190 w 6781956"/>
              <a:gd name="connsiteY6184" fmla="*/ 339423 h 6858000"/>
              <a:gd name="connsiteX6185" fmla="*/ 1262527 w 6781956"/>
              <a:gd name="connsiteY6185" fmla="*/ 341031 h 6858000"/>
              <a:gd name="connsiteX6186" fmla="*/ 1262981 w 6781956"/>
              <a:gd name="connsiteY6186" fmla="*/ 357443 h 6858000"/>
              <a:gd name="connsiteX6187" fmla="*/ 1275335 w 6781956"/>
              <a:gd name="connsiteY6187" fmla="*/ 365581 h 6858000"/>
              <a:gd name="connsiteX6188" fmla="*/ 1281513 w 6781956"/>
              <a:gd name="connsiteY6188" fmla="*/ 381856 h 6858000"/>
              <a:gd name="connsiteX6189" fmla="*/ 1284601 w 6781956"/>
              <a:gd name="connsiteY6189" fmla="*/ 365581 h 6858000"/>
              <a:gd name="connsiteX6190" fmla="*/ 1281513 w 6781956"/>
              <a:gd name="connsiteY6190" fmla="*/ 360930 h 6858000"/>
              <a:gd name="connsiteX6191" fmla="*/ 1274307 w 6781956"/>
              <a:gd name="connsiteY6191" fmla="*/ 323729 h 6858000"/>
              <a:gd name="connsiteX6192" fmla="*/ 1268129 w 6781956"/>
              <a:gd name="connsiteY6192" fmla="*/ 315592 h 6858000"/>
              <a:gd name="connsiteX6193" fmla="*/ 1268129 w 6781956"/>
              <a:gd name="connsiteY6193" fmla="*/ 307454 h 6858000"/>
              <a:gd name="connsiteX6194" fmla="*/ 1260924 w 6781956"/>
              <a:gd name="connsiteY6194" fmla="*/ 273741 h 6858000"/>
              <a:gd name="connsiteX6195" fmla="*/ 1247538 w 6781956"/>
              <a:gd name="connsiteY6195" fmla="*/ 231890 h 6858000"/>
              <a:gd name="connsiteX6196" fmla="*/ 1241362 w 6781956"/>
              <a:gd name="connsiteY6196" fmla="*/ 223753 h 6858000"/>
              <a:gd name="connsiteX6197" fmla="*/ 1234155 w 6781956"/>
              <a:gd name="connsiteY6197" fmla="*/ 181901 h 6858000"/>
              <a:gd name="connsiteX6198" fmla="*/ 1231066 w 6781956"/>
              <a:gd name="connsiteY6198" fmla="*/ 177251 h 6858000"/>
              <a:gd name="connsiteX6199" fmla="*/ 1226949 w 6781956"/>
              <a:gd name="connsiteY6199" fmla="*/ 151675 h 6858000"/>
              <a:gd name="connsiteX6200" fmla="*/ 1220771 w 6781956"/>
              <a:gd name="connsiteY6200" fmla="*/ 143537 h 6858000"/>
              <a:gd name="connsiteX6201" fmla="*/ 1213565 w 6781956"/>
              <a:gd name="connsiteY6201" fmla="*/ 122612 h 6858000"/>
              <a:gd name="connsiteX6202" fmla="*/ 1203269 w 6781956"/>
              <a:gd name="connsiteY6202" fmla="*/ 80761 h 6858000"/>
              <a:gd name="connsiteX6203" fmla="*/ 1197093 w 6781956"/>
              <a:gd name="connsiteY6203" fmla="*/ 67973 h 6858000"/>
              <a:gd name="connsiteX6204" fmla="*/ 1197093 w 6781956"/>
              <a:gd name="connsiteY6204" fmla="*/ 55185 h 6858000"/>
              <a:gd name="connsiteX6205" fmla="*/ 1186798 w 6781956"/>
              <a:gd name="connsiteY6205" fmla="*/ 38910 h 6858000"/>
              <a:gd name="connsiteX6206" fmla="*/ 1196063 w 6781956"/>
              <a:gd name="connsiteY6206" fmla="*/ 42397 h 6858000"/>
              <a:gd name="connsiteX6207" fmla="*/ 1179591 w 6781956"/>
              <a:gd name="connsiteY6207" fmla="*/ 13335 h 6858000"/>
              <a:gd name="connsiteX6208" fmla="*/ 1188857 w 6781956"/>
              <a:gd name="connsiteY6208" fmla="*/ 13335 h 6858000"/>
              <a:gd name="connsiteX6209" fmla="*/ 1186927 w 6781956"/>
              <a:gd name="connsiteY6209" fmla="*/ 5197 h 6858000"/>
              <a:gd name="connsiteX6210" fmla="*/ 1165879 w 6781956"/>
              <a:gd name="connsiteY6210" fmla="*/ 1403 h 6858000"/>
              <a:gd name="connsiteX6211" fmla="*/ 1167624 w 6781956"/>
              <a:gd name="connsiteY6211" fmla="*/ 1403 h 6858000"/>
              <a:gd name="connsiteX6212" fmla="*/ 1170125 w 6781956"/>
              <a:gd name="connsiteY6212" fmla="*/ 6299 h 6858000"/>
              <a:gd name="connsiteX6213" fmla="*/ 1171355 w 6781956"/>
              <a:gd name="connsiteY6213" fmla="*/ 15658 h 6858000"/>
              <a:gd name="connsiteX6214" fmla="*/ 1165177 w 6781956"/>
              <a:gd name="connsiteY6214" fmla="*/ 287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Lst>
            <a:rect l="l" t="t" r="r" b="b"/>
            <a:pathLst>
              <a:path w="6781956" h="6858000">
                <a:moveTo>
                  <a:pt x="5318" y="6849189"/>
                </a:moveTo>
                <a:lnTo>
                  <a:pt x="3938" y="6858000"/>
                </a:lnTo>
                <a:lnTo>
                  <a:pt x="0" y="6858000"/>
                </a:lnTo>
                <a:lnTo>
                  <a:pt x="1829" y="6850174"/>
                </a:lnTo>
                <a:close/>
                <a:moveTo>
                  <a:pt x="85864" y="6848921"/>
                </a:moveTo>
                <a:cubicBezTo>
                  <a:pt x="87860" y="6848865"/>
                  <a:pt x="89854" y="6850174"/>
                  <a:pt x="91398" y="6853661"/>
                </a:cubicBezTo>
                <a:lnTo>
                  <a:pt x="87373" y="6858000"/>
                </a:lnTo>
                <a:lnTo>
                  <a:pt x="78877" y="6858000"/>
                </a:lnTo>
                <a:lnTo>
                  <a:pt x="78409" y="6855604"/>
                </a:lnTo>
                <a:cubicBezTo>
                  <a:pt x="79880" y="6852150"/>
                  <a:pt x="82872" y="6849003"/>
                  <a:pt x="85864" y="6848921"/>
                </a:cubicBezTo>
                <a:close/>
                <a:moveTo>
                  <a:pt x="265547" y="6843162"/>
                </a:moveTo>
                <a:cubicBezTo>
                  <a:pt x="266285" y="6843925"/>
                  <a:pt x="265643" y="6846686"/>
                  <a:pt x="262297" y="6852499"/>
                </a:cubicBezTo>
                <a:lnTo>
                  <a:pt x="259252" y="6858000"/>
                </a:lnTo>
                <a:lnTo>
                  <a:pt x="257206" y="6858000"/>
                </a:lnTo>
                <a:lnTo>
                  <a:pt x="257331" y="6849661"/>
                </a:lnTo>
                <a:cubicBezTo>
                  <a:pt x="260214" y="6845369"/>
                  <a:pt x="264436" y="6842018"/>
                  <a:pt x="265547" y="6843162"/>
                </a:cubicBezTo>
                <a:close/>
                <a:moveTo>
                  <a:pt x="243765" y="6795534"/>
                </a:moveTo>
                <a:cubicBezTo>
                  <a:pt x="252003" y="6803672"/>
                  <a:pt x="245825" y="6814135"/>
                  <a:pt x="238619" y="6816460"/>
                </a:cubicBezTo>
                <a:cubicBezTo>
                  <a:pt x="233471" y="6810647"/>
                  <a:pt x="240677" y="6802511"/>
                  <a:pt x="243765" y="6795534"/>
                </a:cubicBezTo>
                <a:close/>
                <a:moveTo>
                  <a:pt x="355983" y="6783909"/>
                </a:moveTo>
                <a:cubicBezTo>
                  <a:pt x="361130" y="6794372"/>
                  <a:pt x="355983" y="6811810"/>
                  <a:pt x="342599" y="6799023"/>
                </a:cubicBezTo>
                <a:cubicBezTo>
                  <a:pt x="346716" y="6790885"/>
                  <a:pt x="352895" y="6793210"/>
                  <a:pt x="355983" y="6783909"/>
                </a:cubicBezTo>
                <a:close/>
                <a:moveTo>
                  <a:pt x="301420" y="6775771"/>
                </a:moveTo>
                <a:cubicBezTo>
                  <a:pt x="314803" y="6783909"/>
                  <a:pt x="300390" y="6800185"/>
                  <a:pt x="295241" y="6808323"/>
                </a:cubicBezTo>
                <a:cubicBezTo>
                  <a:pt x="289064" y="6819947"/>
                  <a:pt x="276710" y="6825761"/>
                  <a:pt x="274651" y="6836223"/>
                </a:cubicBezTo>
                <a:cubicBezTo>
                  <a:pt x="269504" y="6830411"/>
                  <a:pt x="270534" y="6825761"/>
                  <a:pt x="273622" y="6817624"/>
                </a:cubicBezTo>
                <a:cubicBezTo>
                  <a:pt x="277740" y="6807160"/>
                  <a:pt x="283917" y="6809485"/>
                  <a:pt x="287005" y="6802511"/>
                </a:cubicBezTo>
                <a:cubicBezTo>
                  <a:pt x="292153" y="6793210"/>
                  <a:pt x="289064" y="6772284"/>
                  <a:pt x="301420" y="6775771"/>
                </a:cubicBezTo>
                <a:close/>
                <a:moveTo>
                  <a:pt x="58621" y="6758366"/>
                </a:moveTo>
                <a:lnTo>
                  <a:pt x="50555" y="6771466"/>
                </a:lnTo>
                <a:lnTo>
                  <a:pt x="55365" y="6759497"/>
                </a:lnTo>
                <a:close/>
                <a:moveTo>
                  <a:pt x="157287" y="6745546"/>
                </a:moveTo>
                <a:cubicBezTo>
                  <a:pt x="164495" y="6758334"/>
                  <a:pt x="143904" y="6773446"/>
                  <a:pt x="138756" y="6781585"/>
                </a:cubicBezTo>
                <a:cubicBezTo>
                  <a:pt x="127432" y="6778097"/>
                  <a:pt x="153169" y="6762984"/>
                  <a:pt x="140815" y="6758334"/>
                </a:cubicBezTo>
                <a:cubicBezTo>
                  <a:pt x="143904" y="6744383"/>
                  <a:pt x="153169" y="6754847"/>
                  <a:pt x="157287" y="6745546"/>
                </a:cubicBezTo>
                <a:close/>
                <a:moveTo>
                  <a:pt x="308786" y="6712505"/>
                </a:moveTo>
                <a:cubicBezTo>
                  <a:pt x="311328" y="6711033"/>
                  <a:pt x="314288" y="6711252"/>
                  <a:pt x="317890" y="6714158"/>
                </a:cubicBezTo>
                <a:cubicBezTo>
                  <a:pt x="297301" y="6745546"/>
                  <a:pt x="279798" y="6783909"/>
                  <a:pt x="255091" y="6793210"/>
                </a:cubicBezTo>
                <a:cubicBezTo>
                  <a:pt x="250973" y="6787397"/>
                  <a:pt x="258179" y="6789723"/>
                  <a:pt x="260239" y="6783909"/>
                </a:cubicBezTo>
                <a:cubicBezTo>
                  <a:pt x="265386" y="6773446"/>
                  <a:pt x="282889" y="6756009"/>
                  <a:pt x="291123" y="6744383"/>
                </a:cubicBezTo>
                <a:cubicBezTo>
                  <a:pt x="297301" y="6736537"/>
                  <a:pt x="301161" y="6716918"/>
                  <a:pt x="308786" y="6712505"/>
                </a:cubicBezTo>
                <a:close/>
                <a:moveTo>
                  <a:pt x="241707" y="6707182"/>
                </a:moveTo>
                <a:cubicBezTo>
                  <a:pt x="248914" y="6704858"/>
                  <a:pt x="252003" y="6712995"/>
                  <a:pt x="245825" y="6709508"/>
                </a:cubicBezTo>
                <a:cubicBezTo>
                  <a:pt x="237590" y="6732759"/>
                  <a:pt x="228323" y="6725782"/>
                  <a:pt x="241707" y="6707182"/>
                </a:cubicBezTo>
                <a:close/>
                <a:moveTo>
                  <a:pt x="270534" y="6692071"/>
                </a:moveTo>
                <a:cubicBezTo>
                  <a:pt x="283917" y="6680445"/>
                  <a:pt x="257150" y="6728108"/>
                  <a:pt x="250973" y="6739734"/>
                </a:cubicBezTo>
                <a:cubicBezTo>
                  <a:pt x="246855" y="6747871"/>
                  <a:pt x="240677" y="6751358"/>
                  <a:pt x="235530" y="6759497"/>
                </a:cubicBezTo>
                <a:cubicBezTo>
                  <a:pt x="229353" y="6769959"/>
                  <a:pt x="225234" y="6780422"/>
                  <a:pt x="219058" y="6790885"/>
                </a:cubicBezTo>
                <a:cubicBezTo>
                  <a:pt x="213910" y="6800185"/>
                  <a:pt x="206704" y="6805998"/>
                  <a:pt x="201557" y="6815298"/>
                </a:cubicBezTo>
                <a:cubicBezTo>
                  <a:pt x="195379" y="6825760"/>
                  <a:pt x="190747" y="6837095"/>
                  <a:pt x="185598" y="6847122"/>
                </a:cubicBezTo>
                <a:lnTo>
                  <a:pt x="176958" y="6858000"/>
                </a:lnTo>
                <a:lnTo>
                  <a:pt x="167869" y="6858000"/>
                </a:lnTo>
                <a:lnTo>
                  <a:pt x="167968" y="6857003"/>
                </a:lnTo>
                <a:cubicBezTo>
                  <a:pt x="170414" y="6852208"/>
                  <a:pt x="173760" y="6847849"/>
                  <a:pt x="174790" y="6845523"/>
                </a:cubicBezTo>
                <a:cubicBezTo>
                  <a:pt x="177878" y="6838548"/>
                  <a:pt x="181995" y="6830411"/>
                  <a:pt x="186114" y="6823435"/>
                </a:cubicBezTo>
                <a:cubicBezTo>
                  <a:pt x="186114" y="6824599"/>
                  <a:pt x="190232" y="6825761"/>
                  <a:pt x="192291" y="6822273"/>
                </a:cubicBezTo>
                <a:cubicBezTo>
                  <a:pt x="212880" y="6786234"/>
                  <a:pt x="244796" y="6737408"/>
                  <a:pt x="270534" y="6692071"/>
                </a:cubicBezTo>
                <a:close/>
                <a:moveTo>
                  <a:pt x="478495" y="6680445"/>
                </a:moveTo>
                <a:lnTo>
                  <a:pt x="478543" y="6682295"/>
                </a:lnTo>
                <a:lnTo>
                  <a:pt x="475020" y="6687129"/>
                </a:lnTo>
                <a:lnTo>
                  <a:pt x="472739" y="6689891"/>
                </a:lnTo>
                <a:lnTo>
                  <a:pt x="471256" y="6686821"/>
                </a:lnTo>
                <a:cubicBezTo>
                  <a:pt x="471610" y="6684586"/>
                  <a:pt x="473604" y="6682188"/>
                  <a:pt x="478495" y="6680445"/>
                </a:cubicBezTo>
                <a:close/>
                <a:moveTo>
                  <a:pt x="377811" y="6678936"/>
                </a:moveTo>
                <a:cubicBezTo>
                  <a:pt x="377860" y="6683569"/>
                  <a:pt x="367050" y="6700789"/>
                  <a:pt x="363189" y="6709508"/>
                </a:cubicBezTo>
                <a:cubicBezTo>
                  <a:pt x="357013" y="6722295"/>
                  <a:pt x="351864" y="6736246"/>
                  <a:pt x="344659" y="6745546"/>
                </a:cubicBezTo>
                <a:cubicBezTo>
                  <a:pt x="344659" y="6745546"/>
                  <a:pt x="340540" y="6743221"/>
                  <a:pt x="338481" y="6746709"/>
                </a:cubicBezTo>
                <a:cubicBezTo>
                  <a:pt x="335392" y="6750196"/>
                  <a:pt x="333333" y="6756009"/>
                  <a:pt x="332305" y="6760658"/>
                </a:cubicBezTo>
                <a:cubicBezTo>
                  <a:pt x="326127" y="6743221"/>
                  <a:pt x="345689" y="6732759"/>
                  <a:pt x="352895" y="6719970"/>
                </a:cubicBezTo>
                <a:cubicBezTo>
                  <a:pt x="360102" y="6707182"/>
                  <a:pt x="366278" y="6692071"/>
                  <a:pt x="373485" y="6679281"/>
                </a:cubicBezTo>
                <a:cubicBezTo>
                  <a:pt x="376573" y="6677248"/>
                  <a:pt x="377795" y="6677393"/>
                  <a:pt x="377811" y="6678936"/>
                </a:cubicBezTo>
                <a:close/>
                <a:moveTo>
                  <a:pt x="285107" y="6652017"/>
                </a:moveTo>
                <a:cubicBezTo>
                  <a:pt x="285846" y="6652834"/>
                  <a:pt x="285203" y="6655741"/>
                  <a:pt x="281858" y="6661844"/>
                </a:cubicBezTo>
                <a:cubicBezTo>
                  <a:pt x="279798" y="6665331"/>
                  <a:pt x="278770" y="6667656"/>
                  <a:pt x="276710" y="6671144"/>
                </a:cubicBezTo>
                <a:cubicBezTo>
                  <a:pt x="268217" y="6665913"/>
                  <a:pt x="282888" y="6649566"/>
                  <a:pt x="285107" y="6652017"/>
                </a:cubicBezTo>
                <a:close/>
                <a:moveTo>
                  <a:pt x="434226" y="6640918"/>
                </a:moveTo>
                <a:cubicBezTo>
                  <a:pt x="440403" y="6657195"/>
                  <a:pt x="424960" y="6660680"/>
                  <a:pt x="417754" y="6672306"/>
                </a:cubicBezTo>
                <a:cubicBezTo>
                  <a:pt x="406429" y="6692071"/>
                  <a:pt x="397163" y="6710669"/>
                  <a:pt x="383779" y="6728108"/>
                </a:cubicBezTo>
                <a:cubicBezTo>
                  <a:pt x="371426" y="6743221"/>
                  <a:pt x="358042" y="6771122"/>
                  <a:pt x="340540" y="6790885"/>
                </a:cubicBezTo>
                <a:cubicBezTo>
                  <a:pt x="333333" y="6796697"/>
                  <a:pt x="342599" y="6804835"/>
                  <a:pt x="341570" y="6809485"/>
                </a:cubicBezTo>
                <a:cubicBezTo>
                  <a:pt x="340540" y="6817624"/>
                  <a:pt x="329216" y="6824599"/>
                  <a:pt x="336422" y="6830411"/>
                </a:cubicBezTo>
                <a:cubicBezTo>
                  <a:pt x="332820" y="6835642"/>
                  <a:pt x="328959" y="6838839"/>
                  <a:pt x="325355" y="6842763"/>
                </a:cubicBezTo>
                <a:lnTo>
                  <a:pt x="316670" y="6858000"/>
                </a:lnTo>
                <a:lnTo>
                  <a:pt x="277295" y="6858000"/>
                </a:lnTo>
                <a:lnTo>
                  <a:pt x="284947" y="6845523"/>
                </a:lnTo>
                <a:cubicBezTo>
                  <a:pt x="295241" y="6830411"/>
                  <a:pt x="304507" y="6815298"/>
                  <a:pt x="319950" y="6808323"/>
                </a:cubicBezTo>
                <a:cubicBezTo>
                  <a:pt x="327157" y="6802511"/>
                  <a:pt x="323039" y="6790885"/>
                  <a:pt x="328186" y="6782747"/>
                </a:cubicBezTo>
                <a:cubicBezTo>
                  <a:pt x="333333" y="6774610"/>
                  <a:pt x="339511" y="6776933"/>
                  <a:pt x="345689" y="6769959"/>
                </a:cubicBezTo>
                <a:cubicBezTo>
                  <a:pt x="348776" y="6766472"/>
                  <a:pt x="349805" y="6759497"/>
                  <a:pt x="352895" y="6756009"/>
                </a:cubicBezTo>
                <a:cubicBezTo>
                  <a:pt x="354954" y="6753683"/>
                  <a:pt x="358042" y="6753683"/>
                  <a:pt x="361130" y="6750196"/>
                </a:cubicBezTo>
                <a:cubicBezTo>
                  <a:pt x="368337" y="6740895"/>
                  <a:pt x="371426" y="6728108"/>
                  <a:pt x="377602" y="6718807"/>
                </a:cubicBezTo>
                <a:cubicBezTo>
                  <a:pt x="397163" y="6688582"/>
                  <a:pt x="417754" y="6663006"/>
                  <a:pt x="434226" y="6640918"/>
                </a:cubicBezTo>
                <a:close/>
                <a:moveTo>
                  <a:pt x="226264" y="6633944"/>
                </a:moveTo>
                <a:cubicBezTo>
                  <a:pt x="229353" y="6636268"/>
                  <a:pt x="226264" y="6640918"/>
                  <a:pt x="225234" y="6645569"/>
                </a:cubicBezTo>
                <a:cubicBezTo>
                  <a:pt x="223176" y="6649057"/>
                  <a:pt x="222147" y="6651382"/>
                  <a:pt x="220088" y="6654869"/>
                </a:cubicBezTo>
                <a:cubicBezTo>
                  <a:pt x="215970" y="6650218"/>
                  <a:pt x="223176" y="6642081"/>
                  <a:pt x="226264" y="6633944"/>
                </a:cubicBezTo>
                <a:close/>
                <a:moveTo>
                  <a:pt x="413635" y="6621155"/>
                </a:moveTo>
                <a:cubicBezTo>
                  <a:pt x="416724" y="6623481"/>
                  <a:pt x="413635" y="6628130"/>
                  <a:pt x="412606" y="6632780"/>
                </a:cubicBezTo>
                <a:cubicBezTo>
                  <a:pt x="410546" y="6637431"/>
                  <a:pt x="407459" y="6642081"/>
                  <a:pt x="405399" y="6646731"/>
                </a:cubicBezTo>
                <a:cubicBezTo>
                  <a:pt x="397163" y="6640918"/>
                  <a:pt x="412606" y="6629293"/>
                  <a:pt x="413635" y="6621155"/>
                </a:cubicBezTo>
                <a:close/>
                <a:moveTo>
                  <a:pt x="322009" y="6603717"/>
                </a:moveTo>
                <a:cubicBezTo>
                  <a:pt x="325097" y="6618830"/>
                  <a:pt x="317890" y="6633944"/>
                  <a:pt x="307596" y="6643243"/>
                </a:cubicBezTo>
                <a:cubicBezTo>
                  <a:pt x="300390" y="6632780"/>
                  <a:pt x="318921" y="6616506"/>
                  <a:pt x="322009" y="6603717"/>
                </a:cubicBezTo>
                <a:close/>
                <a:moveTo>
                  <a:pt x="558796" y="6595580"/>
                </a:moveTo>
                <a:cubicBezTo>
                  <a:pt x="546441" y="6628131"/>
                  <a:pt x="523793" y="6639756"/>
                  <a:pt x="527910" y="6666494"/>
                </a:cubicBezTo>
                <a:cubicBezTo>
                  <a:pt x="541294" y="6663006"/>
                  <a:pt x="533058" y="6652543"/>
                  <a:pt x="541294" y="6639756"/>
                </a:cubicBezTo>
                <a:cubicBezTo>
                  <a:pt x="546441" y="6630456"/>
                  <a:pt x="555708" y="6640918"/>
                  <a:pt x="558796" y="6626968"/>
                </a:cubicBezTo>
                <a:cubicBezTo>
                  <a:pt x="547470" y="6619993"/>
                  <a:pt x="578356" y="6600230"/>
                  <a:pt x="558796" y="6595580"/>
                </a:cubicBezTo>
                <a:close/>
                <a:moveTo>
                  <a:pt x="453787" y="6594416"/>
                </a:moveTo>
                <a:cubicBezTo>
                  <a:pt x="465111" y="6602555"/>
                  <a:pt x="452758" y="6622318"/>
                  <a:pt x="443491" y="6624642"/>
                </a:cubicBezTo>
                <a:cubicBezTo>
                  <a:pt x="435255" y="6617667"/>
                  <a:pt x="451728" y="6603717"/>
                  <a:pt x="453787" y="6594416"/>
                </a:cubicBezTo>
                <a:close/>
                <a:moveTo>
                  <a:pt x="387302" y="6552420"/>
                </a:moveTo>
                <a:cubicBezTo>
                  <a:pt x="387768" y="6553655"/>
                  <a:pt x="386610" y="6557797"/>
                  <a:pt x="382750" y="6566515"/>
                </a:cubicBezTo>
                <a:cubicBezTo>
                  <a:pt x="380691" y="6573492"/>
                  <a:pt x="376573" y="6579305"/>
                  <a:pt x="373485" y="6585116"/>
                </a:cubicBezTo>
                <a:cubicBezTo>
                  <a:pt x="368337" y="6594416"/>
                  <a:pt x="343629" y="6626968"/>
                  <a:pt x="336422" y="6637431"/>
                </a:cubicBezTo>
                <a:cubicBezTo>
                  <a:pt x="326127" y="6626968"/>
                  <a:pt x="341570" y="6624642"/>
                  <a:pt x="347746" y="6615343"/>
                </a:cubicBezTo>
                <a:cubicBezTo>
                  <a:pt x="354954" y="6602555"/>
                  <a:pt x="362159" y="6583954"/>
                  <a:pt x="368337" y="6574653"/>
                </a:cubicBezTo>
                <a:cubicBezTo>
                  <a:pt x="369881" y="6571166"/>
                  <a:pt x="385903" y="6548715"/>
                  <a:pt x="387302" y="6552420"/>
                </a:cubicBezTo>
                <a:close/>
                <a:moveTo>
                  <a:pt x="458934" y="6543265"/>
                </a:moveTo>
                <a:cubicBezTo>
                  <a:pt x="466141" y="6551403"/>
                  <a:pt x="447610" y="6573492"/>
                  <a:pt x="442461" y="6574653"/>
                </a:cubicBezTo>
                <a:cubicBezTo>
                  <a:pt x="439372" y="6581629"/>
                  <a:pt x="435255" y="6589766"/>
                  <a:pt x="431138" y="6596742"/>
                </a:cubicBezTo>
                <a:cubicBezTo>
                  <a:pt x="428048" y="6604880"/>
                  <a:pt x="422902" y="6602555"/>
                  <a:pt x="424960" y="6597905"/>
                </a:cubicBezTo>
                <a:cubicBezTo>
                  <a:pt x="436285" y="6578141"/>
                  <a:pt x="446579" y="6552566"/>
                  <a:pt x="458934" y="6543265"/>
                </a:cubicBezTo>
                <a:close/>
                <a:moveTo>
                  <a:pt x="513498" y="6506065"/>
                </a:moveTo>
                <a:cubicBezTo>
                  <a:pt x="521734" y="6511877"/>
                  <a:pt x="508351" y="6521178"/>
                  <a:pt x="505262" y="6531639"/>
                </a:cubicBezTo>
                <a:cubicBezTo>
                  <a:pt x="504233" y="6533965"/>
                  <a:pt x="506291" y="6538616"/>
                  <a:pt x="506291" y="6538616"/>
                </a:cubicBezTo>
                <a:cubicBezTo>
                  <a:pt x="502173" y="6545591"/>
                  <a:pt x="497027" y="6543265"/>
                  <a:pt x="494967" y="6549078"/>
                </a:cubicBezTo>
                <a:cubicBezTo>
                  <a:pt x="494967" y="6547917"/>
                  <a:pt x="497027" y="6552566"/>
                  <a:pt x="495996" y="6556054"/>
                </a:cubicBezTo>
                <a:cubicBezTo>
                  <a:pt x="493938" y="6558379"/>
                  <a:pt x="487760" y="6561866"/>
                  <a:pt x="484671" y="6566515"/>
                </a:cubicBezTo>
                <a:cubicBezTo>
                  <a:pt x="476436" y="6578141"/>
                  <a:pt x="472317" y="6578141"/>
                  <a:pt x="467171" y="6596742"/>
                </a:cubicBezTo>
                <a:cubicBezTo>
                  <a:pt x="455845" y="6589766"/>
                  <a:pt x="468201" y="6583954"/>
                  <a:pt x="472317" y="6575818"/>
                </a:cubicBezTo>
                <a:cubicBezTo>
                  <a:pt x="482613" y="6553728"/>
                  <a:pt x="500114" y="6515365"/>
                  <a:pt x="513498" y="6506065"/>
                </a:cubicBezTo>
                <a:close/>
                <a:moveTo>
                  <a:pt x="494323" y="6500834"/>
                </a:moveTo>
                <a:cubicBezTo>
                  <a:pt x="495997" y="6501997"/>
                  <a:pt x="495482" y="6507228"/>
                  <a:pt x="489820" y="6514202"/>
                </a:cubicBezTo>
                <a:cubicBezTo>
                  <a:pt x="484671" y="6511877"/>
                  <a:pt x="482613" y="6521178"/>
                  <a:pt x="477465" y="6517690"/>
                </a:cubicBezTo>
                <a:cubicBezTo>
                  <a:pt x="479524" y="6511877"/>
                  <a:pt x="482613" y="6510715"/>
                  <a:pt x="485701" y="6511877"/>
                </a:cubicBezTo>
                <a:cubicBezTo>
                  <a:pt x="488789" y="6502577"/>
                  <a:pt x="492650" y="6499671"/>
                  <a:pt x="494323" y="6500834"/>
                </a:cubicBezTo>
                <a:close/>
                <a:moveTo>
                  <a:pt x="466302" y="6485104"/>
                </a:moveTo>
                <a:cubicBezTo>
                  <a:pt x="467041" y="6485866"/>
                  <a:pt x="466398" y="6488627"/>
                  <a:pt x="463053" y="6494440"/>
                </a:cubicBezTo>
                <a:cubicBezTo>
                  <a:pt x="460993" y="6497928"/>
                  <a:pt x="459963" y="6500253"/>
                  <a:pt x="457904" y="6503740"/>
                </a:cubicBezTo>
                <a:cubicBezTo>
                  <a:pt x="449410" y="6498509"/>
                  <a:pt x="464082" y="6482815"/>
                  <a:pt x="466302" y="6485104"/>
                </a:cubicBezTo>
                <a:close/>
                <a:moveTo>
                  <a:pt x="333109" y="6483433"/>
                </a:moveTo>
                <a:cubicBezTo>
                  <a:pt x="333591" y="6484485"/>
                  <a:pt x="331275" y="6490953"/>
                  <a:pt x="324068" y="6506065"/>
                </a:cubicBezTo>
                <a:cubicBezTo>
                  <a:pt x="319950" y="6515365"/>
                  <a:pt x="314803" y="6523503"/>
                  <a:pt x="309655" y="6532804"/>
                </a:cubicBezTo>
                <a:cubicBezTo>
                  <a:pt x="305022" y="6525829"/>
                  <a:pt x="331661" y="6480272"/>
                  <a:pt x="333109" y="6483433"/>
                </a:cubicBezTo>
                <a:close/>
                <a:moveTo>
                  <a:pt x="398192" y="6467701"/>
                </a:moveTo>
                <a:cubicBezTo>
                  <a:pt x="400252" y="6480489"/>
                  <a:pt x="388928" y="6497928"/>
                  <a:pt x="378632" y="6515365"/>
                </a:cubicBezTo>
                <a:cubicBezTo>
                  <a:pt x="366278" y="6537453"/>
                  <a:pt x="345689" y="6561866"/>
                  <a:pt x="333333" y="6581629"/>
                </a:cubicBezTo>
                <a:cubicBezTo>
                  <a:pt x="329216" y="6576979"/>
                  <a:pt x="334363" y="6567679"/>
                  <a:pt x="338481" y="6560704"/>
                </a:cubicBezTo>
                <a:cubicBezTo>
                  <a:pt x="343629" y="6552566"/>
                  <a:pt x="348776" y="6551403"/>
                  <a:pt x="351864" y="6545591"/>
                </a:cubicBezTo>
                <a:cubicBezTo>
                  <a:pt x="357013" y="6535128"/>
                  <a:pt x="357013" y="6524665"/>
                  <a:pt x="362159" y="6515365"/>
                </a:cubicBezTo>
                <a:cubicBezTo>
                  <a:pt x="372455" y="6497928"/>
                  <a:pt x="386868" y="6481650"/>
                  <a:pt x="398192" y="6467701"/>
                </a:cubicBezTo>
                <a:close/>
                <a:moveTo>
                  <a:pt x="541623" y="6453384"/>
                </a:moveTo>
                <a:cubicBezTo>
                  <a:pt x="543386" y="6453114"/>
                  <a:pt x="545027" y="6453896"/>
                  <a:pt x="546442" y="6456075"/>
                </a:cubicBezTo>
                <a:cubicBezTo>
                  <a:pt x="539236" y="6471189"/>
                  <a:pt x="528941" y="6474677"/>
                  <a:pt x="521734" y="6494440"/>
                </a:cubicBezTo>
                <a:cubicBezTo>
                  <a:pt x="510925" y="6508680"/>
                  <a:pt x="529279" y="6455276"/>
                  <a:pt x="541623" y="6453384"/>
                </a:cubicBezTo>
                <a:close/>
                <a:moveTo>
                  <a:pt x="407459" y="6449100"/>
                </a:moveTo>
                <a:cubicBezTo>
                  <a:pt x="416724" y="6452588"/>
                  <a:pt x="411577" y="6460726"/>
                  <a:pt x="408488" y="6467701"/>
                </a:cubicBezTo>
                <a:cubicBezTo>
                  <a:pt x="404371" y="6463052"/>
                  <a:pt x="403340" y="6457239"/>
                  <a:pt x="407459" y="6449100"/>
                </a:cubicBezTo>
                <a:close/>
                <a:moveTo>
                  <a:pt x="562255" y="6411282"/>
                </a:moveTo>
                <a:cubicBezTo>
                  <a:pt x="565167" y="6409866"/>
                  <a:pt x="569092" y="6410447"/>
                  <a:pt x="574240" y="6414225"/>
                </a:cubicBezTo>
                <a:cubicBezTo>
                  <a:pt x="569092" y="6424689"/>
                  <a:pt x="562914" y="6435151"/>
                  <a:pt x="557767" y="6445613"/>
                </a:cubicBezTo>
                <a:cubicBezTo>
                  <a:pt x="553907" y="6437765"/>
                  <a:pt x="553521" y="6415532"/>
                  <a:pt x="562255" y="6411282"/>
                </a:cubicBezTo>
                <a:close/>
                <a:moveTo>
                  <a:pt x="713975" y="6384142"/>
                </a:moveTo>
                <a:lnTo>
                  <a:pt x="712451" y="6387487"/>
                </a:lnTo>
                <a:lnTo>
                  <a:pt x="704052" y="6403098"/>
                </a:lnTo>
                <a:lnTo>
                  <a:pt x="707046" y="6392137"/>
                </a:lnTo>
                <a:close/>
                <a:moveTo>
                  <a:pt x="585275" y="6380529"/>
                </a:moveTo>
                <a:cubicBezTo>
                  <a:pt x="588138" y="6379929"/>
                  <a:pt x="591484" y="6380802"/>
                  <a:pt x="594829" y="6383998"/>
                </a:cubicBezTo>
                <a:cubicBezTo>
                  <a:pt x="591742" y="6390974"/>
                  <a:pt x="588653" y="6396788"/>
                  <a:pt x="585564" y="6402599"/>
                </a:cubicBezTo>
                <a:cubicBezTo>
                  <a:pt x="572439" y="6397369"/>
                  <a:pt x="576685" y="6382328"/>
                  <a:pt x="585275" y="6380529"/>
                </a:cubicBezTo>
                <a:close/>
                <a:moveTo>
                  <a:pt x="582476" y="6345636"/>
                </a:moveTo>
                <a:cubicBezTo>
                  <a:pt x="589683" y="6349123"/>
                  <a:pt x="575270" y="6380511"/>
                  <a:pt x="567033" y="6365398"/>
                </a:cubicBezTo>
                <a:cubicBezTo>
                  <a:pt x="571152" y="6353774"/>
                  <a:pt x="579387" y="6360748"/>
                  <a:pt x="582476" y="6345636"/>
                </a:cubicBezTo>
                <a:close/>
                <a:moveTo>
                  <a:pt x="351864" y="6339822"/>
                </a:moveTo>
                <a:cubicBezTo>
                  <a:pt x="355983" y="6343310"/>
                  <a:pt x="350835" y="6350286"/>
                  <a:pt x="348776" y="6356099"/>
                </a:cubicBezTo>
                <a:cubicBezTo>
                  <a:pt x="346716" y="6360748"/>
                  <a:pt x="343629" y="6365398"/>
                  <a:pt x="341570" y="6370049"/>
                </a:cubicBezTo>
                <a:cubicBezTo>
                  <a:pt x="333333" y="6363073"/>
                  <a:pt x="349805" y="6349123"/>
                  <a:pt x="351864" y="6339822"/>
                </a:cubicBezTo>
                <a:close/>
                <a:moveTo>
                  <a:pt x="553970" y="6336807"/>
                </a:moveTo>
                <a:cubicBezTo>
                  <a:pt x="555515" y="6338660"/>
                  <a:pt x="549531" y="6352610"/>
                  <a:pt x="546442" y="6356099"/>
                </a:cubicBezTo>
                <a:cubicBezTo>
                  <a:pt x="541295" y="6364236"/>
                  <a:pt x="537177" y="6373536"/>
                  <a:pt x="532028" y="6382836"/>
                </a:cubicBezTo>
                <a:cubicBezTo>
                  <a:pt x="529971" y="6381675"/>
                  <a:pt x="528941" y="6381675"/>
                  <a:pt x="527911" y="6380511"/>
                </a:cubicBezTo>
                <a:cubicBezTo>
                  <a:pt x="529971" y="6375861"/>
                  <a:pt x="533059" y="6371211"/>
                  <a:pt x="535118" y="6366562"/>
                </a:cubicBezTo>
                <a:cubicBezTo>
                  <a:pt x="540266" y="6358423"/>
                  <a:pt x="544384" y="6349123"/>
                  <a:pt x="549531" y="6339822"/>
                </a:cubicBezTo>
                <a:cubicBezTo>
                  <a:pt x="552105" y="6336915"/>
                  <a:pt x="553455" y="6336190"/>
                  <a:pt x="553970" y="6336807"/>
                </a:cubicBezTo>
                <a:close/>
                <a:moveTo>
                  <a:pt x="419813" y="6332847"/>
                </a:moveTo>
                <a:cubicBezTo>
                  <a:pt x="427020" y="6336335"/>
                  <a:pt x="413635" y="6363073"/>
                  <a:pt x="406429" y="6347960"/>
                </a:cubicBezTo>
                <a:cubicBezTo>
                  <a:pt x="409517" y="6337498"/>
                  <a:pt x="414665" y="6338661"/>
                  <a:pt x="419813" y="6332847"/>
                </a:cubicBezTo>
                <a:close/>
                <a:moveTo>
                  <a:pt x="728965" y="6328133"/>
                </a:moveTo>
                <a:lnTo>
                  <a:pt x="722489" y="6339822"/>
                </a:lnTo>
                <a:lnTo>
                  <a:pt x="721005" y="6340101"/>
                </a:lnTo>
                <a:close/>
                <a:moveTo>
                  <a:pt x="381318" y="6289579"/>
                </a:moveTo>
                <a:cubicBezTo>
                  <a:pt x="381849" y="6290561"/>
                  <a:pt x="380176" y="6295646"/>
                  <a:pt x="374514" y="6307272"/>
                </a:cubicBezTo>
                <a:cubicBezTo>
                  <a:pt x="371426" y="6313085"/>
                  <a:pt x="368337" y="6318898"/>
                  <a:pt x="365248" y="6325872"/>
                </a:cubicBezTo>
                <a:cubicBezTo>
                  <a:pt x="358298" y="6320640"/>
                  <a:pt x="379726" y="6286636"/>
                  <a:pt x="381318" y="6289579"/>
                </a:cubicBezTo>
                <a:close/>
                <a:moveTo>
                  <a:pt x="272994" y="6284948"/>
                </a:moveTo>
                <a:lnTo>
                  <a:pt x="271622" y="6288934"/>
                </a:lnTo>
                <a:lnTo>
                  <a:pt x="270798" y="6286967"/>
                </a:lnTo>
                <a:close/>
                <a:moveTo>
                  <a:pt x="649394" y="6268909"/>
                </a:moveTo>
                <a:cubicBezTo>
                  <a:pt x="655570" y="6278209"/>
                  <a:pt x="644246" y="6284022"/>
                  <a:pt x="641158" y="6294484"/>
                </a:cubicBezTo>
                <a:cubicBezTo>
                  <a:pt x="636010" y="6308434"/>
                  <a:pt x="633952" y="6331686"/>
                  <a:pt x="620568" y="6335173"/>
                </a:cubicBezTo>
                <a:cubicBezTo>
                  <a:pt x="615420" y="6325872"/>
                  <a:pt x="626744" y="6314247"/>
                  <a:pt x="630863" y="6304946"/>
                </a:cubicBezTo>
                <a:cubicBezTo>
                  <a:pt x="636010" y="6290998"/>
                  <a:pt x="636010" y="6271234"/>
                  <a:pt x="649394" y="6268909"/>
                </a:cubicBezTo>
                <a:close/>
                <a:moveTo>
                  <a:pt x="617479" y="6258445"/>
                </a:moveTo>
                <a:cubicBezTo>
                  <a:pt x="625715" y="6275884"/>
                  <a:pt x="609242" y="6287509"/>
                  <a:pt x="599977" y="6301459"/>
                </a:cubicBezTo>
                <a:cubicBezTo>
                  <a:pt x="593800" y="6290998"/>
                  <a:pt x="613360" y="6272396"/>
                  <a:pt x="617479" y="6258445"/>
                </a:cubicBezTo>
                <a:close/>
                <a:moveTo>
                  <a:pt x="291539" y="6249451"/>
                </a:moveTo>
                <a:lnTo>
                  <a:pt x="291639" y="6251470"/>
                </a:lnTo>
                <a:cubicBezTo>
                  <a:pt x="290352" y="6256412"/>
                  <a:pt x="288035" y="6261352"/>
                  <a:pt x="285977" y="6261934"/>
                </a:cubicBezTo>
                <a:cubicBezTo>
                  <a:pt x="284947" y="6261934"/>
                  <a:pt x="283917" y="6256703"/>
                  <a:pt x="284303" y="6251470"/>
                </a:cubicBezTo>
                <a:lnTo>
                  <a:pt x="284416" y="6251298"/>
                </a:lnTo>
                <a:lnTo>
                  <a:pt x="290093" y="6252634"/>
                </a:lnTo>
                <a:close/>
                <a:moveTo>
                  <a:pt x="5879913" y="6208744"/>
                </a:moveTo>
                <a:lnTo>
                  <a:pt x="5879913" y="6233575"/>
                </a:lnTo>
                <a:lnTo>
                  <a:pt x="5904744" y="6233575"/>
                </a:lnTo>
                <a:lnTo>
                  <a:pt x="5904744" y="6208744"/>
                </a:lnTo>
                <a:close/>
                <a:moveTo>
                  <a:pt x="595859" y="6200319"/>
                </a:moveTo>
                <a:cubicBezTo>
                  <a:pt x="601007" y="6206132"/>
                  <a:pt x="593800" y="6214269"/>
                  <a:pt x="590710" y="6221246"/>
                </a:cubicBezTo>
                <a:cubicBezTo>
                  <a:pt x="587623" y="6230546"/>
                  <a:pt x="588653" y="6236357"/>
                  <a:pt x="585564" y="6242170"/>
                </a:cubicBezTo>
                <a:cubicBezTo>
                  <a:pt x="583504" y="6245658"/>
                  <a:pt x="582476" y="6249145"/>
                  <a:pt x="580416" y="6251470"/>
                </a:cubicBezTo>
                <a:cubicBezTo>
                  <a:pt x="577327" y="6253796"/>
                  <a:pt x="571152" y="6254957"/>
                  <a:pt x="569092" y="6261934"/>
                </a:cubicBezTo>
                <a:cubicBezTo>
                  <a:pt x="567033" y="6267746"/>
                  <a:pt x="570121" y="6274721"/>
                  <a:pt x="560857" y="6287509"/>
                </a:cubicBezTo>
                <a:cubicBezTo>
                  <a:pt x="556738" y="6293322"/>
                  <a:pt x="551590" y="6293322"/>
                  <a:pt x="549531" y="6297971"/>
                </a:cubicBezTo>
                <a:cubicBezTo>
                  <a:pt x="544384" y="6308434"/>
                  <a:pt x="544384" y="6318898"/>
                  <a:pt x="539236" y="6328198"/>
                </a:cubicBezTo>
                <a:cubicBezTo>
                  <a:pt x="534088" y="6337498"/>
                  <a:pt x="526882" y="6344473"/>
                  <a:pt x="521734" y="6352610"/>
                </a:cubicBezTo>
                <a:cubicBezTo>
                  <a:pt x="502173" y="6382836"/>
                  <a:pt x="493938" y="6411900"/>
                  <a:pt x="471288" y="6439801"/>
                </a:cubicBezTo>
                <a:cubicBezTo>
                  <a:pt x="468201" y="6444451"/>
                  <a:pt x="459963" y="6444451"/>
                  <a:pt x="455845" y="6459563"/>
                </a:cubicBezTo>
                <a:cubicBezTo>
                  <a:pt x="454815" y="6463052"/>
                  <a:pt x="456875" y="6466539"/>
                  <a:pt x="454815" y="6471189"/>
                </a:cubicBezTo>
                <a:cubicBezTo>
                  <a:pt x="455845" y="6470027"/>
                  <a:pt x="449669" y="6470027"/>
                  <a:pt x="448639" y="6472352"/>
                </a:cubicBezTo>
                <a:cubicBezTo>
                  <a:pt x="440403" y="6485139"/>
                  <a:pt x="424960" y="6507228"/>
                  <a:pt x="414665" y="6521178"/>
                </a:cubicBezTo>
                <a:cubicBezTo>
                  <a:pt x="410546" y="6504902"/>
                  <a:pt x="438345" y="6470027"/>
                  <a:pt x="449669" y="6453751"/>
                </a:cubicBezTo>
                <a:cubicBezTo>
                  <a:pt x="453787" y="6447939"/>
                  <a:pt x="454815" y="6439801"/>
                  <a:pt x="458934" y="6435151"/>
                </a:cubicBezTo>
                <a:cubicBezTo>
                  <a:pt x="460993" y="6432825"/>
                  <a:pt x="464082" y="6433987"/>
                  <a:pt x="467171" y="6429338"/>
                </a:cubicBezTo>
                <a:cubicBezTo>
                  <a:pt x="473347" y="6420038"/>
                  <a:pt x="477465" y="6407250"/>
                  <a:pt x="483643" y="6397949"/>
                </a:cubicBezTo>
                <a:cubicBezTo>
                  <a:pt x="493938" y="6381675"/>
                  <a:pt x="510410" y="6351448"/>
                  <a:pt x="526882" y="6323548"/>
                </a:cubicBezTo>
                <a:cubicBezTo>
                  <a:pt x="543354" y="6295647"/>
                  <a:pt x="576299" y="6245658"/>
                  <a:pt x="595859" y="6200319"/>
                </a:cubicBezTo>
                <a:close/>
                <a:moveTo>
                  <a:pt x="5731671" y="6188508"/>
                </a:moveTo>
                <a:lnTo>
                  <a:pt x="5731671" y="6193457"/>
                </a:lnTo>
                <a:cubicBezTo>
                  <a:pt x="5731671" y="6199407"/>
                  <a:pt x="5731347" y="6203442"/>
                  <a:pt x="5730699" y="6205563"/>
                </a:cubicBezTo>
                <a:cubicBezTo>
                  <a:pt x="5729756" y="6208803"/>
                  <a:pt x="5727783" y="6211542"/>
                  <a:pt x="5724778" y="6213781"/>
                </a:cubicBezTo>
                <a:cubicBezTo>
                  <a:pt x="5720713" y="6216727"/>
                  <a:pt x="5716442" y="6218199"/>
                  <a:pt x="5711965" y="6218199"/>
                </a:cubicBezTo>
                <a:cubicBezTo>
                  <a:pt x="5707959" y="6218199"/>
                  <a:pt x="5704660" y="6216933"/>
                  <a:pt x="5702068" y="6214400"/>
                </a:cubicBezTo>
                <a:cubicBezTo>
                  <a:pt x="5699476" y="6211866"/>
                  <a:pt x="5698180" y="6208862"/>
                  <a:pt x="5698180" y="6205386"/>
                </a:cubicBezTo>
                <a:cubicBezTo>
                  <a:pt x="5698180" y="6201852"/>
                  <a:pt x="5699800" y="6198935"/>
                  <a:pt x="5703040" y="6196638"/>
                </a:cubicBezTo>
                <a:cubicBezTo>
                  <a:pt x="5705161" y="6195224"/>
                  <a:pt x="5709668" y="6193781"/>
                  <a:pt x="5716560" y="6192308"/>
                </a:cubicBezTo>
                <a:cubicBezTo>
                  <a:pt x="5723453" y="6190835"/>
                  <a:pt x="5728490" y="6189569"/>
                  <a:pt x="5731671" y="6188508"/>
                </a:cubicBezTo>
                <a:close/>
                <a:moveTo>
                  <a:pt x="5131596" y="6188508"/>
                </a:moveTo>
                <a:lnTo>
                  <a:pt x="5131596" y="6193457"/>
                </a:lnTo>
                <a:cubicBezTo>
                  <a:pt x="5131596" y="6199407"/>
                  <a:pt x="5131272" y="6203442"/>
                  <a:pt x="5130624" y="6205563"/>
                </a:cubicBezTo>
                <a:cubicBezTo>
                  <a:pt x="5129681" y="6208803"/>
                  <a:pt x="5127708" y="6211542"/>
                  <a:pt x="5124703" y="6213781"/>
                </a:cubicBezTo>
                <a:cubicBezTo>
                  <a:pt x="5120638" y="6216727"/>
                  <a:pt x="5116367" y="6218199"/>
                  <a:pt x="5111890" y="6218199"/>
                </a:cubicBezTo>
                <a:cubicBezTo>
                  <a:pt x="5107884" y="6218199"/>
                  <a:pt x="5104585" y="6216933"/>
                  <a:pt x="5101993" y="6214400"/>
                </a:cubicBezTo>
                <a:cubicBezTo>
                  <a:pt x="5099401" y="6211866"/>
                  <a:pt x="5098105" y="6208862"/>
                  <a:pt x="5098105" y="6205386"/>
                </a:cubicBezTo>
                <a:cubicBezTo>
                  <a:pt x="5098105" y="6201852"/>
                  <a:pt x="5099725" y="6198935"/>
                  <a:pt x="5102965" y="6196638"/>
                </a:cubicBezTo>
                <a:cubicBezTo>
                  <a:pt x="5105086" y="6195224"/>
                  <a:pt x="5109592" y="6193781"/>
                  <a:pt x="5116485" y="6192308"/>
                </a:cubicBezTo>
                <a:cubicBezTo>
                  <a:pt x="5123378" y="6190835"/>
                  <a:pt x="5128415" y="6189569"/>
                  <a:pt x="5131596" y="6188508"/>
                </a:cubicBezTo>
                <a:close/>
                <a:moveTo>
                  <a:pt x="382782" y="6181864"/>
                </a:moveTo>
                <a:cubicBezTo>
                  <a:pt x="384938" y="6181428"/>
                  <a:pt x="387126" y="6182590"/>
                  <a:pt x="388928" y="6186370"/>
                </a:cubicBezTo>
                <a:cubicBezTo>
                  <a:pt x="384809" y="6194507"/>
                  <a:pt x="378632" y="6192181"/>
                  <a:pt x="375545" y="6201482"/>
                </a:cubicBezTo>
                <a:cubicBezTo>
                  <a:pt x="370139" y="6198866"/>
                  <a:pt x="376316" y="6183171"/>
                  <a:pt x="382782" y="6181864"/>
                </a:cubicBezTo>
                <a:close/>
                <a:moveTo>
                  <a:pt x="358170" y="6172128"/>
                </a:moveTo>
                <a:cubicBezTo>
                  <a:pt x="360615" y="6172128"/>
                  <a:pt x="361645" y="6174744"/>
                  <a:pt x="358042" y="6182881"/>
                </a:cubicBezTo>
                <a:cubicBezTo>
                  <a:pt x="355983" y="6188693"/>
                  <a:pt x="340540" y="6206132"/>
                  <a:pt x="340540" y="6207294"/>
                </a:cubicBezTo>
                <a:cubicBezTo>
                  <a:pt x="336422" y="6215433"/>
                  <a:pt x="335392" y="6227057"/>
                  <a:pt x="330246" y="6237521"/>
                </a:cubicBezTo>
                <a:cubicBezTo>
                  <a:pt x="324068" y="6250308"/>
                  <a:pt x="303478" y="6270071"/>
                  <a:pt x="295241" y="6293322"/>
                </a:cubicBezTo>
                <a:cubicBezTo>
                  <a:pt x="283917" y="6281696"/>
                  <a:pt x="298330" y="6272396"/>
                  <a:pt x="305536" y="6263096"/>
                </a:cubicBezTo>
                <a:cubicBezTo>
                  <a:pt x="310684" y="6237521"/>
                  <a:pt x="329216" y="6202645"/>
                  <a:pt x="349805" y="6177069"/>
                </a:cubicBezTo>
                <a:cubicBezTo>
                  <a:pt x="351864" y="6174744"/>
                  <a:pt x="355725" y="6172128"/>
                  <a:pt x="358170" y="6172128"/>
                </a:cubicBezTo>
                <a:close/>
                <a:moveTo>
                  <a:pt x="711165" y="6158468"/>
                </a:moveTo>
                <a:cubicBezTo>
                  <a:pt x="716312" y="6164280"/>
                  <a:pt x="708076" y="6172419"/>
                  <a:pt x="706017" y="6179393"/>
                </a:cubicBezTo>
                <a:cubicBezTo>
                  <a:pt x="702928" y="6191019"/>
                  <a:pt x="701898" y="6203807"/>
                  <a:pt x="693663" y="6214269"/>
                </a:cubicBezTo>
                <a:cubicBezTo>
                  <a:pt x="691603" y="6222407"/>
                  <a:pt x="696752" y="6216594"/>
                  <a:pt x="700869" y="6220082"/>
                </a:cubicBezTo>
                <a:cubicBezTo>
                  <a:pt x="697782" y="6225895"/>
                  <a:pt x="694692" y="6231707"/>
                  <a:pt x="691603" y="6237521"/>
                </a:cubicBezTo>
                <a:cubicBezTo>
                  <a:pt x="659689" y="6214269"/>
                  <a:pt x="692634" y="6180557"/>
                  <a:pt x="711165" y="6158468"/>
                </a:cubicBezTo>
                <a:close/>
                <a:moveTo>
                  <a:pt x="6065469" y="6157845"/>
                </a:moveTo>
                <a:cubicBezTo>
                  <a:pt x="6071949" y="6157845"/>
                  <a:pt x="6077384" y="6160319"/>
                  <a:pt x="6081773" y="6165268"/>
                </a:cubicBezTo>
                <a:cubicBezTo>
                  <a:pt x="6086162" y="6170216"/>
                  <a:pt x="6088356" y="6177286"/>
                  <a:pt x="6088356" y="6186476"/>
                </a:cubicBezTo>
                <a:cubicBezTo>
                  <a:pt x="6088356" y="6195902"/>
                  <a:pt x="6086162" y="6203089"/>
                  <a:pt x="6081773" y="6208037"/>
                </a:cubicBezTo>
                <a:cubicBezTo>
                  <a:pt x="6077384" y="6212986"/>
                  <a:pt x="6071949" y="6215460"/>
                  <a:pt x="6065469" y="6215460"/>
                </a:cubicBezTo>
                <a:cubicBezTo>
                  <a:pt x="6058989" y="6215460"/>
                  <a:pt x="6053540" y="6212986"/>
                  <a:pt x="6049121" y="6208037"/>
                </a:cubicBezTo>
                <a:cubicBezTo>
                  <a:pt x="6044703" y="6203089"/>
                  <a:pt x="6042494" y="6195960"/>
                  <a:pt x="6042494" y="6186653"/>
                </a:cubicBezTo>
                <a:cubicBezTo>
                  <a:pt x="6042494" y="6177345"/>
                  <a:pt x="6044703" y="6170216"/>
                  <a:pt x="6049121" y="6165268"/>
                </a:cubicBezTo>
                <a:cubicBezTo>
                  <a:pt x="6053540" y="6160319"/>
                  <a:pt x="6058989" y="6157845"/>
                  <a:pt x="6065469" y="6157845"/>
                </a:cubicBezTo>
                <a:close/>
                <a:moveTo>
                  <a:pt x="822351" y="6157305"/>
                </a:moveTo>
                <a:cubicBezTo>
                  <a:pt x="805879" y="6181718"/>
                  <a:pt x="793525" y="6218920"/>
                  <a:pt x="788378" y="6232870"/>
                </a:cubicBezTo>
                <a:cubicBezTo>
                  <a:pt x="780141" y="6256122"/>
                  <a:pt x="760581" y="6281696"/>
                  <a:pt x="754404" y="6288672"/>
                </a:cubicBezTo>
                <a:cubicBezTo>
                  <a:pt x="743078" y="6302623"/>
                  <a:pt x="744108" y="6316572"/>
                  <a:pt x="739991" y="6327035"/>
                </a:cubicBezTo>
                <a:lnTo>
                  <a:pt x="725762" y="6358267"/>
                </a:lnTo>
                <a:lnTo>
                  <a:pt x="724484" y="6354990"/>
                </a:lnTo>
                <a:cubicBezTo>
                  <a:pt x="725063" y="6345999"/>
                  <a:pt x="734328" y="6334882"/>
                  <a:pt x="729695" y="6327035"/>
                </a:cubicBezTo>
                <a:lnTo>
                  <a:pt x="728965" y="6328133"/>
                </a:lnTo>
                <a:lnTo>
                  <a:pt x="732623" y="6321531"/>
                </a:lnTo>
                <a:cubicBezTo>
                  <a:pt x="742178" y="6299352"/>
                  <a:pt x="750286" y="6269490"/>
                  <a:pt x="759551" y="6267746"/>
                </a:cubicBezTo>
                <a:cubicBezTo>
                  <a:pt x="763669" y="6267746"/>
                  <a:pt x="759551" y="6259608"/>
                  <a:pt x="758521" y="6260771"/>
                </a:cubicBezTo>
                <a:cubicBezTo>
                  <a:pt x="768817" y="6246820"/>
                  <a:pt x="769847" y="6245658"/>
                  <a:pt x="772935" y="6234033"/>
                </a:cubicBezTo>
                <a:cubicBezTo>
                  <a:pt x="778083" y="6213108"/>
                  <a:pt x="790437" y="6208456"/>
                  <a:pt x="797644" y="6195670"/>
                </a:cubicBezTo>
                <a:cubicBezTo>
                  <a:pt x="809997" y="6174744"/>
                  <a:pt x="809997" y="6151493"/>
                  <a:pt x="822351" y="6157305"/>
                </a:cubicBezTo>
                <a:close/>
                <a:moveTo>
                  <a:pt x="5615496" y="6156608"/>
                </a:moveTo>
                <a:cubicBezTo>
                  <a:pt x="5621623" y="6156608"/>
                  <a:pt x="5626690" y="6158964"/>
                  <a:pt x="5630696" y="6163677"/>
                </a:cubicBezTo>
                <a:cubicBezTo>
                  <a:pt x="5634702" y="6168390"/>
                  <a:pt x="5636704" y="6175607"/>
                  <a:pt x="5636704" y="6185327"/>
                </a:cubicBezTo>
                <a:cubicBezTo>
                  <a:pt x="5636704" y="6194635"/>
                  <a:pt x="5634613" y="6201660"/>
                  <a:pt x="5630430" y="6206402"/>
                </a:cubicBezTo>
                <a:cubicBezTo>
                  <a:pt x="5626248" y="6211145"/>
                  <a:pt x="5621122" y="6213516"/>
                  <a:pt x="5615055" y="6213516"/>
                </a:cubicBezTo>
                <a:cubicBezTo>
                  <a:pt x="5609399" y="6213516"/>
                  <a:pt x="5604642" y="6211204"/>
                  <a:pt x="5600783" y="6206579"/>
                </a:cubicBezTo>
                <a:cubicBezTo>
                  <a:pt x="5596925" y="6201955"/>
                  <a:pt x="5594995" y="6194664"/>
                  <a:pt x="5594995" y="6184708"/>
                </a:cubicBezTo>
                <a:cubicBezTo>
                  <a:pt x="5594995" y="6175224"/>
                  <a:pt x="5596925" y="6168169"/>
                  <a:pt x="5600783" y="6163545"/>
                </a:cubicBezTo>
                <a:cubicBezTo>
                  <a:pt x="5604642" y="6158920"/>
                  <a:pt x="5609546" y="6156608"/>
                  <a:pt x="5615496" y="6156608"/>
                </a:cubicBezTo>
                <a:close/>
                <a:moveTo>
                  <a:pt x="5336179" y="6156608"/>
                </a:moveTo>
                <a:cubicBezTo>
                  <a:pt x="5341245" y="6156608"/>
                  <a:pt x="5345546" y="6158478"/>
                  <a:pt x="5349080" y="6162219"/>
                </a:cubicBezTo>
                <a:cubicBezTo>
                  <a:pt x="5352615" y="6165960"/>
                  <a:pt x="5354471" y="6171424"/>
                  <a:pt x="5354647" y="6178611"/>
                </a:cubicBezTo>
                <a:lnTo>
                  <a:pt x="5317533" y="6178611"/>
                </a:lnTo>
                <a:cubicBezTo>
                  <a:pt x="5317474" y="6171836"/>
                  <a:pt x="5319212" y="6166475"/>
                  <a:pt x="5322747" y="6162528"/>
                </a:cubicBezTo>
                <a:cubicBezTo>
                  <a:pt x="5326282" y="6158581"/>
                  <a:pt x="5330759" y="6156608"/>
                  <a:pt x="5336179" y="6156608"/>
                </a:cubicBezTo>
                <a:close/>
                <a:moveTo>
                  <a:pt x="5225148" y="6156608"/>
                </a:moveTo>
                <a:cubicBezTo>
                  <a:pt x="5231216" y="6156608"/>
                  <a:pt x="5236194" y="6158979"/>
                  <a:pt x="5240082" y="6163721"/>
                </a:cubicBezTo>
                <a:cubicBezTo>
                  <a:pt x="5243970" y="6168464"/>
                  <a:pt x="5245914" y="6176225"/>
                  <a:pt x="5245914" y="6187006"/>
                </a:cubicBezTo>
                <a:cubicBezTo>
                  <a:pt x="5245914" y="6196667"/>
                  <a:pt x="5243911" y="6203928"/>
                  <a:pt x="5239906" y="6208788"/>
                </a:cubicBezTo>
                <a:cubicBezTo>
                  <a:pt x="5235900" y="6213649"/>
                  <a:pt x="5231039" y="6216079"/>
                  <a:pt x="5225325" y="6216079"/>
                </a:cubicBezTo>
                <a:cubicBezTo>
                  <a:pt x="5218138" y="6216079"/>
                  <a:pt x="5212541" y="6212839"/>
                  <a:pt x="5208535" y="6206358"/>
                </a:cubicBezTo>
                <a:cubicBezTo>
                  <a:pt x="5205766" y="6201881"/>
                  <a:pt x="5204382" y="6194635"/>
                  <a:pt x="5204382" y="6184620"/>
                </a:cubicBezTo>
                <a:cubicBezTo>
                  <a:pt x="5204382" y="6175312"/>
                  <a:pt x="5206370" y="6168316"/>
                  <a:pt x="5210347" y="6163633"/>
                </a:cubicBezTo>
                <a:cubicBezTo>
                  <a:pt x="5214323" y="6158950"/>
                  <a:pt x="5219257" y="6156608"/>
                  <a:pt x="5225148" y="6156608"/>
                </a:cubicBezTo>
                <a:close/>
                <a:moveTo>
                  <a:pt x="535118" y="6149168"/>
                </a:moveTo>
                <a:cubicBezTo>
                  <a:pt x="542325" y="6159631"/>
                  <a:pt x="523794" y="6175906"/>
                  <a:pt x="520704" y="6188693"/>
                </a:cubicBezTo>
                <a:cubicBezTo>
                  <a:pt x="513498" y="6179393"/>
                  <a:pt x="532028" y="6161956"/>
                  <a:pt x="535118" y="6149168"/>
                </a:cubicBezTo>
                <a:close/>
                <a:moveTo>
                  <a:pt x="6187369" y="6137609"/>
                </a:moveTo>
                <a:cubicBezTo>
                  <a:pt x="6176058" y="6137609"/>
                  <a:pt x="6166308" y="6142587"/>
                  <a:pt x="6158119" y="6152543"/>
                </a:cubicBezTo>
                <a:lnTo>
                  <a:pt x="6158119" y="6139730"/>
                </a:lnTo>
                <a:lnTo>
                  <a:pt x="6135232" y="6139730"/>
                </a:lnTo>
                <a:lnTo>
                  <a:pt x="6135232" y="6233575"/>
                </a:lnTo>
                <a:lnTo>
                  <a:pt x="6160063" y="6233575"/>
                </a:lnTo>
                <a:lnTo>
                  <a:pt x="6160063" y="6187978"/>
                </a:lnTo>
                <a:cubicBezTo>
                  <a:pt x="6160063" y="6178965"/>
                  <a:pt x="6160726" y="6172514"/>
                  <a:pt x="6162052" y="6168626"/>
                </a:cubicBezTo>
                <a:cubicBezTo>
                  <a:pt x="6163377" y="6164738"/>
                  <a:pt x="6165572" y="6161763"/>
                  <a:pt x="6168635" y="6159701"/>
                </a:cubicBezTo>
                <a:cubicBezTo>
                  <a:pt x="6171698" y="6157639"/>
                  <a:pt x="6175144" y="6156608"/>
                  <a:pt x="6178974" y="6156608"/>
                </a:cubicBezTo>
                <a:cubicBezTo>
                  <a:pt x="6182155" y="6156608"/>
                  <a:pt x="6184673" y="6157256"/>
                  <a:pt x="6186529" y="6158552"/>
                </a:cubicBezTo>
                <a:cubicBezTo>
                  <a:pt x="6188385" y="6159848"/>
                  <a:pt x="6189754" y="6161821"/>
                  <a:pt x="6190638" y="6164472"/>
                </a:cubicBezTo>
                <a:cubicBezTo>
                  <a:pt x="6191522" y="6167123"/>
                  <a:pt x="6191964" y="6173015"/>
                  <a:pt x="6191964" y="6182146"/>
                </a:cubicBezTo>
                <a:lnTo>
                  <a:pt x="6191964" y="6233575"/>
                </a:lnTo>
                <a:lnTo>
                  <a:pt x="6216795" y="6233575"/>
                </a:lnTo>
                <a:lnTo>
                  <a:pt x="6216795" y="6188508"/>
                </a:lnTo>
                <a:cubicBezTo>
                  <a:pt x="6216795" y="6179672"/>
                  <a:pt x="6217472" y="6173206"/>
                  <a:pt x="6218827" y="6169112"/>
                </a:cubicBezTo>
                <a:cubicBezTo>
                  <a:pt x="6220182" y="6165017"/>
                  <a:pt x="6222391" y="6161910"/>
                  <a:pt x="6225455" y="6159789"/>
                </a:cubicBezTo>
                <a:cubicBezTo>
                  <a:pt x="6228518" y="6157668"/>
                  <a:pt x="6231788" y="6156608"/>
                  <a:pt x="6235263" y="6156608"/>
                </a:cubicBezTo>
                <a:cubicBezTo>
                  <a:pt x="6240035" y="6156608"/>
                  <a:pt x="6243570" y="6158375"/>
                  <a:pt x="6245867" y="6161910"/>
                </a:cubicBezTo>
                <a:cubicBezTo>
                  <a:pt x="6247576" y="6164620"/>
                  <a:pt x="6248430" y="6170629"/>
                  <a:pt x="6248430" y="6179937"/>
                </a:cubicBezTo>
                <a:lnTo>
                  <a:pt x="6248430" y="6233575"/>
                </a:lnTo>
                <a:lnTo>
                  <a:pt x="6273261" y="6233575"/>
                </a:lnTo>
                <a:lnTo>
                  <a:pt x="6273261" y="6173574"/>
                </a:lnTo>
                <a:cubicBezTo>
                  <a:pt x="6273261" y="6164620"/>
                  <a:pt x="6272407" y="6158140"/>
                  <a:pt x="6270698" y="6154134"/>
                </a:cubicBezTo>
                <a:cubicBezTo>
                  <a:pt x="6268342" y="6148714"/>
                  <a:pt x="6264778" y="6144605"/>
                  <a:pt x="6260006" y="6141806"/>
                </a:cubicBezTo>
                <a:cubicBezTo>
                  <a:pt x="6255234" y="6139008"/>
                  <a:pt x="6249402" y="6137609"/>
                  <a:pt x="6242509" y="6137609"/>
                </a:cubicBezTo>
                <a:cubicBezTo>
                  <a:pt x="6237090" y="6137609"/>
                  <a:pt x="6231994" y="6138846"/>
                  <a:pt x="6227222" y="6141320"/>
                </a:cubicBezTo>
                <a:cubicBezTo>
                  <a:pt x="6222450" y="6143795"/>
                  <a:pt x="6218002" y="6147536"/>
                  <a:pt x="6213879" y="6152543"/>
                </a:cubicBezTo>
                <a:cubicBezTo>
                  <a:pt x="6211051" y="6147536"/>
                  <a:pt x="6207428" y="6143795"/>
                  <a:pt x="6203010" y="6141320"/>
                </a:cubicBezTo>
                <a:cubicBezTo>
                  <a:pt x="6198591" y="6138846"/>
                  <a:pt x="6193378" y="6137609"/>
                  <a:pt x="6187369" y="6137609"/>
                </a:cubicBezTo>
                <a:close/>
                <a:moveTo>
                  <a:pt x="6065381" y="6137609"/>
                </a:moveTo>
                <a:cubicBezTo>
                  <a:pt x="6056191" y="6137609"/>
                  <a:pt x="6047869" y="6139641"/>
                  <a:pt x="6040417" y="6143706"/>
                </a:cubicBezTo>
                <a:cubicBezTo>
                  <a:pt x="6032965" y="6147771"/>
                  <a:pt x="6027206" y="6153662"/>
                  <a:pt x="6023141" y="6161380"/>
                </a:cubicBezTo>
                <a:cubicBezTo>
                  <a:pt x="6019076" y="6169097"/>
                  <a:pt x="6017044" y="6177079"/>
                  <a:pt x="6017044" y="6185327"/>
                </a:cubicBezTo>
                <a:cubicBezTo>
                  <a:pt x="6017044" y="6196108"/>
                  <a:pt x="6019076" y="6205254"/>
                  <a:pt x="6023141" y="6212765"/>
                </a:cubicBezTo>
                <a:cubicBezTo>
                  <a:pt x="6027206" y="6220276"/>
                  <a:pt x="6033142" y="6225976"/>
                  <a:pt x="6040947" y="6229864"/>
                </a:cubicBezTo>
                <a:cubicBezTo>
                  <a:pt x="6048753" y="6233752"/>
                  <a:pt x="6056956" y="6235696"/>
                  <a:pt x="6065558" y="6235696"/>
                </a:cubicBezTo>
                <a:cubicBezTo>
                  <a:pt x="6079460" y="6235696"/>
                  <a:pt x="6090992" y="6231027"/>
                  <a:pt x="6100153" y="6221690"/>
                </a:cubicBezTo>
                <a:cubicBezTo>
                  <a:pt x="6109314" y="6212353"/>
                  <a:pt x="6113894" y="6200585"/>
                  <a:pt x="6113894" y="6186387"/>
                </a:cubicBezTo>
                <a:cubicBezTo>
                  <a:pt x="6113894" y="6172308"/>
                  <a:pt x="6109358" y="6160658"/>
                  <a:pt x="6100286" y="6151438"/>
                </a:cubicBezTo>
                <a:cubicBezTo>
                  <a:pt x="6091213" y="6142219"/>
                  <a:pt x="6079578" y="6137609"/>
                  <a:pt x="6065381" y="6137609"/>
                </a:cubicBezTo>
                <a:close/>
                <a:moveTo>
                  <a:pt x="5967568" y="6137609"/>
                </a:moveTo>
                <a:cubicBezTo>
                  <a:pt x="5953606" y="6137609"/>
                  <a:pt x="5942531" y="6141924"/>
                  <a:pt x="5934342" y="6150555"/>
                </a:cubicBezTo>
                <a:cubicBezTo>
                  <a:pt x="5926154" y="6159185"/>
                  <a:pt x="5922059" y="6171247"/>
                  <a:pt x="5922059" y="6186741"/>
                </a:cubicBezTo>
                <a:cubicBezTo>
                  <a:pt x="5922059" y="6202058"/>
                  <a:pt x="5926139" y="6214046"/>
                  <a:pt x="5934298" y="6222706"/>
                </a:cubicBezTo>
                <a:cubicBezTo>
                  <a:pt x="5942457" y="6231366"/>
                  <a:pt x="5953400" y="6235696"/>
                  <a:pt x="5967126" y="6235696"/>
                </a:cubicBezTo>
                <a:cubicBezTo>
                  <a:pt x="5979203" y="6235696"/>
                  <a:pt x="5988835" y="6232839"/>
                  <a:pt x="5996022" y="6227124"/>
                </a:cubicBezTo>
                <a:cubicBezTo>
                  <a:pt x="6003209" y="6221410"/>
                  <a:pt x="6008069" y="6212956"/>
                  <a:pt x="6010603" y="6201763"/>
                </a:cubicBezTo>
                <a:lnTo>
                  <a:pt x="5986214" y="6197610"/>
                </a:lnTo>
                <a:cubicBezTo>
                  <a:pt x="5984976" y="6204149"/>
                  <a:pt x="5982856" y="6208759"/>
                  <a:pt x="5979851" y="6211439"/>
                </a:cubicBezTo>
                <a:cubicBezTo>
                  <a:pt x="5976847" y="6214120"/>
                  <a:pt x="5972988" y="6215460"/>
                  <a:pt x="5968275" y="6215460"/>
                </a:cubicBezTo>
                <a:cubicBezTo>
                  <a:pt x="5961972" y="6215460"/>
                  <a:pt x="5956949" y="6213163"/>
                  <a:pt x="5953208" y="6208567"/>
                </a:cubicBezTo>
                <a:cubicBezTo>
                  <a:pt x="5949468" y="6203972"/>
                  <a:pt x="5947597" y="6196108"/>
                  <a:pt x="5947597" y="6184974"/>
                </a:cubicBezTo>
                <a:cubicBezTo>
                  <a:pt x="5947597" y="6174959"/>
                  <a:pt x="5949438" y="6167816"/>
                  <a:pt x="5953120" y="6163545"/>
                </a:cubicBezTo>
                <a:cubicBezTo>
                  <a:pt x="5956802" y="6159274"/>
                  <a:pt x="5961736" y="6157138"/>
                  <a:pt x="5967922" y="6157138"/>
                </a:cubicBezTo>
                <a:cubicBezTo>
                  <a:pt x="5972576" y="6157138"/>
                  <a:pt x="5976361" y="6158375"/>
                  <a:pt x="5979277" y="6160849"/>
                </a:cubicBezTo>
                <a:cubicBezTo>
                  <a:pt x="5982193" y="6163324"/>
                  <a:pt x="5984063" y="6167006"/>
                  <a:pt x="5984888" y="6171895"/>
                </a:cubicBezTo>
                <a:lnTo>
                  <a:pt x="6009366" y="6167477"/>
                </a:lnTo>
                <a:cubicBezTo>
                  <a:pt x="6006420" y="6157403"/>
                  <a:pt x="6001574" y="6149907"/>
                  <a:pt x="5994829" y="6144988"/>
                </a:cubicBezTo>
                <a:cubicBezTo>
                  <a:pt x="5988084" y="6140069"/>
                  <a:pt x="5978997" y="6137609"/>
                  <a:pt x="5967568" y="6137609"/>
                </a:cubicBezTo>
                <a:close/>
                <a:moveTo>
                  <a:pt x="5809336" y="6137609"/>
                </a:moveTo>
                <a:cubicBezTo>
                  <a:pt x="5795845" y="6137609"/>
                  <a:pt x="5785889" y="6140378"/>
                  <a:pt x="5779468" y="6145915"/>
                </a:cubicBezTo>
                <a:cubicBezTo>
                  <a:pt x="5773047" y="6151453"/>
                  <a:pt x="5769836" y="6158287"/>
                  <a:pt x="5769836" y="6166417"/>
                </a:cubicBezTo>
                <a:cubicBezTo>
                  <a:pt x="5769836" y="6175430"/>
                  <a:pt x="5773547" y="6182470"/>
                  <a:pt x="5780970" y="6187536"/>
                </a:cubicBezTo>
                <a:cubicBezTo>
                  <a:pt x="5786331" y="6191189"/>
                  <a:pt x="5799026" y="6195224"/>
                  <a:pt x="5819056" y="6199642"/>
                </a:cubicBezTo>
                <a:cubicBezTo>
                  <a:pt x="5823357" y="6200644"/>
                  <a:pt x="5826126" y="6201734"/>
                  <a:pt x="5827363" y="6202912"/>
                </a:cubicBezTo>
                <a:cubicBezTo>
                  <a:pt x="5828541" y="6204149"/>
                  <a:pt x="5829130" y="6205710"/>
                  <a:pt x="5829130" y="6207595"/>
                </a:cubicBezTo>
                <a:cubicBezTo>
                  <a:pt x="5829130" y="6210364"/>
                  <a:pt x="5828040" y="6212573"/>
                  <a:pt x="5825860" y="6214223"/>
                </a:cubicBezTo>
                <a:cubicBezTo>
                  <a:pt x="5822620" y="6216579"/>
                  <a:pt x="5817790" y="6217758"/>
                  <a:pt x="5811368" y="6217758"/>
                </a:cubicBezTo>
                <a:cubicBezTo>
                  <a:pt x="5805536" y="6217758"/>
                  <a:pt x="5801000" y="6216506"/>
                  <a:pt x="5797760" y="6214002"/>
                </a:cubicBezTo>
                <a:cubicBezTo>
                  <a:pt x="5794520" y="6211498"/>
                  <a:pt x="5792369" y="6207831"/>
                  <a:pt x="5791309" y="6203000"/>
                </a:cubicBezTo>
                <a:lnTo>
                  <a:pt x="5766390" y="6206800"/>
                </a:lnTo>
                <a:cubicBezTo>
                  <a:pt x="5768687" y="6215696"/>
                  <a:pt x="5773562" y="6222736"/>
                  <a:pt x="5781014" y="6227920"/>
                </a:cubicBezTo>
                <a:cubicBezTo>
                  <a:pt x="5788467" y="6233104"/>
                  <a:pt x="5798585" y="6235696"/>
                  <a:pt x="5811368" y="6235696"/>
                </a:cubicBezTo>
                <a:cubicBezTo>
                  <a:pt x="5825448" y="6235696"/>
                  <a:pt x="5836082" y="6232603"/>
                  <a:pt x="5843269" y="6226418"/>
                </a:cubicBezTo>
                <a:cubicBezTo>
                  <a:pt x="5850456" y="6220232"/>
                  <a:pt x="5854049" y="6212839"/>
                  <a:pt x="5854049" y="6204237"/>
                </a:cubicBezTo>
                <a:cubicBezTo>
                  <a:pt x="5854049" y="6196343"/>
                  <a:pt x="5851457" y="6190187"/>
                  <a:pt x="5846273" y="6185769"/>
                </a:cubicBezTo>
                <a:cubicBezTo>
                  <a:pt x="5841030" y="6181409"/>
                  <a:pt x="5831796" y="6177727"/>
                  <a:pt x="5818570" y="6174723"/>
                </a:cubicBezTo>
                <a:cubicBezTo>
                  <a:pt x="5805345" y="6171719"/>
                  <a:pt x="5797612" y="6169392"/>
                  <a:pt x="5795374" y="6167742"/>
                </a:cubicBezTo>
                <a:cubicBezTo>
                  <a:pt x="5793724" y="6166505"/>
                  <a:pt x="5792900" y="6165003"/>
                  <a:pt x="5792900" y="6163235"/>
                </a:cubicBezTo>
                <a:cubicBezTo>
                  <a:pt x="5792900" y="6161173"/>
                  <a:pt x="5793842" y="6159495"/>
                  <a:pt x="5795727" y="6158198"/>
                </a:cubicBezTo>
                <a:cubicBezTo>
                  <a:pt x="5798555" y="6156372"/>
                  <a:pt x="5803238" y="6155459"/>
                  <a:pt x="5809778" y="6155459"/>
                </a:cubicBezTo>
                <a:cubicBezTo>
                  <a:pt x="5814962" y="6155459"/>
                  <a:pt x="5818953" y="6156431"/>
                  <a:pt x="5821751" y="6158375"/>
                </a:cubicBezTo>
                <a:cubicBezTo>
                  <a:pt x="5824550" y="6160319"/>
                  <a:pt x="5826450" y="6163118"/>
                  <a:pt x="5827451" y="6166770"/>
                </a:cubicBezTo>
                <a:lnTo>
                  <a:pt x="5850868" y="6162440"/>
                </a:lnTo>
                <a:cubicBezTo>
                  <a:pt x="5848512" y="6154251"/>
                  <a:pt x="5844211" y="6148066"/>
                  <a:pt x="5837967" y="6143883"/>
                </a:cubicBezTo>
                <a:cubicBezTo>
                  <a:pt x="5831722" y="6139700"/>
                  <a:pt x="5822178" y="6137609"/>
                  <a:pt x="5809336" y="6137609"/>
                </a:cubicBezTo>
                <a:close/>
                <a:moveTo>
                  <a:pt x="5716560" y="6137609"/>
                </a:moveTo>
                <a:cubicBezTo>
                  <a:pt x="5704366" y="6137609"/>
                  <a:pt x="5695175" y="6139789"/>
                  <a:pt x="5688990" y="6144148"/>
                </a:cubicBezTo>
                <a:cubicBezTo>
                  <a:pt x="5682804" y="6148508"/>
                  <a:pt x="5678445" y="6155223"/>
                  <a:pt x="5675911" y="6164296"/>
                </a:cubicBezTo>
                <a:lnTo>
                  <a:pt x="5698445" y="6168361"/>
                </a:lnTo>
                <a:cubicBezTo>
                  <a:pt x="5699977" y="6164001"/>
                  <a:pt x="5701980" y="6160953"/>
                  <a:pt x="5704454" y="6159215"/>
                </a:cubicBezTo>
                <a:cubicBezTo>
                  <a:pt x="5706928" y="6157477"/>
                  <a:pt x="5710374" y="6156608"/>
                  <a:pt x="5714793" y="6156608"/>
                </a:cubicBezTo>
                <a:cubicBezTo>
                  <a:pt x="5721332" y="6156608"/>
                  <a:pt x="5725780" y="6157624"/>
                  <a:pt x="5728136" y="6159657"/>
                </a:cubicBezTo>
                <a:cubicBezTo>
                  <a:pt x="5730493" y="6161689"/>
                  <a:pt x="5731671" y="6165091"/>
                  <a:pt x="5731671" y="6169863"/>
                </a:cubicBezTo>
                <a:lnTo>
                  <a:pt x="5731671" y="6172337"/>
                </a:lnTo>
                <a:cubicBezTo>
                  <a:pt x="5727194" y="6174222"/>
                  <a:pt x="5719152" y="6176255"/>
                  <a:pt x="5707547" y="6178434"/>
                </a:cubicBezTo>
                <a:cubicBezTo>
                  <a:pt x="5698946" y="6180084"/>
                  <a:pt x="5692362" y="6182013"/>
                  <a:pt x="5687797" y="6184222"/>
                </a:cubicBezTo>
                <a:cubicBezTo>
                  <a:pt x="5683231" y="6186432"/>
                  <a:pt x="5679682" y="6189613"/>
                  <a:pt x="5677148" y="6193766"/>
                </a:cubicBezTo>
                <a:cubicBezTo>
                  <a:pt x="5674615" y="6197919"/>
                  <a:pt x="5673349" y="6202647"/>
                  <a:pt x="5673349" y="6207949"/>
                </a:cubicBezTo>
                <a:cubicBezTo>
                  <a:pt x="5673349" y="6215961"/>
                  <a:pt x="5676132" y="6222588"/>
                  <a:pt x="5681699" y="6227831"/>
                </a:cubicBezTo>
                <a:cubicBezTo>
                  <a:pt x="5687266" y="6233075"/>
                  <a:pt x="5694881" y="6235696"/>
                  <a:pt x="5704542" y="6235696"/>
                </a:cubicBezTo>
                <a:cubicBezTo>
                  <a:pt x="5710021" y="6235696"/>
                  <a:pt x="5715176" y="6234665"/>
                  <a:pt x="5720006" y="6232603"/>
                </a:cubicBezTo>
                <a:cubicBezTo>
                  <a:pt x="5724837" y="6230541"/>
                  <a:pt x="5729373" y="6227448"/>
                  <a:pt x="5733615" y="6223325"/>
                </a:cubicBezTo>
                <a:cubicBezTo>
                  <a:pt x="5733792" y="6223796"/>
                  <a:pt x="5734086" y="6224768"/>
                  <a:pt x="5734498" y="6226241"/>
                </a:cubicBezTo>
                <a:cubicBezTo>
                  <a:pt x="5735441" y="6229481"/>
                  <a:pt x="5736236" y="6231926"/>
                  <a:pt x="5736884" y="6233575"/>
                </a:cubicBezTo>
                <a:lnTo>
                  <a:pt x="5761450" y="6233575"/>
                </a:lnTo>
                <a:cubicBezTo>
                  <a:pt x="5759271" y="6229098"/>
                  <a:pt x="5757783" y="6224901"/>
                  <a:pt x="5756988" y="6220983"/>
                </a:cubicBezTo>
                <a:cubicBezTo>
                  <a:pt x="5756192" y="6217065"/>
                  <a:pt x="5755795" y="6210983"/>
                  <a:pt x="5755795" y="6202735"/>
                </a:cubicBezTo>
                <a:lnTo>
                  <a:pt x="5756060" y="6173751"/>
                </a:lnTo>
                <a:cubicBezTo>
                  <a:pt x="5756060" y="6162970"/>
                  <a:pt x="5754955" y="6155562"/>
                  <a:pt x="5752746" y="6151527"/>
                </a:cubicBezTo>
                <a:cubicBezTo>
                  <a:pt x="5750537" y="6147491"/>
                  <a:pt x="5746722" y="6144163"/>
                  <a:pt x="5741303" y="6141541"/>
                </a:cubicBezTo>
                <a:cubicBezTo>
                  <a:pt x="5735883" y="6138920"/>
                  <a:pt x="5727635" y="6137609"/>
                  <a:pt x="5716560" y="6137609"/>
                </a:cubicBezTo>
                <a:close/>
                <a:moveTo>
                  <a:pt x="5609134" y="6137609"/>
                </a:moveTo>
                <a:cubicBezTo>
                  <a:pt x="5597882" y="6137609"/>
                  <a:pt x="5588471" y="6141762"/>
                  <a:pt x="5580901" y="6150069"/>
                </a:cubicBezTo>
                <a:cubicBezTo>
                  <a:pt x="5573331" y="6158375"/>
                  <a:pt x="5569546" y="6170393"/>
                  <a:pt x="5569546" y="6186122"/>
                </a:cubicBezTo>
                <a:cubicBezTo>
                  <a:pt x="5569546" y="6198670"/>
                  <a:pt x="5572432" y="6209157"/>
                  <a:pt x="5578206" y="6217581"/>
                </a:cubicBezTo>
                <a:cubicBezTo>
                  <a:pt x="5585570" y="6228244"/>
                  <a:pt x="5595555" y="6233575"/>
                  <a:pt x="5608162" y="6233575"/>
                </a:cubicBezTo>
                <a:cubicBezTo>
                  <a:pt x="5619473" y="6233575"/>
                  <a:pt x="5628840" y="6228509"/>
                  <a:pt x="5636263" y="6218376"/>
                </a:cubicBezTo>
                <a:lnTo>
                  <a:pt x="5636263" y="6232073"/>
                </a:lnTo>
                <a:cubicBezTo>
                  <a:pt x="5636263" y="6237611"/>
                  <a:pt x="5635880" y="6241410"/>
                  <a:pt x="5635114" y="6243472"/>
                </a:cubicBezTo>
                <a:cubicBezTo>
                  <a:pt x="5633995" y="6246359"/>
                  <a:pt x="5632345" y="6248450"/>
                  <a:pt x="5630165" y="6249746"/>
                </a:cubicBezTo>
                <a:cubicBezTo>
                  <a:pt x="5626925" y="6251690"/>
                  <a:pt x="5622065" y="6252662"/>
                  <a:pt x="5615585" y="6252662"/>
                </a:cubicBezTo>
                <a:cubicBezTo>
                  <a:pt x="5610518" y="6252662"/>
                  <a:pt x="5606807" y="6251779"/>
                  <a:pt x="5604451" y="6250011"/>
                </a:cubicBezTo>
                <a:cubicBezTo>
                  <a:pt x="5602742" y="6248774"/>
                  <a:pt x="5601652" y="6246506"/>
                  <a:pt x="5601181" y="6243207"/>
                </a:cubicBezTo>
                <a:lnTo>
                  <a:pt x="5572815" y="6239761"/>
                </a:lnTo>
                <a:cubicBezTo>
                  <a:pt x="5572756" y="6240939"/>
                  <a:pt x="5572727" y="6241941"/>
                  <a:pt x="5572727" y="6242765"/>
                </a:cubicBezTo>
                <a:cubicBezTo>
                  <a:pt x="5572727" y="6251131"/>
                  <a:pt x="5576055" y="6258038"/>
                  <a:pt x="5582712" y="6263487"/>
                </a:cubicBezTo>
                <a:cubicBezTo>
                  <a:pt x="5589369" y="6268937"/>
                  <a:pt x="5600651" y="6271661"/>
                  <a:pt x="5616557" y="6271661"/>
                </a:cubicBezTo>
                <a:cubicBezTo>
                  <a:pt x="5624981" y="6271661"/>
                  <a:pt x="5631947" y="6270778"/>
                  <a:pt x="5637456" y="6269010"/>
                </a:cubicBezTo>
                <a:cubicBezTo>
                  <a:pt x="5642964" y="6267243"/>
                  <a:pt x="5647367" y="6264798"/>
                  <a:pt x="5650666" y="6261676"/>
                </a:cubicBezTo>
                <a:cubicBezTo>
                  <a:pt x="5653966" y="6258554"/>
                  <a:pt x="5656528" y="6254253"/>
                  <a:pt x="5658354" y="6248774"/>
                </a:cubicBezTo>
                <a:cubicBezTo>
                  <a:pt x="5660180" y="6243296"/>
                  <a:pt x="5661094" y="6235019"/>
                  <a:pt x="5661094" y="6223943"/>
                </a:cubicBezTo>
                <a:lnTo>
                  <a:pt x="5661094" y="6139730"/>
                </a:lnTo>
                <a:lnTo>
                  <a:pt x="5637853" y="6139730"/>
                </a:lnTo>
                <a:lnTo>
                  <a:pt x="5637853" y="6152896"/>
                </a:lnTo>
                <a:cubicBezTo>
                  <a:pt x="5630313" y="6142705"/>
                  <a:pt x="5620740" y="6137609"/>
                  <a:pt x="5609134" y="6137609"/>
                </a:cubicBezTo>
                <a:close/>
                <a:moveTo>
                  <a:pt x="5457478" y="6137609"/>
                </a:moveTo>
                <a:cubicBezTo>
                  <a:pt x="5445048" y="6137609"/>
                  <a:pt x="5434739" y="6142911"/>
                  <a:pt x="5426550" y="6153515"/>
                </a:cubicBezTo>
                <a:lnTo>
                  <a:pt x="5426550" y="6139730"/>
                </a:lnTo>
                <a:lnTo>
                  <a:pt x="5403486" y="6139730"/>
                </a:lnTo>
                <a:lnTo>
                  <a:pt x="5403486" y="6233575"/>
                </a:lnTo>
                <a:lnTo>
                  <a:pt x="5428317" y="6233575"/>
                </a:lnTo>
                <a:lnTo>
                  <a:pt x="5428317" y="6191071"/>
                </a:lnTo>
                <a:cubicBezTo>
                  <a:pt x="5428317" y="6180585"/>
                  <a:pt x="5428950" y="6173398"/>
                  <a:pt x="5430217" y="6169509"/>
                </a:cubicBezTo>
                <a:cubicBezTo>
                  <a:pt x="5431484" y="6165621"/>
                  <a:pt x="5433825" y="6162499"/>
                  <a:pt x="5437242" y="6160143"/>
                </a:cubicBezTo>
                <a:cubicBezTo>
                  <a:pt x="5440659" y="6157786"/>
                  <a:pt x="5444518" y="6156608"/>
                  <a:pt x="5448818" y="6156608"/>
                </a:cubicBezTo>
                <a:cubicBezTo>
                  <a:pt x="5452176" y="6156608"/>
                  <a:pt x="5455048" y="6157433"/>
                  <a:pt x="5457434" y="6159082"/>
                </a:cubicBezTo>
                <a:cubicBezTo>
                  <a:pt x="5459820" y="6160732"/>
                  <a:pt x="5461543" y="6163044"/>
                  <a:pt x="5462604" y="6166019"/>
                </a:cubicBezTo>
                <a:cubicBezTo>
                  <a:pt x="5463664" y="6168994"/>
                  <a:pt x="5464194" y="6175548"/>
                  <a:pt x="5464194" y="6185681"/>
                </a:cubicBezTo>
                <a:lnTo>
                  <a:pt x="5464194" y="6233575"/>
                </a:lnTo>
                <a:lnTo>
                  <a:pt x="5489025" y="6233575"/>
                </a:lnTo>
                <a:lnTo>
                  <a:pt x="5489025" y="6175253"/>
                </a:lnTo>
                <a:cubicBezTo>
                  <a:pt x="5489025" y="6168007"/>
                  <a:pt x="5488569" y="6162440"/>
                  <a:pt x="5487655" y="6158552"/>
                </a:cubicBezTo>
                <a:cubicBezTo>
                  <a:pt x="5486742" y="6154664"/>
                  <a:pt x="5485122" y="6151188"/>
                  <a:pt x="5482795" y="6148125"/>
                </a:cubicBezTo>
                <a:cubicBezTo>
                  <a:pt x="5480468" y="6145061"/>
                  <a:pt x="5477037" y="6142543"/>
                  <a:pt x="5472501" y="6140569"/>
                </a:cubicBezTo>
                <a:cubicBezTo>
                  <a:pt x="5467964" y="6138596"/>
                  <a:pt x="5462957" y="6137609"/>
                  <a:pt x="5457478" y="6137609"/>
                </a:cubicBezTo>
                <a:close/>
                <a:moveTo>
                  <a:pt x="5334676" y="6137609"/>
                </a:moveTo>
                <a:cubicBezTo>
                  <a:pt x="5322246" y="6137609"/>
                  <a:pt x="5311966" y="6142013"/>
                  <a:pt x="5303836" y="6150820"/>
                </a:cubicBezTo>
                <a:cubicBezTo>
                  <a:pt x="5295707" y="6159627"/>
                  <a:pt x="5291642" y="6171807"/>
                  <a:pt x="5291642" y="6187359"/>
                </a:cubicBezTo>
                <a:cubicBezTo>
                  <a:pt x="5291642" y="6200379"/>
                  <a:pt x="5294735" y="6211160"/>
                  <a:pt x="5300920" y="6219702"/>
                </a:cubicBezTo>
                <a:cubicBezTo>
                  <a:pt x="5308756" y="6230365"/>
                  <a:pt x="5320832" y="6235696"/>
                  <a:pt x="5337151" y="6235696"/>
                </a:cubicBezTo>
                <a:cubicBezTo>
                  <a:pt x="5347460" y="6235696"/>
                  <a:pt x="5356046" y="6233325"/>
                  <a:pt x="5362910" y="6228583"/>
                </a:cubicBezTo>
                <a:cubicBezTo>
                  <a:pt x="5369773" y="6223840"/>
                  <a:pt x="5374795" y="6216933"/>
                  <a:pt x="5377976" y="6207861"/>
                </a:cubicBezTo>
                <a:lnTo>
                  <a:pt x="5353234" y="6203707"/>
                </a:lnTo>
                <a:cubicBezTo>
                  <a:pt x="5351878" y="6208420"/>
                  <a:pt x="5349876" y="6211837"/>
                  <a:pt x="5347225" y="6213958"/>
                </a:cubicBezTo>
                <a:cubicBezTo>
                  <a:pt x="5344574" y="6216079"/>
                  <a:pt x="5341304" y="6217139"/>
                  <a:pt x="5337416" y="6217139"/>
                </a:cubicBezTo>
                <a:cubicBezTo>
                  <a:pt x="5331701" y="6217139"/>
                  <a:pt x="5326930" y="6215092"/>
                  <a:pt x="5323100" y="6210998"/>
                </a:cubicBezTo>
                <a:cubicBezTo>
                  <a:pt x="5319271" y="6206903"/>
                  <a:pt x="5317268" y="6201174"/>
                  <a:pt x="5317092" y="6193810"/>
                </a:cubicBezTo>
                <a:lnTo>
                  <a:pt x="5379302" y="6193810"/>
                </a:lnTo>
                <a:cubicBezTo>
                  <a:pt x="5379655" y="6174782"/>
                  <a:pt x="5375796" y="6160658"/>
                  <a:pt x="5367726" y="6151438"/>
                </a:cubicBezTo>
                <a:cubicBezTo>
                  <a:pt x="5359655" y="6142219"/>
                  <a:pt x="5348638" y="6137609"/>
                  <a:pt x="5334676" y="6137609"/>
                </a:cubicBezTo>
                <a:close/>
                <a:moveTo>
                  <a:pt x="5116485" y="6137609"/>
                </a:moveTo>
                <a:cubicBezTo>
                  <a:pt x="5104290" y="6137609"/>
                  <a:pt x="5095100" y="6139789"/>
                  <a:pt x="5088915" y="6144148"/>
                </a:cubicBezTo>
                <a:cubicBezTo>
                  <a:pt x="5082729" y="6148508"/>
                  <a:pt x="5078370" y="6155223"/>
                  <a:pt x="5075836" y="6164296"/>
                </a:cubicBezTo>
                <a:lnTo>
                  <a:pt x="5098370" y="6168361"/>
                </a:lnTo>
                <a:cubicBezTo>
                  <a:pt x="5099902" y="6164001"/>
                  <a:pt x="5101905" y="6160953"/>
                  <a:pt x="5104379" y="6159215"/>
                </a:cubicBezTo>
                <a:cubicBezTo>
                  <a:pt x="5106853" y="6157477"/>
                  <a:pt x="5110299" y="6156608"/>
                  <a:pt x="5114718" y="6156608"/>
                </a:cubicBezTo>
                <a:cubicBezTo>
                  <a:pt x="5121257" y="6156608"/>
                  <a:pt x="5125705" y="6157624"/>
                  <a:pt x="5128061" y="6159657"/>
                </a:cubicBezTo>
                <a:cubicBezTo>
                  <a:pt x="5130418" y="6161689"/>
                  <a:pt x="5131596" y="6165091"/>
                  <a:pt x="5131596" y="6169863"/>
                </a:cubicBezTo>
                <a:lnTo>
                  <a:pt x="5131596" y="6172337"/>
                </a:lnTo>
                <a:cubicBezTo>
                  <a:pt x="5127119" y="6174222"/>
                  <a:pt x="5119077" y="6176255"/>
                  <a:pt x="5107472" y="6178434"/>
                </a:cubicBezTo>
                <a:cubicBezTo>
                  <a:pt x="5098871" y="6180084"/>
                  <a:pt x="5092287" y="6182013"/>
                  <a:pt x="5087722" y="6184222"/>
                </a:cubicBezTo>
                <a:cubicBezTo>
                  <a:pt x="5083156" y="6186432"/>
                  <a:pt x="5079607" y="6189613"/>
                  <a:pt x="5077074" y="6193766"/>
                </a:cubicBezTo>
                <a:cubicBezTo>
                  <a:pt x="5074540" y="6197919"/>
                  <a:pt x="5073274" y="6202647"/>
                  <a:pt x="5073274" y="6207949"/>
                </a:cubicBezTo>
                <a:cubicBezTo>
                  <a:pt x="5073274" y="6215961"/>
                  <a:pt x="5076057" y="6222588"/>
                  <a:pt x="5081624" y="6227831"/>
                </a:cubicBezTo>
                <a:cubicBezTo>
                  <a:pt x="5087192" y="6233075"/>
                  <a:pt x="5094806" y="6235696"/>
                  <a:pt x="5104467" y="6235696"/>
                </a:cubicBezTo>
                <a:cubicBezTo>
                  <a:pt x="5109946" y="6235696"/>
                  <a:pt x="5115101" y="6234665"/>
                  <a:pt x="5119931" y="6232603"/>
                </a:cubicBezTo>
                <a:cubicBezTo>
                  <a:pt x="5124762" y="6230541"/>
                  <a:pt x="5129298" y="6227448"/>
                  <a:pt x="5133540" y="6223325"/>
                </a:cubicBezTo>
                <a:cubicBezTo>
                  <a:pt x="5133717" y="6223796"/>
                  <a:pt x="5134011" y="6224768"/>
                  <a:pt x="5134424" y="6226241"/>
                </a:cubicBezTo>
                <a:cubicBezTo>
                  <a:pt x="5135366" y="6229481"/>
                  <a:pt x="5136161" y="6231926"/>
                  <a:pt x="5136809" y="6233575"/>
                </a:cubicBezTo>
                <a:lnTo>
                  <a:pt x="5161375" y="6233575"/>
                </a:lnTo>
                <a:cubicBezTo>
                  <a:pt x="5159196" y="6229098"/>
                  <a:pt x="5157708" y="6224901"/>
                  <a:pt x="5156913" y="6220983"/>
                </a:cubicBezTo>
                <a:cubicBezTo>
                  <a:pt x="5156118" y="6217065"/>
                  <a:pt x="5155720" y="6210983"/>
                  <a:pt x="5155720" y="6202735"/>
                </a:cubicBezTo>
                <a:lnTo>
                  <a:pt x="5155985" y="6173751"/>
                </a:lnTo>
                <a:cubicBezTo>
                  <a:pt x="5155985" y="6162970"/>
                  <a:pt x="5154880" y="6155562"/>
                  <a:pt x="5152671" y="6151527"/>
                </a:cubicBezTo>
                <a:cubicBezTo>
                  <a:pt x="5150462" y="6147491"/>
                  <a:pt x="5146648" y="6144163"/>
                  <a:pt x="5141228" y="6141541"/>
                </a:cubicBezTo>
                <a:cubicBezTo>
                  <a:pt x="5135808" y="6138920"/>
                  <a:pt x="5127560" y="6137609"/>
                  <a:pt x="5116485" y="6137609"/>
                </a:cubicBezTo>
                <a:close/>
                <a:moveTo>
                  <a:pt x="5015068" y="6137609"/>
                </a:moveTo>
                <a:cubicBezTo>
                  <a:pt x="5001106" y="6137609"/>
                  <a:pt x="4990031" y="6141924"/>
                  <a:pt x="4981842" y="6150555"/>
                </a:cubicBezTo>
                <a:cubicBezTo>
                  <a:pt x="4973654" y="6159185"/>
                  <a:pt x="4969559" y="6171247"/>
                  <a:pt x="4969559" y="6186741"/>
                </a:cubicBezTo>
                <a:cubicBezTo>
                  <a:pt x="4969559" y="6202058"/>
                  <a:pt x="4973639" y="6214046"/>
                  <a:pt x="4981798" y="6222706"/>
                </a:cubicBezTo>
                <a:cubicBezTo>
                  <a:pt x="4989957" y="6231366"/>
                  <a:pt x="5000900" y="6235696"/>
                  <a:pt x="5014626" y="6235696"/>
                </a:cubicBezTo>
                <a:cubicBezTo>
                  <a:pt x="5026703" y="6235696"/>
                  <a:pt x="5036335" y="6232839"/>
                  <a:pt x="5043522" y="6227124"/>
                </a:cubicBezTo>
                <a:cubicBezTo>
                  <a:pt x="5050709" y="6221410"/>
                  <a:pt x="5055569" y="6212956"/>
                  <a:pt x="5058103" y="6201763"/>
                </a:cubicBezTo>
                <a:lnTo>
                  <a:pt x="5033713" y="6197610"/>
                </a:lnTo>
                <a:cubicBezTo>
                  <a:pt x="5032476" y="6204149"/>
                  <a:pt x="5030355" y="6208759"/>
                  <a:pt x="5027351" y="6211439"/>
                </a:cubicBezTo>
                <a:cubicBezTo>
                  <a:pt x="5024347" y="6214120"/>
                  <a:pt x="5020488" y="6215460"/>
                  <a:pt x="5015775" y="6215460"/>
                </a:cubicBezTo>
                <a:cubicBezTo>
                  <a:pt x="5009471" y="6215460"/>
                  <a:pt x="5004449" y="6213163"/>
                  <a:pt x="5000708" y="6208567"/>
                </a:cubicBezTo>
                <a:cubicBezTo>
                  <a:pt x="4996968" y="6203972"/>
                  <a:pt x="4995097" y="6196108"/>
                  <a:pt x="4995097" y="6184974"/>
                </a:cubicBezTo>
                <a:cubicBezTo>
                  <a:pt x="4995097" y="6174959"/>
                  <a:pt x="4996938" y="6167816"/>
                  <a:pt x="5000620" y="6163545"/>
                </a:cubicBezTo>
                <a:cubicBezTo>
                  <a:pt x="5004302" y="6159274"/>
                  <a:pt x="5009236" y="6157138"/>
                  <a:pt x="5015422" y="6157138"/>
                </a:cubicBezTo>
                <a:cubicBezTo>
                  <a:pt x="5020075" y="6157138"/>
                  <a:pt x="5023861" y="6158375"/>
                  <a:pt x="5026777" y="6160849"/>
                </a:cubicBezTo>
                <a:cubicBezTo>
                  <a:pt x="5029693" y="6163324"/>
                  <a:pt x="5031563" y="6167006"/>
                  <a:pt x="5032388" y="6171895"/>
                </a:cubicBezTo>
                <a:lnTo>
                  <a:pt x="5056866" y="6167477"/>
                </a:lnTo>
                <a:cubicBezTo>
                  <a:pt x="5053920" y="6157403"/>
                  <a:pt x="5049074" y="6149907"/>
                  <a:pt x="5042329" y="6144988"/>
                </a:cubicBezTo>
                <a:cubicBezTo>
                  <a:pt x="5035584" y="6140069"/>
                  <a:pt x="5026497" y="6137609"/>
                  <a:pt x="5015068" y="6137609"/>
                </a:cubicBezTo>
                <a:close/>
                <a:moveTo>
                  <a:pt x="666896" y="6132892"/>
                </a:moveTo>
                <a:cubicBezTo>
                  <a:pt x="675132" y="6141030"/>
                  <a:pt x="656601" y="6157305"/>
                  <a:pt x="654541" y="6167769"/>
                </a:cubicBezTo>
                <a:cubicBezTo>
                  <a:pt x="646305" y="6158468"/>
                  <a:pt x="663808" y="6143356"/>
                  <a:pt x="666896" y="6132892"/>
                </a:cubicBezTo>
                <a:close/>
                <a:moveTo>
                  <a:pt x="464082" y="6123592"/>
                </a:moveTo>
                <a:cubicBezTo>
                  <a:pt x="468201" y="6146842"/>
                  <a:pt x="448639" y="6174744"/>
                  <a:pt x="432167" y="6206132"/>
                </a:cubicBezTo>
                <a:cubicBezTo>
                  <a:pt x="417754" y="6234033"/>
                  <a:pt x="403340" y="6258445"/>
                  <a:pt x="393045" y="6271234"/>
                </a:cubicBezTo>
                <a:cubicBezTo>
                  <a:pt x="388928" y="6266583"/>
                  <a:pt x="395104" y="6259608"/>
                  <a:pt x="389957" y="6256122"/>
                </a:cubicBezTo>
                <a:cubicBezTo>
                  <a:pt x="360102" y="6287509"/>
                  <a:pt x="344659" y="6330522"/>
                  <a:pt x="314803" y="6381675"/>
                </a:cubicBezTo>
                <a:cubicBezTo>
                  <a:pt x="324068" y="6394462"/>
                  <a:pt x="327157" y="6375861"/>
                  <a:pt x="332305" y="6368887"/>
                </a:cubicBezTo>
                <a:cubicBezTo>
                  <a:pt x="335392" y="6374698"/>
                  <a:pt x="314803" y="6418875"/>
                  <a:pt x="305536" y="6430500"/>
                </a:cubicBezTo>
                <a:cubicBezTo>
                  <a:pt x="297301" y="6439801"/>
                  <a:pt x="301420" y="6435151"/>
                  <a:pt x="295241" y="6429338"/>
                </a:cubicBezTo>
                <a:cubicBezTo>
                  <a:pt x="285977" y="6443288"/>
                  <a:pt x="287005" y="6452588"/>
                  <a:pt x="282889" y="6464214"/>
                </a:cubicBezTo>
                <a:cubicBezTo>
                  <a:pt x="273622" y="6451426"/>
                  <a:pt x="270534" y="6470027"/>
                  <a:pt x="265386" y="6477001"/>
                </a:cubicBezTo>
                <a:cubicBezTo>
                  <a:pt x="263327" y="6480489"/>
                  <a:pt x="262297" y="6482815"/>
                  <a:pt x="260239" y="6486302"/>
                </a:cubicBezTo>
                <a:cubicBezTo>
                  <a:pt x="263327" y="6489790"/>
                  <a:pt x="264357" y="6487464"/>
                  <a:pt x="266415" y="6485139"/>
                </a:cubicBezTo>
                <a:cubicBezTo>
                  <a:pt x="273622" y="6478164"/>
                  <a:pt x="270534" y="6494440"/>
                  <a:pt x="264357" y="6489790"/>
                </a:cubicBezTo>
                <a:cubicBezTo>
                  <a:pt x="263327" y="6493276"/>
                  <a:pt x="260239" y="6492114"/>
                  <a:pt x="258179" y="6490951"/>
                </a:cubicBezTo>
                <a:cubicBezTo>
                  <a:pt x="248914" y="6506065"/>
                  <a:pt x="246855" y="6517690"/>
                  <a:pt x="243765" y="6530478"/>
                </a:cubicBezTo>
                <a:cubicBezTo>
                  <a:pt x="229353" y="6524665"/>
                  <a:pt x="215970" y="6566515"/>
                  <a:pt x="203615" y="6588605"/>
                </a:cubicBezTo>
                <a:cubicBezTo>
                  <a:pt x="195380" y="6601392"/>
                  <a:pt x="185084" y="6617667"/>
                  <a:pt x="171700" y="6639756"/>
                </a:cubicBezTo>
                <a:cubicBezTo>
                  <a:pt x="167582" y="6646731"/>
                  <a:pt x="164495" y="6644405"/>
                  <a:pt x="160376" y="6650218"/>
                </a:cubicBezTo>
                <a:cubicBezTo>
                  <a:pt x="145963" y="6671144"/>
                  <a:pt x="139785" y="6693232"/>
                  <a:pt x="121254" y="6715321"/>
                </a:cubicBezTo>
                <a:cubicBezTo>
                  <a:pt x="106841" y="6732759"/>
                  <a:pt x="74926" y="6778097"/>
                  <a:pt x="56396" y="6799023"/>
                </a:cubicBezTo>
                <a:cubicBezTo>
                  <a:pt x="44040" y="6812973"/>
                  <a:pt x="38893" y="6829248"/>
                  <a:pt x="24480" y="6850174"/>
                </a:cubicBezTo>
                <a:cubicBezTo>
                  <a:pt x="25510" y="6849012"/>
                  <a:pt x="19333" y="6850174"/>
                  <a:pt x="18303" y="6851335"/>
                </a:cubicBezTo>
                <a:lnTo>
                  <a:pt x="14886" y="6858000"/>
                </a:lnTo>
                <a:lnTo>
                  <a:pt x="4095" y="6858000"/>
                </a:lnTo>
                <a:lnTo>
                  <a:pt x="11301" y="6847139"/>
                </a:lnTo>
                <a:lnTo>
                  <a:pt x="15214" y="6845523"/>
                </a:lnTo>
                <a:lnTo>
                  <a:pt x="16027" y="6840014"/>
                </a:lnTo>
                <a:lnTo>
                  <a:pt x="28855" y="6820676"/>
                </a:lnTo>
                <a:cubicBezTo>
                  <a:pt x="37092" y="6807451"/>
                  <a:pt x="45070" y="6794954"/>
                  <a:pt x="52277" y="6787397"/>
                </a:cubicBezTo>
                <a:cubicBezTo>
                  <a:pt x="68748" y="6766472"/>
                  <a:pt x="80073" y="6738570"/>
                  <a:pt x="95516" y="6712995"/>
                </a:cubicBezTo>
                <a:cubicBezTo>
                  <a:pt x="100664" y="6704858"/>
                  <a:pt x="103752" y="6704858"/>
                  <a:pt x="108900" y="6697882"/>
                </a:cubicBezTo>
                <a:cubicBezTo>
                  <a:pt x="113018" y="6692071"/>
                  <a:pt x="116107" y="6682768"/>
                  <a:pt x="120223" y="6675794"/>
                </a:cubicBezTo>
                <a:cubicBezTo>
                  <a:pt x="126402" y="6664169"/>
                  <a:pt x="145963" y="6652543"/>
                  <a:pt x="134637" y="6636268"/>
                </a:cubicBezTo>
                <a:cubicBezTo>
                  <a:pt x="130520" y="6642081"/>
                  <a:pt x="127431" y="6653706"/>
                  <a:pt x="121253" y="6651382"/>
                </a:cubicBezTo>
                <a:cubicBezTo>
                  <a:pt x="116107" y="6667657"/>
                  <a:pt x="108128" y="6682188"/>
                  <a:pt x="99119" y="6696284"/>
                </a:cubicBezTo>
                <a:lnTo>
                  <a:pt x="81124" y="6723164"/>
                </a:lnTo>
                <a:lnTo>
                  <a:pt x="86024" y="6700789"/>
                </a:lnTo>
                <a:lnTo>
                  <a:pt x="95190" y="6684329"/>
                </a:lnTo>
                <a:lnTo>
                  <a:pt x="96546" y="6685094"/>
                </a:lnTo>
                <a:lnTo>
                  <a:pt x="99354" y="6676851"/>
                </a:lnTo>
                <a:lnTo>
                  <a:pt x="102208" y="6671725"/>
                </a:lnTo>
                <a:cubicBezTo>
                  <a:pt x="107999" y="6662716"/>
                  <a:pt x="113790" y="6653706"/>
                  <a:pt x="118390" y="6642662"/>
                </a:cubicBezTo>
                <a:lnTo>
                  <a:pt x="119248" y="6638748"/>
                </a:lnTo>
                <a:lnTo>
                  <a:pt x="125630" y="6630456"/>
                </a:lnTo>
                <a:cubicBezTo>
                  <a:pt x="132065" y="6622900"/>
                  <a:pt x="138242" y="6615343"/>
                  <a:pt x="142874" y="6606042"/>
                </a:cubicBezTo>
                <a:cubicBezTo>
                  <a:pt x="153169" y="6609529"/>
                  <a:pt x="143904" y="6618830"/>
                  <a:pt x="150080" y="6623481"/>
                </a:cubicBezTo>
                <a:cubicBezTo>
                  <a:pt x="164495" y="6601392"/>
                  <a:pt x="153169" y="6608368"/>
                  <a:pt x="148022" y="6596742"/>
                </a:cubicBezTo>
                <a:cubicBezTo>
                  <a:pt x="163465" y="6565354"/>
                  <a:pt x="178908" y="6536291"/>
                  <a:pt x="196408" y="6514202"/>
                </a:cubicBezTo>
                <a:cubicBezTo>
                  <a:pt x="202585" y="6530478"/>
                  <a:pt x="185084" y="6538616"/>
                  <a:pt x="177878" y="6550241"/>
                </a:cubicBezTo>
                <a:cubicBezTo>
                  <a:pt x="170671" y="6561866"/>
                  <a:pt x="166552" y="6574653"/>
                  <a:pt x="159347" y="6586279"/>
                </a:cubicBezTo>
                <a:cubicBezTo>
                  <a:pt x="170671" y="6604880"/>
                  <a:pt x="170671" y="6567679"/>
                  <a:pt x="179937" y="6576979"/>
                </a:cubicBezTo>
                <a:cubicBezTo>
                  <a:pt x="187142" y="6558379"/>
                  <a:pt x="189202" y="6549078"/>
                  <a:pt x="203615" y="6531639"/>
                </a:cubicBezTo>
                <a:cubicBezTo>
                  <a:pt x="209791" y="6523503"/>
                  <a:pt x="208764" y="6523503"/>
                  <a:pt x="214940" y="6521178"/>
                </a:cubicBezTo>
                <a:cubicBezTo>
                  <a:pt x="225234" y="6518852"/>
                  <a:pt x="234501" y="6473513"/>
                  <a:pt x="239648" y="6464214"/>
                </a:cubicBezTo>
                <a:cubicBezTo>
                  <a:pt x="239648" y="6465376"/>
                  <a:pt x="244796" y="6465376"/>
                  <a:pt x="245825" y="6463052"/>
                </a:cubicBezTo>
                <a:cubicBezTo>
                  <a:pt x="248914" y="6458401"/>
                  <a:pt x="249943" y="6452588"/>
                  <a:pt x="253032" y="6449100"/>
                </a:cubicBezTo>
                <a:cubicBezTo>
                  <a:pt x="260239" y="6439801"/>
                  <a:pt x="273622" y="6424689"/>
                  <a:pt x="282889" y="6402599"/>
                </a:cubicBezTo>
                <a:cubicBezTo>
                  <a:pt x="287005" y="6390974"/>
                  <a:pt x="287005" y="6374698"/>
                  <a:pt x="297301" y="6363073"/>
                </a:cubicBezTo>
                <a:cubicBezTo>
                  <a:pt x="297301" y="6363073"/>
                  <a:pt x="308626" y="6352610"/>
                  <a:pt x="308626" y="6352610"/>
                </a:cubicBezTo>
                <a:cubicBezTo>
                  <a:pt x="318921" y="6350286"/>
                  <a:pt x="310684" y="6349123"/>
                  <a:pt x="317890" y="6334010"/>
                </a:cubicBezTo>
                <a:cubicBezTo>
                  <a:pt x="322009" y="6327035"/>
                  <a:pt x="325097" y="6328198"/>
                  <a:pt x="329216" y="6323548"/>
                </a:cubicBezTo>
                <a:cubicBezTo>
                  <a:pt x="335392" y="6315409"/>
                  <a:pt x="339511" y="6290998"/>
                  <a:pt x="352895" y="6297971"/>
                </a:cubicBezTo>
                <a:cubicBezTo>
                  <a:pt x="359072" y="6263096"/>
                  <a:pt x="388928" y="6238683"/>
                  <a:pt x="404371" y="6197995"/>
                </a:cubicBezTo>
                <a:cubicBezTo>
                  <a:pt x="420842" y="6203807"/>
                  <a:pt x="398192" y="6221246"/>
                  <a:pt x="404371" y="6229382"/>
                </a:cubicBezTo>
                <a:cubicBezTo>
                  <a:pt x="415695" y="6229382"/>
                  <a:pt x="415695" y="6213108"/>
                  <a:pt x="421872" y="6204969"/>
                </a:cubicBezTo>
                <a:cubicBezTo>
                  <a:pt x="425989" y="6197995"/>
                  <a:pt x="433196" y="6193344"/>
                  <a:pt x="437315" y="6185206"/>
                </a:cubicBezTo>
                <a:cubicBezTo>
                  <a:pt x="447610" y="6165443"/>
                  <a:pt x="449669" y="6142192"/>
                  <a:pt x="464082" y="6123592"/>
                </a:cubicBezTo>
                <a:close/>
                <a:moveTo>
                  <a:pt x="5544031" y="6106592"/>
                </a:moveTo>
                <a:lnTo>
                  <a:pt x="5519112" y="6121084"/>
                </a:lnTo>
                <a:lnTo>
                  <a:pt x="5519112" y="6139730"/>
                </a:lnTo>
                <a:lnTo>
                  <a:pt x="5507712" y="6139730"/>
                </a:lnTo>
                <a:lnTo>
                  <a:pt x="5507712" y="6159524"/>
                </a:lnTo>
                <a:lnTo>
                  <a:pt x="5519112" y="6159524"/>
                </a:lnTo>
                <a:lnTo>
                  <a:pt x="5519112" y="6200438"/>
                </a:lnTo>
                <a:cubicBezTo>
                  <a:pt x="5519112" y="6209215"/>
                  <a:pt x="5519377" y="6215048"/>
                  <a:pt x="5519907" y="6217934"/>
                </a:cubicBezTo>
                <a:cubicBezTo>
                  <a:pt x="5520555" y="6221999"/>
                  <a:pt x="5521718" y="6225225"/>
                  <a:pt x="5523397" y="6227610"/>
                </a:cubicBezTo>
                <a:cubicBezTo>
                  <a:pt x="5525076" y="6229996"/>
                  <a:pt x="5527713" y="6231940"/>
                  <a:pt x="5531306" y="6233443"/>
                </a:cubicBezTo>
                <a:cubicBezTo>
                  <a:pt x="5534900" y="6234945"/>
                  <a:pt x="5538935" y="6235696"/>
                  <a:pt x="5543413" y="6235696"/>
                </a:cubicBezTo>
                <a:cubicBezTo>
                  <a:pt x="5550718" y="6235696"/>
                  <a:pt x="5557257" y="6234459"/>
                  <a:pt x="5563030" y="6231985"/>
                </a:cubicBezTo>
                <a:lnTo>
                  <a:pt x="5560909" y="6212721"/>
                </a:lnTo>
                <a:cubicBezTo>
                  <a:pt x="5556550" y="6214311"/>
                  <a:pt x="5553221" y="6215107"/>
                  <a:pt x="5550924" y="6215107"/>
                </a:cubicBezTo>
                <a:cubicBezTo>
                  <a:pt x="5549274" y="6215107"/>
                  <a:pt x="5547875" y="6214694"/>
                  <a:pt x="5546726" y="6213869"/>
                </a:cubicBezTo>
                <a:cubicBezTo>
                  <a:pt x="5545578" y="6213045"/>
                  <a:pt x="5544841" y="6211999"/>
                  <a:pt x="5544517" y="6210732"/>
                </a:cubicBezTo>
                <a:cubicBezTo>
                  <a:pt x="5544193" y="6209466"/>
                  <a:pt x="5544031" y="6205003"/>
                  <a:pt x="5544031" y="6197345"/>
                </a:cubicBezTo>
                <a:lnTo>
                  <a:pt x="5544031" y="6159524"/>
                </a:lnTo>
                <a:lnTo>
                  <a:pt x="5560998" y="6159524"/>
                </a:lnTo>
                <a:lnTo>
                  <a:pt x="5560998" y="6139730"/>
                </a:lnTo>
                <a:lnTo>
                  <a:pt x="5544031" y="6139730"/>
                </a:lnTo>
                <a:close/>
                <a:moveTo>
                  <a:pt x="5245826" y="6104030"/>
                </a:moveTo>
                <a:lnTo>
                  <a:pt x="5245826" y="6150687"/>
                </a:lnTo>
                <a:cubicBezTo>
                  <a:pt x="5238168" y="6141968"/>
                  <a:pt x="5229095" y="6137609"/>
                  <a:pt x="5218609" y="6137609"/>
                </a:cubicBezTo>
                <a:cubicBezTo>
                  <a:pt x="5207180" y="6137609"/>
                  <a:pt x="5197725" y="6141748"/>
                  <a:pt x="5190243" y="6150025"/>
                </a:cubicBezTo>
                <a:cubicBezTo>
                  <a:pt x="5182762" y="6158302"/>
                  <a:pt x="5179021" y="6170393"/>
                  <a:pt x="5179021" y="6186299"/>
                </a:cubicBezTo>
                <a:cubicBezTo>
                  <a:pt x="5179021" y="6201852"/>
                  <a:pt x="5182865" y="6213973"/>
                  <a:pt x="5190553" y="6222662"/>
                </a:cubicBezTo>
                <a:cubicBezTo>
                  <a:pt x="5198241" y="6231351"/>
                  <a:pt x="5207475" y="6235696"/>
                  <a:pt x="5218256" y="6235696"/>
                </a:cubicBezTo>
                <a:cubicBezTo>
                  <a:pt x="5223558" y="6235696"/>
                  <a:pt x="5228815" y="6234385"/>
                  <a:pt x="5234029" y="6231764"/>
                </a:cubicBezTo>
                <a:cubicBezTo>
                  <a:pt x="5239243" y="6229142"/>
                  <a:pt x="5243764" y="6225151"/>
                  <a:pt x="5247593" y="6219790"/>
                </a:cubicBezTo>
                <a:lnTo>
                  <a:pt x="5247593" y="6233575"/>
                </a:lnTo>
                <a:lnTo>
                  <a:pt x="5270657" y="6233575"/>
                </a:lnTo>
                <a:lnTo>
                  <a:pt x="5270657" y="6104030"/>
                </a:lnTo>
                <a:close/>
                <a:moveTo>
                  <a:pt x="741021" y="6093367"/>
                </a:moveTo>
                <a:cubicBezTo>
                  <a:pt x="744108" y="6101504"/>
                  <a:pt x="738961" y="6111968"/>
                  <a:pt x="736902" y="6121267"/>
                </a:cubicBezTo>
                <a:cubicBezTo>
                  <a:pt x="721459" y="6116617"/>
                  <a:pt x="737932" y="6102667"/>
                  <a:pt x="741021" y="6093367"/>
                </a:cubicBezTo>
                <a:close/>
                <a:moveTo>
                  <a:pt x="686456" y="6085229"/>
                </a:moveTo>
                <a:cubicBezTo>
                  <a:pt x="688515" y="6086392"/>
                  <a:pt x="691603" y="6088716"/>
                  <a:pt x="694692" y="6091041"/>
                </a:cubicBezTo>
                <a:cubicBezTo>
                  <a:pt x="691603" y="6098016"/>
                  <a:pt x="688515" y="6103828"/>
                  <a:pt x="685426" y="6109642"/>
                </a:cubicBezTo>
                <a:cubicBezTo>
                  <a:pt x="682339" y="6107316"/>
                  <a:pt x="680279" y="6106154"/>
                  <a:pt x="677191" y="6103828"/>
                </a:cubicBezTo>
                <a:cubicBezTo>
                  <a:pt x="680279" y="6096855"/>
                  <a:pt x="683367" y="6091041"/>
                  <a:pt x="686456" y="6085229"/>
                </a:cubicBezTo>
                <a:close/>
                <a:moveTo>
                  <a:pt x="484671" y="6063140"/>
                </a:moveTo>
                <a:cubicBezTo>
                  <a:pt x="487760" y="6065466"/>
                  <a:pt x="489820" y="6066628"/>
                  <a:pt x="492908" y="6068953"/>
                </a:cubicBezTo>
                <a:cubicBezTo>
                  <a:pt x="490848" y="6073604"/>
                  <a:pt x="487760" y="6078253"/>
                  <a:pt x="485701" y="6082903"/>
                </a:cubicBezTo>
                <a:cubicBezTo>
                  <a:pt x="482613" y="6080578"/>
                  <a:pt x="480554" y="6079417"/>
                  <a:pt x="477465" y="6077092"/>
                </a:cubicBezTo>
                <a:cubicBezTo>
                  <a:pt x="479524" y="6072440"/>
                  <a:pt x="482613" y="6067791"/>
                  <a:pt x="484671" y="6063140"/>
                </a:cubicBezTo>
                <a:close/>
                <a:moveTo>
                  <a:pt x="379661" y="6061979"/>
                </a:moveTo>
                <a:lnTo>
                  <a:pt x="381657" y="6072771"/>
                </a:lnTo>
                <a:lnTo>
                  <a:pt x="380690" y="6074766"/>
                </a:lnTo>
                <a:lnTo>
                  <a:pt x="375104" y="6070179"/>
                </a:lnTo>
                <a:close/>
                <a:moveTo>
                  <a:pt x="765728" y="6050080"/>
                </a:moveTo>
                <a:cubicBezTo>
                  <a:pt x="768432" y="6049626"/>
                  <a:pt x="771648" y="6051224"/>
                  <a:pt x="774994" y="6056165"/>
                </a:cubicBezTo>
                <a:cubicBezTo>
                  <a:pt x="771907" y="6063140"/>
                  <a:pt x="768817" y="6068953"/>
                  <a:pt x="765728" y="6074766"/>
                </a:cubicBezTo>
                <a:cubicBezTo>
                  <a:pt x="754146" y="6071279"/>
                  <a:pt x="757621" y="6051443"/>
                  <a:pt x="765728" y="6050080"/>
                </a:cubicBezTo>
                <a:close/>
                <a:moveTo>
                  <a:pt x="664836" y="6044540"/>
                </a:moveTo>
                <a:cubicBezTo>
                  <a:pt x="668954" y="6048027"/>
                  <a:pt x="663808" y="6055003"/>
                  <a:pt x="661748" y="6060814"/>
                </a:cubicBezTo>
                <a:cubicBezTo>
                  <a:pt x="659689" y="6065466"/>
                  <a:pt x="656601" y="6070117"/>
                  <a:pt x="654541" y="6074766"/>
                </a:cubicBezTo>
                <a:cubicBezTo>
                  <a:pt x="646305" y="6067791"/>
                  <a:pt x="662777" y="6053841"/>
                  <a:pt x="664836" y="6044540"/>
                </a:cubicBezTo>
                <a:close/>
                <a:moveTo>
                  <a:pt x="797644" y="6022452"/>
                </a:moveTo>
                <a:cubicBezTo>
                  <a:pt x="802791" y="6031752"/>
                  <a:pt x="799702" y="6043378"/>
                  <a:pt x="791466" y="6055003"/>
                </a:cubicBezTo>
                <a:cubicBezTo>
                  <a:pt x="786319" y="6045703"/>
                  <a:pt x="790437" y="6035240"/>
                  <a:pt x="797644" y="6022452"/>
                </a:cubicBezTo>
                <a:close/>
                <a:moveTo>
                  <a:pt x="694692" y="6016639"/>
                </a:moveTo>
                <a:cubicBezTo>
                  <a:pt x="697782" y="6018965"/>
                  <a:pt x="699840" y="6020126"/>
                  <a:pt x="702928" y="6022452"/>
                </a:cubicBezTo>
                <a:cubicBezTo>
                  <a:pt x="700869" y="6025939"/>
                  <a:pt x="699840" y="6028264"/>
                  <a:pt x="697782" y="6031752"/>
                </a:cubicBezTo>
                <a:cubicBezTo>
                  <a:pt x="694692" y="6029428"/>
                  <a:pt x="691603" y="6028264"/>
                  <a:pt x="689545" y="6025939"/>
                </a:cubicBezTo>
                <a:cubicBezTo>
                  <a:pt x="691603" y="6022452"/>
                  <a:pt x="692634" y="6020126"/>
                  <a:pt x="694692" y="6016639"/>
                </a:cubicBezTo>
                <a:close/>
                <a:moveTo>
                  <a:pt x="726608" y="5995714"/>
                </a:moveTo>
                <a:cubicBezTo>
                  <a:pt x="730725" y="6000364"/>
                  <a:pt x="733814" y="6000364"/>
                  <a:pt x="735873" y="5996876"/>
                </a:cubicBezTo>
                <a:cubicBezTo>
                  <a:pt x="744108" y="6002688"/>
                  <a:pt x="725578" y="6003852"/>
                  <a:pt x="724548" y="6018965"/>
                </a:cubicBezTo>
                <a:cubicBezTo>
                  <a:pt x="718371" y="6013151"/>
                  <a:pt x="720430" y="6005014"/>
                  <a:pt x="726608" y="5995714"/>
                </a:cubicBezTo>
                <a:close/>
                <a:moveTo>
                  <a:pt x="524823" y="5986414"/>
                </a:moveTo>
                <a:cubicBezTo>
                  <a:pt x="537177" y="6002688"/>
                  <a:pt x="509380" y="6029428"/>
                  <a:pt x="502173" y="6050353"/>
                </a:cubicBezTo>
                <a:cubicBezTo>
                  <a:pt x="498055" y="6028264"/>
                  <a:pt x="513498" y="6017802"/>
                  <a:pt x="524823" y="5986414"/>
                </a:cubicBezTo>
                <a:close/>
                <a:moveTo>
                  <a:pt x="445551" y="5985250"/>
                </a:moveTo>
                <a:cubicBezTo>
                  <a:pt x="453787" y="5999202"/>
                  <a:pt x="436285" y="6023615"/>
                  <a:pt x="425989" y="6032915"/>
                </a:cubicBezTo>
                <a:cubicBezTo>
                  <a:pt x="415695" y="6060814"/>
                  <a:pt x="406429" y="6106154"/>
                  <a:pt x="382750" y="6125917"/>
                </a:cubicBezTo>
                <a:cubicBezTo>
                  <a:pt x="375545" y="6141030"/>
                  <a:pt x="377602" y="6153817"/>
                  <a:pt x="366278" y="6170093"/>
                </a:cubicBezTo>
                <a:cubicBezTo>
                  <a:pt x="359072" y="6159631"/>
                  <a:pt x="368337" y="6148005"/>
                  <a:pt x="372455" y="6137543"/>
                </a:cubicBezTo>
                <a:cubicBezTo>
                  <a:pt x="385839" y="6098016"/>
                  <a:pt x="418783" y="6036403"/>
                  <a:pt x="445551" y="5985250"/>
                </a:cubicBezTo>
                <a:close/>
                <a:moveTo>
                  <a:pt x="538207" y="5959675"/>
                </a:moveTo>
                <a:cubicBezTo>
                  <a:pt x="552620" y="5963162"/>
                  <a:pt x="540266" y="5974788"/>
                  <a:pt x="536147" y="5982926"/>
                </a:cubicBezTo>
                <a:cubicBezTo>
                  <a:pt x="533059" y="5977114"/>
                  <a:pt x="534088" y="5968976"/>
                  <a:pt x="538207" y="5959675"/>
                </a:cubicBezTo>
                <a:close/>
                <a:moveTo>
                  <a:pt x="432374" y="5958281"/>
                </a:moveTo>
                <a:lnTo>
                  <a:pt x="428048" y="5966650"/>
                </a:lnTo>
                <a:cubicBezTo>
                  <a:pt x="427020" y="5971301"/>
                  <a:pt x="429078" y="5980601"/>
                  <a:pt x="422902" y="5987576"/>
                </a:cubicBezTo>
                <a:cubicBezTo>
                  <a:pt x="419814" y="5991063"/>
                  <a:pt x="419298" y="5991937"/>
                  <a:pt x="418398" y="5994260"/>
                </a:cubicBezTo>
                <a:lnTo>
                  <a:pt x="412520" y="6007536"/>
                </a:lnTo>
                <a:lnTo>
                  <a:pt x="419812" y="5975951"/>
                </a:lnTo>
                <a:cubicBezTo>
                  <a:pt x="421871" y="5970137"/>
                  <a:pt x="427019" y="5967813"/>
                  <a:pt x="428047" y="5963162"/>
                </a:cubicBezTo>
                <a:cubicBezTo>
                  <a:pt x="428563" y="5959675"/>
                  <a:pt x="430107" y="5958804"/>
                  <a:pt x="431651" y="5958513"/>
                </a:cubicBezTo>
                <a:close/>
                <a:moveTo>
                  <a:pt x="786480" y="5908487"/>
                </a:moveTo>
                <a:cubicBezTo>
                  <a:pt x="787220" y="5909250"/>
                  <a:pt x="786576" y="5912011"/>
                  <a:pt x="783230" y="5917825"/>
                </a:cubicBezTo>
                <a:cubicBezTo>
                  <a:pt x="781171" y="5921312"/>
                  <a:pt x="780141" y="5923637"/>
                  <a:pt x="778083" y="5927124"/>
                </a:cubicBezTo>
                <a:cubicBezTo>
                  <a:pt x="769589" y="5921893"/>
                  <a:pt x="784260" y="5906198"/>
                  <a:pt x="786480" y="5908487"/>
                </a:cubicBezTo>
                <a:close/>
                <a:moveTo>
                  <a:pt x="754404" y="5903873"/>
                </a:moveTo>
                <a:cubicBezTo>
                  <a:pt x="756464" y="5913175"/>
                  <a:pt x="754404" y="5923637"/>
                  <a:pt x="750285" y="5931774"/>
                </a:cubicBezTo>
                <a:cubicBezTo>
                  <a:pt x="745138" y="5941075"/>
                  <a:pt x="739991" y="5941075"/>
                  <a:pt x="736902" y="5946887"/>
                </a:cubicBezTo>
                <a:cubicBezTo>
                  <a:pt x="729695" y="5960839"/>
                  <a:pt x="727636" y="5978276"/>
                  <a:pt x="716312" y="5987576"/>
                </a:cubicBezTo>
                <a:cubicBezTo>
                  <a:pt x="714252" y="5973626"/>
                  <a:pt x="725578" y="5962000"/>
                  <a:pt x="733814" y="5944562"/>
                </a:cubicBezTo>
                <a:cubicBezTo>
                  <a:pt x="739991" y="5931774"/>
                  <a:pt x="749257" y="5915499"/>
                  <a:pt x="754404" y="5903873"/>
                </a:cubicBezTo>
                <a:close/>
                <a:moveTo>
                  <a:pt x="720944" y="5903437"/>
                </a:moveTo>
                <a:cubicBezTo>
                  <a:pt x="720944" y="5905326"/>
                  <a:pt x="719916" y="5908524"/>
                  <a:pt x="718371" y="5910850"/>
                </a:cubicBezTo>
                <a:cubicBezTo>
                  <a:pt x="713224" y="5925963"/>
                  <a:pt x="693663" y="5945726"/>
                  <a:pt x="698809" y="5958513"/>
                </a:cubicBezTo>
                <a:cubicBezTo>
                  <a:pt x="674102" y="5987576"/>
                  <a:pt x="652482" y="6041052"/>
                  <a:pt x="629833" y="6081741"/>
                </a:cubicBezTo>
                <a:cubicBezTo>
                  <a:pt x="626744" y="6089879"/>
                  <a:pt x="621596" y="6087554"/>
                  <a:pt x="623656" y="6082903"/>
                </a:cubicBezTo>
                <a:cubicBezTo>
                  <a:pt x="649394" y="6017802"/>
                  <a:pt x="680279" y="5977114"/>
                  <a:pt x="717341" y="5903873"/>
                </a:cubicBezTo>
                <a:cubicBezTo>
                  <a:pt x="719914" y="5900966"/>
                  <a:pt x="720944" y="5901548"/>
                  <a:pt x="720944" y="5903437"/>
                </a:cubicBezTo>
                <a:close/>
                <a:moveTo>
                  <a:pt x="463053" y="5879461"/>
                </a:moveTo>
                <a:cubicBezTo>
                  <a:pt x="464597" y="5892830"/>
                  <a:pt x="460993" y="5904165"/>
                  <a:pt x="455332" y="5915645"/>
                </a:cubicBezTo>
                <a:lnTo>
                  <a:pt x="436781" y="5949886"/>
                </a:lnTo>
                <a:lnTo>
                  <a:pt x="438729" y="5940348"/>
                </a:lnTo>
                <a:cubicBezTo>
                  <a:pt x="439116" y="5934100"/>
                  <a:pt x="439372" y="5927706"/>
                  <a:pt x="441431" y="5922474"/>
                </a:cubicBezTo>
                <a:cubicBezTo>
                  <a:pt x="441431" y="5921312"/>
                  <a:pt x="446578" y="5921312"/>
                  <a:pt x="448638" y="5916662"/>
                </a:cubicBezTo>
                <a:cubicBezTo>
                  <a:pt x="452757" y="5907362"/>
                  <a:pt x="455844" y="5903873"/>
                  <a:pt x="457903" y="5896898"/>
                </a:cubicBezTo>
                <a:lnTo>
                  <a:pt x="460319" y="5884626"/>
                </a:lnTo>
                <a:close/>
                <a:moveTo>
                  <a:pt x="731754" y="5874811"/>
                </a:moveTo>
                <a:cubicBezTo>
                  <a:pt x="733814" y="5877135"/>
                  <a:pt x="736902" y="5878298"/>
                  <a:pt x="738961" y="5880623"/>
                </a:cubicBezTo>
                <a:cubicBezTo>
                  <a:pt x="736902" y="5885274"/>
                  <a:pt x="733814" y="5889923"/>
                  <a:pt x="731754" y="5894573"/>
                </a:cubicBezTo>
                <a:cubicBezTo>
                  <a:pt x="729695" y="5892249"/>
                  <a:pt x="726608" y="5891086"/>
                  <a:pt x="724548" y="5888761"/>
                </a:cubicBezTo>
                <a:cubicBezTo>
                  <a:pt x="726608" y="5884111"/>
                  <a:pt x="729695" y="5879461"/>
                  <a:pt x="731754" y="5874811"/>
                </a:cubicBezTo>
                <a:close/>
                <a:moveTo>
                  <a:pt x="832647" y="5853884"/>
                </a:moveTo>
                <a:cubicBezTo>
                  <a:pt x="839853" y="5848073"/>
                  <a:pt x="834707" y="5859698"/>
                  <a:pt x="831617" y="5865510"/>
                </a:cubicBezTo>
                <a:cubicBezTo>
                  <a:pt x="840883" y="5888761"/>
                  <a:pt x="809997" y="5899224"/>
                  <a:pt x="820292" y="5918987"/>
                </a:cubicBezTo>
                <a:cubicBezTo>
                  <a:pt x="815145" y="5930612"/>
                  <a:pt x="807939" y="5925963"/>
                  <a:pt x="800733" y="5936425"/>
                </a:cubicBezTo>
                <a:cubicBezTo>
                  <a:pt x="790437" y="5951538"/>
                  <a:pt x="785290" y="5982926"/>
                  <a:pt x="773964" y="5998038"/>
                </a:cubicBezTo>
                <a:cubicBezTo>
                  <a:pt x="766758" y="6007339"/>
                  <a:pt x="764700" y="6006176"/>
                  <a:pt x="756464" y="6010828"/>
                </a:cubicBezTo>
                <a:cubicBezTo>
                  <a:pt x="749257" y="6018965"/>
                  <a:pt x="760581" y="6022452"/>
                  <a:pt x="757492" y="6029428"/>
                </a:cubicBezTo>
                <a:cubicBezTo>
                  <a:pt x="755434" y="6034078"/>
                  <a:pt x="752345" y="6038727"/>
                  <a:pt x="750285" y="6043378"/>
                </a:cubicBezTo>
                <a:cubicBezTo>
                  <a:pt x="746168" y="6059653"/>
                  <a:pt x="733814" y="6039890"/>
                  <a:pt x="730725" y="6060814"/>
                </a:cubicBezTo>
                <a:cubicBezTo>
                  <a:pt x="716312" y="6044540"/>
                  <a:pt x="738961" y="6034078"/>
                  <a:pt x="745138" y="6021290"/>
                </a:cubicBezTo>
                <a:cubicBezTo>
                  <a:pt x="750285" y="6010828"/>
                  <a:pt x="750285" y="5999202"/>
                  <a:pt x="755434" y="5991063"/>
                </a:cubicBezTo>
                <a:cubicBezTo>
                  <a:pt x="763669" y="5977114"/>
                  <a:pt x="783230" y="5971301"/>
                  <a:pt x="791466" y="5942238"/>
                </a:cubicBezTo>
                <a:cubicBezTo>
                  <a:pt x="792496" y="5939912"/>
                  <a:pt x="790437" y="5934100"/>
                  <a:pt x="790437" y="5935263"/>
                </a:cubicBezTo>
                <a:cubicBezTo>
                  <a:pt x="795584" y="5924799"/>
                  <a:pt x="808968" y="5922474"/>
                  <a:pt x="800733" y="5905036"/>
                </a:cubicBezTo>
                <a:cubicBezTo>
                  <a:pt x="814116" y="5894573"/>
                  <a:pt x="830588" y="5875974"/>
                  <a:pt x="832647" y="5853884"/>
                </a:cubicBezTo>
                <a:close/>
                <a:moveTo>
                  <a:pt x="867650" y="5849235"/>
                </a:moveTo>
                <a:cubicBezTo>
                  <a:pt x="877946" y="5868997"/>
                  <a:pt x="852207" y="5886436"/>
                  <a:pt x="845001" y="5913175"/>
                </a:cubicBezTo>
                <a:cubicBezTo>
                  <a:pt x="843972" y="5914337"/>
                  <a:pt x="845001" y="5921312"/>
                  <a:pt x="846031" y="5920149"/>
                </a:cubicBezTo>
                <a:cubicBezTo>
                  <a:pt x="841913" y="5929450"/>
                  <a:pt x="832647" y="5935263"/>
                  <a:pt x="828529" y="5944562"/>
                </a:cubicBezTo>
                <a:cubicBezTo>
                  <a:pt x="823382" y="5955025"/>
                  <a:pt x="823382" y="5966650"/>
                  <a:pt x="818234" y="5974788"/>
                </a:cubicBezTo>
                <a:cubicBezTo>
                  <a:pt x="812057" y="5984089"/>
                  <a:pt x="809997" y="5984089"/>
                  <a:pt x="804850" y="5989901"/>
                </a:cubicBezTo>
                <a:cubicBezTo>
                  <a:pt x="799702" y="5995714"/>
                  <a:pt x="798673" y="6008502"/>
                  <a:pt x="791466" y="6005014"/>
                </a:cubicBezTo>
                <a:cubicBezTo>
                  <a:pt x="786319" y="6011990"/>
                  <a:pt x="791466" y="6015477"/>
                  <a:pt x="788378" y="6021290"/>
                </a:cubicBezTo>
                <a:cubicBezTo>
                  <a:pt x="788378" y="6027103"/>
                  <a:pt x="788378" y="6032915"/>
                  <a:pt x="784260" y="6030590"/>
                </a:cubicBezTo>
                <a:cubicBezTo>
                  <a:pt x="767788" y="6013151"/>
                  <a:pt x="785290" y="5989901"/>
                  <a:pt x="795584" y="5977114"/>
                </a:cubicBezTo>
                <a:cubicBezTo>
                  <a:pt x="805879" y="5964326"/>
                  <a:pt x="813086" y="5971301"/>
                  <a:pt x="822351" y="5946887"/>
                </a:cubicBezTo>
                <a:cubicBezTo>
                  <a:pt x="825440" y="5939912"/>
                  <a:pt x="823382" y="5936425"/>
                  <a:pt x="825440" y="5930612"/>
                </a:cubicBezTo>
                <a:cubicBezTo>
                  <a:pt x="829558" y="5923637"/>
                  <a:pt x="833677" y="5925963"/>
                  <a:pt x="836765" y="5920149"/>
                </a:cubicBezTo>
                <a:cubicBezTo>
                  <a:pt x="838823" y="5916662"/>
                  <a:pt x="836765" y="5909686"/>
                  <a:pt x="839853" y="5903873"/>
                </a:cubicBezTo>
                <a:cubicBezTo>
                  <a:pt x="845001" y="5895737"/>
                  <a:pt x="850149" y="5894573"/>
                  <a:pt x="853237" y="5888761"/>
                </a:cubicBezTo>
                <a:cubicBezTo>
                  <a:pt x="855296" y="5882949"/>
                  <a:pt x="856326" y="5862022"/>
                  <a:pt x="867650" y="5849235"/>
                </a:cubicBezTo>
                <a:close/>
                <a:moveTo>
                  <a:pt x="486731" y="5834121"/>
                </a:moveTo>
                <a:cubicBezTo>
                  <a:pt x="490848" y="5837611"/>
                  <a:pt x="485701" y="5844584"/>
                  <a:pt x="483643" y="5850398"/>
                </a:cubicBezTo>
                <a:cubicBezTo>
                  <a:pt x="481584" y="5855048"/>
                  <a:pt x="478495" y="5859698"/>
                  <a:pt x="476436" y="5864348"/>
                </a:cubicBezTo>
                <a:cubicBezTo>
                  <a:pt x="468201" y="5857373"/>
                  <a:pt x="484671" y="5844584"/>
                  <a:pt x="486731" y="5834121"/>
                </a:cubicBezTo>
                <a:close/>
                <a:moveTo>
                  <a:pt x="715283" y="5813197"/>
                </a:moveTo>
                <a:cubicBezTo>
                  <a:pt x="723519" y="5827147"/>
                  <a:pt x="690575" y="5851560"/>
                  <a:pt x="698809" y="5863185"/>
                </a:cubicBezTo>
                <a:cubicBezTo>
                  <a:pt x="678220" y="5870161"/>
                  <a:pt x="703958" y="5836447"/>
                  <a:pt x="710135" y="5821334"/>
                </a:cubicBezTo>
                <a:cubicBezTo>
                  <a:pt x="711165" y="5821334"/>
                  <a:pt x="706017" y="5817847"/>
                  <a:pt x="709106" y="5814359"/>
                </a:cubicBezTo>
                <a:cubicBezTo>
                  <a:pt x="709106" y="5815521"/>
                  <a:pt x="716312" y="5817847"/>
                  <a:pt x="715283" y="5813197"/>
                </a:cubicBezTo>
                <a:close/>
                <a:moveTo>
                  <a:pt x="559827" y="5794597"/>
                </a:moveTo>
                <a:cubicBezTo>
                  <a:pt x="554678" y="5805059"/>
                  <a:pt x="548502" y="5815521"/>
                  <a:pt x="543354" y="5825985"/>
                </a:cubicBezTo>
                <a:cubicBezTo>
                  <a:pt x="537177" y="5838772"/>
                  <a:pt x="545414" y="5839935"/>
                  <a:pt x="534088" y="5844584"/>
                </a:cubicBezTo>
                <a:cubicBezTo>
                  <a:pt x="525853" y="5836447"/>
                  <a:pt x="531000" y="5825985"/>
                  <a:pt x="539236" y="5823659"/>
                </a:cubicBezTo>
                <a:cubicBezTo>
                  <a:pt x="546442" y="5815521"/>
                  <a:pt x="550560" y="5789946"/>
                  <a:pt x="559827" y="5794597"/>
                </a:cubicBezTo>
                <a:close/>
                <a:moveTo>
                  <a:pt x="940617" y="5788348"/>
                </a:moveTo>
                <a:cubicBezTo>
                  <a:pt x="942548" y="5786168"/>
                  <a:pt x="944864" y="5785878"/>
                  <a:pt x="948982" y="5789946"/>
                </a:cubicBezTo>
                <a:cubicBezTo>
                  <a:pt x="933539" y="5812033"/>
                  <a:pt x="921185" y="5839935"/>
                  <a:pt x="906772" y="5871323"/>
                </a:cubicBezTo>
                <a:cubicBezTo>
                  <a:pt x="903683" y="5878298"/>
                  <a:pt x="902653" y="5888761"/>
                  <a:pt x="898535" y="5896898"/>
                </a:cubicBezTo>
                <a:cubicBezTo>
                  <a:pt x="877946" y="5939912"/>
                  <a:pt x="852207" y="5979437"/>
                  <a:pt x="838823" y="6021290"/>
                </a:cubicBezTo>
                <a:cubicBezTo>
                  <a:pt x="831617" y="6043378"/>
                  <a:pt x="832647" y="6011990"/>
                  <a:pt x="826470" y="6024777"/>
                </a:cubicBezTo>
                <a:cubicBezTo>
                  <a:pt x="814116" y="6049190"/>
                  <a:pt x="811027" y="6070117"/>
                  <a:pt x="801761" y="6093367"/>
                </a:cubicBezTo>
                <a:cubicBezTo>
                  <a:pt x="795584" y="6107316"/>
                  <a:pt x="794554" y="6093367"/>
                  <a:pt x="784260" y="6106154"/>
                </a:cubicBezTo>
                <a:cubicBezTo>
                  <a:pt x="772935" y="6121267"/>
                  <a:pt x="767788" y="6142192"/>
                  <a:pt x="762640" y="6158468"/>
                </a:cubicBezTo>
                <a:cubicBezTo>
                  <a:pt x="761610" y="6161956"/>
                  <a:pt x="758521" y="6164280"/>
                  <a:pt x="757492" y="6167769"/>
                </a:cubicBezTo>
                <a:cubicBezTo>
                  <a:pt x="756464" y="6170093"/>
                  <a:pt x="758521" y="6175906"/>
                  <a:pt x="758521" y="6174744"/>
                </a:cubicBezTo>
                <a:cubicBezTo>
                  <a:pt x="755434" y="6182881"/>
                  <a:pt x="747197" y="6186370"/>
                  <a:pt x="743078" y="6194507"/>
                </a:cubicBezTo>
                <a:cubicBezTo>
                  <a:pt x="737932" y="6203807"/>
                  <a:pt x="736902" y="6216594"/>
                  <a:pt x="732784" y="6224732"/>
                </a:cubicBezTo>
                <a:cubicBezTo>
                  <a:pt x="728667" y="6231707"/>
                  <a:pt x="721459" y="6237521"/>
                  <a:pt x="717341" y="6244496"/>
                </a:cubicBezTo>
                <a:cubicBezTo>
                  <a:pt x="703958" y="6265421"/>
                  <a:pt x="695722" y="6288672"/>
                  <a:pt x="682339" y="6311923"/>
                </a:cubicBezTo>
                <a:cubicBezTo>
                  <a:pt x="678220" y="6318898"/>
                  <a:pt x="672043" y="6323548"/>
                  <a:pt x="666896" y="6331686"/>
                </a:cubicBezTo>
                <a:cubicBezTo>
                  <a:pt x="642187" y="6370049"/>
                  <a:pt x="620568" y="6424689"/>
                  <a:pt x="594829" y="6459563"/>
                </a:cubicBezTo>
                <a:cubicBezTo>
                  <a:pt x="591742" y="6464214"/>
                  <a:pt x="590710" y="6470027"/>
                  <a:pt x="587623" y="6473513"/>
                </a:cubicBezTo>
                <a:cubicBezTo>
                  <a:pt x="585564" y="6475839"/>
                  <a:pt x="582476" y="6474677"/>
                  <a:pt x="579387" y="6479327"/>
                </a:cubicBezTo>
                <a:cubicBezTo>
                  <a:pt x="572180" y="6490951"/>
                  <a:pt x="568063" y="6502577"/>
                  <a:pt x="560857" y="6515365"/>
                </a:cubicBezTo>
                <a:cubicBezTo>
                  <a:pt x="557767" y="6518852"/>
                  <a:pt x="551590" y="6518852"/>
                  <a:pt x="549531" y="6525828"/>
                </a:cubicBezTo>
                <a:cubicBezTo>
                  <a:pt x="548502" y="6525828"/>
                  <a:pt x="552620" y="6529316"/>
                  <a:pt x="550560" y="6532804"/>
                </a:cubicBezTo>
                <a:cubicBezTo>
                  <a:pt x="546442" y="6540942"/>
                  <a:pt x="542325" y="6540942"/>
                  <a:pt x="537177" y="6547917"/>
                </a:cubicBezTo>
                <a:cubicBezTo>
                  <a:pt x="533059" y="6553728"/>
                  <a:pt x="532028" y="6560704"/>
                  <a:pt x="527911" y="6566515"/>
                </a:cubicBezTo>
                <a:cubicBezTo>
                  <a:pt x="490848" y="6623481"/>
                  <a:pt x="443491" y="6703695"/>
                  <a:pt x="402311" y="6767635"/>
                </a:cubicBezTo>
                <a:cubicBezTo>
                  <a:pt x="393045" y="6781585"/>
                  <a:pt x="380691" y="6805998"/>
                  <a:pt x="365248" y="6828085"/>
                </a:cubicBezTo>
                <a:cubicBezTo>
                  <a:pt x="363189" y="6830411"/>
                  <a:pt x="362159" y="6835061"/>
                  <a:pt x="360102" y="6837386"/>
                </a:cubicBezTo>
                <a:cubicBezTo>
                  <a:pt x="355983" y="6843199"/>
                  <a:pt x="349805" y="6839711"/>
                  <a:pt x="345689" y="6845523"/>
                </a:cubicBezTo>
                <a:lnTo>
                  <a:pt x="338624" y="6858000"/>
                </a:lnTo>
                <a:lnTo>
                  <a:pt x="318102" y="6858000"/>
                </a:lnTo>
                <a:lnTo>
                  <a:pt x="328829" y="6851045"/>
                </a:lnTo>
                <a:cubicBezTo>
                  <a:pt x="332304" y="6845814"/>
                  <a:pt x="335392" y="6839129"/>
                  <a:pt x="339511" y="6833898"/>
                </a:cubicBezTo>
                <a:cubicBezTo>
                  <a:pt x="339511" y="6833898"/>
                  <a:pt x="343629" y="6836223"/>
                  <a:pt x="345689" y="6832736"/>
                </a:cubicBezTo>
                <a:cubicBezTo>
                  <a:pt x="352895" y="6819947"/>
                  <a:pt x="358042" y="6808323"/>
                  <a:pt x="368337" y="6799023"/>
                </a:cubicBezTo>
                <a:cubicBezTo>
                  <a:pt x="382750" y="6786234"/>
                  <a:pt x="362159" y="6782747"/>
                  <a:pt x="372455" y="6771122"/>
                </a:cubicBezTo>
                <a:cubicBezTo>
                  <a:pt x="383779" y="6767635"/>
                  <a:pt x="390987" y="6747871"/>
                  <a:pt x="402311" y="6743221"/>
                </a:cubicBezTo>
                <a:cubicBezTo>
                  <a:pt x="410546" y="6739734"/>
                  <a:pt x="406429" y="6724621"/>
                  <a:pt x="410546" y="6717645"/>
                </a:cubicBezTo>
                <a:cubicBezTo>
                  <a:pt x="415695" y="6708345"/>
                  <a:pt x="424960" y="6704858"/>
                  <a:pt x="432167" y="6695557"/>
                </a:cubicBezTo>
                <a:cubicBezTo>
                  <a:pt x="439372" y="6687419"/>
                  <a:pt x="447610" y="6674632"/>
                  <a:pt x="452758" y="6666494"/>
                </a:cubicBezTo>
                <a:cubicBezTo>
                  <a:pt x="455845" y="6660680"/>
                  <a:pt x="459963" y="6653706"/>
                  <a:pt x="462022" y="6647894"/>
                </a:cubicBezTo>
                <a:cubicBezTo>
                  <a:pt x="463053" y="6645569"/>
                  <a:pt x="464082" y="6635105"/>
                  <a:pt x="463053" y="6636268"/>
                </a:cubicBezTo>
                <a:cubicBezTo>
                  <a:pt x="468201" y="6626968"/>
                  <a:pt x="471288" y="6632780"/>
                  <a:pt x="477465" y="6628130"/>
                </a:cubicBezTo>
                <a:cubicBezTo>
                  <a:pt x="482613" y="6619993"/>
                  <a:pt x="477465" y="6611855"/>
                  <a:pt x="481584" y="6600229"/>
                </a:cubicBezTo>
                <a:cubicBezTo>
                  <a:pt x="484671" y="6590930"/>
                  <a:pt x="492908" y="6581629"/>
                  <a:pt x="498055" y="6568841"/>
                </a:cubicBezTo>
                <a:cubicBezTo>
                  <a:pt x="502173" y="6573492"/>
                  <a:pt x="495996" y="6580467"/>
                  <a:pt x="501144" y="6583954"/>
                </a:cubicBezTo>
                <a:cubicBezTo>
                  <a:pt x="508351" y="6568841"/>
                  <a:pt x="518645" y="6565354"/>
                  <a:pt x="525853" y="6545591"/>
                </a:cubicBezTo>
                <a:cubicBezTo>
                  <a:pt x="520704" y="6543265"/>
                  <a:pt x="517616" y="6551403"/>
                  <a:pt x="514528" y="6556054"/>
                </a:cubicBezTo>
                <a:cubicBezTo>
                  <a:pt x="506291" y="6550241"/>
                  <a:pt x="521734" y="6538616"/>
                  <a:pt x="522764" y="6530478"/>
                </a:cubicBezTo>
                <a:cubicBezTo>
                  <a:pt x="527911" y="6522341"/>
                  <a:pt x="537177" y="6537453"/>
                  <a:pt x="541295" y="6525828"/>
                </a:cubicBezTo>
                <a:cubicBezTo>
                  <a:pt x="553649" y="6493276"/>
                  <a:pt x="578357" y="6470027"/>
                  <a:pt x="595859" y="6440962"/>
                </a:cubicBezTo>
                <a:cubicBezTo>
                  <a:pt x="611302" y="6416550"/>
                  <a:pt x="619538" y="6385162"/>
                  <a:pt x="641158" y="6374698"/>
                </a:cubicBezTo>
                <a:cubicBezTo>
                  <a:pt x="645276" y="6363073"/>
                  <a:pt x="646305" y="6352610"/>
                  <a:pt x="647335" y="6342148"/>
                </a:cubicBezTo>
                <a:cubicBezTo>
                  <a:pt x="652482" y="6330522"/>
                  <a:pt x="662777" y="6328198"/>
                  <a:pt x="668954" y="6320060"/>
                </a:cubicBezTo>
                <a:cubicBezTo>
                  <a:pt x="674102" y="6313085"/>
                  <a:pt x="668954" y="6309597"/>
                  <a:pt x="672043" y="6303785"/>
                </a:cubicBezTo>
                <a:cubicBezTo>
                  <a:pt x="672043" y="6304946"/>
                  <a:pt x="676161" y="6306110"/>
                  <a:pt x="678220" y="6302623"/>
                </a:cubicBezTo>
                <a:cubicBezTo>
                  <a:pt x="683367" y="6294484"/>
                  <a:pt x="689545" y="6271234"/>
                  <a:pt x="697782" y="6254957"/>
                </a:cubicBezTo>
                <a:cubicBezTo>
                  <a:pt x="703958" y="6243333"/>
                  <a:pt x="712195" y="6236357"/>
                  <a:pt x="718371" y="6225895"/>
                </a:cubicBezTo>
                <a:cubicBezTo>
                  <a:pt x="757492" y="6163119"/>
                  <a:pt x="790437" y="6074766"/>
                  <a:pt x="830588" y="6008502"/>
                </a:cubicBezTo>
                <a:cubicBezTo>
                  <a:pt x="835734" y="5999202"/>
                  <a:pt x="843972" y="5992227"/>
                  <a:pt x="848090" y="5984089"/>
                </a:cubicBezTo>
                <a:cubicBezTo>
                  <a:pt x="852207" y="5974788"/>
                  <a:pt x="853237" y="5966650"/>
                  <a:pt x="860444" y="5949213"/>
                </a:cubicBezTo>
                <a:cubicBezTo>
                  <a:pt x="864563" y="5938750"/>
                  <a:pt x="868679" y="5923637"/>
                  <a:pt x="872798" y="5914337"/>
                </a:cubicBezTo>
                <a:cubicBezTo>
                  <a:pt x="874857" y="5909686"/>
                  <a:pt x="877946" y="5914337"/>
                  <a:pt x="878975" y="5913175"/>
                </a:cubicBezTo>
                <a:cubicBezTo>
                  <a:pt x="880005" y="5912011"/>
                  <a:pt x="881033" y="5899224"/>
                  <a:pt x="887210" y="5887598"/>
                </a:cubicBezTo>
                <a:cubicBezTo>
                  <a:pt x="894417" y="5871323"/>
                  <a:pt x="906772" y="5857373"/>
                  <a:pt x="912948" y="5837611"/>
                </a:cubicBezTo>
                <a:cubicBezTo>
                  <a:pt x="913978" y="5832960"/>
                  <a:pt x="911919" y="5830634"/>
                  <a:pt x="913978" y="5825985"/>
                </a:cubicBezTo>
                <a:cubicBezTo>
                  <a:pt x="918096" y="5819008"/>
                  <a:pt x="922215" y="5821334"/>
                  <a:pt x="925303" y="5815521"/>
                </a:cubicBezTo>
                <a:cubicBezTo>
                  <a:pt x="927362" y="5812033"/>
                  <a:pt x="924273" y="5805059"/>
                  <a:pt x="928391" y="5799246"/>
                </a:cubicBezTo>
                <a:cubicBezTo>
                  <a:pt x="928391" y="5800409"/>
                  <a:pt x="932509" y="5800409"/>
                  <a:pt x="934569" y="5798084"/>
                </a:cubicBezTo>
                <a:cubicBezTo>
                  <a:pt x="937142" y="5794596"/>
                  <a:pt x="938688" y="5790528"/>
                  <a:pt x="940617" y="5788348"/>
                </a:cubicBezTo>
                <a:close/>
                <a:moveTo>
                  <a:pt x="510410" y="5778320"/>
                </a:moveTo>
                <a:cubicBezTo>
                  <a:pt x="515557" y="5791109"/>
                  <a:pt x="495996" y="5810871"/>
                  <a:pt x="490848" y="5825985"/>
                </a:cubicBezTo>
                <a:lnTo>
                  <a:pt x="495773" y="5808057"/>
                </a:lnTo>
                <a:lnTo>
                  <a:pt x="499085" y="5805059"/>
                </a:lnTo>
                <a:lnTo>
                  <a:pt x="498746" y="5800057"/>
                </a:lnTo>
                <a:close/>
                <a:moveTo>
                  <a:pt x="921185" y="5775995"/>
                </a:moveTo>
                <a:cubicBezTo>
                  <a:pt x="934569" y="5779483"/>
                  <a:pt x="922215" y="5791109"/>
                  <a:pt x="919126" y="5799246"/>
                </a:cubicBezTo>
                <a:cubicBezTo>
                  <a:pt x="912948" y="5793433"/>
                  <a:pt x="915007" y="5785297"/>
                  <a:pt x="921185" y="5775995"/>
                </a:cubicBezTo>
                <a:close/>
                <a:moveTo>
                  <a:pt x="824410" y="5756232"/>
                </a:moveTo>
                <a:cubicBezTo>
                  <a:pt x="827500" y="5758557"/>
                  <a:pt x="829558" y="5759721"/>
                  <a:pt x="832647" y="5762046"/>
                </a:cubicBezTo>
                <a:cubicBezTo>
                  <a:pt x="830588" y="5766696"/>
                  <a:pt x="827500" y="5771345"/>
                  <a:pt x="825440" y="5775995"/>
                </a:cubicBezTo>
                <a:cubicBezTo>
                  <a:pt x="822351" y="5773671"/>
                  <a:pt x="819264" y="5772508"/>
                  <a:pt x="817204" y="5770183"/>
                </a:cubicBezTo>
                <a:cubicBezTo>
                  <a:pt x="819264" y="5765533"/>
                  <a:pt x="822351" y="5760882"/>
                  <a:pt x="824410" y="5756232"/>
                </a:cubicBezTo>
                <a:close/>
                <a:moveTo>
                  <a:pt x="682339" y="5734145"/>
                </a:moveTo>
                <a:cubicBezTo>
                  <a:pt x="685426" y="5738795"/>
                  <a:pt x="687485" y="5749257"/>
                  <a:pt x="681309" y="5745769"/>
                </a:cubicBezTo>
                <a:cubicBezTo>
                  <a:pt x="668954" y="5759721"/>
                  <a:pt x="676161" y="5774833"/>
                  <a:pt x="665866" y="5777159"/>
                </a:cubicBezTo>
                <a:cubicBezTo>
                  <a:pt x="662777" y="5771345"/>
                  <a:pt x="666896" y="5764370"/>
                  <a:pt x="658659" y="5759721"/>
                </a:cubicBezTo>
                <a:cubicBezTo>
                  <a:pt x="663808" y="5738795"/>
                  <a:pt x="675132" y="5748095"/>
                  <a:pt x="682339" y="5734145"/>
                </a:cubicBezTo>
                <a:close/>
                <a:moveTo>
                  <a:pt x="556738" y="5729494"/>
                </a:moveTo>
                <a:cubicBezTo>
                  <a:pt x="569092" y="5742283"/>
                  <a:pt x="549531" y="5760882"/>
                  <a:pt x="542325" y="5769019"/>
                </a:cubicBezTo>
                <a:cubicBezTo>
                  <a:pt x="533059" y="5750421"/>
                  <a:pt x="548502" y="5748095"/>
                  <a:pt x="556738" y="5729494"/>
                </a:cubicBezTo>
                <a:close/>
                <a:moveTo>
                  <a:pt x="802791" y="5728332"/>
                </a:moveTo>
                <a:cubicBezTo>
                  <a:pt x="808968" y="5738795"/>
                  <a:pt x="789407" y="5757395"/>
                  <a:pt x="785290" y="5771345"/>
                </a:cubicBezTo>
                <a:cubicBezTo>
                  <a:pt x="777053" y="5767858"/>
                  <a:pt x="792496" y="5756232"/>
                  <a:pt x="790437" y="5750421"/>
                </a:cubicBezTo>
                <a:cubicBezTo>
                  <a:pt x="789407" y="5745769"/>
                  <a:pt x="790437" y="5730657"/>
                  <a:pt x="802791" y="5728332"/>
                </a:cubicBezTo>
                <a:close/>
                <a:moveTo>
                  <a:pt x="586400" y="5728132"/>
                </a:moveTo>
                <a:cubicBezTo>
                  <a:pt x="586980" y="5731239"/>
                  <a:pt x="574240" y="5760011"/>
                  <a:pt x="574240" y="5767858"/>
                </a:cubicBezTo>
                <a:cubicBezTo>
                  <a:pt x="559827" y="5760882"/>
                  <a:pt x="579387" y="5736469"/>
                  <a:pt x="580416" y="5735307"/>
                </a:cubicBezTo>
                <a:cubicBezTo>
                  <a:pt x="584535" y="5728913"/>
                  <a:pt x="586208" y="5727097"/>
                  <a:pt x="586400" y="5728132"/>
                </a:cubicBezTo>
                <a:close/>
                <a:moveTo>
                  <a:pt x="925303" y="5716707"/>
                </a:moveTo>
                <a:cubicBezTo>
                  <a:pt x="936628" y="5738795"/>
                  <a:pt x="904713" y="5764370"/>
                  <a:pt x="896476" y="5782971"/>
                </a:cubicBezTo>
                <a:cubicBezTo>
                  <a:pt x="883093" y="5772508"/>
                  <a:pt x="902653" y="5762046"/>
                  <a:pt x="906772" y="5752744"/>
                </a:cubicBezTo>
                <a:cubicBezTo>
                  <a:pt x="913978" y="5738795"/>
                  <a:pt x="918096" y="5721356"/>
                  <a:pt x="925303" y="5716707"/>
                </a:cubicBezTo>
                <a:close/>
                <a:moveTo>
                  <a:pt x="511664" y="5700921"/>
                </a:moveTo>
                <a:cubicBezTo>
                  <a:pt x="514270" y="5699994"/>
                  <a:pt x="517615" y="5701012"/>
                  <a:pt x="521734" y="5705081"/>
                </a:cubicBezTo>
                <a:cubicBezTo>
                  <a:pt x="516586" y="5713219"/>
                  <a:pt x="512470" y="5722519"/>
                  <a:pt x="507321" y="5731820"/>
                </a:cubicBezTo>
                <a:cubicBezTo>
                  <a:pt x="502688" y="5723972"/>
                  <a:pt x="503846" y="5703700"/>
                  <a:pt x="511664" y="5700921"/>
                </a:cubicBezTo>
                <a:close/>
                <a:moveTo>
                  <a:pt x="569092" y="5695781"/>
                </a:moveTo>
                <a:cubicBezTo>
                  <a:pt x="580416" y="5703919"/>
                  <a:pt x="571152" y="5734145"/>
                  <a:pt x="557767" y="5717868"/>
                </a:cubicBezTo>
                <a:cubicBezTo>
                  <a:pt x="560857" y="5710893"/>
                  <a:pt x="564973" y="5702755"/>
                  <a:pt x="569092" y="5695781"/>
                </a:cubicBezTo>
                <a:close/>
                <a:moveTo>
                  <a:pt x="553810" y="5691094"/>
                </a:moveTo>
                <a:cubicBezTo>
                  <a:pt x="554549" y="5691857"/>
                  <a:pt x="553907" y="5694617"/>
                  <a:pt x="550560" y="5700431"/>
                </a:cubicBezTo>
                <a:cubicBezTo>
                  <a:pt x="548502" y="5703919"/>
                  <a:pt x="547471" y="5706244"/>
                  <a:pt x="545414" y="5709732"/>
                </a:cubicBezTo>
                <a:cubicBezTo>
                  <a:pt x="536919" y="5704500"/>
                  <a:pt x="551589" y="5688805"/>
                  <a:pt x="553810" y="5691094"/>
                </a:cubicBezTo>
                <a:close/>
                <a:moveTo>
                  <a:pt x="770876" y="5685318"/>
                </a:moveTo>
                <a:cubicBezTo>
                  <a:pt x="781171" y="5698106"/>
                  <a:pt x="764700" y="5715545"/>
                  <a:pt x="757492" y="5731820"/>
                </a:cubicBezTo>
                <a:cubicBezTo>
                  <a:pt x="749257" y="5750421"/>
                  <a:pt x="737932" y="5767858"/>
                  <a:pt x="731754" y="5780645"/>
                </a:cubicBezTo>
                <a:cubicBezTo>
                  <a:pt x="716312" y="5760882"/>
                  <a:pt x="736902" y="5752744"/>
                  <a:pt x="743078" y="5738795"/>
                </a:cubicBezTo>
                <a:cubicBezTo>
                  <a:pt x="746168" y="5730657"/>
                  <a:pt x="744108" y="5726006"/>
                  <a:pt x="748227" y="5717868"/>
                </a:cubicBezTo>
                <a:cubicBezTo>
                  <a:pt x="747197" y="5719033"/>
                  <a:pt x="753375" y="5719033"/>
                  <a:pt x="754404" y="5716707"/>
                </a:cubicBezTo>
                <a:cubicBezTo>
                  <a:pt x="758521" y="5709732"/>
                  <a:pt x="763669" y="5698106"/>
                  <a:pt x="770876" y="5685318"/>
                </a:cubicBezTo>
                <a:close/>
                <a:moveTo>
                  <a:pt x="820292" y="5672531"/>
                </a:moveTo>
                <a:cubicBezTo>
                  <a:pt x="835734" y="5682992"/>
                  <a:pt x="806908" y="5707407"/>
                  <a:pt x="809997" y="5721356"/>
                </a:cubicBezTo>
                <a:cubicBezTo>
                  <a:pt x="796614" y="5716707"/>
                  <a:pt x="809997" y="5706244"/>
                  <a:pt x="812057" y="5698106"/>
                </a:cubicBezTo>
                <a:cubicBezTo>
                  <a:pt x="813086" y="5696944"/>
                  <a:pt x="808968" y="5695781"/>
                  <a:pt x="811027" y="5691131"/>
                </a:cubicBezTo>
                <a:cubicBezTo>
                  <a:pt x="814116" y="5684157"/>
                  <a:pt x="817204" y="5678343"/>
                  <a:pt x="820292" y="5672531"/>
                </a:cubicBezTo>
                <a:close/>
                <a:moveTo>
                  <a:pt x="520321" y="5670603"/>
                </a:moveTo>
                <a:lnTo>
                  <a:pt x="518680" y="5674602"/>
                </a:lnTo>
                <a:lnTo>
                  <a:pt x="518131" y="5672676"/>
                </a:lnTo>
                <a:close/>
                <a:moveTo>
                  <a:pt x="524029" y="5667094"/>
                </a:moveTo>
                <a:lnTo>
                  <a:pt x="527692" y="5667578"/>
                </a:lnTo>
                <a:lnTo>
                  <a:pt x="530099" y="5677035"/>
                </a:lnTo>
                <a:cubicBezTo>
                  <a:pt x="528684" y="5680958"/>
                  <a:pt x="525338" y="5684155"/>
                  <a:pt x="521734" y="5685318"/>
                </a:cubicBezTo>
                <a:lnTo>
                  <a:pt x="519700" y="5678179"/>
                </a:lnTo>
                <a:lnTo>
                  <a:pt x="520898" y="5670059"/>
                </a:lnTo>
                <a:close/>
                <a:moveTo>
                  <a:pt x="612332" y="5664393"/>
                </a:moveTo>
                <a:cubicBezTo>
                  <a:pt x="621596" y="5671367"/>
                  <a:pt x="611302" y="5685318"/>
                  <a:pt x="606153" y="5696944"/>
                </a:cubicBezTo>
                <a:cubicBezTo>
                  <a:pt x="603066" y="5687644"/>
                  <a:pt x="607185" y="5676019"/>
                  <a:pt x="612332" y="5664393"/>
                </a:cubicBezTo>
                <a:close/>
                <a:moveTo>
                  <a:pt x="587881" y="5652876"/>
                </a:moveTo>
                <a:cubicBezTo>
                  <a:pt x="589554" y="5652913"/>
                  <a:pt x="591484" y="5654221"/>
                  <a:pt x="593800" y="5657418"/>
                </a:cubicBezTo>
                <a:cubicBezTo>
                  <a:pt x="594829" y="5664393"/>
                  <a:pt x="592770" y="5671367"/>
                  <a:pt x="587623" y="5678343"/>
                </a:cubicBezTo>
                <a:cubicBezTo>
                  <a:pt x="584535" y="5676019"/>
                  <a:pt x="580416" y="5672531"/>
                  <a:pt x="576299" y="5670205"/>
                </a:cubicBezTo>
                <a:cubicBezTo>
                  <a:pt x="578873" y="5666136"/>
                  <a:pt x="580933" y="5659742"/>
                  <a:pt x="583505" y="5655963"/>
                </a:cubicBezTo>
                <a:cubicBezTo>
                  <a:pt x="584793" y="5654075"/>
                  <a:pt x="586209" y="5652839"/>
                  <a:pt x="587881" y="5652876"/>
                </a:cubicBezTo>
                <a:close/>
                <a:moveTo>
                  <a:pt x="956189" y="5645792"/>
                </a:moveTo>
                <a:cubicBezTo>
                  <a:pt x="970602" y="5655092"/>
                  <a:pt x="950011" y="5673693"/>
                  <a:pt x="944864" y="5687644"/>
                </a:cubicBezTo>
                <a:cubicBezTo>
                  <a:pt x="941776" y="5698106"/>
                  <a:pt x="944864" y="5708569"/>
                  <a:pt x="937657" y="5713219"/>
                </a:cubicBezTo>
                <a:cubicBezTo>
                  <a:pt x="918096" y="5700431"/>
                  <a:pt x="937657" y="5693455"/>
                  <a:pt x="943833" y="5680668"/>
                </a:cubicBezTo>
                <a:cubicBezTo>
                  <a:pt x="950011" y="5665556"/>
                  <a:pt x="954129" y="5658580"/>
                  <a:pt x="956189" y="5645792"/>
                </a:cubicBezTo>
                <a:close/>
                <a:moveTo>
                  <a:pt x="723519" y="5633004"/>
                </a:moveTo>
                <a:cubicBezTo>
                  <a:pt x="734843" y="5649280"/>
                  <a:pt x="708076" y="5676019"/>
                  <a:pt x="707046" y="5695781"/>
                </a:cubicBezTo>
                <a:cubicBezTo>
                  <a:pt x="691603" y="5688806"/>
                  <a:pt x="709106" y="5673693"/>
                  <a:pt x="713224" y="5663230"/>
                </a:cubicBezTo>
                <a:cubicBezTo>
                  <a:pt x="716312" y="5653930"/>
                  <a:pt x="718371" y="5637655"/>
                  <a:pt x="723519" y="5633004"/>
                </a:cubicBezTo>
                <a:close/>
                <a:moveTo>
                  <a:pt x="574240" y="5623704"/>
                </a:moveTo>
                <a:cubicBezTo>
                  <a:pt x="578357" y="5627191"/>
                  <a:pt x="573210" y="5634168"/>
                  <a:pt x="571152" y="5639979"/>
                </a:cubicBezTo>
                <a:cubicBezTo>
                  <a:pt x="569092" y="5644629"/>
                  <a:pt x="566003" y="5649280"/>
                  <a:pt x="563944" y="5653930"/>
                </a:cubicBezTo>
                <a:cubicBezTo>
                  <a:pt x="555709" y="5648117"/>
                  <a:pt x="572180" y="5634168"/>
                  <a:pt x="574240" y="5623704"/>
                </a:cubicBezTo>
                <a:close/>
                <a:moveTo>
                  <a:pt x="920751" y="5615548"/>
                </a:moveTo>
                <a:cubicBezTo>
                  <a:pt x="921507" y="5616148"/>
                  <a:pt x="919897" y="5621378"/>
                  <a:pt x="913978" y="5634168"/>
                </a:cubicBezTo>
                <a:cubicBezTo>
                  <a:pt x="910890" y="5642304"/>
                  <a:pt x="906772" y="5649280"/>
                  <a:pt x="902653" y="5656255"/>
                </a:cubicBezTo>
                <a:cubicBezTo>
                  <a:pt x="894932" y="5653639"/>
                  <a:pt x="918482" y="5613749"/>
                  <a:pt x="920751" y="5615548"/>
                </a:cubicBezTo>
                <a:close/>
                <a:moveTo>
                  <a:pt x="741021" y="5608592"/>
                </a:moveTo>
                <a:cubicBezTo>
                  <a:pt x="750285" y="5616729"/>
                  <a:pt x="733814" y="5624865"/>
                  <a:pt x="731754" y="5627191"/>
                </a:cubicBezTo>
                <a:cubicBezTo>
                  <a:pt x="722489" y="5619054"/>
                  <a:pt x="738961" y="5610917"/>
                  <a:pt x="741021" y="5608592"/>
                </a:cubicBezTo>
                <a:close/>
                <a:moveTo>
                  <a:pt x="882080" y="5592278"/>
                </a:moveTo>
                <a:cubicBezTo>
                  <a:pt x="882900" y="5593042"/>
                  <a:pt x="882320" y="5595803"/>
                  <a:pt x="878975" y="5601615"/>
                </a:cubicBezTo>
                <a:cubicBezTo>
                  <a:pt x="876916" y="5605103"/>
                  <a:pt x="875886" y="5607428"/>
                  <a:pt x="873827" y="5610917"/>
                </a:cubicBezTo>
                <a:cubicBezTo>
                  <a:pt x="864562" y="5605685"/>
                  <a:pt x="879618" y="5589989"/>
                  <a:pt x="882080" y="5592278"/>
                </a:cubicBezTo>
                <a:close/>
                <a:moveTo>
                  <a:pt x="622626" y="5572553"/>
                </a:moveTo>
                <a:cubicBezTo>
                  <a:pt x="641158" y="5576041"/>
                  <a:pt x="613360" y="5593479"/>
                  <a:pt x="624685" y="5599292"/>
                </a:cubicBezTo>
                <a:cubicBezTo>
                  <a:pt x="614390" y="5614404"/>
                  <a:pt x="607185" y="5616729"/>
                  <a:pt x="606153" y="5635329"/>
                </a:cubicBezTo>
                <a:cubicBezTo>
                  <a:pt x="590710" y="5628354"/>
                  <a:pt x="608213" y="5613241"/>
                  <a:pt x="612332" y="5602779"/>
                </a:cubicBezTo>
                <a:cubicBezTo>
                  <a:pt x="615420" y="5593479"/>
                  <a:pt x="617479" y="5577202"/>
                  <a:pt x="622626" y="5572553"/>
                </a:cubicBezTo>
                <a:close/>
                <a:moveTo>
                  <a:pt x="1033401" y="5559765"/>
                </a:moveTo>
                <a:cubicBezTo>
                  <a:pt x="1044727" y="5563253"/>
                  <a:pt x="1035460" y="5570227"/>
                  <a:pt x="1034431" y="5578365"/>
                </a:cubicBezTo>
                <a:cubicBezTo>
                  <a:pt x="1033401" y="5580691"/>
                  <a:pt x="1037520" y="5580691"/>
                  <a:pt x="1035460" y="5585340"/>
                </a:cubicBezTo>
                <a:cubicBezTo>
                  <a:pt x="1029284" y="5599292"/>
                  <a:pt x="1013841" y="5623704"/>
                  <a:pt x="1004575" y="5644629"/>
                </a:cubicBezTo>
                <a:cubicBezTo>
                  <a:pt x="1001488" y="5652767"/>
                  <a:pt x="1003547" y="5653930"/>
                  <a:pt x="1001488" y="5660905"/>
                </a:cubicBezTo>
                <a:cubicBezTo>
                  <a:pt x="989132" y="5701594"/>
                  <a:pt x="963395" y="5741120"/>
                  <a:pt x="944864" y="5780645"/>
                </a:cubicBezTo>
                <a:cubicBezTo>
                  <a:pt x="938687" y="5770183"/>
                  <a:pt x="944864" y="5757395"/>
                  <a:pt x="953100" y="5743444"/>
                </a:cubicBezTo>
                <a:cubicBezTo>
                  <a:pt x="943833" y="5738795"/>
                  <a:pt x="938687" y="5749257"/>
                  <a:pt x="933539" y="5760882"/>
                </a:cubicBezTo>
                <a:cubicBezTo>
                  <a:pt x="929421" y="5745769"/>
                  <a:pt x="952071" y="5722519"/>
                  <a:pt x="958247" y="5703919"/>
                </a:cubicBezTo>
                <a:cubicBezTo>
                  <a:pt x="962365" y="5708569"/>
                  <a:pt x="956189" y="5715545"/>
                  <a:pt x="961335" y="5719033"/>
                </a:cubicBezTo>
                <a:cubicBezTo>
                  <a:pt x="971632" y="5719033"/>
                  <a:pt x="972661" y="5707407"/>
                  <a:pt x="976778" y="5699269"/>
                </a:cubicBezTo>
                <a:cubicBezTo>
                  <a:pt x="992221" y="5665556"/>
                  <a:pt x="1013841" y="5605103"/>
                  <a:pt x="1033401" y="5559765"/>
                </a:cubicBezTo>
                <a:close/>
                <a:moveTo>
                  <a:pt x="754404" y="5543489"/>
                </a:moveTo>
                <a:cubicBezTo>
                  <a:pt x="752345" y="5551627"/>
                  <a:pt x="737932" y="5563253"/>
                  <a:pt x="746168" y="5569065"/>
                </a:cubicBezTo>
                <a:cubicBezTo>
                  <a:pt x="748226" y="5564415"/>
                  <a:pt x="751315" y="5559765"/>
                  <a:pt x="753375" y="5555114"/>
                </a:cubicBezTo>
                <a:cubicBezTo>
                  <a:pt x="754404" y="5551627"/>
                  <a:pt x="758521" y="5545814"/>
                  <a:pt x="754404" y="5543489"/>
                </a:cubicBezTo>
                <a:close/>
                <a:moveTo>
                  <a:pt x="1097231" y="5541165"/>
                </a:moveTo>
                <a:cubicBezTo>
                  <a:pt x="1095171" y="5544652"/>
                  <a:pt x="1094144" y="5546977"/>
                  <a:pt x="1092084" y="5550465"/>
                </a:cubicBezTo>
                <a:cubicBezTo>
                  <a:pt x="1072523" y="5587666"/>
                  <a:pt x="1068405" y="5621378"/>
                  <a:pt x="1045756" y="5659742"/>
                </a:cubicBezTo>
                <a:cubicBezTo>
                  <a:pt x="1043697" y="5665556"/>
                  <a:pt x="1050903" y="5669044"/>
                  <a:pt x="1055021" y="5672531"/>
                </a:cubicBezTo>
                <a:cubicBezTo>
                  <a:pt x="1047815" y="5680668"/>
                  <a:pt x="1043697" y="5678343"/>
                  <a:pt x="1040608" y="5669044"/>
                </a:cubicBezTo>
                <a:cubicBezTo>
                  <a:pt x="1034431" y="5682992"/>
                  <a:pt x="1027225" y="5695781"/>
                  <a:pt x="1020018" y="5709732"/>
                </a:cubicBezTo>
                <a:cubicBezTo>
                  <a:pt x="1026195" y="5715545"/>
                  <a:pt x="1029284" y="5710893"/>
                  <a:pt x="1032372" y="5706244"/>
                </a:cubicBezTo>
                <a:cubicBezTo>
                  <a:pt x="1041638" y="5714381"/>
                  <a:pt x="1025165" y="5722519"/>
                  <a:pt x="1023106" y="5724845"/>
                </a:cubicBezTo>
                <a:cubicBezTo>
                  <a:pt x="1013841" y="5742283"/>
                  <a:pt x="1005604" y="5757395"/>
                  <a:pt x="995309" y="5766696"/>
                </a:cubicBezTo>
                <a:cubicBezTo>
                  <a:pt x="986045" y="5774833"/>
                  <a:pt x="998398" y="5795758"/>
                  <a:pt x="987072" y="5792271"/>
                </a:cubicBezTo>
                <a:cubicBezTo>
                  <a:pt x="983985" y="5796921"/>
                  <a:pt x="989132" y="5799246"/>
                  <a:pt x="994281" y="5802734"/>
                </a:cubicBezTo>
                <a:cubicBezTo>
                  <a:pt x="988104" y="5816685"/>
                  <a:pt x="975749" y="5806221"/>
                  <a:pt x="970602" y="5828309"/>
                </a:cubicBezTo>
                <a:cubicBezTo>
                  <a:pt x="965454" y="5835285"/>
                  <a:pt x="969572" y="5839935"/>
                  <a:pt x="973689" y="5843423"/>
                </a:cubicBezTo>
                <a:cubicBezTo>
                  <a:pt x="969572" y="5851560"/>
                  <a:pt x="964425" y="5849235"/>
                  <a:pt x="960306" y="5858535"/>
                </a:cubicBezTo>
                <a:cubicBezTo>
                  <a:pt x="958247" y="5863185"/>
                  <a:pt x="961335" y="5868997"/>
                  <a:pt x="957219" y="5874811"/>
                </a:cubicBezTo>
                <a:cubicBezTo>
                  <a:pt x="958247" y="5873648"/>
                  <a:pt x="952071" y="5874811"/>
                  <a:pt x="951040" y="5875974"/>
                </a:cubicBezTo>
                <a:cubicBezTo>
                  <a:pt x="948982" y="5878298"/>
                  <a:pt x="947952" y="5882949"/>
                  <a:pt x="945893" y="5885274"/>
                </a:cubicBezTo>
                <a:cubicBezTo>
                  <a:pt x="937657" y="5894573"/>
                  <a:pt x="932509" y="5901549"/>
                  <a:pt x="927362" y="5921312"/>
                </a:cubicBezTo>
                <a:cubicBezTo>
                  <a:pt x="919126" y="5898062"/>
                  <a:pt x="938687" y="5884111"/>
                  <a:pt x="945893" y="5865510"/>
                </a:cubicBezTo>
                <a:cubicBezTo>
                  <a:pt x="948982" y="5858535"/>
                  <a:pt x="951040" y="5849235"/>
                  <a:pt x="954129" y="5839935"/>
                </a:cubicBezTo>
                <a:cubicBezTo>
                  <a:pt x="959276" y="5824822"/>
                  <a:pt x="965454" y="5815521"/>
                  <a:pt x="973689" y="5792271"/>
                </a:cubicBezTo>
                <a:cubicBezTo>
                  <a:pt x="976778" y="5784133"/>
                  <a:pt x="974719" y="5779483"/>
                  <a:pt x="978838" y="5771345"/>
                </a:cubicBezTo>
                <a:cubicBezTo>
                  <a:pt x="978838" y="5772508"/>
                  <a:pt x="983985" y="5772508"/>
                  <a:pt x="985015" y="5770183"/>
                </a:cubicBezTo>
                <a:cubicBezTo>
                  <a:pt x="990162" y="5760882"/>
                  <a:pt x="994281" y="5748095"/>
                  <a:pt x="1002515" y="5745769"/>
                </a:cubicBezTo>
                <a:cubicBezTo>
                  <a:pt x="994281" y="5748095"/>
                  <a:pt x="1026195" y="5699269"/>
                  <a:pt x="1024136" y="5693455"/>
                </a:cubicBezTo>
                <a:cubicBezTo>
                  <a:pt x="1022077" y="5687644"/>
                  <a:pt x="1018988" y="5684157"/>
                  <a:pt x="1021047" y="5678343"/>
                </a:cubicBezTo>
                <a:cubicBezTo>
                  <a:pt x="1031343" y="5652767"/>
                  <a:pt x="1049874" y="5629517"/>
                  <a:pt x="1061198" y="5601615"/>
                </a:cubicBezTo>
                <a:cubicBezTo>
                  <a:pt x="1066346" y="5586503"/>
                  <a:pt x="1071494" y="5564415"/>
                  <a:pt x="1088996" y="5546977"/>
                </a:cubicBezTo>
                <a:cubicBezTo>
                  <a:pt x="1091054" y="5541165"/>
                  <a:pt x="1094144" y="5540003"/>
                  <a:pt x="1097231" y="5541165"/>
                </a:cubicBezTo>
                <a:close/>
                <a:moveTo>
                  <a:pt x="628803" y="5540003"/>
                </a:moveTo>
                <a:cubicBezTo>
                  <a:pt x="640128" y="5546977"/>
                  <a:pt x="633952" y="5558603"/>
                  <a:pt x="628803" y="5571391"/>
                </a:cubicBezTo>
                <a:cubicBezTo>
                  <a:pt x="623656" y="5562090"/>
                  <a:pt x="619538" y="5552790"/>
                  <a:pt x="628803" y="5540003"/>
                </a:cubicBezTo>
                <a:close/>
                <a:moveTo>
                  <a:pt x="608213" y="5537677"/>
                </a:moveTo>
                <a:cubicBezTo>
                  <a:pt x="618509" y="5559765"/>
                  <a:pt x="582476" y="5593479"/>
                  <a:pt x="582476" y="5617891"/>
                </a:cubicBezTo>
                <a:cubicBezTo>
                  <a:pt x="568063" y="5608592"/>
                  <a:pt x="586594" y="5592315"/>
                  <a:pt x="590710" y="5580691"/>
                </a:cubicBezTo>
                <a:cubicBezTo>
                  <a:pt x="596889" y="5565578"/>
                  <a:pt x="598947" y="5549301"/>
                  <a:pt x="608213" y="5537677"/>
                </a:cubicBezTo>
                <a:close/>
                <a:moveTo>
                  <a:pt x="1033562" y="5534825"/>
                </a:moveTo>
                <a:cubicBezTo>
                  <a:pt x="1034303" y="5535641"/>
                  <a:pt x="1033659" y="5538548"/>
                  <a:pt x="1030314" y="5544652"/>
                </a:cubicBezTo>
                <a:cubicBezTo>
                  <a:pt x="1028254" y="5548140"/>
                  <a:pt x="1027225" y="5550465"/>
                  <a:pt x="1025165" y="5553952"/>
                </a:cubicBezTo>
                <a:cubicBezTo>
                  <a:pt x="1016672" y="5548721"/>
                  <a:pt x="1031344" y="5532373"/>
                  <a:pt x="1033562" y="5534825"/>
                </a:cubicBezTo>
                <a:close/>
                <a:moveTo>
                  <a:pt x="1059139" y="5509776"/>
                </a:moveTo>
                <a:cubicBezTo>
                  <a:pt x="1075613" y="5524890"/>
                  <a:pt x="1044727" y="5544652"/>
                  <a:pt x="1039579" y="5557440"/>
                </a:cubicBezTo>
                <a:cubicBezTo>
                  <a:pt x="1036490" y="5540003"/>
                  <a:pt x="1055021" y="5531864"/>
                  <a:pt x="1059139" y="5509776"/>
                </a:cubicBezTo>
                <a:close/>
                <a:moveTo>
                  <a:pt x="1011782" y="5506289"/>
                </a:moveTo>
                <a:cubicBezTo>
                  <a:pt x="1014871" y="5512101"/>
                  <a:pt x="1010752" y="5519076"/>
                  <a:pt x="1018988" y="5523726"/>
                </a:cubicBezTo>
                <a:cubicBezTo>
                  <a:pt x="1006634" y="5560927"/>
                  <a:pt x="987072" y="5576041"/>
                  <a:pt x="976778" y="5613241"/>
                </a:cubicBezTo>
                <a:cubicBezTo>
                  <a:pt x="966483" y="5605103"/>
                  <a:pt x="978838" y="5592315"/>
                  <a:pt x="980897" y="5585340"/>
                </a:cubicBezTo>
                <a:cubicBezTo>
                  <a:pt x="980897" y="5583016"/>
                  <a:pt x="983985" y="5552790"/>
                  <a:pt x="993251" y="5550465"/>
                </a:cubicBezTo>
                <a:cubicBezTo>
                  <a:pt x="999428" y="5548140"/>
                  <a:pt x="996339" y="5549301"/>
                  <a:pt x="998398" y="5541165"/>
                </a:cubicBezTo>
                <a:cubicBezTo>
                  <a:pt x="1000458" y="5535352"/>
                  <a:pt x="1004575" y="5531864"/>
                  <a:pt x="1005604" y="5527213"/>
                </a:cubicBezTo>
                <a:cubicBezTo>
                  <a:pt x="1006634" y="5526051"/>
                  <a:pt x="1002515" y="5523726"/>
                  <a:pt x="1004575" y="5520239"/>
                </a:cubicBezTo>
                <a:cubicBezTo>
                  <a:pt x="1006634" y="5515589"/>
                  <a:pt x="1009722" y="5510938"/>
                  <a:pt x="1011782" y="5506289"/>
                </a:cubicBezTo>
                <a:close/>
                <a:moveTo>
                  <a:pt x="935598" y="5501638"/>
                </a:moveTo>
                <a:cubicBezTo>
                  <a:pt x="939716" y="5513264"/>
                  <a:pt x="928391" y="5528377"/>
                  <a:pt x="930450" y="5541165"/>
                </a:cubicBezTo>
                <a:cubicBezTo>
                  <a:pt x="894417" y="5613241"/>
                  <a:pt x="883093" y="5658580"/>
                  <a:pt x="845001" y="5727170"/>
                </a:cubicBezTo>
                <a:cubicBezTo>
                  <a:pt x="830588" y="5720194"/>
                  <a:pt x="846031" y="5705081"/>
                  <a:pt x="849120" y="5699269"/>
                </a:cubicBezTo>
                <a:cubicBezTo>
                  <a:pt x="860444" y="5672531"/>
                  <a:pt x="874857" y="5644629"/>
                  <a:pt x="887210" y="5615567"/>
                </a:cubicBezTo>
                <a:cubicBezTo>
                  <a:pt x="898535" y="5587666"/>
                  <a:pt x="922215" y="5535352"/>
                  <a:pt x="935598" y="5501638"/>
                </a:cubicBezTo>
                <a:close/>
                <a:moveTo>
                  <a:pt x="1053702" y="5481331"/>
                </a:moveTo>
                <a:cubicBezTo>
                  <a:pt x="1054635" y="5480204"/>
                  <a:pt x="1055794" y="5480423"/>
                  <a:pt x="1057081" y="5483039"/>
                </a:cubicBezTo>
                <a:cubicBezTo>
                  <a:pt x="1058110" y="5484200"/>
                  <a:pt x="1059139" y="5498151"/>
                  <a:pt x="1053991" y="5499312"/>
                </a:cubicBezTo>
                <a:cubicBezTo>
                  <a:pt x="1050131" y="5500185"/>
                  <a:pt x="1050902" y="5484709"/>
                  <a:pt x="1053702" y="5481331"/>
                </a:cubicBezTo>
                <a:close/>
                <a:moveTo>
                  <a:pt x="1080920" y="5474863"/>
                </a:moveTo>
                <a:cubicBezTo>
                  <a:pt x="1081660" y="5475627"/>
                  <a:pt x="1081016" y="5478387"/>
                  <a:pt x="1077671" y="5484200"/>
                </a:cubicBezTo>
                <a:cubicBezTo>
                  <a:pt x="1075613" y="5487688"/>
                  <a:pt x="1074582" y="5490014"/>
                  <a:pt x="1072523" y="5493501"/>
                </a:cubicBezTo>
                <a:cubicBezTo>
                  <a:pt x="1064029" y="5488268"/>
                  <a:pt x="1078701" y="5472574"/>
                  <a:pt x="1080920" y="5474863"/>
                </a:cubicBezTo>
                <a:close/>
                <a:moveTo>
                  <a:pt x="1116792" y="5470250"/>
                </a:moveTo>
                <a:cubicBezTo>
                  <a:pt x="1119881" y="5488850"/>
                  <a:pt x="1111645" y="5509776"/>
                  <a:pt x="1100320" y="5533027"/>
                </a:cubicBezTo>
                <a:cubicBezTo>
                  <a:pt x="1096202" y="5530702"/>
                  <a:pt x="1100320" y="5526051"/>
                  <a:pt x="1101350" y="5521402"/>
                </a:cubicBezTo>
                <a:cubicBezTo>
                  <a:pt x="1103408" y="5507451"/>
                  <a:pt x="1103408" y="5491175"/>
                  <a:pt x="1116792" y="5470250"/>
                </a:cubicBezTo>
                <a:close/>
                <a:moveTo>
                  <a:pt x="661748" y="5465600"/>
                </a:moveTo>
                <a:cubicBezTo>
                  <a:pt x="666896" y="5470250"/>
                  <a:pt x="656601" y="5479550"/>
                  <a:pt x="662777" y="5484200"/>
                </a:cubicBezTo>
                <a:cubicBezTo>
                  <a:pt x="656601" y="5495826"/>
                  <a:pt x="650423" y="5508613"/>
                  <a:pt x="644246" y="5520239"/>
                </a:cubicBezTo>
                <a:cubicBezTo>
                  <a:pt x="630863" y="5527213"/>
                  <a:pt x="647335" y="5505126"/>
                  <a:pt x="649394" y="5499312"/>
                </a:cubicBezTo>
                <a:cubicBezTo>
                  <a:pt x="653512" y="5486526"/>
                  <a:pt x="655570" y="5471413"/>
                  <a:pt x="661748" y="5465600"/>
                </a:cubicBezTo>
                <a:close/>
                <a:moveTo>
                  <a:pt x="638970" y="5462548"/>
                </a:moveTo>
                <a:cubicBezTo>
                  <a:pt x="640385" y="5462694"/>
                  <a:pt x="641158" y="5464436"/>
                  <a:pt x="640128" y="5466762"/>
                </a:cubicBezTo>
                <a:cubicBezTo>
                  <a:pt x="640128" y="5472575"/>
                  <a:pt x="640128" y="5477225"/>
                  <a:pt x="636010" y="5483039"/>
                </a:cubicBezTo>
                <a:cubicBezTo>
                  <a:pt x="629833" y="5496989"/>
                  <a:pt x="622626" y="5509776"/>
                  <a:pt x="615420" y="5523726"/>
                </a:cubicBezTo>
                <a:cubicBezTo>
                  <a:pt x="613360" y="5529539"/>
                  <a:pt x="610272" y="5530702"/>
                  <a:pt x="607185" y="5529539"/>
                </a:cubicBezTo>
                <a:cubicBezTo>
                  <a:pt x="620568" y="5507451"/>
                  <a:pt x="627774" y="5487688"/>
                  <a:pt x="633952" y="5467925"/>
                </a:cubicBezTo>
                <a:cubicBezTo>
                  <a:pt x="635496" y="5463856"/>
                  <a:pt x="637554" y="5462403"/>
                  <a:pt x="638970" y="5462548"/>
                </a:cubicBezTo>
                <a:close/>
                <a:moveTo>
                  <a:pt x="1047815" y="5458625"/>
                </a:moveTo>
                <a:cubicBezTo>
                  <a:pt x="1035460" y="5462113"/>
                  <a:pt x="1030314" y="5486526"/>
                  <a:pt x="1027225" y="5499312"/>
                </a:cubicBezTo>
                <a:cubicBezTo>
                  <a:pt x="1020018" y="5492339"/>
                  <a:pt x="1032372" y="5447000"/>
                  <a:pt x="1047815" y="5458625"/>
                </a:cubicBezTo>
                <a:close/>
                <a:moveTo>
                  <a:pt x="1005604" y="5458625"/>
                </a:moveTo>
                <a:cubicBezTo>
                  <a:pt x="1022077" y="5464438"/>
                  <a:pt x="1001488" y="5479550"/>
                  <a:pt x="999428" y="5491175"/>
                </a:cubicBezTo>
                <a:cubicBezTo>
                  <a:pt x="994281" y="5481876"/>
                  <a:pt x="998398" y="5471413"/>
                  <a:pt x="1005604" y="5458625"/>
                </a:cubicBezTo>
                <a:close/>
                <a:moveTo>
                  <a:pt x="712195" y="5451649"/>
                </a:moveTo>
                <a:cubicBezTo>
                  <a:pt x="726608" y="5456299"/>
                  <a:pt x="713224" y="5463275"/>
                  <a:pt x="710135" y="5474901"/>
                </a:cubicBezTo>
                <a:cubicBezTo>
                  <a:pt x="704988" y="5492339"/>
                  <a:pt x="684397" y="5533027"/>
                  <a:pt x="667925" y="5556278"/>
                </a:cubicBezTo>
                <a:cubicBezTo>
                  <a:pt x="660719" y="5543489"/>
                  <a:pt x="682339" y="5522564"/>
                  <a:pt x="694692" y="5494663"/>
                </a:cubicBezTo>
                <a:cubicBezTo>
                  <a:pt x="701898" y="5479550"/>
                  <a:pt x="701898" y="5462113"/>
                  <a:pt x="712195" y="5451649"/>
                </a:cubicBezTo>
                <a:close/>
                <a:moveTo>
                  <a:pt x="1095671" y="5419734"/>
                </a:moveTo>
                <a:cubicBezTo>
                  <a:pt x="1097166" y="5419460"/>
                  <a:pt x="1099547" y="5420551"/>
                  <a:pt x="1103408" y="5423748"/>
                </a:cubicBezTo>
                <a:cubicBezTo>
                  <a:pt x="1106497" y="5438862"/>
                  <a:pt x="1094144" y="5435374"/>
                  <a:pt x="1088996" y="5450487"/>
                </a:cubicBezTo>
                <a:cubicBezTo>
                  <a:pt x="1078701" y="5470250"/>
                  <a:pt x="1081788" y="5447000"/>
                  <a:pt x="1090025" y="5438862"/>
                </a:cubicBezTo>
                <a:cubicBezTo>
                  <a:pt x="1094658" y="5433631"/>
                  <a:pt x="1091183" y="5420551"/>
                  <a:pt x="1095671" y="5419734"/>
                </a:cubicBezTo>
                <a:close/>
                <a:moveTo>
                  <a:pt x="684397" y="5412124"/>
                </a:moveTo>
                <a:cubicBezTo>
                  <a:pt x="692634" y="5428399"/>
                  <a:pt x="678220" y="5436537"/>
                  <a:pt x="669984" y="5451649"/>
                </a:cubicBezTo>
                <a:cubicBezTo>
                  <a:pt x="662777" y="5441186"/>
                  <a:pt x="681309" y="5424912"/>
                  <a:pt x="684397" y="5412124"/>
                </a:cubicBezTo>
                <a:close/>
                <a:moveTo>
                  <a:pt x="739991" y="5397011"/>
                </a:moveTo>
                <a:cubicBezTo>
                  <a:pt x="751316" y="5406311"/>
                  <a:pt x="734843" y="5423748"/>
                  <a:pt x="728667" y="5438862"/>
                </a:cubicBezTo>
                <a:cubicBezTo>
                  <a:pt x="717341" y="5429561"/>
                  <a:pt x="733814" y="5410960"/>
                  <a:pt x="739991" y="5397011"/>
                </a:cubicBezTo>
                <a:close/>
                <a:moveTo>
                  <a:pt x="1112835" y="5392997"/>
                </a:moveTo>
                <a:cubicBezTo>
                  <a:pt x="1113576" y="5393813"/>
                  <a:pt x="1112932" y="5396720"/>
                  <a:pt x="1109586" y="5402823"/>
                </a:cubicBezTo>
                <a:cubicBezTo>
                  <a:pt x="1107527" y="5406311"/>
                  <a:pt x="1106497" y="5408636"/>
                  <a:pt x="1104438" y="5412124"/>
                </a:cubicBezTo>
                <a:cubicBezTo>
                  <a:pt x="1095945" y="5406892"/>
                  <a:pt x="1110615" y="5390543"/>
                  <a:pt x="1112835" y="5392997"/>
                </a:cubicBezTo>
                <a:close/>
                <a:moveTo>
                  <a:pt x="833677" y="5370273"/>
                </a:moveTo>
                <a:cubicBezTo>
                  <a:pt x="849120" y="5379573"/>
                  <a:pt x="829558" y="5395849"/>
                  <a:pt x="825440" y="5407474"/>
                </a:cubicBezTo>
                <a:cubicBezTo>
                  <a:pt x="822351" y="5415611"/>
                  <a:pt x="820292" y="5424912"/>
                  <a:pt x="817204" y="5433048"/>
                </a:cubicBezTo>
                <a:cubicBezTo>
                  <a:pt x="811027" y="5450487"/>
                  <a:pt x="800733" y="5466762"/>
                  <a:pt x="790437" y="5494663"/>
                </a:cubicBezTo>
                <a:cubicBezTo>
                  <a:pt x="789407" y="5498151"/>
                  <a:pt x="788378" y="5534189"/>
                  <a:pt x="769847" y="5523726"/>
                </a:cubicBezTo>
                <a:cubicBezTo>
                  <a:pt x="766758" y="5543489"/>
                  <a:pt x="768817" y="5563253"/>
                  <a:pt x="760581" y="5583016"/>
                </a:cubicBezTo>
                <a:cubicBezTo>
                  <a:pt x="757492" y="5594641"/>
                  <a:pt x="750285" y="5587666"/>
                  <a:pt x="744108" y="5584178"/>
                </a:cubicBezTo>
                <a:cubicBezTo>
                  <a:pt x="745138" y="5595803"/>
                  <a:pt x="726608" y="5608592"/>
                  <a:pt x="720430" y="5629517"/>
                </a:cubicBezTo>
                <a:cubicBezTo>
                  <a:pt x="715283" y="5624865"/>
                  <a:pt x="725578" y="5615567"/>
                  <a:pt x="719401" y="5610917"/>
                </a:cubicBezTo>
                <a:cubicBezTo>
                  <a:pt x="744108" y="5558603"/>
                  <a:pt x="756464" y="5502801"/>
                  <a:pt x="786319" y="5460949"/>
                </a:cubicBezTo>
                <a:cubicBezTo>
                  <a:pt x="787349" y="5459788"/>
                  <a:pt x="790437" y="5451649"/>
                  <a:pt x="791466" y="5451649"/>
                </a:cubicBezTo>
                <a:cubicBezTo>
                  <a:pt x="792496" y="5451649"/>
                  <a:pt x="799702" y="5457462"/>
                  <a:pt x="799702" y="5457462"/>
                </a:cubicBezTo>
                <a:cubicBezTo>
                  <a:pt x="800733" y="5453974"/>
                  <a:pt x="801761" y="5443512"/>
                  <a:pt x="804850" y="5436537"/>
                </a:cubicBezTo>
                <a:cubicBezTo>
                  <a:pt x="813086" y="5415611"/>
                  <a:pt x="824410" y="5393523"/>
                  <a:pt x="833677" y="5370273"/>
                </a:cubicBezTo>
                <a:close/>
                <a:moveTo>
                  <a:pt x="916890" y="5369818"/>
                </a:moveTo>
                <a:cubicBezTo>
                  <a:pt x="917517" y="5372816"/>
                  <a:pt x="904970" y="5390036"/>
                  <a:pt x="905742" y="5393523"/>
                </a:cubicBezTo>
                <a:cubicBezTo>
                  <a:pt x="905742" y="5393523"/>
                  <a:pt x="909860" y="5395849"/>
                  <a:pt x="909860" y="5395849"/>
                </a:cubicBezTo>
                <a:cubicBezTo>
                  <a:pt x="905742" y="5409798"/>
                  <a:pt x="893389" y="5426073"/>
                  <a:pt x="889270" y="5436537"/>
                </a:cubicBezTo>
                <a:cubicBezTo>
                  <a:pt x="884122" y="5423748"/>
                  <a:pt x="896476" y="5414449"/>
                  <a:pt x="901624" y="5401660"/>
                </a:cubicBezTo>
                <a:cubicBezTo>
                  <a:pt x="905742" y="5392360"/>
                  <a:pt x="905742" y="5378410"/>
                  <a:pt x="910890" y="5372598"/>
                </a:cubicBezTo>
                <a:cubicBezTo>
                  <a:pt x="915008" y="5369401"/>
                  <a:pt x="916681" y="5368820"/>
                  <a:pt x="916890" y="5369818"/>
                </a:cubicBezTo>
                <a:close/>
                <a:moveTo>
                  <a:pt x="1117821" y="5365622"/>
                </a:moveTo>
                <a:cubicBezTo>
                  <a:pt x="1119881" y="5364460"/>
                  <a:pt x="1122970" y="5385385"/>
                  <a:pt x="1112674" y="5386548"/>
                </a:cubicBezTo>
                <a:cubicBezTo>
                  <a:pt x="1108557" y="5385385"/>
                  <a:pt x="1113703" y="5366786"/>
                  <a:pt x="1117821" y="5365622"/>
                </a:cubicBezTo>
                <a:close/>
                <a:moveTo>
                  <a:pt x="728667" y="5356322"/>
                </a:moveTo>
                <a:cubicBezTo>
                  <a:pt x="732784" y="5359809"/>
                  <a:pt x="727636" y="5366786"/>
                  <a:pt x="725578" y="5372598"/>
                </a:cubicBezTo>
                <a:cubicBezTo>
                  <a:pt x="723519" y="5377248"/>
                  <a:pt x="720430" y="5381898"/>
                  <a:pt x="718371" y="5386548"/>
                </a:cubicBezTo>
                <a:cubicBezTo>
                  <a:pt x="710135" y="5380735"/>
                  <a:pt x="726608" y="5366786"/>
                  <a:pt x="728667" y="5356322"/>
                </a:cubicBezTo>
                <a:close/>
                <a:moveTo>
                  <a:pt x="1093114" y="5341210"/>
                </a:moveTo>
                <a:cubicBezTo>
                  <a:pt x="1096202" y="5353997"/>
                  <a:pt x="1082818" y="5376084"/>
                  <a:pt x="1074582" y="5397011"/>
                </a:cubicBezTo>
                <a:cubicBezTo>
                  <a:pt x="1069434" y="5412124"/>
                  <a:pt x="1068405" y="5435374"/>
                  <a:pt x="1052963" y="5438862"/>
                </a:cubicBezTo>
                <a:cubicBezTo>
                  <a:pt x="1036490" y="5427237"/>
                  <a:pt x="1060170" y="5415611"/>
                  <a:pt x="1065316" y="5403986"/>
                </a:cubicBezTo>
                <a:cubicBezTo>
                  <a:pt x="1070464" y="5392360"/>
                  <a:pt x="1066346" y="5386548"/>
                  <a:pt x="1073553" y="5378410"/>
                </a:cubicBezTo>
                <a:cubicBezTo>
                  <a:pt x="1075613" y="5370273"/>
                  <a:pt x="1065316" y="5377248"/>
                  <a:pt x="1068405" y="5367947"/>
                </a:cubicBezTo>
                <a:cubicBezTo>
                  <a:pt x="1071494" y="5365622"/>
                  <a:pt x="1072523" y="5355160"/>
                  <a:pt x="1075613" y="5353997"/>
                </a:cubicBezTo>
                <a:cubicBezTo>
                  <a:pt x="1077671" y="5353997"/>
                  <a:pt x="1082818" y="5360973"/>
                  <a:pt x="1083847" y="5359809"/>
                </a:cubicBezTo>
                <a:cubicBezTo>
                  <a:pt x="1087965" y="5355160"/>
                  <a:pt x="1080759" y="5342372"/>
                  <a:pt x="1093114" y="5341210"/>
                </a:cubicBezTo>
                <a:close/>
                <a:moveTo>
                  <a:pt x="1061360" y="5337194"/>
                </a:moveTo>
                <a:cubicBezTo>
                  <a:pt x="1062100" y="5338012"/>
                  <a:pt x="1061456" y="5340918"/>
                  <a:pt x="1058110" y="5347022"/>
                </a:cubicBezTo>
                <a:cubicBezTo>
                  <a:pt x="1056051" y="5350509"/>
                  <a:pt x="1055021" y="5352835"/>
                  <a:pt x="1052963" y="5356322"/>
                </a:cubicBezTo>
                <a:cubicBezTo>
                  <a:pt x="1044469" y="5351090"/>
                  <a:pt x="1059140" y="5334743"/>
                  <a:pt x="1061360" y="5337194"/>
                </a:cubicBezTo>
                <a:close/>
                <a:moveTo>
                  <a:pt x="929421" y="5328421"/>
                </a:moveTo>
                <a:lnTo>
                  <a:pt x="931529" y="5329738"/>
                </a:lnTo>
                <a:lnTo>
                  <a:pt x="930450" y="5336559"/>
                </a:lnTo>
                <a:lnTo>
                  <a:pt x="934691" y="5331714"/>
                </a:lnTo>
                <a:lnTo>
                  <a:pt x="935759" y="5332381"/>
                </a:lnTo>
                <a:cubicBezTo>
                  <a:pt x="938171" y="5337502"/>
                  <a:pt x="930451" y="5345569"/>
                  <a:pt x="927362" y="5351672"/>
                </a:cubicBezTo>
                <a:cubicBezTo>
                  <a:pt x="921185" y="5345860"/>
                  <a:pt x="923244" y="5337722"/>
                  <a:pt x="929421" y="5328421"/>
                </a:cubicBezTo>
                <a:close/>
                <a:moveTo>
                  <a:pt x="1132235" y="5326096"/>
                </a:moveTo>
                <a:cubicBezTo>
                  <a:pt x="1138413" y="5336559"/>
                  <a:pt x="1132235" y="5349347"/>
                  <a:pt x="1123998" y="5363297"/>
                </a:cubicBezTo>
                <a:cubicBezTo>
                  <a:pt x="1120910" y="5352835"/>
                  <a:pt x="1125029" y="5340047"/>
                  <a:pt x="1132235" y="5326096"/>
                </a:cubicBezTo>
                <a:close/>
                <a:moveTo>
                  <a:pt x="685426" y="5326096"/>
                </a:moveTo>
                <a:cubicBezTo>
                  <a:pt x="706017" y="5336559"/>
                  <a:pt x="668954" y="5358647"/>
                  <a:pt x="672043" y="5372598"/>
                </a:cubicBezTo>
                <a:cubicBezTo>
                  <a:pt x="672043" y="5372598"/>
                  <a:pt x="676161" y="5374922"/>
                  <a:pt x="676161" y="5374922"/>
                </a:cubicBezTo>
                <a:cubicBezTo>
                  <a:pt x="673072" y="5388874"/>
                  <a:pt x="659689" y="5399336"/>
                  <a:pt x="657629" y="5410960"/>
                </a:cubicBezTo>
                <a:cubicBezTo>
                  <a:pt x="643217" y="5427237"/>
                  <a:pt x="659689" y="5398172"/>
                  <a:pt x="660719" y="5394685"/>
                </a:cubicBezTo>
                <a:cubicBezTo>
                  <a:pt x="668954" y="5372598"/>
                  <a:pt x="681309" y="5340047"/>
                  <a:pt x="685426" y="5326096"/>
                </a:cubicBezTo>
                <a:close/>
                <a:moveTo>
                  <a:pt x="721669" y="5316015"/>
                </a:moveTo>
                <a:cubicBezTo>
                  <a:pt x="723133" y="5316797"/>
                  <a:pt x="724290" y="5319121"/>
                  <a:pt x="724548" y="5323772"/>
                </a:cubicBezTo>
                <a:cubicBezTo>
                  <a:pt x="722489" y="5326096"/>
                  <a:pt x="718371" y="5324933"/>
                  <a:pt x="716312" y="5329585"/>
                </a:cubicBezTo>
                <a:cubicBezTo>
                  <a:pt x="710135" y="5325224"/>
                  <a:pt x="717276" y="5313672"/>
                  <a:pt x="721669" y="5316015"/>
                </a:cubicBezTo>
                <a:close/>
                <a:moveTo>
                  <a:pt x="894675" y="5249514"/>
                </a:moveTo>
                <a:cubicBezTo>
                  <a:pt x="898278" y="5250241"/>
                  <a:pt x="900080" y="5255182"/>
                  <a:pt x="889270" y="5262157"/>
                </a:cubicBezTo>
                <a:cubicBezTo>
                  <a:pt x="885667" y="5252276"/>
                  <a:pt x="891071" y="5248788"/>
                  <a:pt x="894675" y="5249514"/>
                </a:cubicBezTo>
                <a:close/>
                <a:moveTo>
                  <a:pt x="1088996" y="5245882"/>
                </a:moveTo>
                <a:cubicBezTo>
                  <a:pt x="1091054" y="5256344"/>
                  <a:pt x="1081788" y="5278432"/>
                  <a:pt x="1073553" y="5297033"/>
                </a:cubicBezTo>
                <a:cubicBezTo>
                  <a:pt x="1070464" y="5287733"/>
                  <a:pt x="1078701" y="5263321"/>
                  <a:pt x="1088996" y="5245882"/>
                </a:cubicBezTo>
                <a:close/>
                <a:moveTo>
                  <a:pt x="720430" y="5238907"/>
                </a:moveTo>
                <a:cubicBezTo>
                  <a:pt x="724548" y="5242394"/>
                  <a:pt x="719401" y="5249369"/>
                  <a:pt x="717341" y="5255182"/>
                </a:cubicBezTo>
                <a:cubicBezTo>
                  <a:pt x="715283" y="5259832"/>
                  <a:pt x="712195" y="5264483"/>
                  <a:pt x="710135" y="5269132"/>
                </a:cubicBezTo>
                <a:cubicBezTo>
                  <a:pt x="701898" y="5262157"/>
                  <a:pt x="718371" y="5249369"/>
                  <a:pt x="720430" y="5238907"/>
                </a:cubicBezTo>
                <a:close/>
                <a:moveTo>
                  <a:pt x="1132235" y="5226119"/>
                </a:moveTo>
                <a:cubicBezTo>
                  <a:pt x="1138413" y="5236582"/>
                  <a:pt x="1127087" y="5242394"/>
                  <a:pt x="1123998" y="5251695"/>
                </a:cubicBezTo>
                <a:cubicBezTo>
                  <a:pt x="1117821" y="5271458"/>
                  <a:pt x="1117821" y="5301683"/>
                  <a:pt x="1103408" y="5310984"/>
                </a:cubicBezTo>
                <a:cubicBezTo>
                  <a:pt x="1094144" y="5299358"/>
                  <a:pt x="1110614" y="5276107"/>
                  <a:pt x="1112674" y="5262157"/>
                </a:cubicBezTo>
                <a:cubicBezTo>
                  <a:pt x="1113703" y="5259832"/>
                  <a:pt x="1118851" y="5255182"/>
                  <a:pt x="1117821" y="5252857"/>
                </a:cubicBezTo>
                <a:cubicBezTo>
                  <a:pt x="1115763" y="5244720"/>
                  <a:pt x="1126057" y="5240069"/>
                  <a:pt x="1132235" y="5226119"/>
                </a:cubicBezTo>
                <a:close/>
                <a:moveTo>
                  <a:pt x="1023706" y="5213289"/>
                </a:moveTo>
                <a:lnTo>
                  <a:pt x="1024603" y="5214384"/>
                </a:lnTo>
                <a:cubicBezTo>
                  <a:pt x="1025038" y="5223431"/>
                  <a:pt x="1012296" y="5238034"/>
                  <a:pt x="1007664" y="5249369"/>
                </a:cubicBezTo>
                <a:cubicBezTo>
                  <a:pt x="1005604" y="5254020"/>
                  <a:pt x="1005604" y="5262157"/>
                  <a:pt x="1002515" y="5270295"/>
                </a:cubicBezTo>
                <a:cubicBezTo>
                  <a:pt x="999428" y="5277270"/>
                  <a:pt x="994281" y="5284245"/>
                  <a:pt x="991191" y="5292383"/>
                </a:cubicBezTo>
                <a:cubicBezTo>
                  <a:pt x="990162" y="5292383"/>
                  <a:pt x="994281" y="5295871"/>
                  <a:pt x="992221" y="5299358"/>
                </a:cubicBezTo>
                <a:cubicBezTo>
                  <a:pt x="983985" y="5317959"/>
                  <a:pt x="974719" y="5352835"/>
                  <a:pt x="962365" y="5378410"/>
                </a:cubicBezTo>
                <a:cubicBezTo>
                  <a:pt x="959276" y="5350509"/>
                  <a:pt x="976778" y="5327259"/>
                  <a:pt x="986045" y="5301683"/>
                </a:cubicBezTo>
                <a:cubicBezTo>
                  <a:pt x="991191" y="5286570"/>
                  <a:pt x="995052" y="5270003"/>
                  <a:pt x="999814" y="5253728"/>
                </a:cubicBezTo>
                <a:lnTo>
                  <a:pt x="1015549" y="5215806"/>
                </a:lnTo>
                <a:lnTo>
                  <a:pt x="1010752" y="5229607"/>
                </a:lnTo>
                <a:cubicBezTo>
                  <a:pt x="1017958" y="5228444"/>
                  <a:pt x="1021046" y="5223212"/>
                  <a:pt x="1022849" y="5216964"/>
                </a:cubicBezTo>
                <a:close/>
                <a:moveTo>
                  <a:pt x="820292" y="5200542"/>
                </a:moveTo>
                <a:cubicBezTo>
                  <a:pt x="826470" y="5228444"/>
                  <a:pt x="808968" y="5262157"/>
                  <a:pt x="796614" y="5295871"/>
                </a:cubicBezTo>
                <a:cubicBezTo>
                  <a:pt x="778083" y="5288896"/>
                  <a:pt x="798673" y="5269132"/>
                  <a:pt x="801761" y="5256344"/>
                </a:cubicBezTo>
                <a:cubicBezTo>
                  <a:pt x="806908" y="5240069"/>
                  <a:pt x="803821" y="5223793"/>
                  <a:pt x="820292" y="5200542"/>
                </a:cubicBezTo>
                <a:close/>
                <a:moveTo>
                  <a:pt x="1105709" y="5199694"/>
                </a:moveTo>
                <a:cubicBezTo>
                  <a:pt x="1106900" y="5199444"/>
                  <a:pt x="1107527" y="5200270"/>
                  <a:pt x="1107719" y="5201814"/>
                </a:cubicBezTo>
                <a:cubicBezTo>
                  <a:pt x="1108877" y="5211078"/>
                  <a:pt x="1094400" y="5246172"/>
                  <a:pt x="1092084" y="5229607"/>
                </a:cubicBezTo>
                <a:cubicBezTo>
                  <a:pt x="1103408" y="5215655"/>
                  <a:pt x="1103408" y="5200542"/>
                  <a:pt x="1100320" y="5204031"/>
                </a:cubicBezTo>
                <a:cubicBezTo>
                  <a:pt x="1102765" y="5201270"/>
                  <a:pt x="1104519" y="5199943"/>
                  <a:pt x="1105709" y="5199694"/>
                </a:cubicBezTo>
                <a:close/>
                <a:moveTo>
                  <a:pt x="1174445" y="5194731"/>
                </a:moveTo>
                <a:cubicBezTo>
                  <a:pt x="1188858" y="5209843"/>
                  <a:pt x="1161061" y="5236582"/>
                  <a:pt x="1170326" y="5254020"/>
                </a:cubicBezTo>
                <a:cubicBezTo>
                  <a:pt x="1165179" y="5256344"/>
                  <a:pt x="1161061" y="5260995"/>
                  <a:pt x="1156943" y="5269132"/>
                </a:cubicBezTo>
                <a:cubicBezTo>
                  <a:pt x="1152826" y="5247044"/>
                  <a:pt x="1168269" y="5220306"/>
                  <a:pt x="1174445" y="5194731"/>
                </a:cubicBezTo>
                <a:close/>
                <a:moveTo>
                  <a:pt x="1164391" y="5188754"/>
                </a:moveTo>
                <a:cubicBezTo>
                  <a:pt x="1167625" y="5190879"/>
                  <a:pt x="1167239" y="5204612"/>
                  <a:pt x="1161061" y="5209843"/>
                </a:cubicBezTo>
                <a:cubicBezTo>
                  <a:pt x="1155913" y="5205194"/>
                  <a:pt x="1166209" y="5195893"/>
                  <a:pt x="1160031" y="5191242"/>
                </a:cubicBezTo>
                <a:cubicBezTo>
                  <a:pt x="1161833" y="5188627"/>
                  <a:pt x="1163313" y="5188045"/>
                  <a:pt x="1164391" y="5188754"/>
                </a:cubicBezTo>
                <a:close/>
                <a:moveTo>
                  <a:pt x="1145619" y="5186593"/>
                </a:moveTo>
                <a:cubicBezTo>
                  <a:pt x="1153854" y="5194731"/>
                  <a:pt x="1135323" y="5211006"/>
                  <a:pt x="1133264" y="5221469"/>
                </a:cubicBezTo>
                <a:cubicBezTo>
                  <a:pt x="1127087" y="5212168"/>
                  <a:pt x="1135323" y="5190081"/>
                  <a:pt x="1145619" y="5186593"/>
                </a:cubicBezTo>
                <a:close/>
                <a:moveTo>
                  <a:pt x="902653" y="5173805"/>
                </a:moveTo>
                <a:cubicBezTo>
                  <a:pt x="911919" y="5190081"/>
                  <a:pt x="893389" y="5190081"/>
                  <a:pt x="896476" y="5206356"/>
                </a:cubicBezTo>
                <a:cubicBezTo>
                  <a:pt x="901624" y="5212168"/>
                  <a:pt x="916038" y="5194731"/>
                  <a:pt x="910890" y="5209843"/>
                </a:cubicBezTo>
                <a:cubicBezTo>
                  <a:pt x="906772" y="5219143"/>
                  <a:pt x="900595" y="5221469"/>
                  <a:pt x="892359" y="5214493"/>
                </a:cubicBezTo>
                <a:cubicBezTo>
                  <a:pt x="882063" y="5221469"/>
                  <a:pt x="893389" y="5238907"/>
                  <a:pt x="883093" y="5233094"/>
                </a:cubicBezTo>
                <a:cubicBezTo>
                  <a:pt x="883093" y="5237744"/>
                  <a:pt x="883093" y="5240069"/>
                  <a:pt x="882063" y="5244720"/>
                </a:cubicBezTo>
                <a:cubicBezTo>
                  <a:pt x="881033" y="5247044"/>
                  <a:pt x="875886" y="5251695"/>
                  <a:pt x="876916" y="5254020"/>
                </a:cubicBezTo>
                <a:cubicBezTo>
                  <a:pt x="878975" y="5260995"/>
                  <a:pt x="875886" y="5260995"/>
                  <a:pt x="873827" y="5270295"/>
                </a:cubicBezTo>
                <a:cubicBezTo>
                  <a:pt x="872798" y="5277270"/>
                  <a:pt x="871768" y="5281920"/>
                  <a:pt x="868679" y="5291220"/>
                </a:cubicBezTo>
                <a:cubicBezTo>
                  <a:pt x="867650" y="5292383"/>
                  <a:pt x="863533" y="5299358"/>
                  <a:pt x="863533" y="5300520"/>
                </a:cubicBezTo>
                <a:cubicBezTo>
                  <a:pt x="863533" y="5300520"/>
                  <a:pt x="867650" y="5302846"/>
                  <a:pt x="867650" y="5302846"/>
                </a:cubicBezTo>
                <a:cubicBezTo>
                  <a:pt x="865590" y="5308658"/>
                  <a:pt x="859415" y="5307495"/>
                  <a:pt x="859415" y="5308658"/>
                </a:cubicBezTo>
                <a:cubicBezTo>
                  <a:pt x="855296" y="5322609"/>
                  <a:pt x="859415" y="5344696"/>
                  <a:pt x="843972" y="5349347"/>
                </a:cubicBezTo>
                <a:cubicBezTo>
                  <a:pt x="833677" y="5331908"/>
                  <a:pt x="851177" y="5320284"/>
                  <a:pt x="855296" y="5307495"/>
                </a:cubicBezTo>
                <a:cubicBezTo>
                  <a:pt x="869709" y="5265645"/>
                  <a:pt x="880005" y="5216819"/>
                  <a:pt x="902653" y="5173805"/>
                </a:cubicBezTo>
                <a:close/>
                <a:moveTo>
                  <a:pt x="811526" y="5171080"/>
                </a:moveTo>
                <a:cubicBezTo>
                  <a:pt x="813408" y="5172497"/>
                  <a:pt x="810513" y="5180779"/>
                  <a:pt x="805879" y="5177292"/>
                </a:cubicBezTo>
                <a:cubicBezTo>
                  <a:pt x="791466" y="5205194"/>
                  <a:pt x="786319" y="5231930"/>
                  <a:pt x="766758" y="5260995"/>
                </a:cubicBezTo>
                <a:cubicBezTo>
                  <a:pt x="751316" y="5254020"/>
                  <a:pt x="767788" y="5245882"/>
                  <a:pt x="770876" y="5233094"/>
                </a:cubicBezTo>
                <a:cubicBezTo>
                  <a:pt x="771907" y="5231930"/>
                  <a:pt x="770876" y="5224956"/>
                  <a:pt x="769847" y="5226119"/>
                </a:cubicBezTo>
                <a:cubicBezTo>
                  <a:pt x="773964" y="5217981"/>
                  <a:pt x="779112" y="5220306"/>
                  <a:pt x="783230" y="5211006"/>
                </a:cubicBezTo>
                <a:cubicBezTo>
                  <a:pt x="788378" y="5198218"/>
                  <a:pt x="788378" y="5186593"/>
                  <a:pt x="795584" y="5176130"/>
                </a:cubicBezTo>
                <a:cubicBezTo>
                  <a:pt x="799702" y="5176130"/>
                  <a:pt x="804850" y="5177292"/>
                  <a:pt x="807939" y="5172643"/>
                </a:cubicBezTo>
                <a:cubicBezTo>
                  <a:pt x="809741" y="5170899"/>
                  <a:pt x="810898" y="5170608"/>
                  <a:pt x="811526" y="5171080"/>
                </a:cubicBezTo>
                <a:close/>
                <a:moveTo>
                  <a:pt x="720429" y="5161017"/>
                </a:moveTo>
                <a:lnTo>
                  <a:pt x="720731" y="5161018"/>
                </a:lnTo>
                <a:lnTo>
                  <a:pt x="720367" y="5162067"/>
                </a:lnTo>
                <a:close/>
                <a:moveTo>
                  <a:pt x="839853" y="5151717"/>
                </a:moveTo>
                <a:cubicBezTo>
                  <a:pt x="842941" y="5164504"/>
                  <a:pt x="840883" y="5188918"/>
                  <a:pt x="828529" y="5193568"/>
                </a:cubicBezTo>
                <a:cubicBezTo>
                  <a:pt x="825440" y="5185430"/>
                  <a:pt x="833677" y="5166830"/>
                  <a:pt x="839853" y="5151717"/>
                </a:cubicBezTo>
                <a:close/>
                <a:moveTo>
                  <a:pt x="1194006" y="5147068"/>
                </a:moveTo>
                <a:cubicBezTo>
                  <a:pt x="1210478" y="5154042"/>
                  <a:pt x="1187828" y="5171480"/>
                  <a:pt x="1185769" y="5184267"/>
                </a:cubicBezTo>
                <a:cubicBezTo>
                  <a:pt x="1179592" y="5173805"/>
                  <a:pt x="1185769" y="5161017"/>
                  <a:pt x="1194006" y="5147068"/>
                </a:cubicBezTo>
                <a:close/>
                <a:moveTo>
                  <a:pt x="930450" y="5142416"/>
                </a:moveTo>
                <a:cubicBezTo>
                  <a:pt x="946922" y="5149391"/>
                  <a:pt x="924273" y="5167992"/>
                  <a:pt x="922215" y="5179618"/>
                </a:cubicBezTo>
                <a:cubicBezTo>
                  <a:pt x="919126" y="5169154"/>
                  <a:pt x="926333" y="5155205"/>
                  <a:pt x="930450" y="5142416"/>
                </a:cubicBezTo>
                <a:close/>
                <a:moveTo>
                  <a:pt x="1210478" y="5102890"/>
                </a:moveTo>
                <a:cubicBezTo>
                  <a:pt x="1226950" y="5108703"/>
                  <a:pt x="1207389" y="5124978"/>
                  <a:pt x="1204301" y="5135442"/>
                </a:cubicBezTo>
                <a:cubicBezTo>
                  <a:pt x="1195035" y="5128467"/>
                  <a:pt x="1204301" y="5114516"/>
                  <a:pt x="1210478" y="5102890"/>
                </a:cubicBezTo>
                <a:close/>
                <a:moveTo>
                  <a:pt x="1153854" y="5099402"/>
                </a:moveTo>
                <a:cubicBezTo>
                  <a:pt x="1157972" y="5114516"/>
                  <a:pt x="1148707" y="5131954"/>
                  <a:pt x="1138413" y="5150555"/>
                </a:cubicBezTo>
                <a:cubicBezTo>
                  <a:pt x="1126057" y="5157529"/>
                  <a:pt x="1139440" y="5140091"/>
                  <a:pt x="1141500" y="5134278"/>
                </a:cubicBezTo>
                <a:cubicBezTo>
                  <a:pt x="1144589" y="5122653"/>
                  <a:pt x="1147678" y="5105215"/>
                  <a:pt x="1153854" y="5099402"/>
                </a:cubicBezTo>
                <a:close/>
                <a:moveTo>
                  <a:pt x="833677" y="5091265"/>
                </a:moveTo>
                <a:cubicBezTo>
                  <a:pt x="846031" y="5101728"/>
                  <a:pt x="828529" y="5119166"/>
                  <a:pt x="823382" y="5133116"/>
                </a:cubicBezTo>
                <a:cubicBezTo>
                  <a:pt x="818234" y="5127304"/>
                  <a:pt x="825440" y="5119166"/>
                  <a:pt x="828529" y="5112191"/>
                </a:cubicBezTo>
                <a:cubicBezTo>
                  <a:pt x="823382" y="5106377"/>
                  <a:pt x="830588" y="5098240"/>
                  <a:pt x="833677" y="5091265"/>
                </a:cubicBezTo>
                <a:close/>
                <a:moveTo>
                  <a:pt x="1165179" y="5069178"/>
                </a:moveTo>
                <a:cubicBezTo>
                  <a:pt x="1168269" y="5071502"/>
                  <a:pt x="1165179" y="5076152"/>
                  <a:pt x="1164150" y="5080802"/>
                </a:cubicBezTo>
                <a:cubicBezTo>
                  <a:pt x="1162090" y="5085453"/>
                  <a:pt x="1159002" y="5090102"/>
                  <a:pt x="1156943" y="5094753"/>
                </a:cubicBezTo>
                <a:cubicBezTo>
                  <a:pt x="1147678" y="5090102"/>
                  <a:pt x="1163120" y="5078478"/>
                  <a:pt x="1165179" y="5069178"/>
                </a:cubicBezTo>
                <a:close/>
                <a:moveTo>
                  <a:pt x="868679" y="5066852"/>
                </a:moveTo>
                <a:cubicBezTo>
                  <a:pt x="878975" y="5074989"/>
                  <a:pt x="865590" y="5091265"/>
                  <a:pt x="860444" y="5104054"/>
                </a:cubicBezTo>
                <a:cubicBezTo>
                  <a:pt x="857355" y="5093590"/>
                  <a:pt x="861473" y="5080802"/>
                  <a:pt x="868679" y="5066852"/>
                </a:cubicBezTo>
                <a:close/>
                <a:moveTo>
                  <a:pt x="954129" y="5065689"/>
                </a:moveTo>
                <a:cubicBezTo>
                  <a:pt x="966483" y="5068014"/>
                  <a:pt x="944864" y="5098240"/>
                  <a:pt x="958247" y="5087778"/>
                </a:cubicBezTo>
                <a:cubicBezTo>
                  <a:pt x="966483" y="5094753"/>
                  <a:pt x="951040" y="5102890"/>
                  <a:pt x="951040" y="5101728"/>
                </a:cubicBezTo>
                <a:cubicBezTo>
                  <a:pt x="946922" y="5113354"/>
                  <a:pt x="954129" y="5128467"/>
                  <a:pt x="940746" y="5142416"/>
                </a:cubicBezTo>
                <a:cubicBezTo>
                  <a:pt x="932509" y="5135442"/>
                  <a:pt x="938687" y="5124978"/>
                  <a:pt x="944864" y="5114516"/>
                </a:cubicBezTo>
                <a:cubicBezTo>
                  <a:pt x="943833" y="5099402"/>
                  <a:pt x="939716" y="5085453"/>
                  <a:pt x="954129" y="5065689"/>
                </a:cubicBezTo>
                <a:close/>
                <a:moveTo>
                  <a:pt x="851177" y="5048251"/>
                </a:moveTo>
                <a:cubicBezTo>
                  <a:pt x="857355" y="5058714"/>
                  <a:pt x="851177" y="5071502"/>
                  <a:pt x="842941" y="5085453"/>
                </a:cubicBezTo>
                <a:cubicBezTo>
                  <a:pt x="840883" y="5073827"/>
                  <a:pt x="837794" y="5052901"/>
                  <a:pt x="851177" y="5048251"/>
                </a:cubicBezTo>
                <a:close/>
                <a:moveTo>
                  <a:pt x="801761" y="5041276"/>
                </a:moveTo>
                <a:cubicBezTo>
                  <a:pt x="804850" y="5047088"/>
                  <a:pt x="800733" y="5054065"/>
                  <a:pt x="808968" y="5058714"/>
                </a:cubicBezTo>
                <a:cubicBezTo>
                  <a:pt x="803821" y="5076152"/>
                  <a:pt x="790437" y="5097079"/>
                  <a:pt x="790437" y="5114516"/>
                </a:cubicBezTo>
                <a:cubicBezTo>
                  <a:pt x="790437" y="5121490"/>
                  <a:pt x="789407" y="5126141"/>
                  <a:pt x="785290" y="5135442"/>
                </a:cubicBezTo>
                <a:cubicBezTo>
                  <a:pt x="784260" y="5136604"/>
                  <a:pt x="780141" y="5143579"/>
                  <a:pt x="780141" y="5144742"/>
                </a:cubicBezTo>
                <a:cubicBezTo>
                  <a:pt x="786319" y="5166830"/>
                  <a:pt x="748227" y="5222632"/>
                  <a:pt x="739991" y="5252857"/>
                </a:cubicBezTo>
                <a:cubicBezTo>
                  <a:pt x="735873" y="5267970"/>
                  <a:pt x="745138" y="5279596"/>
                  <a:pt x="734843" y="5285407"/>
                </a:cubicBezTo>
                <a:cubicBezTo>
                  <a:pt x="720430" y="5269132"/>
                  <a:pt x="745138" y="5227281"/>
                  <a:pt x="753375" y="5217981"/>
                </a:cubicBezTo>
                <a:cubicBezTo>
                  <a:pt x="754404" y="5207518"/>
                  <a:pt x="750285" y="5197054"/>
                  <a:pt x="753375" y="5186593"/>
                </a:cubicBezTo>
                <a:cubicBezTo>
                  <a:pt x="784260" y="5134278"/>
                  <a:pt x="791466" y="5087778"/>
                  <a:pt x="801761" y="5041276"/>
                </a:cubicBezTo>
                <a:close/>
                <a:moveTo>
                  <a:pt x="1234156" y="5027326"/>
                </a:moveTo>
                <a:cubicBezTo>
                  <a:pt x="1248569" y="5030813"/>
                  <a:pt x="1236215" y="5042439"/>
                  <a:pt x="1232096" y="5050577"/>
                </a:cubicBezTo>
                <a:cubicBezTo>
                  <a:pt x="1229009" y="5044764"/>
                  <a:pt x="1230039" y="5036626"/>
                  <a:pt x="1234156" y="5027326"/>
                </a:cubicBezTo>
                <a:close/>
                <a:moveTo>
                  <a:pt x="1289751" y="5004076"/>
                </a:moveTo>
                <a:cubicBezTo>
                  <a:pt x="1299015" y="5029650"/>
                  <a:pt x="1276367" y="5058714"/>
                  <a:pt x="1270189" y="5083127"/>
                </a:cubicBezTo>
                <a:cubicBezTo>
                  <a:pt x="1269160" y="5086615"/>
                  <a:pt x="1266071" y="5088940"/>
                  <a:pt x="1265041" y="5092428"/>
                </a:cubicBezTo>
                <a:cubicBezTo>
                  <a:pt x="1264012" y="5094753"/>
                  <a:pt x="1266071" y="5099402"/>
                  <a:pt x="1266071" y="5099402"/>
                </a:cubicBezTo>
                <a:cubicBezTo>
                  <a:pt x="1262982" y="5107540"/>
                  <a:pt x="1255777" y="5105215"/>
                  <a:pt x="1252688" y="5114516"/>
                </a:cubicBezTo>
                <a:cubicBezTo>
                  <a:pt x="1249599" y="5121490"/>
                  <a:pt x="1251658" y="5130791"/>
                  <a:pt x="1250628" y="5137767"/>
                </a:cubicBezTo>
                <a:cubicBezTo>
                  <a:pt x="1249599" y="5142416"/>
                  <a:pt x="1244452" y="5147068"/>
                  <a:pt x="1243422" y="5151717"/>
                </a:cubicBezTo>
                <a:cubicBezTo>
                  <a:pt x="1242393" y="5154042"/>
                  <a:pt x="1246511" y="5154042"/>
                  <a:pt x="1244452" y="5158692"/>
                </a:cubicBezTo>
                <a:cubicBezTo>
                  <a:pt x="1241363" y="5167992"/>
                  <a:pt x="1230039" y="5169154"/>
                  <a:pt x="1229009" y="5178455"/>
                </a:cubicBezTo>
                <a:cubicBezTo>
                  <a:pt x="1221802" y="5186593"/>
                  <a:pt x="1233127" y="5190081"/>
                  <a:pt x="1230039" y="5197054"/>
                </a:cubicBezTo>
                <a:cubicBezTo>
                  <a:pt x="1213566" y="5221469"/>
                  <a:pt x="1213566" y="5240069"/>
                  <a:pt x="1201212" y="5263321"/>
                </a:cubicBezTo>
                <a:cubicBezTo>
                  <a:pt x="1196064" y="5272619"/>
                  <a:pt x="1205330" y="5285407"/>
                  <a:pt x="1201212" y="5294708"/>
                </a:cubicBezTo>
                <a:cubicBezTo>
                  <a:pt x="1198123" y="5299358"/>
                  <a:pt x="1197095" y="5302846"/>
                  <a:pt x="1200183" y="5306334"/>
                </a:cubicBezTo>
                <a:cubicBezTo>
                  <a:pt x="1192976" y="5317959"/>
                  <a:pt x="1184740" y="5326096"/>
                  <a:pt x="1177533" y="5340047"/>
                </a:cubicBezTo>
                <a:cubicBezTo>
                  <a:pt x="1172385" y="5350509"/>
                  <a:pt x="1175474" y="5353997"/>
                  <a:pt x="1172385" y="5360973"/>
                </a:cubicBezTo>
                <a:cubicBezTo>
                  <a:pt x="1164150" y="5383059"/>
                  <a:pt x="1149737" y="5402823"/>
                  <a:pt x="1154883" y="5416774"/>
                </a:cubicBezTo>
                <a:cubicBezTo>
                  <a:pt x="1151796" y="5428399"/>
                  <a:pt x="1142530" y="5422586"/>
                  <a:pt x="1137383" y="5429561"/>
                </a:cubicBezTo>
                <a:cubicBezTo>
                  <a:pt x="1133264" y="5435374"/>
                  <a:pt x="1136353" y="5449325"/>
                  <a:pt x="1127087" y="5459788"/>
                </a:cubicBezTo>
                <a:cubicBezTo>
                  <a:pt x="1143559" y="5459788"/>
                  <a:pt x="1133264" y="5441186"/>
                  <a:pt x="1142530" y="5440025"/>
                </a:cubicBezTo>
                <a:cubicBezTo>
                  <a:pt x="1147678" y="5438862"/>
                  <a:pt x="1135323" y="5471413"/>
                  <a:pt x="1134294" y="5477225"/>
                </a:cubicBezTo>
                <a:cubicBezTo>
                  <a:pt x="1130176" y="5471413"/>
                  <a:pt x="1128116" y="5464438"/>
                  <a:pt x="1123998" y="5457462"/>
                </a:cubicBezTo>
                <a:cubicBezTo>
                  <a:pt x="1123998" y="5452812"/>
                  <a:pt x="1123998" y="5450487"/>
                  <a:pt x="1125029" y="5445837"/>
                </a:cubicBezTo>
                <a:cubicBezTo>
                  <a:pt x="1126057" y="5443512"/>
                  <a:pt x="1131205" y="5438862"/>
                  <a:pt x="1130176" y="5436537"/>
                </a:cubicBezTo>
                <a:cubicBezTo>
                  <a:pt x="1125029" y="5420261"/>
                  <a:pt x="1154883" y="5369110"/>
                  <a:pt x="1163120" y="5342372"/>
                </a:cubicBezTo>
                <a:cubicBezTo>
                  <a:pt x="1164150" y="5337722"/>
                  <a:pt x="1162090" y="5335396"/>
                  <a:pt x="1164150" y="5330747"/>
                </a:cubicBezTo>
                <a:cubicBezTo>
                  <a:pt x="1169297" y="5319121"/>
                  <a:pt x="1176503" y="5310984"/>
                  <a:pt x="1180622" y="5299358"/>
                </a:cubicBezTo>
                <a:cubicBezTo>
                  <a:pt x="1188858" y="5277270"/>
                  <a:pt x="1195035" y="5254020"/>
                  <a:pt x="1202241" y="5227281"/>
                </a:cubicBezTo>
                <a:cubicBezTo>
                  <a:pt x="1208419" y="5200542"/>
                  <a:pt x="1229009" y="5156366"/>
                  <a:pt x="1239304" y="5123816"/>
                </a:cubicBezTo>
                <a:cubicBezTo>
                  <a:pt x="1242393" y="5113354"/>
                  <a:pt x="1244452" y="5115678"/>
                  <a:pt x="1242393" y="5107540"/>
                </a:cubicBezTo>
                <a:cubicBezTo>
                  <a:pt x="1241363" y="5100566"/>
                  <a:pt x="1259895" y="5088940"/>
                  <a:pt x="1262982" y="5078478"/>
                </a:cubicBezTo>
                <a:cubicBezTo>
                  <a:pt x="1268130" y="5061040"/>
                  <a:pt x="1270189" y="5042439"/>
                  <a:pt x="1268130" y="5026164"/>
                </a:cubicBezTo>
                <a:cubicBezTo>
                  <a:pt x="1273278" y="5009888"/>
                  <a:pt x="1285632" y="5023838"/>
                  <a:pt x="1289751" y="5004076"/>
                </a:cubicBezTo>
                <a:close/>
                <a:moveTo>
                  <a:pt x="1210123" y="5001059"/>
                </a:moveTo>
                <a:cubicBezTo>
                  <a:pt x="1212922" y="5002259"/>
                  <a:pt x="1205588" y="5016863"/>
                  <a:pt x="1206359" y="5020351"/>
                </a:cubicBezTo>
                <a:cubicBezTo>
                  <a:pt x="1206359" y="5020351"/>
                  <a:pt x="1210478" y="5022676"/>
                  <a:pt x="1210478" y="5022676"/>
                </a:cubicBezTo>
                <a:cubicBezTo>
                  <a:pt x="1206359" y="5041276"/>
                  <a:pt x="1180622" y="5071502"/>
                  <a:pt x="1176503" y="5091265"/>
                </a:cubicBezTo>
                <a:cubicBezTo>
                  <a:pt x="1198123" y="5081965"/>
                  <a:pt x="1182681" y="5101728"/>
                  <a:pt x="1174445" y="5127304"/>
                </a:cubicBezTo>
                <a:cubicBezTo>
                  <a:pt x="1173415" y="5127304"/>
                  <a:pt x="1177533" y="5130791"/>
                  <a:pt x="1175474" y="5134278"/>
                </a:cubicBezTo>
                <a:cubicBezTo>
                  <a:pt x="1173415" y="5138929"/>
                  <a:pt x="1170326" y="5143579"/>
                  <a:pt x="1168269" y="5148229"/>
                </a:cubicBezTo>
                <a:cubicBezTo>
                  <a:pt x="1167239" y="5148229"/>
                  <a:pt x="1172385" y="5151717"/>
                  <a:pt x="1169297" y="5155205"/>
                </a:cubicBezTo>
                <a:cubicBezTo>
                  <a:pt x="1169297" y="5154042"/>
                  <a:pt x="1162090" y="5151717"/>
                  <a:pt x="1163120" y="5156366"/>
                </a:cubicBezTo>
                <a:cubicBezTo>
                  <a:pt x="1154883" y="5148229"/>
                  <a:pt x="1163120" y="5130791"/>
                  <a:pt x="1165179" y="5120329"/>
                </a:cubicBezTo>
                <a:cubicBezTo>
                  <a:pt x="1167239" y="5107540"/>
                  <a:pt x="1169297" y="5094753"/>
                  <a:pt x="1173415" y="5083127"/>
                </a:cubicBezTo>
                <a:cubicBezTo>
                  <a:pt x="1183711" y="5055227"/>
                  <a:pt x="1207389" y="5031976"/>
                  <a:pt x="1203271" y="5005237"/>
                </a:cubicBezTo>
                <a:cubicBezTo>
                  <a:pt x="1207132" y="5001749"/>
                  <a:pt x="1209190" y="5000660"/>
                  <a:pt x="1210123" y="5001059"/>
                </a:cubicBezTo>
                <a:close/>
                <a:moveTo>
                  <a:pt x="825440" y="4985475"/>
                </a:moveTo>
                <a:cubicBezTo>
                  <a:pt x="832647" y="5006401"/>
                  <a:pt x="815145" y="5008725"/>
                  <a:pt x="812057" y="5031976"/>
                </a:cubicBezTo>
                <a:cubicBezTo>
                  <a:pt x="802791" y="5020351"/>
                  <a:pt x="820292" y="4988962"/>
                  <a:pt x="825440" y="4985475"/>
                </a:cubicBezTo>
                <a:close/>
                <a:moveTo>
                  <a:pt x="980510" y="4979571"/>
                </a:moveTo>
                <a:cubicBezTo>
                  <a:pt x="982506" y="4979516"/>
                  <a:pt x="984500" y="4980824"/>
                  <a:pt x="986045" y="4984313"/>
                </a:cubicBezTo>
                <a:cubicBezTo>
                  <a:pt x="982956" y="4992450"/>
                  <a:pt x="977808" y="4988962"/>
                  <a:pt x="974719" y="4994776"/>
                </a:cubicBezTo>
                <a:cubicBezTo>
                  <a:pt x="968542" y="4992159"/>
                  <a:pt x="974526" y="4979733"/>
                  <a:pt x="980510" y="4979571"/>
                </a:cubicBezTo>
                <a:close/>
                <a:moveTo>
                  <a:pt x="846031" y="4976175"/>
                </a:moveTo>
                <a:cubicBezTo>
                  <a:pt x="857355" y="4981987"/>
                  <a:pt x="851177" y="4992450"/>
                  <a:pt x="848090" y="5002914"/>
                </a:cubicBezTo>
                <a:cubicBezTo>
                  <a:pt x="837794" y="4997100"/>
                  <a:pt x="842941" y="4985475"/>
                  <a:pt x="846031" y="4976175"/>
                </a:cubicBezTo>
                <a:close/>
                <a:moveTo>
                  <a:pt x="1260409" y="4969636"/>
                </a:moveTo>
                <a:cubicBezTo>
                  <a:pt x="1263240" y="4968327"/>
                  <a:pt x="1261952" y="4975012"/>
                  <a:pt x="1249599" y="4994776"/>
                </a:cubicBezTo>
                <a:cubicBezTo>
                  <a:pt x="1250628" y="4993613"/>
                  <a:pt x="1251658" y="5005237"/>
                  <a:pt x="1247539" y="4999425"/>
                </a:cubicBezTo>
                <a:cubicBezTo>
                  <a:pt x="1249599" y="5001750"/>
                  <a:pt x="1247539" y="4988962"/>
                  <a:pt x="1246511" y="4992450"/>
                </a:cubicBezTo>
                <a:cubicBezTo>
                  <a:pt x="1250628" y="4980243"/>
                  <a:pt x="1257578" y="4970942"/>
                  <a:pt x="1260409" y="4969636"/>
                </a:cubicBezTo>
                <a:close/>
                <a:moveTo>
                  <a:pt x="843103" y="4948911"/>
                </a:moveTo>
                <a:cubicBezTo>
                  <a:pt x="843844" y="4949726"/>
                  <a:pt x="843200" y="4952633"/>
                  <a:pt x="839853" y="4958736"/>
                </a:cubicBezTo>
                <a:cubicBezTo>
                  <a:pt x="837794" y="4962225"/>
                  <a:pt x="836765" y="4964549"/>
                  <a:pt x="834707" y="4968037"/>
                </a:cubicBezTo>
                <a:cubicBezTo>
                  <a:pt x="826213" y="4962806"/>
                  <a:pt x="840883" y="4946457"/>
                  <a:pt x="843103" y="4948911"/>
                </a:cubicBezTo>
                <a:close/>
                <a:moveTo>
                  <a:pt x="1181652" y="4944787"/>
                </a:moveTo>
                <a:cubicBezTo>
                  <a:pt x="1184740" y="4952925"/>
                  <a:pt x="1179592" y="4963386"/>
                  <a:pt x="1177533" y="4972687"/>
                </a:cubicBezTo>
                <a:cubicBezTo>
                  <a:pt x="1162090" y="4968037"/>
                  <a:pt x="1178563" y="4954086"/>
                  <a:pt x="1181652" y="4944787"/>
                </a:cubicBezTo>
                <a:close/>
                <a:moveTo>
                  <a:pt x="1230039" y="4943624"/>
                </a:moveTo>
                <a:cubicBezTo>
                  <a:pt x="1235185" y="4944787"/>
                  <a:pt x="1233127" y="4959900"/>
                  <a:pt x="1224891" y="4976175"/>
                </a:cubicBezTo>
                <a:cubicBezTo>
                  <a:pt x="1212537" y="4987800"/>
                  <a:pt x="1226950" y="4961062"/>
                  <a:pt x="1230039" y="4955248"/>
                </a:cubicBezTo>
                <a:cubicBezTo>
                  <a:pt x="1229009" y="4951761"/>
                  <a:pt x="1208419" y="4966874"/>
                  <a:pt x="1221802" y="4949436"/>
                </a:cubicBezTo>
                <a:cubicBezTo>
                  <a:pt x="1219744" y="4952925"/>
                  <a:pt x="1232096" y="4944787"/>
                  <a:pt x="1230039" y="4943624"/>
                </a:cubicBezTo>
                <a:close/>
                <a:moveTo>
                  <a:pt x="858384" y="4941299"/>
                </a:moveTo>
                <a:cubicBezTo>
                  <a:pt x="861473" y="4943624"/>
                  <a:pt x="863533" y="4945949"/>
                  <a:pt x="866620" y="4947111"/>
                </a:cubicBezTo>
                <a:cubicBezTo>
                  <a:pt x="864563" y="4950599"/>
                  <a:pt x="863533" y="4952925"/>
                  <a:pt x="861473" y="4956412"/>
                </a:cubicBezTo>
                <a:cubicBezTo>
                  <a:pt x="858384" y="4954086"/>
                  <a:pt x="856326" y="4952925"/>
                  <a:pt x="853237" y="4950599"/>
                </a:cubicBezTo>
                <a:cubicBezTo>
                  <a:pt x="855296" y="4947111"/>
                  <a:pt x="856326" y="4944787"/>
                  <a:pt x="858384" y="4941299"/>
                </a:cubicBezTo>
                <a:close/>
                <a:moveTo>
                  <a:pt x="813086" y="4938973"/>
                </a:moveTo>
                <a:cubicBezTo>
                  <a:pt x="817204" y="4943624"/>
                  <a:pt x="812057" y="4950599"/>
                  <a:pt x="807939" y="4948274"/>
                </a:cubicBezTo>
                <a:cubicBezTo>
                  <a:pt x="809997" y="4957574"/>
                  <a:pt x="803821" y="4968037"/>
                  <a:pt x="797644" y="4978500"/>
                </a:cubicBezTo>
                <a:lnTo>
                  <a:pt x="793532" y="4971326"/>
                </a:lnTo>
                <a:lnTo>
                  <a:pt x="797336" y="4956900"/>
                </a:lnTo>
                <a:close/>
                <a:moveTo>
                  <a:pt x="1210478" y="4929673"/>
                </a:moveTo>
                <a:cubicBezTo>
                  <a:pt x="1215626" y="4947111"/>
                  <a:pt x="1205330" y="4962225"/>
                  <a:pt x="1199153" y="4983150"/>
                </a:cubicBezTo>
                <a:cubicBezTo>
                  <a:pt x="1194006" y="4998262"/>
                  <a:pt x="1183711" y="5035464"/>
                  <a:pt x="1167239" y="5059877"/>
                </a:cubicBezTo>
                <a:cubicBezTo>
                  <a:pt x="1162090" y="5030813"/>
                  <a:pt x="1188858" y="5009888"/>
                  <a:pt x="1192976" y="4979662"/>
                </a:cubicBezTo>
                <a:cubicBezTo>
                  <a:pt x="1194006" y="4977337"/>
                  <a:pt x="1189887" y="4977337"/>
                  <a:pt x="1191946" y="4972687"/>
                </a:cubicBezTo>
                <a:cubicBezTo>
                  <a:pt x="1194006" y="4969200"/>
                  <a:pt x="1191946" y="4965712"/>
                  <a:pt x="1192976" y="4961062"/>
                </a:cubicBezTo>
                <a:cubicBezTo>
                  <a:pt x="1197095" y="4950599"/>
                  <a:pt x="1203271" y="4952925"/>
                  <a:pt x="1206359" y="4945949"/>
                </a:cubicBezTo>
                <a:cubicBezTo>
                  <a:pt x="1206359" y="4948274"/>
                  <a:pt x="1205330" y="4940135"/>
                  <a:pt x="1205330" y="4938973"/>
                </a:cubicBezTo>
                <a:cubicBezTo>
                  <a:pt x="1206359" y="4935486"/>
                  <a:pt x="1209448" y="4933161"/>
                  <a:pt x="1210478" y="4929673"/>
                </a:cubicBezTo>
                <a:close/>
                <a:moveTo>
                  <a:pt x="1259895" y="4915723"/>
                </a:moveTo>
                <a:cubicBezTo>
                  <a:pt x="1272248" y="4925024"/>
                  <a:pt x="1255777" y="4942461"/>
                  <a:pt x="1249599" y="4957574"/>
                </a:cubicBezTo>
                <a:cubicBezTo>
                  <a:pt x="1244452" y="4952925"/>
                  <a:pt x="1251658" y="4943624"/>
                  <a:pt x="1254746" y="4936649"/>
                </a:cubicBezTo>
                <a:cubicBezTo>
                  <a:pt x="1249599" y="4930835"/>
                  <a:pt x="1256806" y="4922698"/>
                  <a:pt x="1259895" y="4915723"/>
                </a:cubicBezTo>
                <a:close/>
                <a:moveTo>
                  <a:pt x="1022077" y="4904098"/>
                </a:moveTo>
                <a:cubicBezTo>
                  <a:pt x="1032372" y="4919211"/>
                  <a:pt x="1013841" y="4943624"/>
                  <a:pt x="1005604" y="4966874"/>
                </a:cubicBezTo>
                <a:cubicBezTo>
                  <a:pt x="1001488" y="4978500"/>
                  <a:pt x="1000458" y="4983150"/>
                  <a:pt x="993251" y="5001750"/>
                </a:cubicBezTo>
                <a:cubicBezTo>
                  <a:pt x="988104" y="5013375"/>
                  <a:pt x="988104" y="5029650"/>
                  <a:pt x="972661" y="5030813"/>
                </a:cubicBezTo>
                <a:cubicBezTo>
                  <a:pt x="982956" y="5044764"/>
                  <a:pt x="963395" y="5036626"/>
                  <a:pt x="961335" y="5041276"/>
                </a:cubicBezTo>
                <a:cubicBezTo>
                  <a:pt x="951040" y="5035464"/>
                  <a:pt x="962365" y="5007563"/>
                  <a:pt x="974719" y="5026164"/>
                </a:cubicBezTo>
                <a:cubicBezTo>
                  <a:pt x="977808" y="5013375"/>
                  <a:pt x="990162" y="4994776"/>
                  <a:pt x="992221" y="4983150"/>
                </a:cubicBezTo>
                <a:cubicBezTo>
                  <a:pt x="993251" y="4977337"/>
                  <a:pt x="987072" y="4973849"/>
                  <a:pt x="989132" y="4968037"/>
                </a:cubicBezTo>
                <a:cubicBezTo>
                  <a:pt x="994281" y="4956412"/>
                  <a:pt x="999428" y="4945949"/>
                  <a:pt x="1006634" y="4943624"/>
                </a:cubicBezTo>
                <a:cubicBezTo>
                  <a:pt x="1012812" y="4922698"/>
                  <a:pt x="1006634" y="4920373"/>
                  <a:pt x="1022077" y="4904098"/>
                </a:cubicBezTo>
                <a:close/>
                <a:moveTo>
                  <a:pt x="1252688" y="4878522"/>
                </a:moveTo>
                <a:cubicBezTo>
                  <a:pt x="1259895" y="4888984"/>
                  <a:pt x="1248569" y="4914560"/>
                  <a:pt x="1238275" y="4916886"/>
                </a:cubicBezTo>
                <a:cubicBezTo>
                  <a:pt x="1235185" y="4906423"/>
                  <a:pt x="1240334" y="4882010"/>
                  <a:pt x="1252688" y="4878522"/>
                </a:cubicBezTo>
                <a:close/>
                <a:moveTo>
                  <a:pt x="1287691" y="4873871"/>
                </a:moveTo>
                <a:cubicBezTo>
                  <a:pt x="1293868" y="4887822"/>
                  <a:pt x="1282544" y="4906423"/>
                  <a:pt x="1278425" y="4922698"/>
                </a:cubicBezTo>
                <a:cubicBezTo>
                  <a:pt x="1275338" y="4935486"/>
                  <a:pt x="1279455" y="4954086"/>
                  <a:pt x="1266071" y="4956412"/>
                </a:cubicBezTo>
                <a:cubicBezTo>
                  <a:pt x="1258865" y="4938973"/>
                  <a:pt x="1279455" y="4914560"/>
                  <a:pt x="1276367" y="4895959"/>
                </a:cubicBezTo>
                <a:cubicBezTo>
                  <a:pt x="1279455" y="4888984"/>
                  <a:pt x="1283572" y="4880847"/>
                  <a:pt x="1287691" y="4873871"/>
                </a:cubicBezTo>
                <a:close/>
                <a:moveTo>
                  <a:pt x="1206359" y="4865734"/>
                </a:moveTo>
                <a:cubicBezTo>
                  <a:pt x="1209448" y="4873871"/>
                  <a:pt x="1213566" y="4880847"/>
                  <a:pt x="1214596" y="4890148"/>
                </a:cubicBezTo>
                <a:cubicBezTo>
                  <a:pt x="1220772" y="4892472"/>
                  <a:pt x="1223862" y="4880847"/>
                  <a:pt x="1227979" y="4875035"/>
                </a:cubicBezTo>
                <a:cubicBezTo>
                  <a:pt x="1243422" y="4862246"/>
                  <a:pt x="1218713" y="4891310"/>
                  <a:pt x="1229009" y="4893636"/>
                </a:cubicBezTo>
                <a:cubicBezTo>
                  <a:pt x="1221802" y="4902936"/>
                  <a:pt x="1231069" y="4907585"/>
                  <a:pt x="1220772" y="4919211"/>
                </a:cubicBezTo>
                <a:cubicBezTo>
                  <a:pt x="1218713" y="4913398"/>
                  <a:pt x="1218713" y="4907585"/>
                  <a:pt x="1219744" y="4900610"/>
                </a:cubicBezTo>
                <a:cubicBezTo>
                  <a:pt x="1213566" y="4898285"/>
                  <a:pt x="1210478" y="4909911"/>
                  <a:pt x="1206359" y="4915723"/>
                </a:cubicBezTo>
                <a:cubicBezTo>
                  <a:pt x="1194006" y="4911073"/>
                  <a:pt x="1204301" y="4894797"/>
                  <a:pt x="1204301" y="4888984"/>
                </a:cubicBezTo>
                <a:cubicBezTo>
                  <a:pt x="1205330" y="4880847"/>
                  <a:pt x="1196064" y="4871547"/>
                  <a:pt x="1206359" y="4865734"/>
                </a:cubicBezTo>
                <a:close/>
                <a:moveTo>
                  <a:pt x="1022077" y="4854108"/>
                </a:moveTo>
                <a:cubicBezTo>
                  <a:pt x="1035460" y="4865734"/>
                  <a:pt x="1007664" y="4888984"/>
                  <a:pt x="1018988" y="4901773"/>
                </a:cubicBezTo>
                <a:cubicBezTo>
                  <a:pt x="1010752" y="4904098"/>
                  <a:pt x="996339" y="4894797"/>
                  <a:pt x="1007664" y="4912235"/>
                </a:cubicBezTo>
                <a:cubicBezTo>
                  <a:pt x="992221" y="4920373"/>
                  <a:pt x="999428" y="4899448"/>
                  <a:pt x="1000458" y="4894797"/>
                </a:cubicBezTo>
                <a:cubicBezTo>
                  <a:pt x="999428" y="4898285"/>
                  <a:pt x="1007664" y="4891310"/>
                  <a:pt x="1008694" y="4888984"/>
                </a:cubicBezTo>
                <a:cubicBezTo>
                  <a:pt x="1013841" y="4877360"/>
                  <a:pt x="1013841" y="4857596"/>
                  <a:pt x="1022077" y="4854108"/>
                </a:cubicBezTo>
                <a:close/>
                <a:moveTo>
                  <a:pt x="1264012" y="4836670"/>
                </a:moveTo>
                <a:cubicBezTo>
                  <a:pt x="1266071" y="4848296"/>
                  <a:pt x="1262982" y="4861084"/>
                  <a:pt x="1255777" y="4873871"/>
                </a:cubicBezTo>
                <a:cubicBezTo>
                  <a:pt x="1236215" y="4859922"/>
                  <a:pt x="1256806" y="4850621"/>
                  <a:pt x="1264012" y="4836670"/>
                </a:cubicBezTo>
                <a:close/>
                <a:moveTo>
                  <a:pt x="1375731" y="4826324"/>
                </a:moveTo>
                <a:lnTo>
                  <a:pt x="1376228" y="4829695"/>
                </a:lnTo>
                <a:cubicBezTo>
                  <a:pt x="1375200" y="4830858"/>
                  <a:pt x="1374170" y="4833183"/>
                  <a:pt x="1374170" y="4834346"/>
                </a:cubicBezTo>
                <a:cubicBezTo>
                  <a:pt x="1373140" y="4841321"/>
                  <a:pt x="1370051" y="4844809"/>
                  <a:pt x="1365934" y="4859922"/>
                </a:cubicBezTo>
                <a:cubicBezTo>
                  <a:pt x="1365934" y="4861084"/>
                  <a:pt x="1369023" y="4863409"/>
                  <a:pt x="1366964" y="4866897"/>
                </a:cubicBezTo>
                <a:cubicBezTo>
                  <a:pt x="1365934" y="4868060"/>
                  <a:pt x="1364904" y="4870385"/>
                  <a:pt x="1364904" y="4871547"/>
                </a:cubicBezTo>
                <a:lnTo>
                  <a:pt x="1362390" y="4882515"/>
                </a:lnTo>
                <a:lnTo>
                  <a:pt x="1358727" y="4893636"/>
                </a:lnTo>
                <a:lnTo>
                  <a:pt x="1355632" y="4909614"/>
                </a:lnTo>
                <a:lnTo>
                  <a:pt x="1348433" y="4934324"/>
                </a:lnTo>
                <a:cubicBezTo>
                  <a:pt x="1345344" y="4944787"/>
                  <a:pt x="1339166" y="4957574"/>
                  <a:pt x="1336078" y="4969200"/>
                </a:cubicBezTo>
                <a:cubicBezTo>
                  <a:pt x="1334019" y="4977337"/>
                  <a:pt x="1329901" y="4985475"/>
                  <a:pt x="1327842" y="4994776"/>
                </a:cubicBezTo>
                <a:cubicBezTo>
                  <a:pt x="1327842" y="4995938"/>
                  <a:pt x="1330931" y="4997100"/>
                  <a:pt x="1328871" y="5001750"/>
                </a:cubicBezTo>
                <a:cubicBezTo>
                  <a:pt x="1327842" y="5002914"/>
                  <a:pt x="1326812" y="5005237"/>
                  <a:pt x="1326812" y="5006401"/>
                </a:cubicBezTo>
                <a:cubicBezTo>
                  <a:pt x="1325783" y="5014538"/>
                  <a:pt x="1318577" y="5022676"/>
                  <a:pt x="1314458" y="5041276"/>
                </a:cubicBezTo>
                <a:lnTo>
                  <a:pt x="1304779" y="5074917"/>
                </a:lnTo>
                <a:lnTo>
                  <a:pt x="1304550" y="5074989"/>
                </a:lnTo>
                <a:cubicBezTo>
                  <a:pt x="1302619" y="5076152"/>
                  <a:pt x="1300559" y="5077896"/>
                  <a:pt x="1300045" y="5079640"/>
                </a:cubicBezTo>
                <a:cubicBezTo>
                  <a:pt x="1299531" y="5079640"/>
                  <a:pt x="1300302" y="5080512"/>
                  <a:pt x="1300946" y="5081820"/>
                </a:cubicBezTo>
                <a:lnTo>
                  <a:pt x="1301069" y="5086404"/>
                </a:lnTo>
                <a:lnTo>
                  <a:pt x="1300859" y="5087048"/>
                </a:lnTo>
                <a:lnTo>
                  <a:pt x="1291810" y="5105215"/>
                </a:lnTo>
                <a:lnTo>
                  <a:pt x="1283781" y="5132054"/>
                </a:lnTo>
                <a:lnTo>
                  <a:pt x="1281514" y="5136604"/>
                </a:lnTo>
                <a:lnTo>
                  <a:pt x="1281134" y="5140901"/>
                </a:lnTo>
                <a:lnTo>
                  <a:pt x="1277017" y="5154661"/>
                </a:lnTo>
                <a:lnTo>
                  <a:pt x="1266071" y="5174967"/>
                </a:lnTo>
                <a:lnTo>
                  <a:pt x="1262687" y="5197894"/>
                </a:lnTo>
                <a:lnTo>
                  <a:pt x="1252087" y="5228222"/>
                </a:lnTo>
                <a:lnTo>
                  <a:pt x="1242393" y="5250531"/>
                </a:lnTo>
                <a:lnTo>
                  <a:pt x="1237131" y="5266594"/>
                </a:lnTo>
                <a:lnTo>
                  <a:pt x="1227979" y="5288896"/>
                </a:lnTo>
                <a:lnTo>
                  <a:pt x="1219203" y="5321329"/>
                </a:lnTo>
                <a:lnTo>
                  <a:pt x="1215094" y="5333874"/>
                </a:lnTo>
                <a:lnTo>
                  <a:pt x="1203528" y="5357048"/>
                </a:lnTo>
                <a:lnTo>
                  <a:pt x="1201901" y="5361356"/>
                </a:lnTo>
                <a:lnTo>
                  <a:pt x="1201212" y="5362135"/>
                </a:lnTo>
                <a:lnTo>
                  <a:pt x="1201460" y="5362523"/>
                </a:lnTo>
                <a:lnTo>
                  <a:pt x="1191946" y="5387710"/>
                </a:lnTo>
                <a:lnTo>
                  <a:pt x="1189078" y="5399368"/>
                </a:lnTo>
                <a:lnTo>
                  <a:pt x="1173415" y="5435374"/>
                </a:lnTo>
                <a:cubicBezTo>
                  <a:pt x="1173415" y="5435374"/>
                  <a:pt x="1175474" y="5440025"/>
                  <a:pt x="1174445" y="5442350"/>
                </a:cubicBezTo>
                <a:cubicBezTo>
                  <a:pt x="1173415" y="5445837"/>
                  <a:pt x="1170326" y="5448162"/>
                  <a:pt x="1169297" y="5451649"/>
                </a:cubicBezTo>
                <a:cubicBezTo>
                  <a:pt x="1167753" y="5457461"/>
                  <a:pt x="1166465" y="5461531"/>
                  <a:pt x="1164664" y="5466472"/>
                </a:cubicBezTo>
                <a:lnTo>
                  <a:pt x="1163235" y="5470183"/>
                </a:lnTo>
                <a:lnTo>
                  <a:pt x="1147678" y="5505126"/>
                </a:lnTo>
                <a:lnTo>
                  <a:pt x="1118190" y="5580802"/>
                </a:lnTo>
                <a:lnTo>
                  <a:pt x="1101350" y="5613241"/>
                </a:lnTo>
                <a:lnTo>
                  <a:pt x="1100549" y="5617459"/>
                </a:lnTo>
                <a:lnTo>
                  <a:pt x="1088996" y="5639543"/>
                </a:lnTo>
                <a:cubicBezTo>
                  <a:pt x="1080245" y="5655382"/>
                  <a:pt x="1071494" y="5671367"/>
                  <a:pt x="1064287" y="5687644"/>
                </a:cubicBezTo>
                <a:lnTo>
                  <a:pt x="1065277" y="5694351"/>
                </a:lnTo>
                <a:lnTo>
                  <a:pt x="1053991" y="5715545"/>
                </a:lnTo>
                <a:lnTo>
                  <a:pt x="1052573" y="5723019"/>
                </a:lnTo>
                <a:lnTo>
                  <a:pt x="1035188" y="5761764"/>
                </a:lnTo>
                <a:lnTo>
                  <a:pt x="1034431" y="5763208"/>
                </a:lnTo>
                <a:lnTo>
                  <a:pt x="1034013" y="5764384"/>
                </a:lnTo>
                <a:lnTo>
                  <a:pt x="1026195" y="5781809"/>
                </a:lnTo>
                <a:lnTo>
                  <a:pt x="1006294" y="5824559"/>
                </a:lnTo>
                <a:lnTo>
                  <a:pt x="994281" y="5839935"/>
                </a:lnTo>
                <a:cubicBezTo>
                  <a:pt x="993251" y="5841098"/>
                  <a:pt x="989132" y="5848073"/>
                  <a:pt x="989132" y="5849235"/>
                </a:cubicBezTo>
                <a:cubicBezTo>
                  <a:pt x="989132" y="5849816"/>
                  <a:pt x="991191" y="5850977"/>
                  <a:pt x="993251" y="5852141"/>
                </a:cubicBezTo>
                <a:lnTo>
                  <a:pt x="993405" y="5852249"/>
                </a:lnTo>
                <a:lnTo>
                  <a:pt x="983985" y="5872485"/>
                </a:lnTo>
                <a:lnTo>
                  <a:pt x="983041" y="5874293"/>
                </a:lnTo>
                <a:lnTo>
                  <a:pt x="979866" y="5879461"/>
                </a:lnTo>
                <a:lnTo>
                  <a:pt x="979679" y="5880730"/>
                </a:lnTo>
                <a:lnTo>
                  <a:pt x="960306" y="5917825"/>
                </a:lnTo>
                <a:lnTo>
                  <a:pt x="946776" y="5951079"/>
                </a:lnTo>
                <a:lnTo>
                  <a:pt x="941003" y="5961855"/>
                </a:lnTo>
                <a:lnTo>
                  <a:pt x="937380" y="5969005"/>
                </a:lnTo>
                <a:lnTo>
                  <a:pt x="915007" y="6002688"/>
                </a:lnTo>
                <a:cubicBezTo>
                  <a:pt x="902653" y="6025939"/>
                  <a:pt x="896476" y="6056165"/>
                  <a:pt x="876916" y="6086392"/>
                </a:cubicBezTo>
                <a:cubicBezTo>
                  <a:pt x="874857" y="6089879"/>
                  <a:pt x="869709" y="6110804"/>
                  <a:pt x="859415" y="6094529"/>
                </a:cubicBezTo>
                <a:cubicBezTo>
                  <a:pt x="872798" y="6066628"/>
                  <a:pt x="888240" y="6039890"/>
                  <a:pt x="901624" y="6013151"/>
                </a:cubicBezTo>
                <a:cubicBezTo>
                  <a:pt x="902653" y="6011990"/>
                  <a:pt x="898535" y="6005014"/>
                  <a:pt x="902653" y="6001527"/>
                </a:cubicBezTo>
                <a:cubicBezTo>
                  <a:pt x="903683" y="6000364"/>
                  <a:pt x="905742" y="6005014"/>
                  <a:pt x="908832" y="6000364"/>
                </a:cubicBezTo>
                <a:cubicBezTo>
                  <a:pt x="911919" y="5995714"/>
                  <a:pt x="906772" y="5995714"/>
                  <a:pt x="907801" y="5993389"/>
                </a:cubicBezTo>
                <a:cubicBezTo>
                  <a:pt x="909860" y="5988740"/>
                  <a:pt x="913978" y="5993389"/>
                  <a:pt x="913978" y="5992227"/>
                </a:cubicBezTo>
                <a:cubicBezTo>
                  <a:pt x="920156" y="5978276"/>
                  <a:pt x="922215" y="5964326"/>
                  <a:pt x="928391" y="5952700"/>
                </a:cubicBezTo>
                <a:cubicBezTo>
                  <a:pt x="932509" y="5942238"/>
                  <a:pt x="941776" y="5945726"/>
                  <a:pt x="945893" y="5928287"/>
                </a:cubicBezTo>
                <a:cubicBezTo>
                  <a:pt x="946922" y="5925963"/>
                  <a:pt x="944864" y="5920149"/>
                  <a:pt x="944864" y="5921312"/>
                </a:cubicBezTo>
                <a:cubicBezTo>
                  <a:pt x="955159" y="5901549"/>
                  <a:pt x="968542" y="5882949"/>
                  <a:pt x="977808" y="5858535"/>
                </a:cubicBezTo>
                <a:cubicBezTo>
                  <a:pt x="979866" y="5851560"/>
                  <a:pt x="977808" y="5846909"/>
                  <a:pt x="980897" y="5842260"/>
                </a:cubicBezTo>
                <a:cubicBezTo>
                  <a:pt x="987072" y="5830634"/>
                  <a:pt x="996339" y="5824822"/>
                  <a:pt x="1001488" y="5813197"/>
                </a:cubicBezTo>
                <a:cubicBezTo>
                  <a:pt x="1007664" y="5796921"/>
                  <a:pt x="1009722" y="5777159"/>
                  <a:pt x="1016930" y="5762046"/>
                </a:cubicBezTo>
                <a:cubicBezTo>
                  <a:pt x="1025165" y="5746932"/>
                  <a:pt x="1037520" y="5735307"/>
                  <a:pt x="1044727" y="5720194"/>
                </a:cubicBezTo>
                <a:cubicBezTo>
                  <a:pt x="1048844" y="5709732"/>
                  <a:pt x="1053991" y="5698106"/>
                  <a:pt x="1059139" y="5680668"/>
                </a:cubicBezTo>
                <a:cubicBezTo>
                  <a:pt x="1061198" y="5676019"/>
                  <a:pt x="1057081" y="5664393"/>
                  <a:pt x="1061198" y="5657418"/>
                </a:cubicBezTo>
                <a:cubicBezTo>
                  <a:pt x="1061198" y="5658580"/>
                  <a:pt x="1065316" y="5658580"/>
                  <a:pt x="1067375" y="5656255"/>
                </a:cubicBezTo>
                <a:cubicBezTo>
                  <a:pt x="1069434" y="5652767"/>
                  <a:pt x="1079729" y="5635329"/>
                  <a:pt x="1083847" y="5624865"/>
                </a:cubicBezTo>
                <a:cubicBezTo>
                  <a:pt x="1085907" y="5621378"/>
                  <a:pt x="1083847" y="5617891"/>
                  <a:pt x="1084877" y="5613241"/>
                </a:cubicBezTo>
                <a:cubicBezTo>
                  <a:pt x="1086937" y="5607428"/>
                  <a:pt x="1090025" y="5603941"/>
                  <a:pt x="1092084" y="5599292"/>
                </a:cubicBezTo>
                <a:cubicBezTo>
                  <a:pt x="1093114" y="5599292"/>
                  <a:pt x="1088996" y="5595803"/>
                  <a:pt x="1091054" y="5592315"/>
                </a:cubicBezTo>
                <a:cubicBezTo>
                  <a:pt x="1095171" y="5585340"/>
                  <a:pt x="1100320" y="5587666"/>
                  <a:pt x="1102379" y="5581853"/>
                </a:cubicBezTo>
                <a:cubicBezTo>
                  <a:pt x="1108557" y="5564415"/>
                  <a:pt x="1110614" y="5545814"/>
                  <a:pt x="1117821" y="5530702"/>
                </a:cubicBezTo>
                <a:cubicBezTo>
                  <a:pt x="1123998" y="5516751"/>
                  <a:pt x="1135323" y="5505126"/>
                  <a:pt x="1142530" y="5492339"/>
                </a:cubicBezTo>
                <a:cubicBezTo>
                  <a:pt x="1143559" y="5491175"/>
                  <a:pt x="1147678" y="5484200"/>
                  <a:pt x="1147678" y="5483039"/>
                </a:cubicBezTo>
                <a:cubicBezTo>
                  <a:pt x="1147678" y="5483039"/>
                  <a:pt x="1143559" y="5480713"/>
                  <a:pt x="1143559" y="5480713"/>
                </a:cubicBezTo>
                <a:cubicBezTo>
                  <a:pt x="1144589" y="5478388"/>
                  <a:pt x="1149737" y="5478388"/>
                  <a:pt x="1149737" y="5479550"/>
                </a:cubicBezTo>
                <a:cubicBezTo>
                  <a:pt x="1152826" y="5470250"/>
                  <a:pt x="1159002" y="5445837"/>
                  <a:pt x="1165179" y="5428399"/>
                </a:cubicBezTo>
                <a:cubicBezTo>
                  <a:pt x="1168269" y="5421424"/>
                  <a:pt x="1173415" y="5414449"/>
                  <a:pt x="1176503" y="5406311"/>
                </a:cubicBezTo>
                <a:cubicBezTo>
                  <a:pt x="1180622" y="5393523"/>
                  <a:pt x="1184740" y="5376084"/>
                  <a:pt x="1191946" y="5355160"/>
                </a:cubicBezTo>
                <a:cubicBezTo>
                  <a:pt x="1205330" y="5320284"/>
                  <a:pt x="1221802" y="5286570"/>
                  <a:pt x="1232096" y="5247044"/>
                </a:cubicBezTo>
                <a:cubicBezTo>
                  <a:pt x="1235185" y="5235419"/>
                  <a:pt x="1235185" y="5223793"/>
                  <a:pt x="1238275" y="5214493"/>
                </a:cubicBezTo>
                <a:cubicBezTo>
                  <a:pt x="1244452" y="5199380"/>
                  <a:pt x="1255777" y="5184267"/>
                  <a:pt x="1261952" y="5169154"/>
                </a:cubicBezTo>
                <a:cubicBezTo>
                  <a:pt x="1267101" y="5155205"/>
                  <a:pt x="1270189" y="5141254"/>
                  <a:pt x="1273278" y="5127304"/>
                </a:cubicBezTo>
                <a:cubicBezTo>
                  <a:pt x="1278425" y="5109866"/>
                  <a:pt x="1279455" y="5092428"/>
                  <a:pt x="1291810" y="5071502"/>
                </a:cubicBezTo>
                <a:cubicBezTo>
                  <a:pt x="1293868" y="5068014"/>
                  <a:pt x="1294897" y="5064526"/>
                  <a:pt x="1296957" y="5062202"/>
                </a:cubicBezTo>
                <a:cubicBezTo>
                  <a:pt x="1297986" y="5061040"/>
                  <a:pt x="1304163" y="5058714"/>
                  <a:pt x="1303134" y="5061040"/>
                </a:cubicBezTo>
                <a:cubicBezTo>
                  <a:pt x="1307252" y="5052901"/>
                  <a:pt x="1304163" y="5042439"/>
                  <a:pt x="1307252" y="5033138"/>
                </a:cubicBezTo>
                <a:cubicBezTo>
                  <a:pt x="1321665" y="4997100"/>
                  <a:pt x="1344314" y="4957574"/>
                  <a:pt x="1343284" y="4922698"/>
                </a:cubicBezTo>
                <a:cubicBezTo>
                  <a:pt x="1343284" y="4920373"/>
                  <a:pt x="1348433" y="4906423"/>
                  <a:pt x="1345344" y="4899448"/>
                </a:cubicBezTo>
                <a:cubicBezTo>
                  <a:pt x="1358727" y="4891310"/>
                  <a:pt x="1357697" y="4871547"/>
                  <a:pt x="1362845" y="4856434"/>
                </a:cubicBezTo>
                <a:cubicBezTo>
                  <a:pt x="1365419" y="4849459"/>
                  <a:pt x="1369280" y="4841611"/>
                  <a:pt x="1373012" y="4833473"/>
                </a:cubicBezTo>
                <a:close/>
                <a:moveTo>
                  <a:pt x="1384706" y="4796651"/>
                </a:moveTo>
                <a:lnTo>
                  <a:pt x="1382407" y="4808771"/>
                </a:lnTo>
                <a:lnTo>
                  <a:pt x="1375731" y="4826324"/>
                </a:lnTo>
                <a:lnTo>
                  <a:pt x="1375200" y="4822720"/>
                </a:lnTo>
                <a:close/>
                <a:moveTo>
                  <a:pt x="859415" y="4786682"/>
                </a:moveTo>
                <a:cubicBezTo>
                  <a:pt x="874857" y="4795982"/>
                  <a:pt x="858384" y="4816908"/>
                  <a:pt x="852207" y="4830858"/>
                </a:cubicBezTo>
                <a:cubicBezTo>
                  <a:pt x="841913" y="4855271"/>
                  <a:pt x="829558" y="4906423"/>
                  <a:pt x="814116" y="4935486"/>
                </a:cubicBezTo>
                <a:cubicBezTo>
                  <a:pt x="807939" y="4913398"/>
                  <a:pt x="824410" y="4890148"/>
                  <a:pt x="837794" y="4858760"/>
                </a:cubicBezTo>
                <a:cubicBezTo>
                  <a:pt x="850149" y="4832021"/>
                  <a:pt x="852207" y="4807607"/>
                  <a:pt x="859415" y="4786682"/>
                </a:cubicBezTo>
                <a:close/>
                <a:moveTo>
                  <a:pt x="913978" y="4783195"/>
                </a:moveTo>
                <a:cubicBezTo>
                  <a:pt x="918096" y="4809933"/>
                  <a:pt x="896476" y="4844809"/>
                  <a:pt x="887210" y="4876197"/>
                </a:cubicBezTo>
                <a:cubicBezTo>
                  <a:pt x="884122" y="4861084"/>
                  <a:pt x="885152" y="4844809"/>
                  <a:pt x="898535" y="4834346"/>
                </a:cubicBezTo>
                <a:cubicBezTo>
                  <a:pt x="903683" y="4816908"/>
                  <a:pt x="899565" y="4802957"/>
                  <a:pt x="913978" y="4783195"/>
                </a:cubicBezTo>
                <a:close/>
                <a:moveTo>
                  <a:pt x="1239979" y="4764939"/>
                </a:moveTo>
                <a:cubicBezTo>
                  <a:pt x="1241813" y="4764594"/>
                  <a:pt x="1243937" y="4765757"/>
                  <a:pt x="1246511" y="4769245"/>
                </a:cubicBezTo>
                <a:cubicBezTo>
                  <a:pt x="1243422" y="4777383"/>
                  <a:pt x="1238275" y="4773895"/>
                  <a:pt x="1235185" y="4779706"/>
                </a:cubicBezTo>
                <a:cubicBezTo>
                  <a:pt x="1234156" y="4783195"/>
                  <a:pt x="1229009" y="4798307"/>
                  <a:pt x="1230039" y="4800633"/>
                </a:cubicBezTo>
                <a:cubicBezTo>
                  <a:pt x="1233127" y="4812259"/>
                  <a:pt x="1216654" y="4826208"/>
                  <a:pt x="1224891" y="4840159"/>
                </a:cubicBezTo>
                <a:cubicBezTo>
                  <a:pt x="1221802" y="4850621"/>
                  <a:pt x="1216654" y="4850621"/>
                  <a:pt x="1212537" y="4856434"/>
                </a:cubicBezTo>
                <a:cubicBezTo>
                  <a:pt x="1207389" y="4851784"/>
                  <a:pt x="1217684" y="4842483"/>
                  <a:pt x="1211507" y="4837833"/>
                </a:cubicBezTo>
                <a:cubicBezTo>
                  <a:pt x="1221802" y="4819232"/>
                  <a:pt x="1223862" y="4802957"/>
                  <a:pt x="1226950" y="4786682"/>
                </a:cubicBezTo>
                <a:cubicBezTo>
                  <a:pt x="1231583" y="4780578"/>
                  <a:pt x="1234478" y="4765975"/>
                  <a:pt x="1239979" y="4764939"/>
                </a:cubicBezTo>
                <a:close/>
                <a:moveTo>
                  <a:pt x="1262982" y="4756456"/>
                </a:moveTo>
                <a:cubicBezTo>
                  <a:pt x="1267101" y="4758782"/>
                  <a:pt x="1262982" y="4763431"/>
                  <a:pt x="1261952" y="4768082"/>
                </a:cubicBezTo>
                <a:cubicBezTo>
                  <a:pt x="1260925" y="4773895"/>
                  <a:pt x="1260925" y="4777383"/>
                  <a:pt x="1258865" y="4784357"/>
                </a:cubicBezTo>
                <a:cubicBezTo>
                  <a:pt x="1256806" y="4794820"/>
                  <a:pt x="1245482" y="4833183"/>
                  <a:pt x="1238275" y="4855271"/>
                </a:cubicBezTo>
                <a:cubicBezTo>
                  <a:pt x="1229009" y="4840159"/>
                  <a:pt x="1243422" y="4814582"/>
                  <a:pt x="1248569" y="4794820"/>
                </a:cubicBezTo>
                <a:cubicBezTo>
                  <a:pt x="1252688" y="4779706"/>
                  <a:pt x="1249599" y="4759944"/>
                  <a:pt x="1262982" y="4756456"/>
                </a:cubicBezTo>
                <a:close/>
                <a:moveTo>
                  <a:pt x="1304163" y="4748318"/>
                </a:moveTo>
                <a:cubicBezTo>
                  <a:pt x="1310340" y="4757619"/>
                  <a:pt x="1308281" y="4768082"/>
                  <a:pt x="1304163" y="4779706"/>
                </a:cubicBezTo>
                <a:cubicBezTo>
                  <a:pt x="1299015" y="4770406"/>
                  <a:pt x="1294897" y="4761105"/>
                  <a:pt x="1304163" y="4748318"/>
                </a:cubicBezTo>
                <a:close/>
                <a:moveTo>
                  <a:pt x="1325783" y="4737856"/>
                </a:moveTo>
                <a:cubicBezTo>
                  <a:pt x="1330931" y="4745994"/>
                  <a:pt x="1325783" y="4762269"/>
                  <a:pt x="1323724" y="4773895"/>
                </a:cubicBezTo>
                <a:cubicBezTo>
                  <a:pt x="1322695" y="4776219"/>
                  <a:pt x="1317547" y="4780870"/>
                  <a:pt x="1318577" y="4783195"/>
                </a:cubicBezTo>
                <a:cubicBezTo>
                  <a:pt x="1319606" y="4786682"/>
                  <a:pt x="1317547" y="4800633"/>
                  <a:pt x="1308281" y="4812259"/>
                </a:cubicBezTo>
                <a:cubicBezTo>
                  <a:pt x="1297986" y="4802957"/>
                  <a:pt x="1310340" y="4793658"/>
                  <a:pt x="1312400" y="4784357"/>
                </a:cubicBezTo>
                <a:cubicBezTo>
                  <a:pt x="1315488" y="4770406"/>
                  <a:pt x="1313428" y="4751807"/>
                  <a:pt x="1325783" y="4737856"/>
                </a:cubicBezTo>
                <a:close/>
                <a:moveTo>
                  <a:pt x="880166" y="4733841"/>
                </a:moveTo>
                <a:cubicBezTo>
                  <a:pt x="880906" y="4734659"/>
                  <a:pt x="880262" y="4737564"/>
                  <a:pt x="876916" y="4743668"/>
                </a:cubicBezTo>
                <a:cubicBezTo>
                  <a:pt x="874857" y="4747156"/>
                  <a:pt x="873827" y="4749482"/>
                  <a:pt x="871768" y="4752969"/>
                </a:cubicBezTo>
                <a:cubicBezTo>
                  <a:pt x="863275" y="4747737"/>
                  <a:pt x="877946" y="4731390"/>
                  <a:pt x="880166" y="4733841"/>
                </a:cubicBezTo>
                <a:close/>
                <a:moveTo>
                  <a:pt x="926333" y="4729717"/>
                </a:moveTo>
                <a:cubicBezTo>
                  <a:pt x="929421" y="4737856"/>
                  <a:pt x="924273" y="4748318"/>
                  <a:pt x="922215" y="4757619"/>
                </a:cubicBezTo>
                <a:cubicBezTo>
                  <a:pt x="913978" y="4750644"/>
                  <a:pt x="920156" y="4740181"/>
                  <a:pt x="926333" y="4729717"/>
                </a:cubicBezTo>
                <a:close/>
                <a:moveTo>
                  <a:pt x="1267101" y="4727393"/>
                </a:moveTo>
                <a:cubicBezTo>
                  <a:pt x="1276367" y="4732043"/>
                  <a:pt x="1271219" y="4740181"/>
                  <a:pt x="1268130" y="4745994"/>
                </a:cubicBezTo>
                <a:cubicBezTo>
                  <a:pt x="1264012" y="4741343"/>
                  <a:pt x="1262982" y="4735531"/>
                  <a:pt x="1267101" y="4727393"/>
                </a:cubicBezTo>
                <a:close/>
                <a:moveTo>
                  <a:pt x="1314458" y="4718093"/>
                </a:moveTo>
                <a:cubicBezTo>
                  <a:pt x="1322695" y="4725068"/>
                  <a:pt x="1316518" y="4735531"/>
                  <a:pt x="1310340" y="4745994"/>
                </a:cubicBezTo>
                <a:cubicBezTo>
                  <a:pt x="1306222" y="4737856"/>
                  <a:pt x="1308281" y="4728555"/>
                  <a:pt x="1314458" y="4718093"/>
                </a:cubicBezTo>
                <a:close/>
                <a:moveTo>
                  <a:pt x="1297986" y="4700655"/>
                </a:moveTo>
                <a:cubicBezTo>
                  <a:pt x="1305194" y="4715768"/>
                  <a:pt x="1291810" y="4737856"/>
                  <a:pt x="1283572" y="4758782"/>
                </a:cubicBezTo>
                <a:cubicBezTo>
                  <a:pt x="1276367" y="4742507"/>
                  <a:pt x="1287691" y="4721580"/>
                  <a:pt x="1297986" y="4700655"/>
                </a:cubicBezTo>
                <a:close/>
                <a:moveTo>
                  <a:pt x="905806" y="4693262"/>
                </a:moveTo>
                <a:cubicBezTo>
                  <a:pt x="906386" y="4699855"/>
                  <a:pt x="900595" y="4723614"/>
                  <a:pt x="900595" y="4729717"/>
                </a:cubicBezTo>
                <a:cubicBezTo>
                  <a:pt x="886182" y="4721580"/>
                  <a:pt x="903683" y="4705305"/>
                  <a:pt x="902653" y="4693680"/>
                </a:cubicBezTo>
                <a:cubicBezTo>
                  <a:pt x="904713" y="4690773"/>
                  <a:pt x="905613" y="4691064"/>
                  <a:pt x="905806" y="4693262"/>
                </a:cubicBezTo>
                <a:close/>
                <a:moveTo>
                  <a:pt x="890300" y="4685541"/>
                </a:moveTo>
                <a:cubicBezTo>
                  <a:pt x="893389" y="4694841"/>
                  <a:pt x="890300" y="4706467"/>
                  <a:pt x="884122" y="4718093"/>
                </a:cubicBezTo>
                <a:cubicBezTo>
                  <a:pt x="878975" y="4708793"/>
                  <a:pt x="883093" y="4698329"/>
                  <a:pt x="890300" y="4685541"/>
                </a:cubicBezTo>
                <a:close/>
                <a:moveTo>
                  <a:pt x="1344314" y="4671591"/>
                </a:moveTo>
                <a:cubicBezTo>
                  <a:pt x="1351521" y="4696005"/>
                  <a:pt x="1324753" y="4678566"/>
                  <a:pt x="1344314" y="4671591"/>
                </a:cubicBezTo>
                <a:close/>
                <a:moveTo>
                  <a:pt x="870282" y="4644686"/>
                </a:moveTo>
                <a:lnTo>
                  <a:pt x="871640" y="4648197"/>
                </a:lnTo>
                <a:cubicBezTo>
                  <a:pt x="871254" y="4652119"/>
                  <a:pt x="869195" y="4656479"/>
                  <a:pt x="865590" y="4661130"/>
                </a:cubicBezTo>
                <a:lnTo>
                  <a:pt x="866724" y="4648340"/>
                </a:lnTo>
                <a:close/>
                <a:moveTo>
                  <a:pt x="1319606" y="4616953"/>
                </a:moveTo>
                <a:cubicBezTo>
                  <a:pt x="1323724" y="4636716"/>
                  <a:pt x="1315488" y="4661130"/>
                  <a:pt x="1311370" y="4685541"/>
                </a:cubicBezTo>
                <a:cubicBezTo>
                  <a:pt x="1295927" y="4676243"/>
                  <a:pt x="1311370" y="4659967"/>
                  <a:pt x="1313428" y="4649504"/>
                </a:cubicBezTo>
                <a:cubicBezTo>
                  <a:pt x="1315488" y="4637878"/>
                  <a:pt x="1312400" y="4623928"/>
                  <a:pt x="1319606" y="4616953"/>
                </a:cubicBezTo>
                <a:close/>
                <a:moveTo>
                  <a:pt x="938687" y="4583240"/>
                </a:moveTo>
                <a:cubicBezTo>
                  <a:pt x="942804" y="4612302"/>
                  <a:pt x="921185" y="4649504"/>
                  <a:pt x="912948" y="4682054"/>
                </a:cubicBezTo>
                <a:cubicBezTo>
                  <a:pt x="903683" y="4677405"/>
                  <a:pt x="913978" y="4666942"/>
                  <a:pt x="915007" y="4658804"/>
                </a:cubicBezTo>
                <a:cubicBezTo>
                  <a:pt x="916038" y="4652991"/>
                  <a:pt x="915007" y="4642529"/>
                  <a:pt x="917066" y="4635552"/>
                </a:cubicBezTo>
                <a:cubicBezTo>
                  <a:pt x="921185" y="4618116"/>
                  <a:pt x="932509" y="4601841"/>
                  <a:pt x="938687" y="4583240"/>
                </a:cubicBezTo>
                <a:close/>
                <a:moveTo>
                  <a:pt x="1264012" y="4561151"/>
                </a:moveTo>
                <a:cubicBezTo>
                  <a:pt x="1269160" y="4566965"/>
                  <a:pt x="1261952" y="4575102"/>
                  <a:pt x="1258865" y="4582077"/>
                </a:cubicBezTo>
                <a:cubicBezTo>
                  <a:pt x="1259895" y="4587889"/>
                  <a:pt x="1251658" y="4598353"/>
                  <a:pt x="1253717" y="4603002"/>
                </a:cubicBezTo>
                <a:cubicBezTo>
                  <a:pt x="1253717" y="4603002"/>
                  <a:pt x="1257835" y="4604164"/>
                  <a:pt x="1257835" y="4605327"/>
                </a:cubicBezTo>
                <a:cubicBezTo>
                  <a:pt x="1256806" y="4614628"/>
                  <a:pt x="1250628" y="4622765"/>
                  <a:pt x="1249599" y="4630903"/>
                </a:cubicBezTo>
                <a:cubicBezTo>
                  <a:pt x="1248569" y="4633229"/>
                  <a:pt x="1252688" y="4633229"/>
                  <a:pt x="1250628" y="4637878"/>
                </a:cubicBezTo>
                <a:cubicBezTo>
                  <a:pt x="1247539" y="4644853"/>
                  <a:pt x="1248569" y="4647178"/>
                  <a:pt x="1247539" y="4654153"/>
                </a:cubicBezTo>
                <a:cubicBezTo>
                  <a:pt x="1246511" y="4661130"/>
                  <a:pt x="1242393" y="4670429"/>
                  <a:pt x="1245482" y="4677405"/>
                </a:cubicBezTo>
                <a:cubicBezTo>
                  <a:pt x="1234156" y="4694841"/>
                  <a:pt x="1219744" y="4716930"/>
                  <a:pt x="1212537" y="4740181"/>
                </a:cubicBezTo>
                <a:cubicBezTo>
                  <a:pt x="1208419" y="4755294"/>
                  <a:pt x="1201212" y="4776219"/>
                  <a:pt x="1207389" y="4792496"/>
                </a:cubicBezTo>
                <a:cubicBezTo>
                  <a:pt x="1199153" y="4797145"/>
                  <a:pt x="1196064" y="4811096"/>
                  <a:pt x="1190916" y="4823883"/>
                </a:cubicBezTo>
                <a:cubicBezTo>
                  <a:pt x="1179592" y="4851784"/>
                  <a:pt x="1166209" y="4887822"/>
                  <a:pt x="1170326" y="4914560"/>
                </a:cubicBezTo>
                <a:cubicBezTo>
                  <a:pt x="1150766" y="4931998"/>
                  <a:pt x="1146647" y="4957574"/>
                  <a:pt x="1139440" y="4985475"/>
                </a:cubicBezTo>
                <a:cubicBezTo>
                  <a:pt x="1137383" y="4995938"/>
                  <a:pt x="1135323" y="4998262"/>
                  <a:pt x="1134294" y="5006401"/>
                </a:cubicBezTo>
                <a:cubicBezTo>
                  <a:pt x="1128116" y="5036626"/>
                  <a:pt x="1099290" y="5088940"/>
                  <a:pt x="1086937" y="5127304"/>
                </a:cubicBezTo>
                <a:cubicBezTo>
                  <a:pt x="1081788" y="5141254"/>
                  <a:pt x="1075613" y="5157529"/>
                  <a:pt x="1079729" y="5171480"/>
                </a:cubicBezTo>
                <a:cubicBezTo>
                  <a:pt x="1061198" y="5194731"/>
                  <a:pt x="1050903" y="5224956"/>
                  <a:pt x="1039579" y="5259832"/>
                </a:cubicBezTo>
                <a:cubicBezTo>
                  <a:pt x="1038549" y="5264483"/>
                  <a:pt x="1029284" y="5274944"/>
                  <a:pt x="1030314" y="5278432"/>
                </a:cubicBezTo>
                <a:cubicBezTo>
                  <a:pt x="1032372" y="5286570"/>
                  <a:pt x="1028254" y="5293545"/>
                  <a:pt x="1024136" y="5310984"/>
                </a:cubicBezTo>
                <a:cubicBezTo>
                  <a:pt x="1023106" y="5314472"/>
                  <a:pt x="1025165" y="5317959"/>
                  <a:pt x="1025165" y="5317959"/>
                </a:cubicBezTo>
                <a:cubicBezTo>
                  <a:pt x="1021047" y="5330747"/>
                  <a:pt x="1011782" y="5340047"/>
                  <a:pt x="1006634" y="5353997"/>
                </a:cubicBezTo>
                <a:cubicBezTo>
                  <a:pt x="1003547" y="5362135"/>
                  <a:pt x="1005604" y="5373761"/>
                  <a:pt x="1002515" y="5381898"/>
                </a:cubicBezTo>
                <a:cubicBezTo>
                  <a:pt x="999428" y="5390036"/>
                  <a:pt x="991191" y="5393523"/>
                  <a:pt x="987072" y="5401660"/>
                </a:cubicBezTo>
                <a:cubicBezTo>
                  <a:pt x="987072" y="5400498"/>
                  <a:pt x="989132" y="5406311"/>
                  <a:pt x="988104" y="5408636"/>
                </a:cubicBezTo>
                <a:cubicBezTo>
                  <a:pt x="983985" y="5417936"/>
                  <a:pt x="975749" y="5429561"/>
                  <a:pt x="969572" y="5444674"/>
                </a:cubicBezTo>
                <a:cubicBezTo>
                  <a:pt x="964425" y="5459788"/>
                  <a:pt x="965454" y="5474901"/>
                  <a:pt x="944864" y="5486526"/>
                </a:cubicBezTo>
                <a:cubicBezTo>
                  <a:pt x="940746" y="5484200"/>
                  <a:pt x="944864" y="5479550"/>
                  <a:pt x="945893" y="5474901"/>
                </a:cubicBezTo>
                <a:cubicBezTo>
                  <a:pt x="946922" y="5473737"/>
                  <a:pt x="945893" y="5466762"/>
                  <a:pt x="944864" y="5467925"/>
                </a:cubicBezTo>
                <a:cubicBezTo>
                  <a:pt x="948982" y="5460949"/>
                  <a:pt x="954129" y="5463275"/>
                  <a:pt x="956189" y="5457462"/>
                </a:cubicBezTo>
                <a:cubicBezTo>
                  <a:pt x="960306" y="5447000"/>
                  <a:pt x="962365" y="5442350"/>
                  <a:pt x="966483" y="5427237"/>
                </a:cubicBezTo>
                <a:cubicBezTo>
                  <a:pt x="969572" y="5414449"/>
                  <a:pt x="966483" y="5423748"/>
                  <a:pt x="975749" y="5408636"/>
                </a:cubicBezTo>
                <a:cubicBezTo>
                  <a:pt x="978838" y="5403986"/>
                  <a:pt x="980897" y="5399336"/>
                  <a:pt x="982956" y="5394685"/>
                </a:cubicBezTo>
                <a:cubicBezTo>
                  <a:pt x="1007664" y="5336559"/>
                  <a:pt x="1024136" y="5273782"/>
                  <a:pt x="1046785" y="5211006"/>
                </a:cubicBezTo>
                <a:cubicBezTo>
                  <a:pt x="1058110" y="5179618"/>
                  <a:pt x="1069434" y="5148229"/>
                  <a:pt x="1079729" y="5116841"/>
                </a:cubicBezTo>
                <a:cubicBezTo>
                  <a:pt x="1085907" y="5100566"/>
                  <a:pt x="1093114" y="5085453"/>
                  <a:pt x="1099290" y="5069178"/>
                </a:cubicBezTo>
                <a:cubicBezTo>
                  <a:pt x="1100320" y="5069178"/>
                  <a:pt x="1096202" y="5065689"/>
                  <a:pt x="1098260" y="5062202"/>
                </a:cubicBezTo>
                <a:cubicBezTo>
                  <a:pt x="1101350" y="5056388"/>
                  <a:pt x="1110614" y="5047088"/>
                  <a:pt x="1112674" y="5035464"/>
                </a:cubicBezTo>
                <a:cubicBezTo>
                  <a:pt x="1114733" y="5027326"/>
                  <a:pt x="1125029" y="4997100"/>
                  <a:pt x="1131205" y="4979662"/>
                </a:cubicBezTo>
                <a:cubicBezTo>
                  <a:pt x="1143559" y="4945949"/>
                  <a:pt x="1154883" y="4920373"/>
                  <a:pt x="1164150" y="4885497"/>
                </a:cubicBezTo>
                <a:cubicBezTo>
                  <a:pt x="1166209" y="4878522"/>
                  <a:pt x="1170326" y="4863409"/>
                  <a:pt x="1170326" y="4852947"/>
                </a:cubicBezTo>
                <a:cubicBezTo>
                  <a:pt x="1170326" y="4842483"/>
                  <a:pt x="1177533" y="4837833"/>
                  <a:pt x="1182681" y="4818071"/>
                </a:cubicBezTo>
                <a:cubicBezTo>
                  <a:pt x="1183711" y="4816908"/>
                  <a:pt x="1179592" y="4814582"/>
                  <a:pt x="1181652" y="4811096"/>
                </a:cubicBezTo>
                <a:cubicBezTo>
                  <a:pt x="1181652" y="4809933"/>
                  <a:pt x="1183711" y="4807607"/>
                  <a:pt x="1183711" y="4806445"/>
                </a:cubicBezTo>
                <a:cubicBezTo>
                  <a:pt x="1185769" y="4789007"/>
                  <a:pt x="1202241" y="4751807"/>
                  <a:pt x="1209448" y="4726231"/>
                </a:cubicBezTo>
                <a:cubicBezTo>
                  <a:pt x="1210478" y="4725068"/>
                  <a:pt x="1206359" y="4723906"/>
                  <a:pt x="1208419" y="4719256"/>
                </a:cubicBezTo>
                <a:cubicBezTo>
                  <a:pt x="1214596" y="4706467"/>
                  <a:pt x="1211507" y="4705305"/>
                  <a:pt x="1216654" y="4693680"/>
                </a:cubicBezTo>
                <a:cubicBezTo>
                  <a:pt x="1219744" y="4686704"/>
                  <a:pt x="1220772" y="4680892"/>
                  <a:pt x="1221802" y="4672754"/>
                </a:cubicBezTo>
                <a:cubicBezTo>
                  <a:pt x="1222832" y="4664617"/>
                  <a:pt x="1235185" y="4632065"/>
                  <a:pt x="1242393" y="4613465"/>
                </a:cubicBezTo>
                <a:cubicBezTo>
                  <a:pt x="1248569" y="4596027"/>
                  <a:pt x="1252688" y="4577426"/>
                  <a:pt x="1264012" y="4561151"/>
                </a:cubicBezTo>
                <a:close/>
                <a:moveTo>
                  <a:pt x="974591" y="4537173"/>
                </a:moveTo>
                <a:cubicBezTo>
                  <a:pt x="976007" y="4537319"/>
                  <a:pt x="976778" y="4539063"/>
                  <a:pt x="975749" y="4541389"/>
                </a:cubicBezTo>
                <a:cubicBezTo>
                  <a:pt x="969572" y="4559988"/>
                  <a:pt x="962365" y="4578589"/>
                  <a:pt x="958247" y="4596027"/>
                </a:cubicBezTo>
                <a:cubicBezTo>
                  <a:pt x="954129" y="4591377"/>
                  <a:pt x="960306" y="4584402"/>
                  <a:pt x="955159" y="4580914"/>
                </a:cubicBezTo>
                <a:cubicBezTo>
                  <a:pt x="964425" y="4566965"/>
                  <a:pt x="966483" y="4555339"/>
                  <a:pt x="969572" y="4542551"/>
                </a:cubicBezTo>
                <a:cubicBezTo>
                  <a:pt x="971116" y="4538482"/>
                  <a:pt x="973176" y="4537028"/>
                  <a:pt x="974591" y="4537173"/>
                </a:cubicBezTo>
                <a:close/>
                <a:moveTo>
                  <a:pt x="954001" y="4534848"/>
                </a:moveTo>
                <a:cubicBezTo>
                  <a:pt x="955416" y="4534993"/>
                  <a:pt x="956189" y="4536738"/>
                  <a:pt x="955159" y="4539063"/>
                </a:cubicBezTo>
                <a:cubicBezTo>
                  <a:pt x="951040" y="4554176"/>
                  <a:pt x="948982" y="4566965"/>
                  <a:pt x="943833" y="4579752"/>
                </a:cubicBezTo>
                <a:cubicBezTo>
                  <a:pt x="931480" y="4570452"/>
                  <a:pt x="953100" y="4551851"/>
                  <a:pt x="948982" y="4540226"/>
                </a:cubicBezTo>
                <a:cubicBezTo>
                  <a:pt x="950526" y="4536157"/>
                  <a:pt x="952585" y="4534703"/>
                  <a:pt x="954001" y="4534848"/>
                </a:cubicBezTo>
                <a:close/>
                <a:moveTo>
                  <a:pt x="1345344" y="4475124"/>
                </a:moveTo>
                <a:cubicBezTo>
                  <a:pt x="1349462" y="4490237"/>
                  <a:pt x="1326812" y="4515812"/>
                  <a:pt x="1335049" y="4535576"/>
                </a:cubicBezTo>
                <a:cubicBezTo>
                  <a:pt x="1318577" y="4572777"/>
                  <a:pt x="1308281" y="4609977"/>
                  <a:pt x="1299015" y="4646016"/>
                </a:cubicBezTo>
                <a:cubicBezTo>
                  <a:pt x="1296957" y="4656479"/>
                  <a:pt x="1290779" y="4668104"/>
                  <a:pt x="1292838" y="4678566"/>
                </a:cubicBezTo>
                <a:cubicBezTo>
                  <a:pt x="1290779" y="4686704"/>
                  <a:pt x="1285632" y="4684380"/>
                  <a:pt x="1279455" y="4683217"/>
                </a:cubicBezTo>
                <a:cubicBezTo>
                  <a:pt x="1288721" y="4666942"/>
                  <a:pt x="1287691" y="4651828"/>
                  <a:pt x="1294897" y="4632065"/>
                </a:cubicBezTo>
                <a:cubicBezTo>
                  <a:pt x="1296957" y="4628577"/>
                  <a:pt x="1299015" y="4626254"/>
                  <a:pt x="1300045" y="4622765"/>
                </a:cubicBezTo>
                <a:cubicBezTo>
                  <a:pt x="1304163" y="4611140"/>
                  <a:pt x="1315488" y="4575102"/>
                  <a:pt x="1315488" y="4553013"/>
                </a:cubicBezTo>
                <a:cubicBezTo>
                  <a:pt x="1334019" y="4525113"/>
                  <a:pt x="1326812" y="4503024"/>
                  <a:pt x="1345344" y="4475124"/>
                </a:cubicBezTo>
                <a:close/>
                <a:moveTo>
                  <a:pt x="940746" y="4465825"/>
                </a:moveTo>
                <a:cubicBezTo>
                  <a:pt x="947952" y="4472799"/>
                  <a:pt x="942804" y="4483262"/>
                  <a:pt x="936628" y="4493724"/>
                </a:cubicBezTo>
                <a:cubicBezTo>
                  <a:pt x="932509" y="4485587"/>
                  <a:pt x="934569" y="4476286"/>
                  <a:pt x="940746" y="4465825"/>
                </a:cubicBezTo>
                <a:close/>
                <a:moveTo>
                  <a:pt x="1023106" y="4454199"/>
                </a:moveTo>
                <a:cubicBezTo>
                  <a:pt x="1036490" y="4461173"/>
                  <a:pt x="1031343" y="4471636"/>
                  <a:pt x="1027225" y="4487911"/>
                </a:cubicBezTo>
                <a:cubicBezTo>
                  <a:pt x="1027225" y="4487911"/>
                  <a:pt x="1024136" y="4504187"/>
                  <a:pt x="1024136" y="4504187"/>
                </a:cubicBezTo>
                <a:cubicBezTo>
                  <a:pt x="1026195" y="4512325"/>
                  <a:pt x="1016930" y="4529763"/>
                  <a:pt x="1012812" y="4546038"/>
                </a:cubicBezTo>
                <a:cubicBezTo>
                  <a:pt x="1010752" y="4551851"/>
                  <a:pt x="1012812" y="4562313"/>
                  <a:pt x="1010752" y="4569288"/>
                </a:cubicBezTo>
                <a:cubicBezTo>
                  <a:pt x="1005604" y="4586727"/>
                  <a:pt x="995309" y="4600677"/>
                  <a:pt x="991191" y="4616953"/>
                </a:cubicBezTo>
                <a:cubicBezTo>
                  <a:pt x="983985" y="4623928"/>
                  <a:pt x="992221" y="4630903"/>
                  <a:pt x="992221" y="4635552"/>
                </a:cubicBezTo>
                <a:cubicBezTo>
                  <a:pt x="992221" y="4642529"/>
                  <a:pt x="982956" y="4647178"/>
                  <a:pt x="989132" y="4651828"/>
                </a:cubicBezTo>
                <a:cubicBezTo>
                  <a:pt x="989132" y="4658804"/>
                  <a:pt x="976778" y="4657642"/>
                  <a:pt x="977808" y="4662291"/>
                </a:cubicBezTo>
                <a:cubicBezTo>
                  <a:pt x="977808" y="4662291"/>
                  <a:pt x="981926" y="4664617"/>
                  <a:pt x="981926" y="4664617"/>
                </a:cubicBezTo>
                <a:cubicBezTo>
                  <a:pt x="975749" y="4673917"/>
                  <a:pt x="963395" y="4679730"/>
                  <a:pt x="967514" y="4691355"/>
                </a:cubicBezTo>
                <a:cubicBezTo>
                  <a:pt x="969572" y="4692518"/>
                  <a:pt x="972661" y="4694841"/>
                  <a:pt x="973689" y="4699493"/>
                </a:cubicBezTo>
                <a:cubicBezTo>
                  <a:pt x="968542" y="4707630"/>
                  <a:pt x="958247" y="4692518"/>
                  <a:pt x="953100" y="4697167"/>
                </a:cubicBezTo>
                <a:cubicBezTo>
                  <a:pt x="944864" y="4712280"/>
                  <a:pt x="955159" y="4722743"/>
                  <a:pt x="941776" y="4739018"/>
                </a:cubicBezTo>
                <a:cubicBezTo>
                  <a:pt x="933539" y="4732043"/>
                  <a:pt x="940746" y="4729717"/>
                  <a:pt x="943833" y="4715768"/>
                </a:cubicBezTo>
                <a:cubicBezTo>
                  <a:pt x="944864" y="4709955"/>
                  <a:pt x="948982" y="4700655"/>
                  <a:pt x="954129" y="4685541"/>
                </a:cubicBezTo>
                <a:cubicBezTo>
                  <a:pt x="959276" y="4672754"/>
                  <a:pt x="960306" y="4658804"/>
                  <a:pt x="965454" y="4643691"/>
                </a:cubicBezTo>
                <a:cubicBezTo>
                  <a:pt x="974719" y="4616953"/>
                  <a:pt x="987072" y="4597189"/>
                  <a:pt x="993251" y="4570452"/>
                </a:cubicBezTo>
                <a:cubicBezTo>
                  <a:pt x="994281" y="4569288"/>
                  <a:pt x="990162" y="4568127"/>
                  <a:pt x="992221" y="4563477"/>
                </a:cubicBezTo>
                <a:cubicBezTo>
                  <a:pt x="994281" y="4558827"/>
                  <a:pt x="998398" y="4554176"/>
                  <a:pt x="999428" y="4549526"/>
                </a:cubicBezTo>
                <a:cubicBezTo>
                  <a:pt x="1002515" y="4536738"/>
                  <a:pt x="1001488" y="4514650"/>
                  <a:pt x="1017958" y="4493724"/>
                </a:cubicBezTo>
                <a:cubicBezTo>
                  <a:pt x="1026195" y="4478611"/>
                  <a:pt x="1013841" y="4469311"/>
                  <a:pt x="1023106" y="4454199"/>
                </a:cubicBezTo>
                <a:close/>
                <a:moveTo>
                  <a:pt x="1354609" y="4448386"/>
                </a:moveTo>
                <a:cubicBezTo>
                  <a:pt x="1357697" y="4450712"/>
                  <a:pt x="1354609" y="4455361"/>
                  <a:pt x="1353581" y="4460011"/>
                </a:cubicBezTo>
                <a:cubicBezTo>
                  <a:pt x="1351521" y="4463499"/>
                  <a:pt x="1350491" y="4465825"/>
                  <a:pt x="1348433" y="4469311"/>
                </a:cubicBezTo>
                <a:cubicBezTo>
                  <a:pt x="1343284" y="4464661"/>
                  <a:pt x="1350491" y="4455361"/>
                  <a:pt x="1354609" y="4448386"/>
                </a:cubicBezTo>
                <a:close/>
                <a:moveTo>
                  <a:pt x="1318577" y="4422811"/>
                </a:moveTo>
                <a:cubicBezTo>
                  <a:pt x="1321665" y="4433273"/>
                  <a:pt x="1317547" y="4443735"/>
                  <a:pt x="1312400" y="4455361"/>
                </a:cubicBezTo>
                <a:cubicBezTo>
                  <a:pt x="1307252" y="4446061"/>
                  <a:pt x="1311370" y="4435598"/>
                  <a:pt x="1318577" y="4422811"/>
                </a:cubicBezTo>
                <a:close/>
                <a:moveTo>
                  <a:pt x="998398" y="4415836"/>
                </a:moveTo>
                <a:cubicBezTo>
                  <a:pt x="1002515" y="4418159"/>
                  <a:pt x="998398" y="4422811"/>
                  <a:pt x="997369" y="4427460"/>
                </a:cubicBezTo>
                <a:cubicBezTo>
                  <a:pt x="997369" y="4433273"/>
                  <a:pt x="993251" y="4457687"/>
                  <a:pt x="983985" y="4473962"/>
                </a:cubicBezTo>
                <a:cubicBezTo>
                  <a:pt x="979866" y="4457687"/>
                  <a:pt x="991191" y="4435598"/>
                  <a:pt x="998398" y="4415836"/>
                </a:cubicBezTo>
                <a:close/>
                <a:moveTo>
                  <a:pt x="1409174" y="4413510"/>
                </a:moveTo>
                <a:cubicBezTo>
                  <a:pt x="1419469" y="4434437"/>
                  <a:pt x="1407114" y="4461173"/>
                  <a:pt x="1397850" y="4486749"/>
                </a:cubicBezTo>
                <a:cubicBezTo>
                  <a:pt x="1398877" y="4493724"/>
                  <a:pt x="1399909" y="4501862"/>
                  <a:pt x="1401966" y="4508838"/>
                </a:cubicBezTo>
                <a:cubicBezTo>
                  <a:pt x="1397850" y="4523951"/>
                  <a:pt x="1388583" y="4516975"/>
                  <a:pt x="1383436" y="4532089"/>
                </a:cubicBezTo>
                <a:cubicBezTo>
                  <a:pt x="1370051" y="4544876"/>
                  <a:pt x="1386524" y="4511162"/>
                  <a:pt x="1385494" y="4508838"/>
                </a:cubicBezTo>
                <a:cubicBezTo>
                  <a:pt x="1384466" y="4505350"/>
                  <a:pt x="1377259" y="4512325"/>
                  <a:pt x="1377259" y="4514650"/>
                </a:cubicBezTo>
                <a:cubicBezTo>
                  <a:pt x="1376228" y="4508838"/>
                  <a:pt x="1375200" y="4503024"/>
                  <a:pt x="1376228" y="4496049"/>
                </a:cubicBezTo>
                <a:cubicBezTo>
                  <a:pt x="1377259" y="4492563"/>
                  <a:pt x="1380347" y="4490237"/>
                  <a:pt x="1381377" y="4486749"/>
                </a:cubicBezTo>
                <a:cubicBezTo>
                  <a:pt x="1383436" y="4480937"/>
                  <a:pt x="1384466" y="4475124"/>
                  <a:pt x="1389613" y="4461173"/>
                </a:cubicBezTo>
                <a:cubicBezTo>
                  <a:pt x="1391671" y="4454199"/>
                  <a:pt x="1395790" y="4432111"/>
                  <a:pt x="1409174" y="4413510"/>
                </a:cubicBezTo>
                <a:close/>
                <a:moveTo>
                  <a:pt x="1308281" y="4403047"/>
                </a:moveTo>
                <a:cubicBezTo>
                  <a:pt x="1311370" y="4421647"/>
                  <a:pt x="1300045" y="4439086"/>
                  <a:pt x="1293868" y="4461173"/>
                </a:cubicBezTo>
                <a:cubicBezTo>
                  <a:pt x="1290779" y="4472799"/>
                  <a:pt x="1282544" y="4511162"/>
                  <a:pt x="1272248" y="4533251"/>
                </a:cubicBezTo>
                <a:cubicBezTo>
                  <a:pt x="1269160" y="4514650"/>
                  <a:pt x="1280484" y="4497212"/>
                  <a:pt x="1286662" y="4475124"/>
                </a:cubicBezTo>
                <a:cubicBezTo>
                  <a:pt x="1289751" y="4463499"/>
                  <a:pt x="1296957" y="4422811"/>
                  <a:pt x="1308281" y="4403047"/>
                </a:cubicBezTo>
                <a:close/>
                <a:moveTo>
                  <a:pt x="1381377" y="4393746"/>
                </a:moveTo>
                <a:cubicBezTo>
                  <a:pt x="1393731" y="4404210"/>
                  <a:pt x="1379318" y="4420485"/>
                  <a:pt x="1376228" y="4433273"/>
                </a:cubicBezTo>
                <a:cubicBezTo>
                  <a:pt x="1372111" y="4421647"/>
                  <a:pt x="1378288" y="4407698"/>
                  <a:pt x="1381377" y="4393746"/>
                </a:cubicBezTo>
                <a:close/>
                <a:moveTo>
                  <a:pt x="1045756" y="4386771"/>
                </a:moveTo>
                <a:cubicBezTo>
                  <a:pt x="1057081" y="4401884"/>
                  <a:pt x="1042667" y="4423973"/>
                  <a:pt x="1037520" y="4442573"/>
                </a:cubicBezTo>
                <a:cubicBezTo>
                  <a:pt x="1030314" y="4448386"/>
                  <a:pt x="1035460" y="4436760"/>
                  <a:pt x="1038549" y="4430948"/>
                </a:cubicBezTo>
                <a:cubicBezTo>
                  <a:pt x="1039579" y="4423973"/>
                  <a:pt x="1038549" y="4418159"/>
                  <a:pt x="1031343" y="4413510"/>
                </a:cubicBezTo>
                <a:cubicBezTo>
                  <a:pt x="1036490" y="4405372"/>
                  <a:pt x="1040608" y="4396072"/>
                  <a:pt x="1045756" y="4386771"/>
                </a:cubicBezTo>
                <a:close/>
                <a:moveTo>
                  <a:pt x="1008694" y="4385609"/>
                </a:moveTo>
                <a:cubicBezTo>
                  <a:pt x="1010752" y="4397235"/>
                  <a:pt x="1005604" y="4410022"/>
                  <a:pt x="1000458" y="4411185"/>
                </a:cubicBezTo>
                <a:cubicBezTo>
                  <a:pt x="999428" y="4411185"/>
                  <a:pt x="998398" y="4385609"/>
                  <a:pt x="1008694" y="4385609"/>
                </a:cubicBezTo>
                <a:close/>
                <a:moveTo>
                  <a:pt x="1425646" y="4350733"/>
                </a:moveTo>
                <a:cubicBezTo>
                  <a:pt x="1428734" y="4353058"/>
                  <a:pt x="1425646" y="4357709"/>
                  <a:pt x="1424616" y="4362358"/>
                </a:cubicBezTo>
                <a:cubicBezTo>
                  <a:pt x="1422557" y="4365845"/>
                  <a:pt x="1421527" y="4368171"/>
                  <a:pt x="1419469" y="4371658"/>
                </a:cubicBezTo>
                <a:cubicBezTo>
                  <a:pt x="1415350" y="4367008"/>
                  <a:pt x="1422557" y="4358872"/>
                  <a:pt x="1425646" y="4350733"/>
                </a:cubicBezTo>
                <a:close/>
                <a:moveTo>
                  <a:pt x="1320635" y="4350733"/>
                </a:moveTo>
                <a:cubicBezTo>
                  <a:pt x="1327842" y="4361196"/>
                  <a:pt x="1313428" y="4377471"/>
                  <a:pt x="1315488" y="4390259"/>
                </a:cubicBezTo>
                <a:cubicBezTo>
                  <a:pt x="1312400" y="4398397"/>
                  <a:pt x="1307252" y="4396072"/>
                  <a:pt x="1309310" y="4391423"/>
                </a:cubicBezTo>
                <a:cubicBezTo>
                  <a:pt x="1312400" y="4383866"/>
                  <a:pt x="1312657" y="4377181"/>
                  <a:pt x="1313429" y="4370642"/>
                </a:cubicBezTo>
                <a:lnTo>
                  <a:pt x="1314190" y="4368539"/>
                </a:lnTo>
                <a:lnTo>
                  <a:pt x="1314234" y="4368516"/>
                </a:lnTo>
                <a:lnTo>
                  <a:pt x="1314418" y="4367909"/>
                </a:lnTo>
                <a:close/>
                <a:moveTo>
                  <a:pt x="1177533" y="4320507"/>
                </a:moveTo>
                <a:cubicBezTo>
                  <a:pt x="1188858" y="4329808"/>
                  <a:pt x="1171356" y="4344921"/>
                  <a:pt x="1172385" y="4360033"/>
                </a:cubicBezTo>
                <a:cubicBezTo>
                  <a:pt x="1172385" y="4362358"/>
                  <a:pt x="1177533" y="4368171"/>
                  <a:pt x="1177533" y="4370496"/>
                </a:cubicBezTo>
                <a:cubicBezTo>
                  <a:pt x="1177533" y="4377471"/>
                  <a:pt x="1168269" y="4382122"/>
                  <a:pt x="1174445" y="4386771"/>
                </a:cubicBezTo>
                <a:cubicBezTo>
                  <a:pt x="1169297" y="4397235"/>
                  <a:pt x="1163120" y="4407698"/>
                  <a:pt x="1157972" y="4418159"/>
                </a:cubicBezTo>
                <a:cubicBezTo>
                  <a:pt x="1161061" y="4422811"/>
                  <a:pt x="1154883" y="4428623"/>
                  <a:pt x="1154883" y="4434437"/>
                </a:cubicBezTo>
                <a:cubicBezTo>
                  <a:pt x="1154883" y="4437923"/>
                  <a:pt x="1157972" y="4447224"/>
                  <a:pt x="1157972" y="4449548"/>
                </a:cubicBezTo>
                <a:cubicBezTo>
                  <a:pt x="1155913" y="4462336"/>
                  <a:pt x="1147678" y="4473962"/>
                  <a:pt x="1143559" y="4489075"/>
                </a:cubicBezTo>
                <a:cubicBezTo>
                  <a:pt x="1140470" y="4500699"/>
                  <a:pt x="1141500" y="4516975"/>
                  <a:pt x="1138413" y="4528600"/>
                </a:cubicBezTo>
                <a:cubicBezTo>
                  <a:pt x="1134294" y="4542551"/>
                  <a:pt x="1129146" y="4570452"/>
                  <a:pt x="1123998" y="4586727"/>
                </a:cubicBezTo>
                <a:cubicBezTo>
                  <a:pt x="1115763" y="4614628"/>
                  <a:pt x="1098260" y="4636716"/>
                  <a:pt x="1104438" y="4665779"/>
                </a:cubicBezTo>
                <a:cubicBezTo>
                  <a:pt x="1101350" y="4676243"/>
                  <a:pt x="1095171" y="4676243"/>
                  <a:pt x="1091054" y="4680892"/>
                </a:cubicBezTo>
                <a:cubicBezTo>
                  <a:pt x="1086937" y="4685541"/>
                  <a:pt x="1096202" y="4687867"/>
                  <a:pt x="1096202" y="4691355"/>
                </a:cubicBezTo>
                <a:cubicBezTo>
                  <a:pt x="1096202" y="4697167"/>
                  <a:pt x="1087965" y="4712280"/>
                  <a:pt x="1085907" y="4721580"/>
                </a:cubicBezTo>
                <a:cubicBezTo>
                  <a:pt x="1084877" y="4723906"/>
                  <a:pt x="1088996" y="4723906"/>
                  <a:pt x="1086937" y="4728555"/>
                </a:cubicBezTo>
                <a:cubicBezTo>
                  <a:pt x="1081788" y="4737856"/>
                  <a:pt x="1081788" y="4754131"/>
                  <a:pt x="1069434" y="4771569"/>
                </a:cubicBezTo>
                <a:cubicBezTo>
                  <a:pt x="1066346" y="4787844"/>
                  <a:pt x="1066346" y="4801796"/>
                  <a:pt x="1062228" y="4815746"/>
                </a:cubicBezTo>
                <a:cubicBezTo>
                  <a:pt x="1061198" y="4818071"/>
                  <a:pt x="1059139" y="4822720"/>
                  <a:pt x="1057081" y="4825046"/>
                </a:cubicBezTo>
                <a:cubicBezTo>
                  <a:pt x="1057081" y="4825046"/>
                  <a:pt x="1042667" y="4836670"/>
                  <a:pt x="1045756" y="4847134"/>
                </a:cubicBezTo>
                <a:cubicBezTo>
                  <a:pt x="1046785" y="4850621"/>
                  <a:pt x="1045756" y="4864571"/>
                  <a:pt x="1037520" y="4876197"/>
                </a:cubicBezTo>
                <a:cubicBezTo>
                  <a:pt x="1035460" y="4864571"/>
                  <a:pt x="1034431" y="4851784"/>
                  <a:pt x="1042667" y="4836670"/>
                </a:cubicBezTo>
                <a:cubicBezTo>
                  <a:pt x="1037520" y="4837833"/>
                  <a:pt x="1032372" y="4841321"/>
                  <a:pt x="1028254" y="4844809"/>
                </a:cubicBezTo>
                <a:cubicBezTo>
                  <a:pt x="1023106" y="4838996"/>
                  <a:pt x="1030314" y="4830858"/>
                  <a:pt x="1033401" y="4823883"/>
                </a:cubicBezTo>
                <a:cubicBezTo>
                  <a:pt x="1040608" y="4800633"/>
                  <a:pt x="1039579" y="4837833"/>
                  <a:pt x="1047815" y="4815746"/>
                </a:cubicBezTo>
                <a:cubicBezTo>
                  <a:pt x="1061198" y="4820395"/>
                  <a:pt x="1048844" y="4802957"/>
                  <a:pt x="1057081" y="4797145"/>
                </a:cubicBezTo>
                <a:cubicBezTo>
                  <a:pt x="1049874" y="4797145"/>
                  <a:pt x="1044727" y="4801796"/>
                  <a:pt x="1039579" y="4809933"/>
                </a:cubicBezTo>
                <a:cubicBezTo>
                  <a:pt x="1029284" y="4792496"/>
                  <a:pt x="1044727" y="4773895"/>
                  <a:pt x="1048844" y="4761105"/>
                </a:cubicBezTo>
                <a:cubicBezTo>
                  <a:pt x="1051932" y="4750644"/>
                  <a:pt x="1047815" y="4728555"/>
                  <a:pt x="1060170" y="4719256"/>
                </a:cubicBezTo>
                <a:cubicBezTo>
                  <a:pt x="1061198" y="4719256"/>
                  <a:pt x="1070464" y="4720417"/>
                  <a:pt x="1070464" y="4720417"/>
                </a:cubicBezTo>
                <a:cubicBezTo>
                  <a:pt x="1072523" y="4716930"/>
                  <a:pt x="1068405" y="4707630"/>
                  <a:pt x="1069434" y="4701818"/>
                </a:cubicBezTo>
                <a:cubicBezTo>
                  <a:pt x="1070464" y="4697167"/>
                  <a:pt x="1079729" y="4687867"/>
                  <a:pt x="1078701" y="4683217"/>
                </a:cubicBezTo>
                <a:cubicBezTo>
                  <a:pt x="1078701" y="4680892"/>
                  <a:pt x="1078701" y="4670429"/>
                  <a:pt x="1080759" y="4659967"/>
                </a:cubicBezTo>
                <a:cubicBezTo>
                  <a:pt x="1082818" y="4648342"/>
                  <a:pt x="1087965" y="4633229"/>
                  <a:pt x="1100320" y="4612302"/>
                </a:cubicBezTo>
                <a:cubicBezTo>
                  <a:pt x="1099290" y="4605327"/>
                  <a:pt x="1098260" y="4597189"/>
                  <a:pt x="1096202" y="4590215"/>
                </a:cubicBezTo>
                <a:cubicBezTo>
                  <a:pt x="1105468" y="4584402"/>
                  <a:pt x="1108557" y="4587889"/>
                  <a:pt x="1113703" y="4565801"/>
                </a:cubicBezTo>
                <a:cubicBezTo>
                  <a:pt x="1114733" y="4565801"/>
                  <a:pt x="1111645" y="4562313"/>
                  <a:pt x="1112674" y="4558827"/>
                </a:cubicBezTo>
                <a:cubicBezTo>
                  <a:pt x="1114733" y="4549526"/>
                  <a:pt x="1121940" y="4546038"/>
                  <a:pt x="1111645" y="4540226"/>
                </a:cubicBezTo>
                <a:cubicBezTo>
                  <a:pt x="1126057" y="4526276"/>
                  <a:pt x="1125029" y="4520463"/>
                  <a:pt x="1129146" y="4497212"/>
                </a:cubicBezTo>
                <a:cubicBezTo>
                  <a:pt x="1130176" y="4493724"/>
                  <a:pt x="1139440" y="4477449"/>
                  <a:pt x="1137383" y="4471636"/>
                </a:cubicBezTo>
                <a:cubicBezTo>
                  <a:pt x="1133264" y="4461173"/>
                  <a:pt x="1148707" y="4434437"/>
                  <a:pt x="1148707" y="4418159"/>
                </a:cubicBezTo>
                <a:cubicBezTo>
                  <a:pt x="1148707" y="4407698"/>
                  <a:pt x="1160031" y="4387935"/>
                  <a:pt x="1162090" y="4371658"/>
                </a:cubicBezTo>
                <a:cubicBezTo>
                  <a:pt x="1163120" y="4369334"/>
                  <a:pt x="1168269" y="4364684"/>
                  <a:pt x="1167239" y="4362358"/>
                </a:cubicBezTo>
                <a:cubicBezTo>
                  <a:pt x="1167239" y="4362358"/>
                  <a:pt x="1163120" y="4360033"/>
                  <a:pt x="1163120" y="4360033"/>
                </a:cubicBezTo>
                <a:cubicBezTo>
                  <a:pt x="1166209" y="4344921"/>
                  <a:pt x="1175474" y="4335620"/>
                  <a:pt x="1177533" y="4320507"/>
                </a:cubicBezTo>
                <a:close/>
                <a:moveTo>
                  <a:pt x="1386524" y="4311207"/>
                </a:moveTo>
                <a:cubicBezTo>
                  <a:pt x="1390643" y="4329808"/>
                  <a:pt x="1379318" y="4344921"/>
                  <a:pt x="1375200" y="4364684"/>
                </a:cubicBezTo>
                <a:cubicBezTo>
                  <a:pt x="1371081" y="4382122"/>
                  <a:pt x="1372111" y="4403047"/>
                  <a:pt x="1362845" y="4418159"/>
                </a:cubicBezTo>
                <a:cubicBezTo>
                  <a:pt x="1356668" y="4386771"/>
                  <a:pt x="1374170" y="4348408"/>
                  <a:pt x="1386524" y="4311207"/>
                </a:cubicBezTo>
                <a:close/>
                <a:moveTo>
                  <a:pt x="1068405" y="4311207"/>
                </a:moveTo>
                <a:cubicBezTo>
                  <a:pt x="1074582" y="4317019"/>
                  <a:pt x="1073553" y="4325157"/>
                  <a:pt x="1066346" y="4334458"/>
                </a:cubicBezTo>
                <a:cubicBezTo>
                  <a:pt x="1052963" y="4330971"/>
                  <a:pt x="1065316" y="4319345"/>
                  <a:pt x="1068405" y="4311207"/>
                </a:cubicBezTo>
                <a:close/>
                <a:moveTo>
                  <a:pt x="1408144" y="4301907"/>
                </a:moveTo>
                <a:cubicBezTo>
                  <a:pt x="1415350" y="4296094"/>
                  <a:pt x="1411233" y="4307719"/>
                  <a:pt x="1407114" y="4313533"/>
                </a:cubicBezTo>
                <a:cubicBezTo>
                  <a:pt x="1415350" y="4328645"/>
                  <a:pt x="1396820" y="4311207"/>
                  <a:pt x="1408144" y="4301907"/>
                </a:cubicBezTo>
                <a:close/>
                <a:moveTo>
                  <a:pt x="1299956" y="4294771"/>
                </a:moveTo>
                <a:lnTo>
                  <a:pt x="1297986" y="4317019"/>
                </a:lnTo>
                <a:cubicBezTo>
                  <a:pt x="1294897" y="4332133"/>
                  <a:pt x="1287691" y="4347246"/>
                  <a:pt x="1284602" y="4363521"/>
                </a:cubicBezTo>
                <a:cubicBezTo>
                  <a:pt x="1281514" y="4377471"/>
                  <a:pt x="1281514" y="4393746"/>
                  <a:pt x="1277395" y="4407698"/>
                </a:cubicBezTo>
                <a:cubicBezTo>
                  <a:pt x="1273278" y="4425134"/>
                  <a:pt x="1267101" y="4428623"/>
                  <a:pt x="1267101" y="4437923"/>
                </a:cubicBezTo>
                <a:cubicBezTo>
                  <a:pt x="1268130" y="4453035"/>
                  <a:pt x="1255777" y="4465825"/>
                  <a:pt x="1258865" y="4475124"/>
                </a:cubicBezTo>
                <a:cubicBezTo>
                  <a:pt x="1258865" y="4477449"/>
                  <a:pt x="1253717" y="4482100"/>
                  <a:pt x="1253717" y="4484423"/>
                </a:cubicBezTo>
                <a:cubicBezTo>
                  <a:pt x="1251658" y="4500699"/>
                  <a:pt x="1241363" y="4523951"/>
                  <a:pt x="1244452" y="4533251"/>
                </a:cubicBezTo>
                <a:cubicBezTo>
                  <a:pt x="1244452" y="4534412"/>
                  <a:pt x="1239304" y="4541389"/>
                  <a:pt x="1239304" y="4542551"/>
                </a:cubicBezTo>
                <a:cubicBezTo>
                  <a:pt x="1233127" y="4562313"/>
                  <a:pt x="1230039" y="4573939"/>
                  <a:pt x="1225920" y="4589052"/>
                </a:cubicBezTo>
                <a:cubicBezTo>
                  <a:pt x="1222832" y="4598353"/>
                  <a:pt x="1218713" y="4609977"/>
                  <a:pt x="1215626" y="4619277"/>
                </a:cubicBezTo>
                <a:cubicBezTo>
                  <a:pt x="1212537" y="4629741"/>
                  <a:pt x="1208419" y="4639041"/>
                  <a:pt x="1205330" y="4649504"/>
                </a:cubicBezTo>
                <a:cubicBezTo>
                  <a:pt x="1203271" y="4657642"/>
                  <a:pt x="1197095" y="4675079"/>
                  <a:pt x="1199153" y="4682054"/>
                </a:cubicBezTo>
                <a:cubicBezTo>
                  <a:pt x="1199153" y="4683217"/>
                  <a:pt x="1194006" y="4690192"/>
                  <a:pt x="1194006" y="4691355"/>
                </a:cubicBezTo>
                <a:cubicBezTo>
                  <a:pt x="1185769" y="4718093"/>
                  <a:pt x="1178563" y="4741343"/>
                  <a:pt x="1170326" y="4768082"/>
                </a:cubicBezTo>
                <a:cubicBezTo>
                  <a:pt x="1161061" y="4795982"/>
                  <a:pt x="1156943" y="4818071"/>
                  <a:pt x="1148707" y="4840159"/>
                </a:cubicBezTo>
                <a:cubicBezTo>
                  <a:pt x="1145619" y="4847134"/>
                  <a:pt x="1146647" y="4851784"/>
                  <a:pt x="1145619" y="4856434"/>
                </a:cubicBezTo>
                <a:cubicBezTo>
                  <a:pt x="1135323" y="4891310"/>
                  <a:pt x="1128116" y="4920373"/>
                  <a:pt x="1118851" y="4949436"/>
                </a:cubicBezTo>
                <a:cubicBezTo>
                  <a:pt x="1116792" y="4957574"/>
                  <a:pt x="1110614" y="4963386"/>
                  <a:pt x="1107527" y="4971524"/>
                </a:cubicBezTo>
                <a:cubicBezTo>
                  <a:pt x="1105468" y="4976175"/>
                  <a:pt x="1107527" y="4978500"/>
                  <a:pt x="1106497" y="4983150"/>
                </a:cubicBezTo>
                <a:cubicBezTo>
                  <a:pt x="1104438" y="4988962"/>
                  <a:pt x="1101350" y="4992450"/>
                  <a:pt x="1099290" y="4997100"/>
                </a:cubicBezTo>
                <a:cubicBezTo>
                  <a:pt x="1088996" y="5027326"/>
                  <a:pt x="1080759" y="5056388"/>
                  <a:pt x="1071494" y="5081965"/>
                </a:cubicBezTo>
                <a:cubicBezTo>
                  <a:pt x="1063258" y="5101728"/>
                  <a:pt x="1052963" y="5119166"/>
                  <a:pt x="1046785" y="5138929"/>
                </a:cubicBezTo>
                <a:cubicBezTo>
                  <a:pt x="1043697" y="5150555"/>
                  <a:pt x="1042667" y="5164504"/>
                  <a:pt x="1038549" y="5176130"/>
                </a:cubicBezTo>
                <a:cubicBezTo>
                  <a:pt x="1035460" y="5183105"/>
                  <a:pt x="1030314" y="5190081"/>
                  <a:pt x="1027225" y="5198218"/>
                </a:cubicBezTo>
                <a:lnTo>
                  <a:pt x="1023706" y="5213289"/>
                </a:lnTo>
                <a:lnTo>
                  <a:pt x="1018988" y="5207518"/>
                </a:lnTo>
                <a:lnTo>
                  <a:pt x="1015549" y="5215806"/>
                </a:lnTo>
                <a:lnTo>
                  <a:pt x="1053991" y="5105215"/>
                </a:lnTo>
                <a:cubicBezTo>
                  <a:pt x="1055021" y="5092428"/>
                  <a:pt x="1048844" y="5083127"/>
                  <a:pt x="1056051" y="5069178"/>
                </a:cubicBezTo>
                <a:cubicBezTo>
                  <a:pt x="1072523" y="5056388"/>
                  <a:pt x="1073553" y="5040113"/>
                  <a:pt x="1079729" y="5023838"/>
                </a:cubicBezTo>
                <a:cubicBezTo>
                  <a:pt x="1084877" y="5013375"/>
                  <a:pt x="1090025" y="5007563"/>
                  <a:pt x="1094144" y="4997100"/>
                </a:cubicBezTo>
                <a:cubicBezTo>
                  <a:pt x="1096202" y="4992450"/>
                  <a:pt x="1094144" y="4990124"/>
                  <a:pt x="1095171" y="4985475"/>
                </a:cubicBezTo>
                <a:cubicBezTo>
                  <a:pt x="1101350" y="4966874"/>
                  <a:pt x="1108557" y="4956412"/>
                  <a:pt x="1112674" y="4942461"/>
                </a:cubicBezTo>
                <a:cubicBezTo>
                  <a:pt x="1114733" y="4934324"/>
                  <a:pt x="1120910" y="4916886"/>
                  <a:pt x="1118851" y="4909911"/>
                </a:cubicBezTo>
                <a:cubicBezTo>
                  <a:pt x="1118851" y="4908748"/>
                  <a:pt x="1122970" y="4901773"/>
                  <a:pt x="1123998" y="4900610"/>
                </a:cubicBezTo>
                <a:cubicBezTo>
                  <a:pt x="1130176" y="4884335"/>
                  <a:pt x="1131205" y="4883172"/>
                  <a:pt x="1132235" y="4875035"/>
                </a:cubicBezTo>
                <a:cubicBezTo>
                  <a:pt x="1132235" y="4873871"/>
                  <a:pt x="1133264" y="4871547"/>
                  <a:pt x="1134294" y="4870385"/>
                </a:cubicBezTo>
                <a:cubicBezTo>
                  <a:pt x="1136353" y="4866897"/>
                  <a:pt x="1133264" y="4864571"/>
                  <a:pt x="1133264" y="4863409"/>
                </a:cubicBezTo>
                <a:cubicBezTo>
                  <a:pt x="1135323" y="4855271"/>
                  <a:pt x="1142530" y="4849459"/>
                  <a:pt x="1144589" y="4841321"/>
                </a:cubicBezTo>
                <a:cubicBezTo>
                  <a:pt x="1145619" y="4834346"/>
                  <a:pt x="1141500" y="4829695"/>
                  <a:pt x="1143559" y="4822720"/>
                </a:cubicBezTo>
                <a:cubicBezTo>
                  <a:pt x="1144589" y="4819232"/>
                  <a:pt x="1148707" y="4816908"/>
                  <a:pt x="1148707" y="4813420"/>
                </a:cubicBezTo>
                <a:cubicBezTo>
                  <a:pt x="1150766" y="4801796"/>
                  <a:pt x="1150766" y="4794820"/>
                  <a:pt x="1152826" y="4785520"/>
                </a:cubicBezTo>
                <a:cubicBezTo>
                  <a:pt x="1154883" y="4776219"/>
                  <a:pt x="1160031" y="4766919"/>
                  <a:pt x="1163120" y="4755294"/>
                </a:cubicBezTo>
                <a:cubicBezTo>
                  <a:pt x="1165179" y="4743668"/>
                  <a:pt x="1166209" y="4729717"/>
                  <a:pt x="1169297" y="4722743"/>
                </a:cubicBezTo>
                <a:cubicBezTo>
                  <a:pt x="1171356" y="4718093"/>
                  <a:pt x="1173415" y="4722743"/>
                  <a:pt x="1175474" y="4721580"/>
                </a:cubicBezTo>
                <a:cubicBezTo>
                  <a:pt x="1180622" y="4716930"/>
                  <a:pt x="1179592" y="4708793"/>
                  <a:pt x="1178563" y="4705305"/>
                </a:cubicBezTo>
                <a:cubicBezTo>
                  <a:pt x="1178563" y="4700655"/>
                  <a:pt x="1189887" y="4701818"/>
                  <a:pt x="1189887" y="4694841"/>
                </a:cubicBezTo>
                <a:cubicBezTo>
                  <a:pt x="1187828" y="4673917"/>
                  <a:pt x="1199153" y="4655316"/>
                  <a:pt x="1204301" y="4636716"/>
                </a:cubicBezTo>
                <a:cubicBezTo>
                  <a:pt x="1206359" y="4626254"/>
                  <a:pt x="1207389" y="4609977"/>
                  <a:pt x="1210478" y="4604164"/>
                </a:cubicBezTo>
                <a:cubicBezTo>
                  <a:pt x="1212537" y="4600677"/>
                  <a:pt x="1209448" y="4597189"/>
                  <a:pt x="1209448" y="4597189"/>
                </a:cubicBezTo>
                <a:cubicBezTo>
                  <a:pt x="1211507" y="4592539"/>
                  <a:pt x="1214596" y="4597189"/>
                  <a:pt x="1215626" y="4596027"/>
                </a:cubicBezTo>
                <a:cubicBezTo>
                  <a:pt x="1219744" y="4592539"/>
                  <a:pt x="1214596" y="4590215"/>
                  <a:pt x="1214596" y="4589052"/>
                </a:cubicBezTo>
                <a:cubicBezTo>
                  <a:pt x="1216654" y="4584402"/>
                  <a:pt x="1219744" y="4579752"/>
                  <a:pt x="1221802" y="4575102"/>
                </a:cubicBezTo>
                <a:cubicBezTo>
                  <a:pt x="1227979" y="4558827"/>
                  <a:pt x="1231069" y="4543713"/>
                  <a:pt x="1235185" y="4528600"/>
                </a:cubicBezTo>
                <a:cubicBezTo>
                  <a:pt x="1244452" y="4498375"/>
                  <a:pt x="1249599" y="4472799"/>
                  <a:pt x="1260925" y="4448386"/>
                </a:cubicBezTo>
                <a:cubicBezTo>
                  <a:pt x="1262982" y="4444898"/>
                  <a:pt x="1259895" y="4442573"/>
                  <a:pt x="1259895" y="4441410"/>
                </a:cubicBezTo>
                <a:cubicBezTo>
                  <a:pt x="1262982" y="4429785"/>
                  <a:pt x="1267101" y="4422811"/>
                  <a:pt x="1270189" y="4411185"/>
                </a:cubicBezTo>
                <a:lnTo>
                  <a:pt x="1284196" y="4354692"/>
                </a:lnTo>
                <a:lnTo>
                  <a:pt x="1286402" y="4350299"/>
                </a:lnTo>
                <a:lnTo>
                  <a:pt x="1286523" y="4342940"/>
                </a:lnTo>
                <a:lnTo>
                  <a:pt x="1287691" y="4336782"/>
                </a:lnTo>
                <a:cubicBezTo>
                  <a:pt x="1289751" y="4332133"/>
                  <a:pt x="1286662" y="4330971"/>
                  <a:pt x="1286662" y="4329808"/>
                </a:cubicBezTo>
                <a:cubicBezTo>
                  <a:pt x="1288721" y="4319345"/>
                  <a:pt x="1294897" y="4308881"/>
                  <a:pt x="1296957" y="4299583"/>
                </a:cubicBezTo>
                <a:lnTo>
                  <a:pt x="1297430" y="4296376"/>
                </a:lnTo>
                <a:close/>
                <a:moveTo>
                  <a:pt x="948982" y="4285631"/>
                </a:moveTo>
                <a:cubicBezTo>
                  <a:pt x="951040" y="4290283"/>
                  <a:pt x="953358" y="4294932"/>
                  <a:pt x="954000" y="4300019"/>
                </a:cubicBezTo>
                <a:lnTo>
                  <a:pt x="949357" y="4315747"/>
                </a:lnTo>
                <a:lnTo>
                  <a:pt x="947951" y="4313533"/>
                </a:lnTo>
                <a:lnTo>
                  <a:pt x="947811" y="4313904"/>
                </a:lnTo>
                <a:lnTo>
                  <a:pt x="943577" y="4302633"/>
                </a:lnTo>
                <a:cubicBezTo>
                  <a:pt x="943062" y="4297547"/>
                  <a:pt x="944349" y="4292026"/>
                  <a:pt x="948982" y="4285631"/>
                </a:cubicBezTo>
                <a:close/>
                <a:moveTo>
                  <a:pt x="1036490" y="4280982"/>
                </a:moveTo>
                <a:cubicBezTo>
                  <a:pt x="1043697" y="4307719"/>
                  <a:pt x="1016930" y="4342595"/>
                  <a:pt x="1015900" y="4371658"/>
                </a:cubicBezTo>
                <a:cubicBezTo>
                  <a:pt x="1004575" y="4368171"/>
                  <a:pt x="1014871" y="4361196"/>
                  <a:pt x="1014871" y="4353058"/>
                </a:cubicBezTo>
                <a:cubicBezTo>
                  <a:pt x="1014871" y="4349570"/>
                  <a:pt x="1011782" y="4340271"/>
                  <a:pt x="1011782" y="4337946"/>
                </a:cubicBezTo>
                <a:cubicBezTo>
                  <a:pt x="1012812" y="4332133"/>
                  <a:pt x="1017958" y="4328645"/>
                  <a:pt x="1018988" y="4323995"/>
                </a:cubicBezTo>
                <a:cubicBezTo>
                  <a:pt x="1021047" y="4318182"/>
                  <a:pt x="1027225" y="4284469"/>
                  <a:pt x="1036490" y="4280982"/>
                </a:cubicBezTo>
                <a:close/>
                <a:moveTo>
                  <a:pt x="1395790" y="4274005"/>
                </a:moveTo>
                <a:cubicBezTo>
                  <a:pt x="1399909" y="4283307"/>
                  <a:pt x="1390643" y="4296094"/>
                  <a:pt x="1389613" y="4306558"/>
                </a:cubicBezTo>
                <a:cubicBezTo>
                  <a:pt x="1387553" y="4291444"/>
                  <a:pt x="1383436" y="4284469"/>
                  <a:pt x="1395790" y="4274005"/>
                </a:cubicBezTo>
                <a:close/>
                <a:moveTo>
                  <a:pt x="1400744" y="4242218"/>
                </a:moveTo>
                <a:cubicBezTo>
                  <a:pt x="1403834" y="4246687"/>
                  <a:pt x="1401710" y="4263253"/>
                  <a:pt x="1397850" y="4269356"/>
                </a:cubicBezTo>
                <a:cubicBezTo>
                  <a:pt x="1386524" y="4263544"/>
                  <a:pt x="1402996" y="4249592"/>
                  <a:pt x="1395790" y="4242617"/>
                </a:cubicBezTo>
                <a:cubicBezTo>
                  <a:pt x="1398106" y="4240584"/>
                  <a:pt x="1399715" y="4240728"/>
                  <a:pt x="1400744" y="4242218"/>
                </a:cubicBezTo>
                <a:close/>
                <a:moveTo>
                  <a:pt x="1533745" y="4221693"/>
                </a:moveTo>
                <a:lnTo>
                  <a:pt x="1533595" y="4228240"/>
                </a:lnTo>
                <a:lnTo>
                  <a:pt x="1532715" y="4229830"/>
                </a:lnTo>
                <a:lnTo>
                  <a:pt x="1533549" y="4230301"/>
                </a:lnTo>
                <a:lnTo>
                  <a:pt x="1533362" y="4238425"/>
                </a:lnTo>
                <a:lnTo>
                  <a:pt x="1531685" y="4241455"/>
                </a:lnTo>
                <a:cubicBezTo>
                  <a:pt x="1534775" y="4249592"/>
                  <a:pt x="1528597" y="4251918"/>
                  <a:pt x="1526538" y="4262381"/>
                </a:cubicBezTo>
                <a:lnTo>
                  <a:pt x="1524736" y="4282730"/>
                </a:lnTo>
                <a:lnTo>
                  <a:pt x="1524162" y="4286613"/>
                </a:lnTo>
                <a:lnTo>
                  <a:pt x="1516243" y="4311207"/>
                </a:lnTo>
                <a:cubicBezTo>
                  <a:pt x="1516243" y="4313533"/>
                  <a:pt x="1520360" y="4313533"/>
                  <a:pt x="1517272" y="4318182"/>
                </a:cubicBezTo>
                <a:lnTo>
                  <a:pt x="1511468" y="4344395"/>
                </a:lnTo>
                <a:lnTo>
                  <a:pt x="1504919" y="4368171"/>
                </a:lnTo>
                <a:lnTo>
                  <a:pt x="1505694" y="4370050"/>
                </a:lnTo>
                <a:lnTo>
                  <a:pt x="1503418" y="4380045"/>
                </a:lnTo>
                <a:lnTo>
                  <a:pt x="1498741" y="4389097"/>
                </a:lnTo>
                <a:cubicBezTo>
                  <a:pt x="1491534" y="4416998"/>
                  <a:pt x="1487416" y="4447224"/>
                  <a:pt x="1480209" y="4475124"/>
                </a:cubicBezTo>
                <a:lnTo>
                  <a:pt x="1472709" y="4504164"/>
                </a:lnTo>
                <a:lnTo>
                  <a:pt x="1462708" y="4534412"/>
                </a:lnTo>
                <a:lnTo>
                  <a:pt x="1463503" y="4539804"/>
                </a:lnTo>
                <a:lnTo>
                  <a:pt x="1462402" y="4544071"/>
                </a:lnTo>
                <a:lnTo>
                  <a:pt x="1454472" y="4559988"/>
                </a:lnTo>
                <a:cubicBezTo>
                  <a:pt x="1454472" y="4561151"/>
                  <a:pt x="1457560" y="4563477"/>
                  <a:pt x="1455502" y="4566965"/>
                </a:cubicBezTo>
                <a:cubicBezTo>
                  <a:pt x="1450353" y="4578589"/>
                  <a:pt x="1450353" y="4580914"/>
                  <a:pt x="1447265" y="4592539"/>
                </a:cubicBezTo>
                <a:cubicBezTo>
                  <a:pt x="1447265" y="4594864"/>
                  <a:pt x="1442118" y="4599515"/>
                  <a:pt x="1442118" y="4601841"/>
                </a:cubicBezTo>
                <a:cubicBezTo>
                  <a:pt x="1445206" y="4611140"/>
                  <a:pt x="1439029" y="4609977"/>
                  <a:pt x="1433882" y="4627415"/>
                </a:cubicBezTo>
                <a:cubicBezTo>
                  <a:pt x="1433882" y="4628577"/>
                  <a:pt x="1436970" y="4630903"/>
                  <a:pt x="1434911" y="4634391"/>
                </a:cubicBezTo>
                <a:cubicBezTo>
                  <a:pt x="1429763" y="4644853"/>
                  <a:pt x="1428734" y="4648342"/>
                  <a:pt x="1426676" y="4659967"/>
                </a:cubicBezTo>
                <a:lnTo>
                  <a:pt x="1426061" y="4662460"/>
                </a:lnTo>
                <a:lnTo>
                  <a:pt x="1424616" y="4665779"/>
                </a:lnTo>
                <a:lnTo>
                  <a:pt x="1425168" y="4666090"/>
                </a:lnTo>
                <a:lnTo>
                  <a:pt x="1420902" y="4683414"/>
                </a:lnTo>
                <a:lnTo>
                  <a:pt x="1419469" y="4686704"/>
                </a:lnTo>
                <a:lnTo>
                  <a:pt x="1417930" y="4694496"/>
                </a:lnTo>
                <a:lnTo>
                  <a:pt x="1408144" y="4727393"/>
                </a:lnTo>
                <a:cubicBezTo>
                  <a:pt x="1407114" y="4730881"/>
                  <a:pt x="1404026" y="4733206"/>
                  <a:pt x="1402996" y="4736694"/>
                </a:cubicBezTo>
                <a:cubicBezTo>
                  <a:pt x="1401966" y="4742507"/>
                  <a:pt x="1395790" y="4766919"/>
                  <a:pt x="1389613" y="4783195"/>
                </a:cubicBezTo>
                <a:lnTo>
                  <a:pt x="1384706" y="4796651"/>
                </a:lnTo>
                <a:lnTo>
                  <a:pt x="1391671" y="4759944"/>
                </a:lnTo>
                <a:cubicBezTo>
                  <a:pt x="1392701" y="4758782"/>
                  <a:pt x="1388583" y="4757619"/>
                  <a:pt x="1390643" y="4752969"/>
                </a:cubicBezTo>
                <a:cubicBezTo>
                  <a:pt x="1392701" y="4747156"/>
                  <a:pt x="1398877" y="4740181"/>
                  <a:pt x="1399909" y="4734369"/>
                </a:cubicBezTo>
                <a:cubicBezTo>
                  <a:pt x="1400937" y="4733206"/>
                  <a:pt x="1396820" y="4732043"/>
                  <a:pt x="1398877" y="4727393"/>
                </a:cubicBezTo>
                <a:cubicBezTo>
                  <a:pt x="1400937" y="4723906"/>
                  <a:pt x="1398877" y="4720417"/>
                  <a:pt x="1399909" y="4715768"/>
                </a:cubicBezTo>
                <a:cubicBezTo>
                  <a:pt x="1404026" y="4700655"/>
                  <a:pt x="1414320" y="4690192"/>
                  <a:pt x="1420498" y="4675079"/>
                </a:cubicBezTo>
                <a:cubicBezTo>
                  <a:pt x="1424616" y="4665779"/>
                  <a:pt x="1422557" y="4656479"/>
                  <a:pt x="1424616" y="4647178"/>
                </a:cubicBezTo>
                <a:cubicBezTo>
                  <a:pt x="1427705" y="4636716"/>
                  <a:pt x="1432852" y="4626254"/>
                  <a:pt x="1434911" y="4616953"/>
                </a:cubicBezTo>
                <a:cubicBezTo>
                  <a:pt x="1440059" y="4597189"/>
                  <a:pt x="1444177" y="4577426"/>
                  <a:pt x="1449325" y="4558827"/>
                </a:cubicBezTo>
                <a:cubicBezTo>
                  <a:pt x="1453443" y="4543713"/>
                  <a:pt x="1458590" y="4529763"/>
                  <a:pt x="1462708" y="4512325"/>
                </a:cubicBezTo>
                <a:cubicBezTo>
                  <a:pt x="1463737" y="4510001"/>
                  <a:pt x="1467856" y="4504187"/>
                  <a:pt x="1467856" y="4503024"/>
                </a:cubicBezTo>
                <a:cubicBezTo>
                  <a:pt x="1464767" y="4491400"/>
                  <a:pt x="1477121" y="4464661"/>
                  <a:pt x="1482269" y="4444898"/>
                </a:cubicBezTo>
                <a:cubicBezTo>
                  <a:pt x="1483299" y="4444898"/>
                  <a:pt x="1480209" y="4441410"/>
                  <a:pt x="1481239" y="4437923"/>
                </a:cubicBezTo>
                <a:cubicBezTo>
                  <a:pt x="1482269" y="4434437"/>
                  <a:pt x="1491534" y="4422811"/>
                  <a:pt x="1490506" y="4419323"/>
                </a:cubicBezTo>
                <a:cubicBezTo>
                  <a:pt x="1490506" y="4419323"/>
                  <a:pt x="1486387" y="4416998"/>
                  <a:pt x="1486387" y="4416998"/>
                </a:cubicBezTo>
                <a:cubicBezTo>
                  <a:pt x="1492564" y="4390259"/>
                  <a:pt x="1501830" y="4362358"/>
                  <a:pt x="1508007" y="4333295"/>
                </a:cubicBezTo>
                <a:cubicBezTo>
                  <a:pt x="1516243" y="4296094"/>
                  <a:pt x="1520360" y="4255406"/>
                  <a:pt x="1533745" y="4221693"/>
                </a:cubicBezTo>
                <a:close/>
                <a:moveTo>
                  <a:pt x="1197095" y="4217042"/>
                </a:moveTo>
                <a:cubicBezTo>
                  <a:pt x="1209448" y="4240294"/>
                  <a:pt x="1178563" y="4274005"/>
                  <a:pt x="1187828" y="4297257"/>
                </a:cubicBezTo>
                <a:cubicBezTo>
                  <a:pt x="1184740" y="4303070"/>
                  <a:pt x="1181652" y="4308881"/>
                  <a:pt x="1178563" y="4314695"/>
                </a:cubicBezTo>
                <a:cubicBezTo>
                  <a:pt x="1172385" y="4285631"/>
                  <a:pt x="1191946" y="4249592"/>
                  <a:pt x="1197095" y="4217042"/>
                </a:cubicBezTo>
                <a:close/>
                <a:moveTo>
                  <a:pt x="1458590" y="4206580"/>
                </a:moveTo>
                <a:cubicBezTo>
                  <a:pt x="1464767" y="4212393"/>
                  <a:pt x="1453443" y="4224019"/>
                  <a:pt x="1462708" y="4228668"/>
                </a:cubicBezTo>
                <a:cubicBezTo>
                  <a:pt x="1450353" y="4244943"/>
                  <a:pt x="1452413" y="4262381"/>
                  <a:pt x="1449325" y="4275169"/>
                </a:cubicBezTo>
                <a:cubicBezTo>
                  <a:pt x="1446236" y="4284469"/>
                  <a:pt x="1443147" y="4289119"/>
                  <a:pt x="1447265" y="4298420"/>
                </a:cubicBezTo>
                <a:cubicBezTo>
                  <a:pt x="1441089" y="4306558"/>
                  <a:pt x="1438000" y="4329808"/>
                  <a:pt x="1428734" y="4314695"/>
                </a:cubicBezTo>
                <a:cubicBezTo>
                  <a:pt x="1440059" y="4307719"/>
                  <a:pt x="1440059" y="4277493"/>
                  <a:pt x="1443147" y="4256569"/>
                </a:cubicBezTo>
                <a:cubicBezTo>
                  <a:pt x="1444177" y="4254243"/>
                  <a:pt x="1449325" y="4249592"/>
                  <a:pt x="1448294" y="4247268"/>
                </a:cubicBezTo>
                <a:cubicBezTo>
                  <a:pt x="1448294" y="4247268"/>
                  <a:pt x="1444177" y="4244943"/>
                  <a:pt x="1444177" y="4244943"/>
                </a:cubicBezTo>
                <a:cubicBezTo>
                  <a:pt x="1447265" y="4232155"/>
                  <a:pt x="1456532" y="4220530"/>
                  <a:pt x="1458590" y="4206580"/>
                </a:cubicBezTo>
                <a:close/>
                <a:moveTo>
                  <a:pt x="1332408" y="4131496"/>
                </a:moveTo>
                <a:lnTo>
                  <a:pt x="1332989" y="4132180"/>
                </a:lnTo>
                <a:cubicBezTo>
                  <a:pt x="1333503" y="4133923"/>
                  <a:pt x="1331959" y="4137701"/>
                  <a:pt x="1331444" y="4140753"/>
                </a:cubicBezTo>
                <a:lnTo>
                  <a:pt x="1336077" y="4144968"/>
                </a:lnTo>
                <a:lnTo>
                  <a:pt x="1334019" y="4149615"/>
                </a:lnTo>
                <a:cubicBezTo>
                  <a:pt x="1330931" y="4154265"/>
                  <a:pt x="1335049" y="4154265"/>
                  <a:pt x="1335049" y="4156590"/>
                </a:cubicBezTo>
                <a:cubicBezTo>
                  <a:pt x="1331960" y="4175191"/>
                  <a:pt x="1322695" y="4196117"/>
                  <a:pt x="1325783" y="4205418"/>
                </a:cubicBezTo>
                <a:cubicBezTo>
                  <a:pt x="1325783" y="4207742"/>
                  <a:pt x="1320635" y="4212393"/>
                  <a:pt x="1320635" y="4214716"/>
                </a:cubicBezTo>
                <a:cubicBezTo>
                  <a:pt x="1317547" y="4226342"/>
                  <a:pt x="1317547" y="4228668"/>
                  <a:pt x="1312400" y="4240294"/>
                </a:cubicBezTo>
                <a:cubicBezTo>
                  <a:pt x="1310340" y="4243781"/>
                  <a:pt x="1313428" y="4246105"/>
                  <a:pt x="1313428" y="4247268"/>
                </a:cubicBezTo>
                <a:lnTo>
                  <a:pt x="1304162" y="4279467"/>
                </a:lnTo>
                <a:lnTo>
                  <a:pt x="1304162" y="4264708"/>
                </a:lnTo>
                <a:lnTo>
                  <a:pt x="1302421" y="4266204"/>
                </a:lnTo>
                <a:lnTo>
                  <a:pt x="1306222" y="4250755"/>
                </a:lnTo>
                <a:cubicBezTo>
                  <a:pt x="1307252" y="4247268"/>
                  <a:pt x="1305194" y="4244943"/>
                  <a:pt x="1305194" y="4243781"/>
                </a:cubicBezTo>
                <a:lnTo>
                  <a:pt x="1308522" y="4232435"/>
                </a:lnTo>
                <a:lnTo>
                  <a:pt x="1309309" y="4234918"/>
                </a:lnTo>
                <a:cubicBezTo>
                  <a:pt x="1312398" y="4235645"/>
                  <a:pt x="1316001" y="4233901"/>
                  <a:pt x="1315487" y="4229833"/>
                </a:cubicBezTo>
                <a:cubicBezTo>
                  <a:pt x="1313427" y="4229833"/>
                  <a:pt x="1311368" y="4229833"/>
                  <a:pt x="1312398" y="4225182"/>
                </a:cubicBezTo>
                <a:lnTo>
                  <a:pt x="1310648" y="4225182"/>
                </a:lnTo>
                <a:lnTo>
                  <a:pt x="1318706" y="4197715"/>
                </a:lnTo>
                <a:lnTo>
                  <a:pt x="1321852" y="4183851"/>
                </a:lnTo>
                <a:lnTo>
                  <a:pt x="1329900" y="4172867"/>
                </a:lnTo>
                <a:cubicBezTo>
                  <a:pt x="1330414" y="4168218"/>
                  <a:pt x="1330157" y="4164149"/>
                  <a:pt x="1329128" y="4161243"/>
                </a:cubicBezTo>
                <a:lnTo>
                  <a:pt x="1324158" y="4156967"/>
                </a:lnTo>
                <a:lnTo>
                  <a:pt x="1328871" y="4148453"/>
                </a:lnTo>
                <a:close/>
                <a:moveTo>
                  <a:pt x="1522419" y="4107764"/>
                </a:moveTo>
                <a:cubicBezTo>
                  <a:pt x="1530656" y="4101952"/>
                  <a:pt x="1530656" y="4122876"/>
                  <a:pt x="1530656" y="4132178"/>
                </a:cubicBezTo>
                <a:cubicBezTo>
                  <a:pt x="1530656" y="4134502"/>
                  <a:pt x="1531685" y="4137990"/>
                  <a:pt x="1531685" y="4139152"/>
                </a:cubicBezTo>
                <a:cubicBezTo>
                  <a:pt x="1530656" y="4148453"/>
                  <a:pt x="1520360" y="4172866"/>
                  <a:pt x="1518302" y="4185654"/>
                </a:cubicBezTo>
                <a:cubicBezTo>
                  <a:pt x="1517272" y="4187979"/>
                  <a:pt x="1512125" y="4192628"/>
                  <a:pt x="1513154" y="4194954"/>
                </a:cubicBezTo>
                <a:cubicBezTo>
                  <a:pt x="1516243" y="4204254"/>
                  <a:pt x="1506976" y="4207742"/>
                  <a:pt x="1502859" y="4225180"/>
                </a:cubicBezTo>
                <a:cubicBezTo>
                  <a:pt x="1500800" y="4232155"/>
                  <a:pt x="1501830" y="4240294"/>
                  <a:pt x="1500800" y="4248431"/>
                </a:cubicBezTo>
                <a:cubicBezTo>
                  <a:pt x="1498741" y="4258892"/>
                  <a:pt x="1493593" y="4268193"/>
                  <a:pt x="1492564" y="4274005"/>
                </a:cubicBezTo>
                <a:cubicBezTo>
                  <a:pt x="1491534" y="4280982"/>
                  <a:pt x="1496682" y="4282144"/>
                  <a:pt x="1495652" y="4289119"/>
                </a:cubicBezTo>
                <a:cubicBezTo>
                  <a:pt x="1494622" y="4293769"/>
                  <a:pt x="1488446" y="4298420"/>
                  <a:pt x="1488446" y="4303070"/>
                </a:cubicBezTo>
                <a:cubicBezTo>
                  <a:pt x="1488446" y="4311207"/>
                  <a:pt x="1497712" y="4317019"/>
                  <a:pt x="1492564" y="4325157"/>
                </a:cubicBezTo>
                <a:cubicBezTo>
                  <a:pt x="1489476" y="4335620"/>
                  <a:pt x="1483299" y="4334458"/>
                  <a:pt x="1479180" y="4340271"/>
                </a:cubicBezTo>
                <a:cubicBezTo>
                  <a:pt x="1476091" y="4349570"/>
                  <a:pt x="1485358" y="4341434"/>
                  <a:pt x="1487416" y="4346083"/>
                </a:cubicBezTo>
                <a:cubicBezTo>
                  <a:pt x="1488446" y="4348408"/>
                  <a:pt x="1480209" y="4356547"/>
                  <a:pt x="1486387" y="4357709"/>
                </a:cubicBezTo>
                <a:cubicBezTo>
                  <a:pt x="1478150" y="4367008"/>
                  <a:pt x="1471975" y="4369334"/>
                  <a:pt x="1471975" y="4384446"/>
                </a:cubicBezTo>
                <a:cubicBezTo>
                  <a:pt x="1471975" y="4390259"/>
                  <a:pt x="1470944" y="4393746"/>
                  <a:pt x="1468885" y="4400722"/>
                </a:cubicBezTo>
                <a:cubicBezTo>
                  <a:pt x="1467856" y="4404210"/>
                  <a:pt x="1469915" y="4406535"/>
                  <a:pt x="1469915" y="4407698"/>
                </a:cubicBezTo>
                <a:cubicBezTo>
                  <a:pt x="1468885" y="4411185"/>
                  <a:pt x="1453443" y="4428623"/>
                  <a:pt x="1455502" y="4434437"/>
                </a:cubicBezTo>
                <a:cubicBezTo>
                  <a:pt x="1457560" y="4440248"/>
                  <a:pt x="1459620" y="4442573"/>
                  <a:pt x="1458590" y="4449548"/>
                </a:cubicBezTo>
                <a:cubicBezTo>
                  <a:pt x="1454472" y="4468148"/>
                  <a:pt x="1439029" y="4487911"/>
                  <a:pt x="1433882" y="4506512"/>
                </a:cubicBezTo>
                <a:cubicBezTo>
                  <a:pt x="1431822" y="4513488"/>
                  <a:pt x="1436970" y="4516975"/>
                  <a:pt x="1436970" y="4521625"/>
                </a:cubicBezTo>
                <a:cubicBezTo>
                  <a:pt x="1435941" y="4528600"/>
                  <a:pt x="1428734" y="4534412"/>
                  <a:pt x="1427705" y="4540226"/>
                </a:cubicBezTo>
                <a:cubicBezTo>
                  <a:pt x="1427705" y="4543713"/>
                  <a:pt x="1430793" y="4554176"/>
                  <a:pt x="1430793" y="4555339"/>
                </a:cubicBezTo>
                <a:cubicBezTo>
                  <a:pt x="1428734" y="4563477"/>
                  <a:pt x="1421527" y="4569288"/>
                  <a:pt x="1419469" y="4577426"/>
                </a:cubicBezTo>
                <a:cubicBezTo>
                  <a:pt x="1416380" y="4592539"/>
                  <a:pt x="1417409" y="4608815"/>
                  <a:pt x="1412262" y="4623928"/>
                </a:cubicBezTo>
                <a:cubicBezTo>
                  <a:pt x="1410203" y="4620440"/>
                  <a:pt x="1411233" y="4615790"/>
                  <a:pt x="1407114" y="4613465"/>
                </a:cubicBezTo>
                <a:cubicBezTo>
                  <a:pt x="1397850" y="4618116"/>
                  <a:pt x="1405056" y="4633229"/>
                  <a:pt x="1402996" y="4641366"/>
                </a:cubicBezTo>
                <a:cubicBezTo>
                  <a:pt x="1399909" y="4655316"/>
                  <a:pt x="1390643" y="4662291"/>
                  <a:pt x="1390643" y="4676243"/>
                </a:cubicBezTo>
                <a:cubicBezTo>
                  <a:pt x="1390643" y="4685541"/>
                  <a:pt x="1385494" y="4685541"/>
                  <a:pt x="1382407" y="4701818"/>
                </a:cubicBezTo>
                <a:cubicBezTo>
                  <a:pt x="1379318" y="4714606"/>
                  <a:pt x="1382407" y="4729717"/>
                  <a:pt x="1377259" y="4741343"/>
                </a:cubicBezTo>
                <a:cubicBezTo>
                  <a:pt x="1371081" y="4719256"/>
                  <a:pt x="1372111" y="4741343"/>
                  <a:pt x="1365934" y="4763431"/>
                </a:cubicBezTo>
                <a:cubicBezTo>
                  <a:pt x="1360787" y="4782032"/>
                  <a:pt x="1345344" y="4808771"/>
                  <a:pt x="1355638" y="4823883"/>
                </a:cubicBezTo>
                <a:cubicBezTo>
                  <a:pt x="1348433" y="4830858"/>
                  <a:pt x="1348433" y="4833183"/>
                  <a:pt x="1346373" y="4842483"/>
                </a:cubicBezTo>
                <a:cubicBezTo>
                  <a:pt x="1344314" y="4847134"/>
                  <a:pt x="1341226" y="4858760"/>
                  <a:pt x="1344314" y="4865734"/>
                </a:cubicBezTo>
                <a:cubicBezTo>
                  <a:pt x="1335049" y="4873871"/>
                  <a:pt x="1330931" y="4884335"/>
                  <a:pt x="1323724" y="4906423"/>
                </a:cubicBezTo>
                <a:cubicBezTo>
                  <a:pt x="1320635" y="4915723"/>
                  <a:pt x="1316518" y="4927349"/>
                  <a:pt x="1315488" y="4931998"/>
                </a:cubicBezTo>
                <a:cubicBezTo>
                  <a:pt x="1314458" y="4937811"/>
                  <a:pt x="1310340" y="4952925"/>
                  <a:pt x="1319606" y="4954086"/>
                </a:cubicBezTo>
                <a:cubicBezTo>
                  <a:pt x="1314458" y="4958736"/>
                  <a:pt x="1312400" y="4980824"/>
                  <a:pt x="1304163" y="4973849"/>
                </a:cubicBezTo>
                <a:cubicBezTo>
                  <a:pt x="1302104" y="4986637"/>
                  <a:pt x="1313428" y="4997100"/>
                  <a:pt x="1299015" y="5013375"/>
                </a:cubicBezTo>
                <a:cubicBezTo>
                  <a:pt x="1296957" y="5009888"/>
                  <a:pt x="1296957" y="5006401"/>
                  <a:pt x="1293868" y="5002914"/>
                </a:cubicBezTo>
                <a:cubicBezTo>
                  <a:pt x="1280484" y="4988962"/>
                  <a:pt x="1292838" y="4999425"/>
                  <a:pt x="1295927" y="4979662"/>
                </a:cubicBezTo>
                <a:cubicBezTo>
                  <a:pt x="1297986" y="4969200"/>
                  <a:pt x="1295927" y="4954086"/>
                  <a:pt x="1304163" y="4954086"/>
                </a:cubicBezTo>
                <a:cubicBezTo>
                  <a:pt x="1299015" y="4936649"/>
                  <a:pt x="1315488" y="4914560"/>
                  <a:pt x="1312400" y="4897122"/>
                </a:cubicBezTo>
                <a:cubicBezTo>
                  <a:pt x="1326812" y="4885497"/>
                  <a:pt x="1337108" y="4858760"/>
                  <a:pt x="1323724" y="4843647"/>
                </a:cubicBezTo>
                <a:cubicBezTo>
                  <a:pt x="1327842" y="4840159"/>
                  <a:pt x="1332990" y="4845970"/>
                  <a:pt x="1336078" y="4840159"/>
                </a:cubicBezTo>
                <a:cubicBezTo>
                  <a:pt x="1343284" y="4829695"/>
                  <a:pt x="1346373" y="4791332"/>
                  <a:pt x="1351521" y="4770406"/>
                </a:cubicBezTo>
                <a:cubicBezTo>
                  <a:pt x="1352551" y="4768082"/>
                  <a:pt x="1356668" y="4762269"/>
                  <a:pt x="1356668" y="4761105"/>
                </a:cubicBezTo>
                <a:cubicBezTo>
                  <a:pt x="1353581" y="4748318"/>
                  <a:pt x="1363876" y="4726231"/>
                  <a:pt x="1375200" y="4705305"/>
                </a:cubicBezTo>
                <a:cubicBezTo>
                  <a:pt x="1372111" y="4700655"/>
                  <a:pt x="1378288" y="4694841"/>
                  <a:pt x="1378288" y="4689030"/>
                </a:cubicBezTo>
                <a:cubicBezTo>
                  <a:pt x="1378288" y="4685541"/>
                  <a:pt x="1375200" y="4676243"/>
                  <a:pt x="1375200" y="4673917"/>
                </a:cubicBezTo>
                <a:cubicBezTo>
                  <a:pt x="1376228" y="4666942"/>
                  <a:pt x="1382407" y="4661130"/>
                  <a:pt x="1384466" y="4655316"/>
                </a:cubicBezTo>
                <a:cubicBezTo>
                  <a:pt x="1387553" y="4643691"/>
                  <a:pt x="1390643" y="4634391"/>
                  <a:pt x="1398877" y="4615790"/>
                </a:cubicBezTo>
                <a:cubicBezTo>
                  <a:pt x="1400937" y="4611140"/>
                  <a:pt x="1397850" y="4609977"/>
                  <a:pt x="1397850" y="4608815"/>
                </a:cubicBezTo>
                <a:cubicBezTo>
                  <a:pt x="1399909" y="4600677"/>
                  <a:pt x="1405056" y="4607653"/>
                  <a:pt x="1407114" y="4590215"/>
                </a:cubicBezTo>
                <a:cubicBezTo>
                  <a:pt x="1408144" y="4589052"/>
                  <a:pt x="1405056" y="4587889"/>
                  <a:pt x="1406084" y="4583240"/>
                </a:cubicBezTo>
                <a:cubicBezTo>
                  <a:pt x="1407114" y="4579752"/>
                  <a:pt x="1410203" y="4577426"/>
                  <a:pt x="1411233" y="4573939"/>
                </a:cubicBezTo>
                <a:cubicBezTo>
                  <a:pt x="1413292" y="4566965"/>
                  <a:pt x="1412262" y="4558827"/>
                  <a:pt x="1413292" y="4550689"/>
                </a:cubicBezTo>
                <a:cubicBezTo>
                  <a:pt x="1414320" y="4543713"/>
                  <a:pt x="1421527" y="4535576"/>
                  <a:pt x="1415350" y="4527437"/>
                </a:cubicBezTo>
                <a:cubicBezTo>
                  <a:pt x="1417409" y="4521625"/>
                  <a:pt x="1420498" y="4520463"/>
                  <a:pt x="1423587" y="4521625"/>
                </a:cubicBezTo>
                <a:cubicBezTo>
                  <a:pt x="1426676" y="4525113"/>
                  <a:pt x="1427705" y="4522788"/>
                  <a:pt x="1429763" y="4520463"/>
                </a:cubicBezTo>
                <a:cubicBezTo>
                  <a:pt x="1431822" y="4507675"/>
                  <a:pt x="1440059" y="4493724"/>
                  <a:pt x="1431822" y="4484423"/>
                </a:cubicBezTo>
                <a:cubicBezTo>
                  <a:pt x="1439029" y="4462336"/>
                  <a:pt x="1449325" y="4444898"/>
                  <a:pt x="1454472" y="4420485"/>
                </a:cubicBezTo>
                <a:cubicBezTo>
                  <a:pt x="1455502" y="4420485"/>
                  <a:pt x="1452413" y="4416998"/>
                  <a:pt x="1453443" y="4413510"/>
                </a:cubicBezTo>
                <a:cubicBezTo>
                  <a:pt x="1456532" y="4403047"/>
                  <a:pt x="1459620" y="4401884"/>
                  <a:pt x="1461678" y="4387935"/>
                </a:cubicBezTo>
                <a:cubicBezTo>
                  <a:pt x="1461678" y="4384446"/>
                  <a:pt x="1458590" y="4375147"/>
                  <a:pt x="1458590" y="4372822"/>
                </a:cubicBezTo>
                <a:cubicBezTo>
                  <a:pt x="1461678" y="4357709"/>
                  <a:pt x="1471975" y="4337946"/>
                  <a:pt x="1474033" y="4321671"/>
                </a:cubicBezTo>
                <a:cubicBezTo>
                  <a:pt x="1475063" y="4319345"/>
                  <a:pt x="1480209" y="4314695"/>
                  <a:pt x="1479180" y="4312370"/>
                </a:cubicBezTo>
                <a:cubicBezTo>
                  <a:pt x="1476091" y="4303070"/>
                  <a:pt x="1491534" y="4271682"/>
                  <a:pt x="1493593" y="4254243"/>
                </a:cubicBezTo>
                <a:cubicBezTo>
                  <a:pt x="1494622" y="4253081"/>
                  <a:pt x="1491534" y="4251918"/>
                  <a:pt x="1492564" y="4247268"/>
                </a:cubicBezTo>
                <a:cubicBezTo>
                  <a:pt x="1497712" y="4228668"/>
                  <a:pt x="1502859" y="4208905"/>
                  <a:pt x="1509036" y="4184491"/>
                </a:cubicBezTo>
                <a:cubicBezTo>
                  <a:pt x="1510065" y="4179841"/>
                  <a:pt x="1510065" y="4175191"/>
                  <a:pt x="1512125" y="4168216"/>
                </a:cubicBezTo>
                <a:cubicBezTo>
                  <a:pt x="1512125" y="4168216"/>
                  <a:pt x="1515213" y="4151940"/>
                  <a:pt x="1515213" y="4151940"/>
                </a:cubicBezTo>
                <a:cubicBezTo>
                  <a:pt x="1515213" y="4151940"/>
                  <a:pt x="1511095" y="4149615"/>
                  <a:pt x="1511095" y="4149615"/>
                </a:cubicBezTo>
                <a:cubicBezTo>
                  <a:pt x="1514183" y="4135665"/>
                  <a:pt x="1527568" y="4124039"/>
                  <a:pt x="1522419" y="4107764"/>
                </a:cubicBezTo>
                <a:close/>
                <a:moveTo>
                  <a:pt x="1491052" y="4061317"/>
                </a:moveTo>
                <a:cubicBezTo>
                  <a:pt x="1494237" y="4064532"/>
                  <a:pt x="1488446" y="4081317"/>
                  <a:pt x="1488446" y="4085676"/>
                </a:cubicBezTo>
                <a:cubicBezTo>
                  <a:pt x="1488446" y="4088001"/>
                  <a:pt x="1491534" y="4099626"/>
                  <a:pt x="1491534" y="4100789"/>
                </a:cubicBezTo>
                <a:cubicBezTo>
                  <a:pt x="1488446" y="4108927"/>
                  <a:pt x="1483299" y="4105440"/>
                  <a:pt x="1481239" y="4110089"/>
                </a:cubicBezTo>
                <a:cubicBezTo>
                  <a:pt x="1477121" y="4107764"/>
                  <a:pt x="1481239" y="4103114"/>
                  <a:pt x="1482269" y="4098463"/>
                </a:cubicBezTo>
                <a:cubicBezTo>
                  <a:pt x="1483299" y="4091488"/>
                  <a:pt x="1482269" y="4085676"/>
                  <a:pt x="1481239" y="4079864"/>
                </a:cubicBezTo>
                <a:cubicBezTo>
                  <a:pt x="1479180" y="4068238"/>
                  <a:pt x="1487416" y="4072889"/>
                  <a:pt x="1484327" y="4063587"/>
                </a:cubicBezTo>
                <a:cubicBezTo>
                  <a:pt x="1487931" y="4060680"/>
                  <a:pt x="1489990" y="4060245"/>
                  <a:pt x="1491052" y="4061317"/>
                </a:cubicBezTo>
                <a:close/>
                <a:moveTo>
                  <a:pt x="1038549" y="3978723"/>
                </a:moveTo>
                <a:cubicBezTo>
                  <a:pt x="1046785" y="3985699"/>
                  <a:pt x="1041638" y="3996162"/>
                  <a:pt x="1034431" y="4006624"/>
                </a:cubicBezTo>
                <a:cubicBezTo>
                  <a:pt x="1030314" y="3998486"/>
                  <a:pt x="1036490" y="3988023"/>
                  <a:pt x="1038549" y="3978723"/>
                </a:cubicBezTo>
                <a:close/>
                <a:moveTo>
                  <a:pt x="1583161" y="3975235"/>
                </a:moveTo>
                <a:cubicBezTo>
                  <a:pt x="1588308" y="3989186"/>
                  <a:pt x="1579043" y="4004300"/>
                  <a:pt x="1575955" y="4019412"/>
                </a:cubicBezTo>
                <a:cubicBezTo>
                  <a:pt x="1572865" y="4033362"/>
                  <a:pt x="1572865" y="4049638"/>
                  <a:pt x="1564631" y="4061264"/>
                </a:cubicBezTo>
                <a:cubicBezTo>
                  <a:pt x="1566688" y="4106601"/>
                  <a:pt x="1544040" y="4160078"/>
                  <a:pt x="1535802" y="4208905"/>
                </a:cubicBezTo>
                <a:cubicBezTo>
                  <a:pt x="1532715" y="4217042"/>
                  <a:pt x="1527568" y="4214716"/>
                  <a:pt x="1529626" y="4210067"/>
                </a:cubicBezTo>
                <a:cubicBezTo>
                  <a:pt x="1537862" y="4170541"/>
                  <a:pt x="1546099" y="4132178"/>
                  <a:pt x="1554334" y="4091488"/>
                </a:cubicBezTo>
                <a:cubicBezTo>
                  <a:pt x="1562571" y="4054288"/>
                  <a:pt x="1568747" y="4013599"/>
                  <a:pt x="1583161" y="3975235"/>
                </a:cubicBezTo>
                <a:close/>
                <a:moveTo>
                  <a:pt x="1503889" y="3955472"/>
                </a:moveTo>
                <a:cubicBezTo>
                  <a:pt x="1504919" y="3960123"/>
                  <a:pt x="1510065" y="3969423"/>
                  <a:pt x="1515213" y="3963611"/>
                </a:cubicBezTo>
                <a:cubicBezTo>
                  <a:pt x="1520360" y="3968261"/>
                  <a:pt x="1513154" y="3974073"/>
                  <a:pt x="1512125" y="3979887"/>
                </a:cubicBezTo>
                <a:cubicBezTo>
                  <a:pt x="1511095" y="3991511"/>
                  <a:pt x="1518302" y="3997324"/>
                  <a:pt x="1500800" y="4001974"/>
                </a:cubicBezTo>
                <a:cubicBezTo>
                  <a:pt x="1499770" y="4017086"/>
                  <a:pt x="1508007" y="4028712"/>
                  <a:pt x="1499770" y="4044987"/>
                </a:cubicBezTo>
                <a:cubicBezTo>
                  <a:pt x="1480209" y="4033362"/>
                  <a:pt x="1499770" y="4011275"/>
                  <a:pt x="1492564" y="3996162"/>
                </a:cubicBezTo>
                <a:cubicBezTo>
                  <a:pt x="1495652" y="3991511"/>
                  <a:pt x="1499770" y="3996162"/>
                  <a:pt x="1502859" y="3997324"/>
                </a:cubicBezTo>
                <a:cubicBezTo>
                  <a:pt x="1515213" y="3979887"/>
                  <a:pt x="1486387" y="3972910"/>
                  <a:pt x="1503889" y="3955472"/>
                </a:cubicBezTo>
                <a:close/>
                <a:moveTo>
                  <a:pt x="1554614" y="3947359"/>
                </a:moveTo>
                <a:lnTo>
                  <a:pt x="1562827" y="3948061"/>
                </a:lnTo>
                <a:cubicBezTo>
                  <a:pt x="1564887" y="3951986"/>
                  <a:pt x="1565659" y="3957798"/>
                  <a:pt x="1563601" y="3960123"/>
                </a:cubicBezTo>
                <a:cubicBezTo>
                  <a:pt x="1549188" y="3992674"/>
                  <a:pt x="1558452" y="4031037"/>
                  <a:pt x="1536832" y="4053125"/>
                </a:cubicBezTo>
                <a:cubicBezTo>
                  <a:pt x="1536832" y="4067075"/>
                  <a:pt x="1545069" y="4079864"/>
                  <a:pt x="1529626" y="4097302"/>
                </a:cubicBezTo>
                <a:cubicBezTo>
                  <a:pt x="1523449" y="4082188"/>
                  <a:pt x="1531685" y="4055451"/>
                  <a:pt x="1535802" y="4033362"/>
                </a:cubicBezTo>
                <a:cubicBezTo>
                  <a:pt x="1538892" y="4019412"/>
                  <a:pt x="1541981" y="4008949"/>
                  <a:pt x="1547128" y="3991511"/>
                </a:cubicBezTo>
                <a:cubicBezTo>
                  <a:pt x="1549188" y="3986861"/>
                  <a:pt x="1547128" y="3977561"/>
                  <a:pt x="1549188" y="3968261"/>
                </a:cubicBezTo>
                <a:lnTo>
                  <a:pt x="1551570" y="3963492"/>
                </a:lnTo>
                <a:lnTo>
                  <a:pt x="1552405" y="3963028"/>
                </a:lnTo>
                <a:lnTo>
                  <a:pt x="1552623" y="3961384"/>
                </a:lnTo>
                <a:lnTo>
                  <a:pt x="1554850" y="3956926"/>
                </a:lnTo>
                <a:lnTo>
                  <a:pt x="1554385" y="3948289"/>
                </a:lnTo>
                <a:close/>
                <a:moveTo>
                  <a:pt x="1421527" y="3945011"/>
                </a:moveTo>
                <a:cubicBezTo>
                  <a:pt x="1429763" y="3955472"/>
                  <a:pt x="1417409" y="3967098"/>
                  <a:pt x="1415350" y="3977561"/>
                </a:cubicBezTo>
                <a:cubicBezTo>
                  <a:pt x="1414320" y="3981049"/>
                  <a:pt x="1418439" y="3990348"/>
                  <a:pt x="1418439" y="3992674"/>
                </a:cubicBezTo>
                <a:cubicBezTo>
                  <a:pt x="1417409" y="3999649"/>
                  <a:pt x="1411233" y="4004300"/>
                  <a:pt x="1409174" y="4011275"/>
                </a:cubicBezTo>
                <a:cubicBezTo>
                  <a:pt x="1409174" y="4040337"/>
                  <a:pt x="1396820" y="4069401"/>
                  <a:pt x="1390643" y="4097302"/>
                </a:cubicBezTo>
                <a:cubicBezTo>
                  <a:pt x="1384466" y="4125202"/>
                  <a:pt x="1384466" y="4153103"/>
                  <a:pt x="1375200" y="4178679"/>
                </a:cubicBezTo>
                <a:cubicBezTo>
                  <a:pt x="1358727" y="4164729"/>
                  <a:pt x="1376228" y="4148453"/>
                  <a:pt x="1380347" y="4126364"/>
                </a:cubicBezTo>
                <a:cubicBezTo>
                  <a:pt x="1381377" y="4125202"/>
                  <a:pt x="1377259" y="4124039"/>
                  <a:pt x="1379318" y="4119390"/>
                </a:cubicBezTo>
                <a:cubicBezTo>
                  <a:pt x="1380347" y="4117064"/>
                  <a:pt x="1381377" y="4107764"/>
                  <a:pt x="1382407" y="4103114"/>
                </a:cubicBezTo>
                <a:cubicBezTo>
                  <a:pt x="1384466" y="4092652"/>
                  <a:pt x="1389613" y="4083351"/>
                  <a:pt x="1392701" y="4072889"/>
                </a:cubicBezTo>
                <a:cubicBezTo>
                  <a:pt x="1393731" y="4071726"/>
                  <a:pt x="1389613" y="4070564"/>
                  <a:pt x="1391671" y="4065913"/>
                </a:cubicBezTo>
                <a:cubicBezTo>
                  <a:pt x="1396820" y="4055451"/>
                  <a:pt x="1404026" y="4024062"/>
                  <a:pt x="1406084" y="4007786"/>
                </a:cubicBezTo>
                <a:cubicBezTo>
                  <a:pt x="1407114" y="4005461"/>
                  <a:pt x="1412262" y="4000811"/>
                  <a:pt x="1411233" y="3998486"/>
                </a:cubicBezTo>
                <a:cubicBezTo>
                  <a:pt x="1410203" y="3995000"/>
                  <a:pt x="1411233" y="3985699"/>
                  <a:pt x="1415350" y="3970586"/>
                </a:cubicBezTo>
                <a:cubicBezTo>
                  <a:pt x="1417409" y="3962448"/>
                  <a:pt x="1416380" y="3951986"/>
                  <a:pt x="1421527" y="3945011"/>
                </a:cubicBezTo>
                <a:close/>
                <a:moveTo>
                  <a:pt x="1126160" y="3923450"/>
                </a:moveTo>
                <a:lnTo>
                  <a:pt x="1127602" y="3930915"/>
                </a:lnTo>
                <a:cubicBezTo>
                  <a:pt x="1128374" y="3933966"/>
                  <a:pt x="1129146" y="3936873"/>
                  <a:pt x="1129146" y="3938035"/>
                </a:cubicBezTo>
                <a:cubicBezTo>
                  <a:pt x="1126057" y="3950822"/>
                  <a:pt x="1118851" y="3955472"/>
                  <a:pt x="1118851" y="3968261"/>
                </a:cubicBezTo>
                <a:cubicBezTo>
                  <a:pt x="1118851" y="3976399"/>
                  <a:pt x="1112674" y="4000811"/>
                  <a:pt x="1109586" y="4017086"/>
                </a:cubicBezTo>
                <a:cubicBezTo>
                  <a:pt x="1106497" y="4031037"/>
                  <a:pt x="1106497" y="4043825"/>
                  <a:pt x="1101350" y="4056613"/>
                </a:cubicBezTo>
                <a:cubicBezTo>
                  <a:pt x="1092084" y="4047312"/>
                  <a:pt x="1102379" y="4032199"/>
                  <a:pt x="1103408" y="4020575"/>
                </a:cubicBezTo>
                <a:cubicBezTo>
                  <a:pt x="1104438" y="4019412"/>
                  <a:pt x="1101350" y="4018250"/>
                  <a:pt x="1102379" y="4013599"/>
                </a:cubicBezTo>
                <a:cubicBezTo>
                  <a:pt x="1103408" y="4010111"/>
                  <a:pt x="1107527" y="4007786"/>
                  <a:pt x="1107527" y="4004300"/>
                </a:cubicBezTo>
                <a:cubicBezTo>
                  <a:pt x="1107527" y="4000811"/>
                  <a:pt x="1104438" y="3991511"/>
                  <a:pt x="1104438" y="3989186"/>
                </a:cubicBezTo>
                <a:cubicBezTo>
                  <a:pt x="1107527" y="3975235"/>
                  <a:pt x="1117821" y="3967098"/>
                  <a:pt x="1118851" y="3950822"/>
                </a:cubicBezTo>
                <a:cubicBezTo>
                  <a:pt x="1118851" y="3949079"/>
                  <a:pt x="1118079" y="3945882"/>
                  <a:pt x="1117306" y="3942831"/>
                </a:cubicBezTo>
                <a:lnTo>
                  <a:pt x="1116952" y="3941193"/>
                </a:lnTo>
                <a:lnTo>
                  <a:pt x="1122967" y="3928737"/>
                </a:lnTo>
                <a:close/>
                <a:moveTo>
                  <a:pt x="1278425" y="3915946"/>
                </a:moveTo>
                <a:cubicBezTo>
                  <a:pt x="1273277" y="3928735"/>
                  <a:pt x="1259894" y="3945011"/>
                  <a:pt x="1270189" y="3953147"/>
                </a:cubicBezTo>
                <a:cubicBezTo>
                  <a:pt x="1277395" y="3939197"/>
                  <a:pt x="1281514" y="3926410"/>
                  <a:pt x="1278425" y="3915946"/>
                </a:cubicBezTo>
                <a:close/>
                <a:moveTo>
                  <a:pt x="1496168" y="3914348"/>
                </a:moveTo>
                <a:cubicBezTo>
                  <a:pt x="1496168" y="3916237"/>
                  <a:pt x="1495138" y="3919434"/>
                  <a:pt x="1493593" y="3921760"/>
                </a:cubicBezTo>
                <a:cubicBezTo>
                  <a:pt x="1495652" y="3927572"/>
                  <a:pt x="1490506" y="3931059"/>
                  <a:pt x="1490506" y="3938035"/>
                </a:cubicBezTo>
                <a:cubicBezTo>
                  <a:pt x="1490506" y="3942685"/>
                  <a:pt x="1493593" y="3950822"/>
                  <a:pt x="1493593" y="3953148"/>
                </a:cubicBezTo>
                <a:cubicBezTo>
                  <a:pt x="1492564" y="3963611"/>
                  <a:pt x="1479180" y="3975235"/>
                  <a:pt x="1487416" y="3985699"/>
                </a:cubicBezTo>
                <a:cubicBezTo>
                  <a:pt x="1476091" y="4001974"/>
                  <a:pt x="1478150" y="3997324"/>
                  <a:pt x="1470944" y="4017086"/>
                </a:cubicBezTo>
                <a:cubicBezTo>
                  <a:pt x="1469915" y="4027550"/>
                  <a:pt x="1483299" y="4034525"/>
                  <a:pt x="1470944" y="4048474"/>
                </a:cubicBezTo>
                <a:cubicBezTo>
                  <a:pt x="1443147" y="4032199"/>
                  <a:pt x="1477121" y="3999649"/>
                  <a:pt x="1469915" y="3978723"/>
                </a:cubicBezTo>
                <a:cubicBezTo>
                  <a:pt x="1493593" y="3963611"/>
                  <a:pt x="1484327" y="3936873"/>
                  <a:pt x="1492564" y="3914784"/>
                </a:cubicBezTo>
                <a:cubicBezTo>
                  <a:pt x="1495138" y="3911877"/>
                  <a:pt x="1496168" y="3912458"/>
                  <a:pt x="1496168" y="3914348"/>
                </a:cubicBezTo>
                <a:close/>
                <a:moveTo>
                  <a:pt x="1316518" y="3893859"/>
                </a:moveTo>
                <a:cubicBezTo>
                  <a:pt x="1323724" y="3888047"/>
                  <a:pt x="1319606" y="3899671"/>
                  <a:pt x="1315488" y="3905485"/>
                </a:cubicBezTo>
                <a:cubicBezTo>
                  <a:pt x="1323724" y="3920597"/>
                  <a:pt x="1305194" y="3903159"/>
                  <a:pt x="1316518" y="3893859"/>
                </a:cubicBezTo>
                <a:close/>
                <a:moveTo>
                  <a:pt x="1001488" y="3876421"/>
                </a:moveTo>
                <a:cubicBezTo>
                  <a:pt x="1004575" y="3884558"/>
                  <a:pt x="1009722" y="3892696"/>
                  <a:pt x="1003547" y="3903159"/>
                </a:cubicBezTo>
                <a:cubicBezTo>
                  <a:pt x="993251" y="3897345"/>
                  <a:pt x="998398" y="3885721"/>
                  <a:pt x="1001488" y="3876421"/>
                </a:cubicBezTo>
                <a:close/>
                <a:moveTo>
                  <a:pt x="1523385" y="3874113"/>
                </a:moveTo>
                <a:cubicBezTo>
                  <a:pt x="1526280" y="3877656"/>
                  <a:pt x="1521647" y="3897055"/>
                  <a:pt x="1528597" y="3885721"/>
                </a:cubicBezTo>
                <a:cubicBezTo>
                  <a:pt x="1534775" y="3896183"/>
                  <a:pt x="1523449" y="3911297"/>
                  <a:pt x="1523449" y="3925247"/>
                </a:cubicBezTo>
                <a:cubicBezTo>
                  <a:pt x="1523449" y="3931059"/>
                  <a:pt x="1524478" y="3938035"/>
                  <a:pt x="1516243" y="3951986"/>
                </a:cubicBezTo>
                <a:cubicBezTo>
                  <a:pt x="1514183" y="3946173"/>
                  <a:pt x="1512125" y="3941522"/>
                  <a:pt x="1508007" y="3946173"/>
                </a:cubicBezTo>
                <a:cubicBezTo>
                  <a:pt x="1502859" y="3938035"/>
                  <a:pt x="1512125" y="3936873"/>
                  <a:pt x="1515213" y="3932221"/>
                </a:cubicBezTo>
                <a:cubicBezTo>
                  <a:pt x="1516243" y="3921760"/>
                  <a:pt x="1514183" y="3912458"/>
                  <a:pt x="1509036" y="3903159"/>
                </a:cubicBezTo>
                <a:cubicBezTo>
                  <a:pt x="1511095" y="3895022"/>
                  <a:pt x="1526538" y="3883396"/>
                  <a:pt x="1517272" y="3877583"/>
                </a:cubicBezTo>
                <a:cubicBezTo>
                  <a:pt x="1520618" y="3873514"/>
                  <a:pt x="1522419" y="3872933"/>
                  <a:pt x="1523385" y="3874113"/>
                </a:cubicBezTo>
                <a:close/>
                <a:moveTo>
                  <a:pt x="1530817" y="3836858"/>
                </a:moveTo>
                <a:cubicBezTo>
                  <a:pt x="1531557" y="3837621"/>
                  <a:pt x="1530914" y="3840382"/>
                  <a:pt x="1527568" y="3846195"/>
                </a:cubicBezTo>
                <a:cubicBezTo>
                  <a:pt x="1525508" y="3849682"/>
                  <a:pt x="1524478" y="3852008"/>
                  <a:pt x="1522419" y="3855495"/>
                </a:cubicBezTo>
                <a:cubicBezTo>
                  <a:pt x="1513926" y="3850263"/>
                  <a:pt x="1528597" y="3834569"/>
                  <a:pt x="1530817" y="3836858"/>
                </a:cubicBezTo>
                <a:close/>
                <a:moveTo>
                  <a:pt x="1378288" y="3826432"/>
                </a:moveTo>
                <a:cubicBezTo>
                  <a:pt x="1384466" y="3835733"/>
                  <a:pt x="1383436" y="3848520"/>
                  <a:pt x="1376228" y="3862471"/>
                </a:cubicBezTo>
                <a:lnTo>
                  <a:pt x="1371635" y="3848596"/>
                </a:lnTo>
                <a:lnTo>
                  <a:pt x="1372240" y="3846921"/>
                </a:lnTo>
                <a:lnTo>
                  <a:pt x="1374007" y="3837331"/>
                </a:lnTo>
                <a:close/>
                <a:moveTo>
                  <a:pt x="1118851" y="3793881"/>
                </a:moveTo>
                <a:lnTo>
                  <a:pt x="1118322" y="3803405"/>
                </a:lnTo>
                <a:lnTo>
                  <a:pt x="1111301" y="3827980"/>
                </a:lnTo>
                <a:close/>
                <a:moveTo>
                  <a:pt x="1429334" y="3784418"/>
                </a:moveTo>
                <a:lnTo>
                  <a:pt x="1430793" y="3791556"/>
                </a:lnTo>
                <a:cubicBezTo>
                  <a:pt x="1429763" y="3795044"/>
                  <a:pt x="1426676" y="3797368"/>
                  <a:pt x="1425646" y="3800857"/>
                </a:cubicBezTo>
                <a:cubicBezTo>
                  <a:pt x="1422557" y="3810157"/>
                  <a:pt x="1422557" y="3820619"/>
                  <a:pt x="1421527" y="3828758"/>
                </a:cubicBezTo>
                <a:cubicBezTo>
                  <a:pt x="1420498" y="3831081"/>
                  <a:pt x="1423587" y="3831081"/>
                  <a:pt x="1422557" y="3835733"/>
                </a:cubicBezTo>
                <a:cubicBezTo>
                  <a:pt x="1420498" y="3842707"/>
                  <a:pt x="1420498" y="3841545"/>
                  <a:pt x="1421527" y="3847357"/>
                </a:cubicBezTo>
                <a:cubicBezTo>
                  <a:pt x="1422557" y="3852008"/>
                  <a:pt x="1413292" y="3861308"/>
                  <a:pt x="1412262" y="3865957"/>
                </a:cubicBezTo>
                <a:cubicBezTo>
                  <a:pt x="1412262" y="3868283"/>
                  <a:pt x="1415350" y="3877583"/>
                  <a:pt x="1415350" y="3881070"/>
                </a:cubicBezTo>
                <a:cubicBezTo>
                  <a:pt x="1415350" y="3893859"/>
                  <a:pt x="1410203" y="3903159"/>
                  <a:pt x="1409174" y="3913621"/>
                </a:cubicBezTo>
                <a:cubicBezTo>
                  <a:pt x="1409174" y="3920597"/>
                  <a:pt x="1411233" y="3925247"/>
                  <a:pt x="1410203" y="3932221"/>
                </a:cubicBezTo>
                <a:cubicBezTo>
                  <a:pt x="1408144" y="3938035"/>
                  <a:pt x="1404026" y="3949660"/>
                  <a:pt x="1401966" y="3957798"/>
                </a:cubicBezTo>
                <a:cubicBezTo>
                  <a:pt x="1397850" y="3972910"/>
                  <a:pt x="1394760" y="3985699"/>
                  <a:pt x="1395790" y="3990348"/>
                </a:cubicBezTo>
                <a:cubicBezTo>
                  <a:pt x="1395790" y="3992674"/>
                  <a:pt x="1390643" y="3997324"/>
                  <a:pt x="1390643" y="3999649"/>
                </a:cubicBezTo>
                <a:cubicBezTo>
                  <a:pt x="1390643" y="3999649"/>
                  <a:pt x="1394760" y="4000811"/>
                  <a:pt x="1394760" y="4001974"/>
                </a:cubicBezTo>
                <a:cubicBezTo>
                  <a:pt x="1394760" y="4004300"/>
                  <a:pt x="1389613" y="4008949"/>
                  <a:pt x="1389613" y="4011275"/>
                </a:cubicBezTo>
                <a:cubicBezTo>
                  <a:pt x="1387553" y="4029876"/>
                  <a:pt x="1384466" y="4041500"/>
                  <a:pt x="1380347" y="4060100"/>
                </a:cubicBezTo>
                <a:cubicBezTo>
                  <a:pt x="1375200" y="4081026"/>
                  <a:pt x="1371081" y="4098463"/>
                  <a:pt x="1365934" y="4118227"/>
                </a:cubicBezTo>
                <a:cubicBezTo>
                  <a:pt x="1361816" y="4134502"/>
                  <a:pt x="1356668" y="4149615"/>
                  <a:pt x="1357697" y="4155429"/>
                </a:cubicBezTo>
                <a:cubicBezTo>
                  <a:pt x="1360787" y="4169378"/>
                  <a:pt x="1352551" y="4176353"/>
                  <a:pt x="1351521" y="4187979"/>
                </a:cubicBezTo>
                <a:cubicBezTo>
                  <a:pt x="1350491" y="4193792"/>
                  <a:pt x="1360787" y="4204254"/>
                  <a:pt x="1349462" y="4211229"/>
                </a:cubicBezTo>
                <a:cubicBezTo>
                  <a:pt x="1354609" y="4213555"/>
                  <a:pt x="1353581" y="4218205"/>
                  <a:pt x="1354609" y="4221693"/>
                </a:cubicBezTo>
                <a:cubicBezTo>
                  <a:pt x="1357697" y="4233317"/>
                  <a:pt x="1355638" y="4233317"/>
                  <a:pt x="1352551" y="4244943"/>
                </a:cubicBezTo>
                <a:cubicBezTo>
                  <a:pt x="1350491" y="4249592"/>
                  <a:pt x="1353581" y="4249592"/>
                  <a:pt x="1353581" y="4251918"/>
                </a:cubicBezTo>
                <a:cubicBezTo>
                  <a:pt x="1352551" y="4261218"/>
                  <a:pt x="1352551" y="4270518"/>
                  <a:pt x="1351521" y="4275169"/>
                </a:cubicBezTo>
                <a:cubicBezTo>
                  <a:pt x="1349462" y="4282144"/>
                  <a:pt x="1349462" y="4286794"/>
                  <a:pt x="1348433" y="4291444"/>
                </a:cubicBezTo>
                <a:cubicBezTo>
                  <a:pt x="1347403" y="4294932"/>
                  <a:pt x="1342255" y="4299583"/>
                  <a:pt x="1340195" y="4297257"/>
                </a:cubicBezTo>
                <a:cubicBezTo>
                  <a:pt x="1340195" y="4280982"/>
                  <a:pt x="1358727" y="4261218"/>
                  <a:pt x="1343284" y="4249592"/>
                </a:cubicBezTo>
                <a:cubicBezTo>
                  <a:pt x="1340195" y="4264706"/>
                  <a:pt x="1327842" y="4276331"/>
                  <a:pt x="1325783" y="4292606"/>
                </a:cubicBezTo>
                <a:cubicBezTo>
                  <a:pt x="1325783" y="4294932"/>
                  <a:pt x="1330931" y="4300744"/>
                  <a:pt x="1330931" y="4303070"/>
                </a:cubicBezTo>
                <a:cubicBezTo>
                  <a:pt x="1331960" y="4317019"/>
                  <a:pt x="1321665" y="4326320"/>
                  <a:pt x="1318577" y="4337946"/>
                </a:cubicBezTo>
                <a:cubicBezTo>
                  <a:pt x="1317033" y="4343758"/>
                  <a:pt x="1317804" y="4352186"/>
                  <a:pt x="1317033" y="4359307"/>
                </a:cubicBezTo>
                <a:lnTo>
                  <a:pt x="1314418" y="4367909"/>
                </a:lnTo>
                <a:lnTo>
                  <a:pt x="1314190" y="4368539"/>
                </a:lnTo>
                <a:lnTo>
                  <a:pt x="1306222" y="4372822"/>
                </a:lnTo>
                <a:cubicBezTo>
                  <a:pt x="1311370" y="4356547"/>
                  <a:pt x="1312400" y="4326320"/>
                  <a:pt x="1314458" y="4317019"/>
                </a:cubicBezTo>
                <a:cubicBezTo>
                  <a:pt x="1316518" y="4310045"/>
                  <a:pt x="1317547" y="4306558"/>
                  <a:pt x="1317547" y="4300744"/>
                </a:cubicBezTo>
                <a:cubicBezTo>
                  <a:pt x="1317547" y="4293769"/>
                  <a:pt x="1316518" y="4289119"/>
                  <a:pt x="1316518" y="4282144"/>
                </a:cubicBezTo>
                <a:cubicBezTo>
                  <a:pt x="1316518" y="4272844"/>
                  <a:pt x="1318577" y="4260056"/>
                  <a:pt x="1320635" y="4254243"/>
                </a:cubicBezTo>
                <a:cubicBezTo>
                  <a:pt x="1327842" y="4232155"/>
                  <a:pt x="1339166" y="4210067"/>
                  <a:pt x="1345344" y="4185654"/>
                </a:cubicBezTo>
                <a:cubicBezTo>
                  <a:pt x="1345344" y="4183328"/>
                  <a:pt x="1342255" y="4172866"/>
                  <a:pt x="1342255" y="4170541"/>
                </a:cubicBezTo>
                <a:cubicBezTo>
                  <a:pt x="1342255" y="4163566"/>
                  <a:pt x="1346373" y="4154265"/>
                  <a:pt x="1347403" y="4149615"/>
                </a:cubicBezTo>
                <a:cubicBezTo>
                  <a:pt x="1350491" y="4135665"/>
                  <a:pt x="1355638" y="4121715"/>
                  <a:pt x="1358727" y="4107764"/>
                </a:cubicBezTo>
                <a:cubicBezTo>
                  <a:pt x="1361816" y="4094976"/>
                  <a:pt x="1364904" y="4065913"/>
                  <a:pt x="1367994" y="4058938"/>
                </a:cubicBezTo>
                <a:cubicBezTo>
                  <a:pt x="1370051" y="4055451"/>
                  <a:pt x="1366964" y="4053125"/>
                  <a:pt x="1366964" y="4051963"/>
                </a:cubicBezTo>
                <a:cubicBezTo>
                  <a:pt x="1369023" y="4043825"/>
                  <a:pt x="1376228" y="4038013"/>
                  <a:pt x="1378288" y="4029876"/>
                </a:cubicBezTo>
                <a:cubicBezTo>
                  <a:pt x="1378288" y="4027550"/>
                  <a:pt x="1375200" y="4017086"/>
                  <a:pt x="1375200" y="4014762"/>
                </a:cubicBezTo>
                <a:cubicBezTo>
                  <a:pt x="1376228" y="4011275"/>
                  <a:pt x="1379318" y="4008949"/>
                  <a:pt x="1380347" y="4005461"/>
                </a:cubicBezTo>
                <a:cubicBezTo>
                  <a:pt x="1383436" y="3995000"/>
                  <a:pt x="1390643" y="3972910"/>
                  <a:pt x="1393731" y="3958960"/>
                </a:cubicBezTo>
                <a:cubicBezTo>
                  <a:pt x="1393731" y="3956635"/>
                  <a:pt x="1390643" y="3946173"/>
                  <a:pt x="1390643" y="3943847"/>
                </a:cubicBezTo>
                <a:cubicBezTo>
                  <a:pt x="1390643" y="3939197"/>
                  <a:pt x="1392701" y="3931059"/>
                  <a:pt x="1393731" y="3927572"/>
                </a:cubicBezTo>
                <a:lnTo>
                  <a:pt x="1394916" y="3924092"/>
                </a:lnTo>
                <a:lnTo>
                  <a:pt x="1396689" y="3920454"/>
                </a:lnTo>
                <a:cubicBezTo>
                  <a:pt x="1399134" y="3913334"/>
                  <a:pt x="1401451" y="3906069"/>
                  <a:pt x="1405055" y="3900836"/>
                </a:cubicBezTo>
                <a:lnTo>
                  <a:pt x="1403951" y="3896532"/>
                </a:lnTo>
                <a:lnTo>
                  <a:pt x="1401838" y="3873660"/>
                </a:lnTo>
                <a:lnTo>
                  <a:pt x="1401864" y="3873503"/>
                </a:lnTo>
                <a:lnTo>
                  <a:pt x="1409300" y="3859421"/>
                </a:lnTo>
                <a:cubicBezTo>
                  <a:pt x="1411745" y="3854044"/>
                  <a:pt x="1413805" y="3849103"/>
                  <a:pt x="1415349" y="3846196"/>
                </a:cubicBezTo>
                <a:cubicBezTo>
                  <a:pt x="1421526" y="3835735"/>
                  <a:pt x="1421526" y="3831084"/>
                  <a:pt x="1423586" y="3812484"/>
                </a:cubicBezTo>
                <a:cubicBezTo>
                  <a:pt x="1424614" y="3805508"/>
                  <a:pt x="1425645" y="3791558"/>
                  <a:pt x="1428732" y="3786908"/>
                </a:cubicBezTo>
                <a:close/>
                <a:moveTo>
                  <a:pt x="1489476" y="3775281"/>
                </a:moveTo>
                <a:cubicBezTo>
                  <a:pt x="1494622" y="3808994"/>
                  <a:pt x="1476091" y="3848520"/>
                  <a:pt x="1482269" y="3882234"/>
                </a:cubicBezTo>
                <a:cubicBezTo>
                  <a:pt x="1464767" y="3934547"/>
                  <a:pt x="1464767" y="3979887"/>
                  <a:pt x="1448294" y="4031037"/>
                </a:cubicBezTo>
                <a:cubicBezTo>
                  <a:pt x="1443147" y="4015924"/>
                  <a:pt x="1452413" y="4001974"/>
                  <a:pt x="1455502" y="3986861"/>
                </a:cubicBezTo>
                <a:cubicBezTo>
                  <a:pt x="1456532" y="3978723"/>
                  <a:pt x="1459620" y="3965935"/>
                  <a:pt x="1461678" y="3954311"/>
                </a:cubicBezTo>
                <a:cubicBezTo>
                  <a:pt x="1464767" y="3932221"/>
                  <a:pt x="1467856" y="3890371"/>
                  <a:pt x="1478150" y="3860146"/>
                </a:cubicBezTo>
                <a:cubicBezTo>
                  <a:pt x="1471975" y="3845033"/>
                  <a:pt x="1482269" y="3825269"/>
                  <a:pt x="1477121" y="3810157"/>
                </a:cubicBezTo>
                <a:cubicBezTo>
                  <a:pt x="1486387" y="3796205"/>
                  <a:pt x="1485358" y="3786906"/>
                  <a:pt x="1489476" y="3775281"/>
                </a:cubicBezTo>
                <a:close/>
                <a:moveTo>
                  <a:pt x="1523545" y="3746381"/>
                </a:moveTo>
                <a:cubicBezTo>
                  <a:pt x="1525960" y="3749050"/>
                  <a:pt x="1523449" y="3763655"/>
                  <a:pt x="1520360" y="3767143"/>
                </a:cubicBezTo>
                <a:cubicBezTo>
                  <a:pt x="1518302" y="3761330"/>
                  <a:pt x="1518302" y="3755517"/>
                  <a:pt x="1519332" y="3748542"/>
                </a:cubicBezTo>
                <a:cubicBezTo>
                  <a:pt x="1521391" y="3745927"/>
                  <a:pt x="1522741" y="3745490"/>
                  <a:pt x="1523545" y="3746381"/>
                </a:cubicBezTo>
                <a:close/>
                <a:moveTo>
                  <a:pt x="1478150" y="3740404"/>
                </a:moveTo>
                <a:cubicBezTo>
                  <a:pt x="1481239" y="3745635"/>
                  <a:pt x="1482011" y="3752320"/>
                  <a:pt x="1481754" y="3759150"/>
                </a:cubicBezTo>
                <a:lnTo>
                  <a:pt x="1481578" y="3760482"/>
                </a:lnTo>
                <a:lnTo>
                  <a:pt x="1479180" y="3764817"/>
                </a:lnTo>
                <a:lnTo>
                  <a:pt x="1479694" y="3774849"/>
                </a:lnTo>
                <a:lnTo>
                  <a:pt x="1479180" y="3778767"/>
                </a:lnTo>
                <a:cubicBezTo>
                  <a:pt x="1477121" y="3793881"/>
                  <a:pt x="1469915" y="3807831"/>
                  <a:pt x="1467856" y="3820619"/>
                </a:cubicBezTo>
                <a:cubicBezTo>
                  <a:pt x="1466826" y="3826432"/>
                  <a:pt x="1470944" y="3832245"/>
                  <a:pt x="1470944" y="3835733"/>
                </a:cubicBezTo>
                <a:cubicBezTo>
                  <a:pt x="1469915" y="3847357"/>
                  <a:pt x="1456532" y="3861308"/>
                  <a:pt x="1468885" y="3871770"/>
                </a:cubicBezTo>
                <a:cubicBezTo>
                  <a:pt x="1456532" y="3886884"/>
                  <a:pt x="1458590" y="3900833"/>
                  <a:pt x="1455502" y="3918272"/>
                </a:cubicBezTo>
                <a:cubicBezTo>
                  <a:pt x="1454472" y="3926410"/>
                  <a:pt x="1451383" y="3929897"/>
                  <a:pt x="1450353" y="3939197"/>
                </a:cubicBezTo>
                <a:cubicBezTo>
                  <a:pt x="1449325" y="3941522"/>
                  <a:pt x="1453443" y="3941522"/>
                  <a:pt x="1451383" y="3946173"/>
                </a:cubicBezTo>
                <a:cubicBezTo>
                  <a:pt x="1450353" y="3947334"/>
                  <a:pt x="1449325" y="3957798"/>
                  <a:pt x="1448294" y="3962448"/>
                </a:cubicBezTo>
                <a:cubicBezTo>
                  <a:pt x="1447265" y="3970586"/>
                  <a:pt x="1446236" y="3967098"/>
                  <a:pt x="1447265" y="3974073"/>
                </a:cubicBezTo>
                <a:cubicBezTo>
                  <a:pt x="1449325" y="3984536"/>
                  <a:pt x="1432852" y="4015924"/>
                  <a:pt x="1432852" y="4032199"/>
                </a:cubicBezTo>
                <a:cubicBezTo>
                  <a:pt x="1432852" y="4035687"/>
                  <a:pt x="1435941" y="4033362"/>
                  <a:pt x="1433882" y="4039176"/>
                </a:cubicBezTo>
                <a:cubicBezTo>
                  <a:pt x="1431822" y="4042663"/>
                  <a:pt x="1435941" y="4050800"/>
                  <a:pt x="1430793" y="4055451"/>
                </a:cubicBezTo>
                <a:cubicBezTo>
                  <a:pt x="1429763" y="4055451"/>
                  <a:pt x="1425646" y="4050800"/>
                  <a:pt x="1424616" y="4056613"/>
                </a:cubicBezTo>
                <a:cubicBezTo>
                  <a:pt x="1424616" y="4057775"/>
                  <a:pt x="1434911" y="4055451"/>
                  <a:pt x="1434911" y="4057775"/>
                </a:cubicBezTo>
                <a:cubicBezTo>
                  <a:pt x="1434911" y="4063587"/>
                  <a:pt x="1426676" y="4072889"/>
                  <a:pt x="1426676" y="4083351"/>
                </a:cubicBezTo>
                <a:cubicBezTo>
                  <a:pt x="1424616" y="4094976"/>
                  <a:pt x="1439029" y="4089165"/>
                  <a:pt x="1436970" y="4084514"/>
                </a:cubicBezTo>
                <a:cubicBezTo>
                  <a:pt x="1440059" y="4091488"/>
                  <a:pt x="1431822" y="4106601"/>
                  <a:pt x="1434911" y="4120553"/>
                </a:cubicBezTo>
                <a:cubicBezTo>
                  <a:pt x="1435941" y="4128690"/>
                  <a:pt x="1425646" y="4149615"/>
                  <a:pt x="1421527" y="4167053"/>
                </a:cubicBezTo>
                <a:cubicBezTo>
                  <a:pt x="1420498" y="4167053"/>
                  <a:pt x="1423587" y="4170541"/>
                  <a:pt x="1422557" y="4174028"/>
                </a:cubicBezTo>
                <a:cubicBezTo>
                  <a:pt x="1419469" y="4183328"/>
                  <a:pt x="1416380" y="4186817"/>
                  <a:pt x="1414320" y="4199604"/>
                </a:cubicBezTo>
                <a:cubicBezTo>
                  <a:pt x="1413292" y="4203092"/>
                  <a:pt x="1415350" y="4206580"/>
                  <a:pt x="1413292" y="4211229"/>
                </a:cubicBezTo>
                <a:cubicBezTo>
                  <a:pt x="1409174" y="4215879"/>
                  <a:pt x="1408144" y="4211229"/>
                  <a:pt x="1409174" y="4208905"/>
                </a:cubicBezTo>
                <a:cubicBezTo>
                  <a:pt x="1409174" y="4197280"/>
                  <a:pt x="1412262" y="4184491"/>
                  <a:pt x="1401966" y="4177516"/>
                </a:cubicBezTo>
                <a:cubicBezTo>
                  <a:pt x="1394760" y="4172866"/>
                  <a:pt x="1394760" y="4189141"/>
                  <a:pt x="1392701" y="4196117"/>
                </a:cubicBezTo>
                <a:cubicBezTo>
                  <a:pt x="1389613" y="4207742"/>
                  <a:pt x="1385494" y="4221693"/>
                  <a:pt x="1384466" y="4233317"/>
                </a:cubicBezTo>
                <a:cubicBezTo>
                  <a:pt x="1378288" y="4240294"/>
                  <a:pt x="1385494" y="4246105"/>
                  <a:pt x="1385494" y="4251918"/>
                </a:cubicBezTo>
                <a:cubicBezTo>
                  <a:pt x="1386524" y="4257730"/>
                  <a:pt x="1382407" y="4265869"/>
                  <a:pt x="1386524" y="4270518"/>
                </a:cubicBezTo>
                <a:cubicBezTo>
                  <a:pt x="1377259" y="4277493"/>
                  <a:pt x="1374170" y="4289119"/>
                  <a:pt x="1370051" y="4301907"/>
                </a:cubicBezTo>
                <a:cubicBezTo>
                  <a:pt x="1367994" y="4308881"/>
                  <a:pt x="1364904" y="4323995"/>
                  <a:pt x="1363876" y="4334458"/>
                </a:cubicBezTo>
                <a:cubicBezTo>
                  <a:pt x="1362845" y="4342595"/>
                  <a:pt x="1359757" y="4355383"/>
                  <a:pt x="1355638" y="4371658"/>
                </a:cubicBezTo>
                <a:cubicBezTo>
                  <a:pt x="1354609" y="4376309"/>
                  <a:pt x="1352551" y="4384446"/>
                  <a:pt x="1350491" y="4392584"/>
                </a:cubicBezTo>
                <a:cubicBezTo>
                  <a:pt x="1349462" y="4398397"/>
                  <a:pt x="1347403" y="4405372"/>
                  <a:pt x="1345344" y="4413510"/>
                </a:cubicBezTo>
                <a:cubicBezTo>
                  <a:pt x="1344314" y="4416998"/>
                  <a:pt x="1346373" y="4420485"/>
                  <a:pt x="1346373" y="4420485"/>
                </a:cubicBezTo>
                <a:cubicBezTo>
                  <a:pt x="1338138" y="4448386"/>
                  <a:pt x="1325783" y="4469311"/>
                  <a:pt x="1328871" y="4494887"/>
                </a:cubicBezTo>
                <a:cubicBezTo>
                  <a:pt x="1325783" y="4510001"/>
                  <a:pt x="1317547" y="4503024"/>
                  <a:pt x="1313428" y="4514650"/>
                </a:cubicBezTo>
                <a:cubicBezTo>
                  <a:pt x="1314458" y="4532089"/>
                  <a:pt x="1308281" y="4546038"/>
                  <a:pt x="1304163" y="4563477"/>
                </a:cubicBezTo>
                <a:cubicBezTo>
                  <a:pt x="1303134" y="4566965"/>
                  <a:pt x="1305194" y="4570452"/>
                  <a:pt x="1303134" y="4575102"/>
                </a:cubicBezTo>
                <a:cubicBezTo>
                  <a:pt x="1302104" y="4578589"/>
                  <a:pt x="1295927" y="4576263"/>
                  <a:pt x="1294897" y="4580914"/>
                </a:cubicBezTo>
                <a:cubicBezTo>
                  <a:pt x="1293868" y="4582077"/>
                  <a:pt x="1297986" y="4583240"/>
                  <a:pt x="1295927" y="4587889"/>
                </a:cubicBezTo>
                <a:cubicBezTo>
                  <a:pt x="1293868" y="4591377"/>
                  <a:pt x="1295927" y="4594864"/>
                  <a:pt x="1294897" y="4599515"/>
                </a:cubicBezTo>
                <a:cubicBezTo>
                  <a:pt x="1288721" y="4618116"/>
                  <a:pt x="1276367" y="4636716"/>
                  <a:pt x="1270189" y="4656479"/>
                </a:cubicBezTo>
                <a:cubicBezTo>
                  <a:pt x="1267101" y="4666942"/>
                  <a:pt x="1266071" y="4677405"/>
                  <a:pt x="1264012" y="4689030"/>
                </a:cubicBezTo>
                <a:cubicBezTo>
                  <a:pt x="1259895" y="4707630"/>
                  <a:pt x="1257835" y="4726231"/>
                  <a:pt x="1241363" y="4752969"/>
                </a:cubicBezTo>
                <a:cubicBezTo>
                  <a:pt x="1237245" y="4733206"/>
                  <a:pt x="1246511" y="4715768"/>
                  <a:pt x="1251658" y="4692518"/>
                </a:cubicBezTo>
                <a:cubicBezTo>
                  <a:pt x="1254746" y="4680892"/>
                  <a:pt x="1261952" y="4670429"/>
                  <a:pt x="1269160" y="4649504"/>
                </a:cubicBezTo>
                <a:cubicBezTo>
                  <a:pt x="1275338" y="4629741"/>
                  <a:pt x="1279455" y="4607653"/>
                  <a:pt x="1285632" y="4586727"/>
                </a:cubicBezTo>
                <a:cubicBezTo>
                  <a:pt x="1290779" y="4568127"/>
                  <a:pt x="1296957" y="4554176"/>
                  <a:pt x="1301075" y="4535576"/>
                </a:cubicBezTo>
                <a:cubicBezTo>
                  <a:pt x="1302104" y="4528600"/>
                  <a:pt x="1308281" y="4516975"/>
                  <a:pt x="1313428" y="4500699"/>
                </a:cubicBezTo>
                <a:cubicBezTo>
                  <a:pt x="1317547" y="4486749"/>
                  <a:pt x="1319606" y="4477449"/>
                  <a:pt x="1324753" y="4458848"/>
                </a:cubicBezTo>
                <a:cubicBezTo>
                  <a:pt x="1325783" y="4454199"/>
                  <a:pt x="1325783" y="4449548"/>
                  <a:pt x="1327842" y="4442573"/>
                </a:cubicBezTo>
                <a:cubicBezTo>
                  <a:pt x="1332990" y="4423973"/>
                  <a:pt x="1343284" y="4386771"/>
                  <a:pt x="1347403" y="4363521"/>
                </a:cubicBezTo>
                <a:cubicBezTo>
                  <a:pt x="1348433" y="4361196"/>
                  <a:pt x="1353581" y="4356547"/>
                  <a:pt x="1352551" y="4354221"/>
                </a:cubicBezTo>
                <a:cubicBezTo>
                  <a:pt x="1348433" y="4337946"/>
                  <a:pt x="1363876" y="4293769"/>
                  <a:pt x="1371081" y="4268193"/>
                </a:cubicBezTo>
                <a:cubicBezTo>
                  <a:pt x="1373140" y="4264706"/>
                  <a:pt x="1370051" y="4262381"/>
                  <a:pt x="1370051" y="4261218"/>
                </a:cubicBezTo>
                <a:cubicBezTo>
                  <a:pt x="1375200" y="4241455"/>
                  <a:pt x="1381377" y="4224019"/>
                  <a:pt x="1384466" y="4203092"/>
                </a:cubicBezTo>
                <a:cubicBezTo>
                  <a:pt x="1386524" y="4193792"/>
                  <a:pt x="1386524" y="4183328"/>
                  <a:pt x="1388583" y="4175191"/>
                </a:cubicBezTo>
                <a:cubicBezTo>
                  <a:pt x="1392701" y="4164729"/>
                  <a:pt x="1400937" y="4158916"/>
                  <a:pt x="1402996" y="4148453"/>
                </a:cubicBezTo>
                <a:cubicBezTo>
                  <a:pt x="1405056" y="4136828"/>
                  <a:pt x="1402996" y="4125202"/>
                  <a:pt x="1405056" y="4112415"/>
                </a:cubicBezTo>
                <a:cubicBezTo>
                  <a:pt x="1406084" y="4110089"/>
                  <a:pt x="1410203" y="4105440"/>
                  <a:pt x="1410203" y="4103114"/>
                </a:cubicBezTo>
                <a:cubicBezTo>
                  <a:pt x="1409174" y="4098463"/>
                  <a:pt x="1411233" y="4089165"/>
                  <a:pt x="1414320" y="4075213"/>
                </a:cubicBezTo>
                <a:cubicBezTo>
                  <a:pt x="1415350" y="4072889"/>
                  <a:pt x="1419469" y="4067075"/>
                  <a:pt x="1419469" y="4065913"/>
                </a:cubicBezTo>
                <a:cubicBezTo>
                  <a:pt x="1419469" y="4065913"/>
                  <a:pt x="1415350" y="4064750"/>
                  <a:pt x="1415350" y="4063587"/>
                </a:cubicBezTo>
                <a:cubicBezTo>
                  <a:pt x="1416380" y="4061264"/>
                  <a:pt x="1421527" y="4056613"/>
                  <a:pt x="1420498" y="4054288"/>
                </a:cubicBezTo>
                <a:cubicBezTo>
                  <a:pt x="1418439" y="4044987"/>
                  <a:pt x="1424616" y="4046151"/>
                  <a:pt x="1428734" y="4028712"/>
                </a:cubicBezTo>
                <a:cubicBezTo>
                  <a:pt x="1431822" y="4012437"/>
                  <a:pt x="1426676" y="3989186"/>
                  <a:pt x="1440059" y="3975235"/>
                </a:cubicBezTo>
                <a:cubicBezTo>
                  <a:pt x="1445206" y="3965935"/>
                  <a:pt x="1432852" y="3958960"/>
                  <a:pt x="1438000" y="3948498"/>
                </a:cubicBezTo>
                <a:cubicBezTo>
                  <a:pt x="1441089" y="3943847"/>
                  <a:pt x="1442118" y="3940360"/>
                  <a:pt x="1439029" y="3936873"/>
                </a:cubicBezTo>
                <a:cubicBezTo>
                  <a:pt x="1453443" y="3912458"/>
                  <a:pt x="1453443" y="3886884"/>
                  <a:pt x="1456532" y="3862471"/>
                </a:cubicBezTo>
                <a:cubicBezTo>
                  <a:pt x="1457560" y="3860146"/>
                  <a:pt x="1462708" y="3855495"/>
                  <a:pt x="1461678" y="3853170"/>
                </a:cubicBezTo>
                <a:cubicBezTo>
                  <a:pt x="1461678" y="3853170"/>
                  <a:pt x="1457560" y="3852008"/>
                  <a:pt x="1457560" y="3850846"/>
                </a:cubicBezTo>
                <a:cubicBezTo>
                  <a:pt x="1458590" y="3848520"/>
                  <a:pt x="1463737" y="3843870"/>
                  <a:pt x="1462708" y="3841545"/>
                </a:cubicBezTo>
                <a:cubicBezTo>
                  <a:pt x="1461678" y="3836894"/>
                  <a:pt x="1463737" y="3827595"/>
                  <a:pt x="1466826" y="3813644"/>
                </a:cubicBezTo>
                <a:cubicBezTo>
                  <a:pt x="1467856" y="3812482"/>
                  <a:pt x="1463737" y="3811319"/>
                  <a:pt x="1465796" y="3806668"/>
                </a:cubicBezTo>
                <a:cubicBezTo>
                  <a:pt x="1466826" y="3804344"/>
                  <a:pt x="1473003" y="3793881"/>
                  <a:pt x="1473003" y="3792719"/>
                </a:cubicBezTo>
                <a:cubicBezTo>
                  <a:pt x="1469915" y="3784581"/>
                  <a:pt x="1474033" y="3757843"/>
                  <a:pt x="1478150" y="3740404"/>
                </a:cubicBezTo>
                <a:close/>
                <a:moveTo>
                  <a:pt x="1437356" y="3735247"/>
                </a:moveTo>
                <a:lnTo>
                  <a:pt x="1436710" y="3738179"/>
                </a:lnTo>
                <a:lnTo>
                  <a:pt x="1436969" y="3735756"/>
                </a:lnTo>
                <a:close/>
                <a:moveTo>
                  <a:pt x="1456532" y="3725292"/>
                </a:moveTo>
                <a:cubicBezTo>
                  <a:pt x="1463737" y="3735755"/>
                  <a:pt x="1453443" y="3743893"/>
                  <a:pt x="1452413" y="3753193"/>
                </a:cubicBezTo>
                <a:cubicBezTo>
                  <a:pt x="1452413" y="3757843"/>
                  <a:pt x="1455502" y="3764817"/>
                  <a:pt x="1455502" y="3768305"/>
                </a:cubicBezTo>
                <a:cubicBezTo>
                  <a:pt x="1454472" y="3770631"/>
                  <a:pt x="1449325" y="3775281"/>
                  <a:pt x="1450353" y="3777606"/>
                </a:cubicBezTo>
                <a:cubicBezTo>
                  <a:pt x="1451383" y="3781093"/>
                  <a:pt x="1452413" y="3797368"/>
                  <a:pt x="1450353" y="3808994"/>
                </a:cubicBezTo>
                <a:cubicBezTo>
                  <a:pt x="1447265" y="3822944"/>
                  <a:pt x="1440059" y="3834569"/>
                  <a:pt x="1439029" y="3850846"/>
                </a:cubicBezTo>
                <a:cubicBezTo>
                  <a:pt x="1439029" y="3854332"/>
                  <a:pt x="1442118" y="3863633"/>
                  <a:pt x="1442118" y="3865957"/>
                </a:cubicBezTo>
                <a:cubicBezTo>
                  <a:pt x="1440059" y="3877583"/>
                  <a:pt x="1433882" y="3879908"/>
                  <a:pt x="1433882" y="3891533"/>
                </a:cubicBezTo>
                <a:cubicBezTo>
                  <a:pt x="1434911" y="3897345"/>
                  <a:pt x="1431822" y="3915946"/>
                  <a:pt x="1425646" y="3928735"/>
                </a:cubicBezTo>
                <a:cubicBezTo>
                  <a:pt x="1419469" y="3920597"/>
                  <a:pt x="1427705" y="3913621"/>
                  <a:pt x="1427705" y="3905485"/>
                </a:cubicBezTo>
                <a:cubicBezTo>
                  <a:pt x="1427705" y="3898509"/>
                  <a:pt x="1424616" y="3893859"/>
                  <a:pt x="1426676" y="3886884"/>
                </a:cubicBezTo>
                <a:cubicBezTo>
                  <a:pt x="1427705" y="3882234"/>
                  <a:pt x="1432852" y="3877583"/>
                  <a:pt x="1433882" y="3872933"/>
                </a:cubicBezTo>
                <a:cubicBezTo>
                  <a:pt x="1441089" y="3825269"/>
                  <a:pt x="1443147" y="3775281"/>
                  <a:pt x="1456532" y="3725292"/>
                </a:cubicBezTo>
                <a:close/>
                <a:moveTo>
                  <a:pt x="1553305" y="3704366"/>
                </a:moveTo>
                <a:cubicBezTo>
                  <a:pt x="1562571" y="3711342"/>
                  <a:pt x="1553305" y="3725292"/>
                  <a:pt x="1547128" y="3736917"/>
                </a:cubicBezTo>
                <a:cubicBezTo>
                  <a:pt x="1537862" y="3729941"/>
                  <a:pt x="1547128" y="3715992"/>
                  <a:pt x="1553305" y="3704366"/>
                </a:cubicBezTo>
                <a:close/>
                <a:moveTo>
                  <a:pt x="1573895" y="3695067"/>
                </a:moveTo>
                <a:cubicBezTo>
                  <a:pt x="1583161" y="3698553"/>
                  <a:pt x="1578014" y="3706691"/>
                  <a:pt x="1574925" y="3713666"/>
                </a:cubicBezTo>
                <a:cubicBezTo>
                  <a:pt x="1570807" y="3709016"/>
                  <a:pt x="1569777" y="3703203"/>
                  <a:pt x="1573895" y="3695067"/>
                </a:cubicBezTo>
                <a:close/>
                <a:moveTo>
                  <a:pt x="1429740" y="3684732"/>
                </a:moveTo>
                <a:lnTo>
                  <a:pt x="1427961" y="3701171"/>
                </a:lnTo>
                <a:lnTo>
                  <a:pt x="1423861" y="3715710"/>
                </a:lnTo>
                <a:close/>
                <a:moveTo>
                  <a:pt x="1172385" y="3683441"/>
                </a:moveTo>
                <a:cubicBezTo>
                  <a:pt x="1180622" y="3688091"/>
                  <a:pt x="1168269" y="3698553"/>
                  <a:pt x="1170326" y="3706691"/>
                </a:cubicBezTo>
                <a:cubicBezTo>
                  <a:pt x="1170326" y="3706691"/>
                  <a:pt x="1174445" y="3707854"/>
                  <a:pt x="1174445" y="3709016"/>
                </a:cubicBezTo>
                <a:cubicBezTo>
                  <a:pt x="1173415" y="3711342"/>
                  <a:pt x="1168269" y="3715992"/>
                  <a:pt x="1169297" y="3718316"/>
                </a:cubicBezTo>
                <a:cubicBezTo>
                  <a:pt x="1169297" y="3718316"/>
                  <a:pt x="1173415" y="3719480"/>
                  <a:pt x="1173415" y="3720641"/>
                </a:cubicBezTo>
                <a:cubicBezTo>
                  <a:pt x="1172385" y="3722967"/>
                  <a:pt x="1167239" y="3727617"/>
                  <a:pt x="1168269" y="3729941"/>
                </a:cubicBezTo>
                <a:lnTo>
                  <a:pt x="1167888" y="3737103"/>
                </a:lnTo>
                <a:lnTo>
                  <a:pt x="1167237" y="3738082"/>
                </a:lnTo>
                <a:lnTo>
                  <a:pt x="1167146" y="3739661"/>
                </a:lnTo>
                <a:lnTo>
                  <a:pt x="1165179" y="3746217"/>
                </a:lnTo>
                <a:cubicBezTo>
                  <a:pt x="1163120" y="3753193"/>
                  <a:pt x="1164150" y="3761330"/>
                  <a:pt x="1163120" y="3769469"/>
                </a:cubicBezTo>
                <a:cubicBezTo>
                  <a:pt x="1162090" y="3771792"/>
                  <a:pt x="1156943" y="3776443"/>
                  <a:pt x="1157972" y="3778767"/>
                </a:cubicBezTo>
                <a:lnTo>
                  <a:pt x="1160288" y="3780075"/>
                </a:lnTo>
                <a:lnTo>
                  <a:pt x="1159902" y="3781096"/>
                </a:lnTo>
                <a:lnTo>
                  <a:pt x="1161259" y="3782596"/>
                </a:lnTo>
                <a:lnTo>
                  <a:pt x="1156943" y="3790393"/>
                </a:lnTo>
                <a:cubicBezTo>
                  <a:pt x="1160031" y="3797368"/>
                  <a:pt x="1150766" y="3804344"/>
                  <a:pt x="1151796" y="3811319"/>
                </a:cubicBezTo>
                <a:cubicBezTo>
                  <a:pt x="1152826" y="3815969"/>
                  <a:pt x="1152826" y="3815969"/>
                  <a:pt x="1150766" y="3822944"/>
                </a:cubicBezTo>
                <a:cubicBezTo>
                  <a:pt x="1149737" y="3827595"/>
                  <a:pt x="1149737" y="3832245"/>
                  <a:pt x="1147678" y="3839220"/>
                </a:cubicBezTo>
                <a:cubicBezTo>
                  <a:pt x="1146647" y="3843870"/>
                  <a:pt x="1146647" y="3848520"/>
                  <a:pt x="1144589" y="3855495"/>
                </a:cubicBezTo>
                <a:cubicBezTo>
                  <a:pt x="1144075" y="3858401"/>
                  <a:pt x="1141758" y="3865957"/>
                  <a:pt x="1139055" y="3874822"/>
                </a:cubicBezTo>
                <a:lnTo>
                  <a:pt x="1131901" y="3899583"/>
                </a:lnTo>
                <a:lnTo>
                  <a:pt x="1131204" y="3882236"/>
                </a:lnTo>
                <a:lnTo>
                  <a:pt x="1128116" y="3879105"/>
                </a:lnTo>
                <a:lnTo>
                  <a:pt x="1128116" y="3869446"/>
                </a:lnTo>
                <a:cubicBezTo>
                  <a:pt x="1136353" y="3857820"/>
                  <a:pt x="1140470" y="3842707"/>
                  <a:pt x="1142530" y="3829920"/>
                </a:cubicBezTo>
                <a:cubicBezTo>
                  <a:pt x="1143559" y="3827595"/>
                  <a:pt x="1148707" y="3822944"/>
                  <a:pt x="1147678" y="3820619"/>
                </a:cubicBezTo>
                <a:cubicBezTo>
                  <a:pt x="1144589" y="3810157"/>
                  <a:pt x="1153854" y="3800857"/>
                  <a:pt x="1153854" y="3788067"/>
                </a:cubicBezTo>
                <a:cubicBezTo>
                  <a:pt x="1153854" y="3786906"/>
                  <a:pt x="1160031" y="3767143"/>
                  <a:pt x="1157972" y="3760168"/>
                </a:cubicBezTo>
                <a:cubicBezTo>
                  <a:pt x="1157458" y="3759587"/>
                  <a:pt x="1154370" y="3760168"/>
                  <a:pt x="1151152" y="3760168"/>
                </a:cubicBezTo>
                <a:lnTo>
                  <a:pt x="1147665" y="3758566"/>
                </a:lnTo>
                <a:lnTo>
                  <a:pt x="1149636" y="3749852"/>
                </a:lnTo>
                <a:lnTo>
                  <a:pt x="1152310" y="3750287"/>
                </a:lnTo>
                <a:cubicBezTo>
                  <a:pt x="1155913" y="3751739"/>
                  <a:pt x="1159517" y="3753193"/>
                  <a:pt x="1161061" y="3743893"/>
                </a:cubicBezTo>
                <a:cubicBezTo>
                  <a:pt x="1170326" y="3739242"/>
                  <a:pt x="1157972" y="3717154"/>
                  <a:pt x="1163120" y="3720641"/>
                </a:cubicBezTo>
                <a:cubicBezTo>
                  <a:pt x="1162605" y="3720061"/>
                  <a:pt x="1160289" y="3720642"/>
                  <a:pt x="1158230" y="3721805"/>
                </a:cubicBezTo>
                <a:lnTo>
                  <a:pt x="1156849" y="3723724"/>
                </a:lnTo>
                <a:lnTo>
                  <a:pt x="1164149" y="3701899"/>
                </a:lnTo>
                <a:lnTo>
                  <a:pt x="1165255" y="3693682"/>
                </a:lnTo>
                <a:lnTo>
                  <a:pt x="1167174" y="3694304"/>
                </a:lnTo>
                <a:cubicBezTo>
                  <a:pt x="1168847" y="3693250"/>
                  <a:pt x="1170584" y="3690125"/>
                  <a:pt x="1172385" y="3683441"/>
                </a:cubicBezTo>
                <a:close/>
                <a:moveTo>
                  <a:pt x="1432301" y="3661055"/>
                </a:moveTo>
                <a:lnTo>
                  <a:pt x="1429757" y="3684563"/>
                </a:lnTo>
                <a:lnTo>
                  <a:pt x="1428734" y="3677628"/>
                </a:lnTo>
                <a:cubicBezTo>
                  <a:pt x="1428219" y="3673559"/>
                  <a:pt x="1428734" y="3670943"/>
                  <a:pt x="1429763" y="3668037"/>
                </a:cubicBezTo>
                <a:close/>
                <a:moveTo>
                  <a:pt x="1134841" y="3645240"/>
                </a:moveTo>
                <a:cubicBezTo>
                  <a:pt x="1136868" y="3647911"/>
                  <a:pt x="1134552" y="3662516"/>
                  <a:pt x="1132235" y="3666003"/>
                </a:cubicBezTo>
                <a:cubicBezTo>
                  <a:pt x="1130176" y="3660191"/>
                  <a:pt x="1130176" y="3654377"/>
                  <a:pt x="1131205" y="3647402"/>
                </a:cubicBezTo>
                <a:cubicBezTo>
                  <a:pt x="1133007" y="3644787"/>
                  <a:pt x="1134164" y="3644351"/>
                  <a:pt x="1134841" y="3645240"/>
                </a:cubicBezTo>
                <a:close/>
                <a:moveTo>
                  <a:pt x="1434396" y="3641686"/>
                </a:moveTo>
                <a:lnTo>
                  <a:pt x="1433242" y="3652362"/>
                </a:lnTo>
                <a:lnTo>
                  <a:pt x="1432852" y="3649728"/>
                </a:lnTo>
                <a:close/>
                <a:moveTo>
                  <a:pt x="1232096" y="3614851"/>
                </a:moveTo>
                <a:cubicBezTo>
                  <a:pt x="1251658" y="3607876"/>
                  <a:pt x="1236215" y="3642752"/>
                  <a:pt x="1233127" y="3653214"/>
                </a:cubicBezTo>
                <a:cubicBezTo>
                  <a:pt x="1222832" y="3642752"/>
                  <a:pt x="1237245" y="3626477"/>
                  <a:pt x="1232096" y="3614851"/>
                </a:cubicBezTo>
                <a:close/>
                <a:moveTo>
                  <a:pt x="1513633" y="3611258"/>
                </a:moveTo>
                <a:lnTo>
                  <a:pt x="1514183" y="3614851"/>
                </a:lnTo>
                <a:lnTo>
                  <a:pt x="1512006" y="3620944"/>
                </a:lnTo>
                <a:close/>
                <a:moveTo>
                  <a:pt x="1495652" y="3599739"/>
                </a:moveTo>
                <a:cubicBezTo>
                  <a:pt x="1497712" y="3613689"/>
                  <a:pt x="1496682" y="3628801"/>
                  <a:pt x="1494622" y="3642752"/>
                </a:cubicBezTo>
                <a:cubicBezTo>
                  <a:pt x="1490506" y="3671815"/>
                  <a:pt x="1484327" y="3699716"/>
                  <a:pt x="1475063" y="3729941"/>
                </a:cubicBezTo>
                <a:cubicBezTo>
                  <a:pt x="1464767" y="3710179"/>
                  <a:pt x="1480209" y="3693904"/>
                  <a:pt x="1483299" y="3672978"/>
                </a:cubicBezTo>
                <a:cubicBezTo>
                  <a:pt x="1484327" y="3671815"/>
                  <a:pt x="1481239" y="3670652"/>
                  <a:pt x="1482269" y="3666003"/>
                </a:cubicBezTo>
                <a:cubicBezTo>
                  <a:pt x="1483299" y="3662514"/>
                  <a:pt x="1487416" y="3660191"/>
                  <a:pt x="1487416" y="3656703"/>
                </a:cubicBezTo>
                <a:cubicBezTo>
                  <a:pt x="1488446" y="3650890"/>
                  <a:pt x="1484327" y="3645077"/>
                  <a:pt x="1484327" y="3641590"/>
                </a:cubicBezTo>
                <a:cubicBezTo>
                  <a:pt x="1486387" y="3628801"/>
                  <a:pt x="1493593" y="3616014"/>
                  <a:pt x="1495652" y="3599739"/>
                </a:cubicBezTo>
                <a:close/>
                <a:moveTo>
                  <a:pt x="1244452" y="3561374"/>
                </a:moveTo>
                <a:cubicBezTo>
                  <a:pt x="1246511" y="3563700"/>
                  <a:pt x="1249599" y="3564862"/>
                  <a:pt x="1252688" y="3567188"/>
                </a:cubicBezTo>
                <a:cubicBezTo>
                  <a:pt x="1250628" y="3570675"/>
                  <a:pt x="1249599" y="3573000"/>
                  <a:pt x="1247539" y="3576488"/>
                </a:cubicBezTo>
                <a:cubicBezTo>
                  <a:pt x="1244452" y="3574162"/>
                  <a:pt x="1242393" y="3573000"/>
                  <a:pt x="1239304" y="3570675"/>
                </a:cubicBezTo>
                <a:cubicBezTo>
                  <a:pt x="1241363" y="3567188"/>
                  <a:pt x="1242393" y="3564862"/>
                  <a:pt x="1244452" y="3561374"/>
                </a:cubicBezTo>
                <a:close/>
                <a:moveTo>
                  <a:pt x="1597574" y="3556725"/>
                </a:moveTo>
                <a:cubicBezTo>
                  <a:pt x="1600663" y="3555562"/>
                  <a:pt x="1596545" y="3570675"/>
                  <a:pt x="1600663" y="3571838"/>
                </a:cubicBezTo>
                <a:cubicBezTo>
                  <a:pt x="1586249" y="3582301"/>
                  <a:pt x="1592426" y="3557887"/>
                  <a:pt x="1597574" y="3556725"/>
                </a:cubicBezTo>
                <a:close/>
                <a:moveTo>
                  <a:pt x="1505467" y="3542999"/>
                </a:moveTo>
                <a:lnTo>
                  <a:pt x="1505948" y="3546261"/>
                </a:lnTo>
                <a:lnTo>
                  <a:pt x="1507193" y="3552359"/>
                </a:lnTo>
                <a:lnTo>
                  <a:pt x="1504919" y="3562537"/>
                </a:lnTo>
                <a:cubicBezTo>
                  <a:pt x="1502859" y="3556725"/>
                  <a:pt x="1502859" y="3550912"/>
                  <a:pt x="1503889" y="3543938"/>
                </a:cubicBezTo>
                <a:close/>
                <a:moveTo>
                  <a:pt x="1454206" y="3537372"/>
                </a:moveTo>
                <a:lnTo>
                  <a:pt x="1454471" y="3543939"/>
                </a:lnTo>
                <a:cubicBezTo>
                  <a:pt x="1452412" y="3562539"/>
                  <a:pt x="1443145" y="3579978"/>
                  <a:pt x="1446235" y="3598579"/>
                </a:cubicBezTo>
                <a:lnTo>
                  <a:pt x="1436048" y="3633089"/>
                </a:lnTo>
                <a:lnTo>
                  <a:pt x="1439158" y="3616886"/>
                </a:lnTo>
                <a:cubicBezTo>
                  <a:pt x="1441345" y="3605843"/>
                  <a:pt x="1443147" y="3595670"/>
                  <a:pt x="1443147" y="3589275"/>
                </a:cubicBezTo>
                <a:cubicBezTo>
                  <a:pt x="1443147" y="3575326"/>
                  <a:pt x="1436970" y="3570675"/>
                  <a:pt x="1443147" y="3557887"/>
                </a:cubicBezTo>
                <a:close/>
                <a:moveTo>
                  <a:pt x="1197310" y="3534179"/>
                </a:moveTo>
                <a:lnTo>
                  <a:pt x="1200183" y="3535799"/>
                </a:lnTo>
                <a:cubicBezTo>
                  <a:pt x="1199153" y="3538124"/>
                  <a:pt x="1194006" y="3542775"/>
                  <a:pt x="1195035" y="3545099"/>
                </a:cubicBezTo>
                <a:cubicBezTo>
                  <a:pt x="1195035" y="3545099"/>
                  <a:pt x="1199153" y="3546261"/>
                  <a:pt x="1199153" y="3547425"/>
                </a:cubicBezTo>
                <a:cubicBezTo>
                  <a:pt x="1198123" y="3549750"/>
                  <a:pt x="1192976" y="3554399"/>
                  <a:pt x="1194006" y="3556725"/>
                </a:cubicBezTo>
                <a:cubicBezTo>
                  <a:pt x="1194006" y="3557887"/>
                  <a:pt x="1195035" y="3574162"/>
                  <a:pt x="1190916" y="3585788"/>
                </a:cubicBezTo>
                <a:lnTo>
                  <a:pt x="1190383" y="3575123"/>
                </a:lnTo>
                <a:lnTo>
                  <a:pt x="1192975" y="3569514"/>
                </a:lnTo>
                <a:cubicBezTo>
                  <a:pt x="1194005" y="3560796"/>
                  <a:pt x="1193489" y="3551787"/>
                  <a:pt x="1194004" y="3543649"/>
                </a:cubicBezTo>
                <a:close/>
                <a:moveTo>
                  <a:pt x="1599633" y="3532312"/>
                </a:moveTo>
                <a:lnTo>
                  <a:pt x="1603823" y="3536207"/>
                </a:lnTo>
                <a:lnTo>
                  <a:pt x="1600579" y="3549392"/>
                </a:lnTo>
                <a:close/>
                <a:moveTo>
                  <a:pt x="1249808" y="3521358"/>
                </a:moveTo>
                <a:cubicBezTo>
                  <a:pt x="1252559" y="3524900"/>
                  <a:pt x="1246768" y="3541031"/>
                  <a:pt x="1253717" y="3542775"/>
                </a:cubicBezTo>
                <a:cubicBezTo>
                  <a:pt x="1240334" y="3554399"/>
                  <a:pt x="1247539" y="3527662"/>
                  <a:pt x="1243422" y="3523011"/>
                </a:cubicBezTo>
                <a:cubicBezTo>
                  <a:pt x="1247026" y="3520396"/>
                  <a:pt x="1248891" y="3520178"/>
                  <a:pt x="1249808" y="3521358"/>
                </a:cubicBezTo>
                <a:close/>
                <a:moveTo>
                  <a:pt x="1463248" y="3446662"/>
                </a:moveTo>
                <a:lnTo>
                  <a:pt x="1461677" y="3459074"/>
                </a:lnTo>
                <a:lnTo>
                  <a:pt x="1459998" y="3471162"/>
                </a:lnTo>
                <a:lnTo>
                  <a:pt x="1458590" y="3457910"/>
                </a:lnTo>
                <a:close/>
                <a:moveTo>
                  <a:pt x="1268227" y="3387651"/>
                </a:moveTo>
                <a:cubicBezTo>
                  <a:pt x="1270640" y="3390483"/>
                  <a:pt x="1268131" y="3404433"/>
                  <a:pt x="1265041" y="3407922"/>
                </a:cubicBezTo>
                <a:cubicBezTo>
                  <a:pt x="1262982" y="3402108"/>
                  <a:pt x="1262982" y="3396296"/>
                  <a:pt x="1264012" y="3389321"/>
                </a:cubicBezTo>
                <a:cubicBezTo>
                  <a:pt x="1266071" y="3386996"/>
                  <a:pt x="1267423" y="3386705"/>
                  <a:pt x="1268227" y="3387651"/>
                </a:cubicBezTo>
                <a:close/>
                <a:moveTo>
                  <a:pt x="1500459" y="3384555"/>
                </a:moveTo>
                <a:lnTo>
                  <a:pt x="1502859" y="3396296"/>
                </a:lnTo>
                <a:cubicBezTo>
                  <a:pt x="1502859" y="3411409"/>
                  <a:pt x="1495652" y="3421871"/>
                  <a:pt x="1494622" y="3433497"/>
                </a:cubicBezTo>
                <a:cubicBezTo>
                  <a:pt x="1493593" y="3436984"/>
                  <a:pt x="1494622" y="3442796"/>
                  <a:pt x="1493593" y="3445121"/>
                </a:cubicBezTo>
                <a:cubicBezTo>
                  <a:pt x="1490506" y="3453259"/>
                  <a:pt x="1492564" y="3477673"/>
                  <a:pt x="1491534" y="3481161"/>
                </a:cubicBezTo>
                <a:cubicBezTo>
                  <a:pt x="1490506" y="3492787"/>
                  <a:pt x="1486387" y="3505574"/>
                  <a:pt x="1485358" y="3513711"/>
                </a:cubicBezTo>
                <a:cubicBezTo>
                  <a:pt x="1483299" y="3525337"/>
                  <a:pt x="1482269" y="3535799"/>
                  <a:pt x="1481239" y="3541612"/>
                </a:cubicBezTo>
                <a:cubicBezTo>
                  <a:pt x="1481239" y="3542775"/>
                  <a:pt x="1480209" y="3545099"/>
                  <a:pt x="1479180" y="3546261"/>
                </a:cubicBezTo>
                <a:cubicBezTo>
                  <a:pt x="1476091" y="3550912"/>
                  <a:pt x="1480209" y="3549750"/>
                  <a:pt x="1480209" y="3553237"/>
                </a:cubicBezTo>
                <a:cubicBezTo>
                  <a:pt x="1480209" y="3570675"/>
                  <a:pt x="1471975" y="3596250"/>
                  <a:pt x="1475063" y="3605551"/>
                </a:cubicBezTo>
                <a:cubicBezTo>
                  <a:pt x="1477121" y="3609039"/>
                  <a:pt x="1464767" y="3622989"/>
                  <a:pt x="1463737" y="3627638"/>
                </a:cubicBezTo>
                <a:cubicBezTo>
                  <a:pt x="1462708" y="3629964"/>
                  <a:pt x="1468885" y="3635777"/>
                  <a:pt x="1468885" y="3638102"/>
                </a:cubicBezTo>
                <a:cubicBezTo>
                  <a:pt x="1467856" y="3647402"/>
                  <a:pt x="1463737" y="3646239"/>
                  <a:pt x="1465796" y="3654377"/>
                </a:cubicBezTo>
                <a:cubicBezTo>
                  <a:pt x="1465796" y="3656703"/>
                  <a:pt x="1460649" y="3661353"/>
                  <a:pt x="1460649" y="3663677"/>
                </a:cubicBezTo>
                <a:cubicBezTo>
                  <a:pt x="1458590" y="3676466"/>
                  <a:pt x="1461678" y="3681115"/>
                  <a:pt x="1456532" y="3691579"/>
                </a:cubicBezTo>
                <a:cubicBezTo>
                  <a:pt x="1453443" y="3699716"/>
                  <a:pt x="1464767" y="3724129"/>
                  <a:pt x="1446236" y="3721803"/>
                </a:cubicBezTo>
                <a:lnTo>
                  <a:pt x="1447096" y="3716858"/>
                </a:lnTo>
                <a:lnTo>
                  <a:pt x="1449323" y="3714832"/>
                </a:lnTo>
                <a:lnTo>
                  <a:pt x="1448971" y="3706069"/>
                </a:lnTo>
                <a:lnTo>
                  <a:pt x="1450226" y="3698844"/>
                </a:lnTo>
                <a:lnTo>
                  <a:pt x="1452525" y="3683682"/>
                </a:lnTo>
                <a:lnTo>
                  <a:pt x="1454471" y="3681118"/>
                </a:lnTo>
                <a:cubicBezTo>
                  <a:pt x="1457559" y="3672980"/>
                  <a:pt x="1456530" y="3667168"/>
                  <a:pt x="1457559" y="3660192"/>
                </a:cubicBezTo>
                <a:cubicBezTo>
                  <a:pt x="1458588" y="3650891"/>
                  <a:pt x="1460648" y="3649730"/>
                  <a:pt x="1460648" y="3641592"/>
                </a:cubicBezTo>
                <a:lnTo>
                  <a:pt x="1460276" y="3638484"/>
                </a:lnTo>
                <a:lnTo>
                  <a:pt x="1460955" y="3628475"/>
                </a:lnTo>
                <a:lnTo>
                  <a:pt x="1459468" y="3625618"/>
                </a:lnTo>
                <a:lnTo>
                  <a:pt x="1459618" y="3618341"/>
                </a:lnTo>
                <a:cubicBezTo>
                  <a:pt x="1461677" y="3609041"/>
                  <a:pt x="1464766" y="3597415"/>
                  <a:pt x="1464766" y="3592765"/>
                </a:cubicBezTo>
                <a:cubicBezTo>
                  <a:pt x="1464766" y="3589278"/>
                  <a:pt x="1467855" y="3589278"/>
                  <a:pt x="1467855" y="3588115"/>
                </a:cubicBezTo>
                <a:cubicBezTo>
                  <a:pt x="1469398" y="3578233"/>
                  <a:pt x="1471457" y="3568933"/>
                  <a:pt x="1472873" y="3561087"/>
                </a:cubicBezTo>
                <a:lnTo>
                  <a:pt x="1473042" y="3558408"/>
                </a:lnTo>
                <a:lnTo>
                  <a:pt x="1476091" y="3555562"/>
                </a:lnTo>
                <a:cubicBezTo>
                  <a:pt x="1468884" y="3546261"/>
                  <a:pt x="1482269" y="3536962"/>
                  <a:pt x="1482269" y="3528824"/>
                </a:cubicBezTo>
                <a:cubicBezTo>
                  <a:pt x="1482269" y="3529986"/>
                  <a:pt x="1481239" y="3523011"/>
                  <a:pt x="1481239" y="3521849"/>
                </a:cubicBezTo>
                <a:cubicBezTo>
                  <a:pt x="1481239" y="3509062"/>
                  <a:pt x="1486387" y="3489298"/>
                  <a:pt x="1486387" y="3482323"/>
                </a:cubicBezTo>
                <a:cubicBezTo>
                  <a:pt x="1486387" y="3470697"/>
                  <a:pt x="1491533" y="3460235"/>
                  <a:pt x="1492564" y="3449772"/>
                </a:cubicBezTo>
                <a:cubicBezTo>
                  <a:pt x="1493593" y="3448609"/>
                  <a:pt x="1490506" y="3446285"/>
                  <a:pt x="1491533" y="3442798"/>
                </a:cubicBezTo>
                <a:cubicBezTo>
                  <a:pt x="1492563" y="3436404"/>
                  <a:pt x="1493851" y="3427975"/>
                  <a:pt x="1494880" y="3420419"/>
                </a:cubicBezTo>
                <a:lnTo>
                  <a:pt x="1495500" y="3414524"/>
                </a:lnTo>
                <a:lnTo>
                  <a:pt x="1496681" y="3411411"/>
                </a:lnTo>
                <a:lnTo>
                  <a:pt x="1496681" y="3403282"/>
                </a:lnTo>
                <a:lnTo>
                  <a:pt x="1496682" y="3403271"/>
                </a:lnTo>
                <a:cubicBezTo>
                  <a:pt x="1496682" y="3397458"/>
                  <a:pt x="1498741" y="3391354"/>
                  <a:pt x="1499770" y="3385834"/>
                </a:cubicBezTo>
                <a:lnTo>
                  <a:pt x="1499651" y="3385298"/>
                </a:lnTo>
                <a:close/>
                <a:moveTo>
                  <a:pt x="1588991" y="3382826"/>
                </a:moveTo>
                <a:lnTo>
                  <a:pt x="1588673" y="3387691"/>
                </a:lnTo>
                <a:lnTo>
                  <a:pt x="1586249" y="3383507"/>
                </a:lnTo>
                <a:close/>
                <a:moveTo>
                  <a:pt x="1661157" y="3380351"/>
                </a:moveTo>
                <a:lnTo>
                  <a:pt x="1662433" y="3382345"/>
                </a:lnTo>
                <a:lnTo>
                  <a:pt x="1661755" y="3385920"/>
                </a:lnTo>
                <a:close/>
                <a:moveTo>
                  <a:pt x="1601056" y="3371846"/>
                </a:moveTo>
                <a:lnTo>
                  <a:pt x="1601692" y="3381183"/>
                </a:lnTo>
                <a:lnTo>
                  <a:pt x="1609925" y="3372409"/>
                </a:lnTo>
                <a:lnTo>
                  <a:pt x="1593457" y="3432334"/>
                </a:lnTo>
                <a:cubicBezTo>
                  <a:pt x="1592426" y="3433497"/>
                  <a:pt x="1595515" y="3434660"/>
                  <a:pt x="1594486" y="3439309"/>
                </a:cubicBezTo>
                <a:cubicBezTo>
                  <a:pt x="1593457" y="3442796"/>
                  <a:pt x="1589338" y="3445121"/>
                  <a:pt x="1589338" y="3448609"/>
                </a:cubicBezTo>
                <a:cubicBezTo>
                  <a:pt x="1589338" y="3453259"/>
                  <a:pt x="1592426" y="3460234"/>
                  <a:pt x="1592426" y="3463722"/>
                </a:cubicBezTo>
                <a:cubicBezTo>
                  <a:pt x="1592426" y="3470697"/>
                  <a:pt x="1589338" y="3474186"/>
                  <a:pt x="1589338" y="3479997"/>
                </a:cubicBezTo>
                <a:cubicBezTo>
                  <a:pt x="1589338" y="3484648"/>
                  <a:pt x="1592426" y="3491623"/>
                  <a:pt x="1592426" y="3495110"/>
                </a:cubicBezTo>
                <a:cubicBezTo>
                  <a:pt x="1592426" y="3502085"/>
                  <a:pt x="1583161" y="3507898"/>
                  <a:pt x="1583161" y="3513711"/>
                </a:cubicBezTo>
                <a:cubicBezTo>
                  <a:pt x="1583161" y="3516037"/>
                  <a:pt x="1588308" y="3523011"/>
                  <a:pt x="1588308" y="3524175"/>
                </a:cubicBezTo>
                <a:cubicBezTo>
                  <a:pt x="1588308" y="3528824"/>
                  <a:pt x="1575955" y="3541612"/>
                  <a:pt x="1576984" y="3546261"/>
                </a:cubicBezTo>
                <a:cubicBezTo>
                  <a:pt x="1578014" y="3548587"/>
                  <a:pt x="1578014" y="3562537"/>
                  <a:pt x="1572865" y="3574162"/>
                </a:cubicBezTo>
                <a:cubicBezTo>
                  <a:pt x="1573895" y="3579975"/>
                  <a:pt x="1576984" y="3585788"/>
                  <a:pt x="1580073" y="3591601"/>
                </a:cubicBezTo>
                <a:cubicBezTo>
                  <a:pt x="1568747" y="3611363"/>
                  <a:pt x="1576984" y="3626477"/>
                  <a:pt x="1561541" y="3647402"/>
                </a:cubicBezTo>
                <a:cubicBezTo>
                  <a:pt x="1558452" y="3650890"/>
                  <a:pt x="1560512" y="3653214"/>
                  <a:pt x="1562571" y="3652052"/>
                </a:cubicBezTo>
                <a:cubicBezTo>
                  <a:pt x="1551245" y="3664840"/>
                  <a:pt x="1560512" y="3641590"/>
                  <a:pt x="1559482" y="3636939"/>
                </a:cubicBezTo>
                <a:cubicBezTo>
                  <a:pt x="1559482" y="3636939"/>
                  <a:pt x="1555364" y="3635777"/>
                  <a:pt x="1555364" y="3634615"/>
                </a:cubicBezTo>
                <a:cubicBezTo>
                  <a:pt x="1556393" y="3624151"/>
                  <a:pt x="1564631" y="3607876"/>
                  <a:pt x="1567718" y="3599739"/>
                </a:cubicBezTo>
                <a:cubicBezTo>
                  <a:pt x="1571836" y="3591601"/>
                  <a:pt x="1566688" y="3584626"/>
                  <a:pt x="1557424" y="3579975"/>
                </a:cubicBezTo>
                <a:cubicBezTo>
                  <a:pt x="1581102" y="3546261"/>
                  <a:pt x="1573895" y="3520686"/>
                  <a:pt x="1569777" y="3495110"/>
                </a:cubicBezTo>
                <a:cubicBezTo>
                  <a:pt x="1574409" y="3488716"/>
                  <a:pt x="1574668" y="3482904"/>
                  <a:pt x="1575439" y="3478255"/>
                </a:cubicBezTo>
                <a:lnTo>
                  <a:pt x="1577754" y="3475642"/>
                </a:lnTo>
                <a:lnTo>
                  <a:pt x="1576982" y="3477675"/>
                </a:lnTo>
                <a:cubicBezTo>
                  <a:pt x="1581100" y="3476512"/>
                  <a:pt x="1587277" y="3477675"/>
                  <a:pt x="1586248" y="3469537"/>
                </a:cubicBezTo>
                <a:lnTo>
                  <a:pt x="1583160" y="3469537"/>
                </a:lnTo>
                <a:lnTo>
                  <a:pt x="1584190" y="3468373"/>
                </a:lnTo>
                <a:cubicBezTo>
                  <a:pt x="1582131" y="3463722"/>
                  <a:pt x="1582131" y="3457910"/>
                  <a:pt x="1581102" y="3453259"/>
                </a:cubicBezTo>
                <a:cubicBezTo>
                  <a:pt x="1580073" y="3445121"/>
                  <a:pt x="1580073" y="3443959"/>
                  <a:pt x="1583161" y="3430008"/>
                </a:cubicBezTo>
                <a:cubicBezTo>
                  <a:pt x="1583676" y="3428265"/>
                  <a:pt x="1583419" y="3423324"/>
                  <a:pt x="1584576" y="3418529"/>
                </a:cubicBezTo>
                <a:lnTo>
                  <a:pt x="1586713" y="3416242"/>
                </a:lnTo>
                <a:lnTo>
                  <a:pt x="1586360" y="3421274"/>
                </a:lnTo>
                <a:cubicBezTo>
                  <a:pt x="1585476" y="3429502"/>
                  <a:pt x="1584189" y="3436986"/>
                  <a:pt x="1582130" y="3442799"/>
                </a:cubicBezTo>
                <a:cubicBezTo>
                  <a:pt x="1590367" y="3448611"/>
                  <a:pt x="1598602" y="3410248"/>
                  <a:pt x="1598602" y="3393972"/>
                </a:cubicBezTo>
                <a:lnTo>
                  <a:pt x="1599464" y="3376470"/>
                </a:lnTo>
                <a:lnTo>
                  <a:pt x="1600663" y="3375370"/>
                </a:lnTo>
                <a:close/>
                <a:moveTo>
                  <a:pt x="1610719" y="3369520"/>
                </a:moveTo>
                <a:lnTo>
                  <a:pt x="1610828" y="3371447"/>
                </a:lnTo>
                <a:lnTo>
                  <a:pt x="1609925" y="3372409"/>
                </a:lnTo>
                <a:close/>
                <a:moveTo>
                  <a:pt x="1662316" y="3365082"/>
                </a:moveTo>
                <a:lnTo>
                  <a:pt x="1661403" y="3375370"/>
                </a:lnTo>
                <a:lnTo>
                  <a:pt x="1660952" y="3378434"/>
                </a:lnTo>
                <a:lnTo>
                  <a:pt x="1660373" y="3373045"/>
                </a:lnTo>
                <a:close/>
                <a:moveTo>
                  <a:pt x="1610281" y="3361818"/>
                </a:moveTo>
                <a:lnTo>
                  <a:pt x="1611988" y="3364908"/>
                </a:lnTo>
                <a:lnTo>
                  <a:pt x="1610719" y="3369520"/>
                </a:lnTo>
                <a:close/>
                <a:moveTo>
                  <a:pt x="1530656" y="3357933"/>
                </a:moveTo>
                <a:cubicBezTo>
                  <a:pt x="1539921" y="3368395"/>
                  <a:pt x="1526538" y="3385832"/>
                  <a:pt x="1525508" y="3397458"/>
                </a:cubicBezTo>
                <a:cubicBezTo>
                  <a:pt x="1524478" y="3385832"/>
                  <a:pt x="1519332" y="3374208"/>
                  <a:pt x="1530656" y="3357933"/>
                </a:cubicBezTo>
                <a:close/>
                <a:moveTo>
                  <a:pt x="1506689" y="3349208"/>
                </a:moveTo>
                <a:lnTo>
                  <a:pt x="1508007" y="3355607"/>
                </a:lnTo>
                <a:cubicBezTo>
                  <a:pt x="1508007" y="3355607"/>
                  <a:pt x="1504919" y="3371882"/>
                  <a:pt x="1504919" y="3371882"/>
                </a:cubicBezTo>
                <a:lnTo>
                  <a:pt x="1502553" y="3376155"/>
                </a:lnTo>
                <a:lnTo>
                  <a:pt x="1501829" y="3361422"/>
                </a:lnTo>
                <a:lnTo>
                  <a:pt x="1503516" y="3357499"/>
                </a:lnTo>
                <a:lnTo>
                  <a:pt x="1503889" y="3357933"/>
                </a:lnTo>
                <a:lnTo>
                  <a:pt x="1504244" y="3355806"/>
                </a:lnTo>
                <a:lnTo>
                  <a:pt x="1506204" y="3351250"/>
                </a:lnTo>
                <a:close/>
                <a:moveTo>
                  <a:pt x="1535916" y="3315354"/>
                </a:moveTo>
                <a:cubicBezTo>
                  <a:pt x="1539534" y="3319278"/>
                  <a:pt x="1540693" y="3334972"/>
                  <a:pt x="1533745" y="3342819"/>
                </a:cubicBezTo>
                <a:cubicBezTo>
                  <a:pt x="1522419" y="3337007"/>
                  <a:pt x="1538892" y="3323056"/>
                  <a:pt x="1531685" y="3316081"/>
                </a:cubicBezTo>
                <a:cubicBezTo>
                  <a:pt x="1533230" y="3314048"/>
                  <a:pt x="1534709" y="3314048"/>
                  <a:pt x="1535916" y="3315354"/>
                </a:cubicBezTo>
                <a:close/>
                <a:moveTo>
                  <a:pt x="1618010" y="3258546"/>
                </a:moveTo>
                <a:lnTo>
                  <a:pt x="1617907" y="3272778"/>
                </a:lnTo>
                <a:cubicBezTo>
                  <a:pt x="1617907" y="3285275"/>
                  <a:pt x="1617650" y="3296899"/>
                  <a:pt x="1616106" y="3303293"/>
                </a:cubicBezTo>
                <a:cubicBezTo>
                  <a:pt x="1615075" y="3306781"/>
                  <a:pt x="1610958" y="3309106"/>
                  <a:pt x="1610958" y="3312593"/>
                </a:cubicBezTo>
                <a:cubicBezTo>
                  <a:pt x="1610958" y="3316081"/>
                  <a:pt x="1614046" y="3324219"/>
                  <a:pt x="1614046" y="3327706"/>
                </a:cubicBezTo>
                <a:cubicBezTo>
                  <a:pt x="1613017" y="3335843"/>
                  <a:pt x="1610958" y="3347469"/>
                  <a:pt x="1609928" y="3355607"/>
                </a:cubicBezTo>
                <a:lnTo>
                  <a:pt x="1610281" y="3361818"/>
                </a:lnTo>
                <a:lnTo>
                  <a:pt x="1607193" y="3356225"/>
                </a:lnTo>
                <a:cubicBezTo>
                  <a:pt x="1606518" y="3344346"/>
                  <a:pt x="1614819" y="3326253"/>
                  <a:pt x="1601692" y="3332356"/>
                </a:cubicBezTo>
                <a:cubicBezTo>
                  <a:pt x="1602207" y="3339332"/>
                  <a:pt x="1602978" y="3346307"/>
                  <a:pt x="1603107" y="3353427"/>
                </a:cubicBezTo>
                <a:lnTo>
                  <a:pt x="1601056" y="3371846"/>
                </a:lnTo>
                <a:lnTo>
                  <a:pt x="1598603" y="3335843"/>
                </a:lnTo>
                <a:lnTo>
                  <a:pt x="1602895" y="3324215"/>
                </a:lnTo>
                <a:lnTo>
                  <a:pt x="1607225" y="3317391"/>
                </a:lnTo>
                <a:cubicBezTo>
                  <a:pt x="1608125" y="3308236"/>
                  <a:pt x="1607354" y="3297483"/>
                  <a:pt x="1608898" y="3289346"/>
                </a:cubicBezTo>
                <a:cubicBezTo>
                  <a:pt x="1608898" y="3290507"/>
                  <a:pt x="1611986" y="3285858"/>
                  <a:pt x="1611986" y="3284695"/>
                </a:cubicBezTo>
                <a:cubicBezTo>
                  <a:pt x="1615074" y="3276557"/>
                  <a:pt x="1611986" y="3271908"/>
                  <a:pt x="1614044" y="3263770"/>
                </a:cubicBezTo>
                <a:close/>
                <a:moveTo>
                  <a:pt x="1380776" y="3230120"/>
                </a:moveTo>
                <a:lnTo>
                  <a:pt x="1380861" y="3230346"/>
                </a:lnTo>
                <a:lnTo>
                  <a:pt x="1380302" y="3232807"/>
                </a:lnTo>
                <a:lnTo>
                  <a:pt x="1380347" y="3232378"/>
                </a:lnTo>
                <a:close/>
                <a:moveTo>
                  <a:pt x="1664492" y="3181228"/>
                </a:moveTo>
                <a:cubicBezTo>
                  <a:pt x="1657287" y="3194017"/>
                  <a:pt x="1663463" y="3210292"/>
                  <a:pt x="1663463" y="3224242"/>
                </a:cubicBezTo>
                <a:cubicBezTo>
                  <a:pt x="1663463" y="3233542"/>
                  <a:pt x="1654197" y="3246329"/>
                  <a:pt x="1663463" y="3255630"/>
                </a:cubicBezTo>
                <a:cubicBezTo>
                  <a:pt x="1670670" y="3245167"/>
                  <a:pt x="1667581" y="3227728"/>
                  <a:pt x="1668611" y="3214941"/>
                </a:cubicBezTo>
                <a:cubicBezTo>
                  <a:pt x="1668611" y="3205641"/>
                  <a:pt x="1677876" y="3187040"/>
                  <a:pt x="1664492" y="3181228"/>
                </a:cubicBezTo>
                <a:close/>
                <a:moveTo>
                  <a:pt x="1426265" y="3102451"/>
                </a:moveTo>
                <a:lnTo>
                  <a:pt x="1425773" y="3107554"/>
                </a:lnTo>
                <a:lnTo>
                  <a:pt x="1424113" y="3129364"/>
                </a:lnTo>
                <a:lnTo>
                  <a:pt x="1422557" y="3109150"/>
                </a:lnTo>
                <a:close/>
                <a:moveTo>
                  <a:pt x="1427402" y="3090630"/>
                </a:moveTo>
                <a:lnTo>
                  <a:pt x="1426577" y="3099214"/>
                </a:lnTo>
                <a:lnTo>
                  <a:pt x="1423587" y="3097526"/>
                </a:lnTo>
                <a:close/>
                <a:moveTo>
                  <a:pt x="1398876" y="3078927"/>
                </a:moveTo>
                <a:cubicBezTo>
                  <a:pt x="1397847" y="3081252"/>
                  <a:pt x="1392700" y="3098689"/>
                  <a:pt x="1399906" y="3099853"/>
                </a:cubicBezTo>
                <a:cubicBezTo>
                  <a:pt x="1395789" y="3089389"/>
                  <a:pt x="1408143" y="3082414"/>
                  <a:pt x="1398876" y="3078927"/>
                </a:cubicBezTo>
                <a:close/>
                <a:moveTo>
                  <a:pt x="1489655" y="3067298"/>
                </a:moveTo>
                <a:lnTo>
                  <a:pt x="1489545" y="3068213"/>
                </a:lnTo>
                <a:lnTo>
                  <a:pt x="1489474" y="3067300"/>
                </a:lnTo>
                <a:close/>
                <a:moveTo>
                  <a:pt x="1428966" y="3064712"/>
                </a:moveTo>
                <a:lnTo>
                  <a:pt x="1429762" y="3066139"/>
                </a:lnTo>
                <a:lnTo>
                  <a:pt x="1428859" y="3075518"/>
                </a:lnTo>
                <a:close/>
                <a:moveTo>
                  <a:pt x="1595015" y="3004906"/>
                </a:moveTo>
                <a:cubicBezTo>
                  <a:pt x="1592361" y="3007795"/>
                  <a:pt x="1596800" y="3019348"/>
                  <a:pt x="1591395" y="3018476"/>
                </a:cubicBezTo>
                <a:cubicBezTo>
                  <a:pt x="1595514" y="3041726"/>
                  <a:pt x="1583160" y="3060326"/>
                  <a:pt x="1594485" y="3075439"/>
                </a:cubicBezTo>
                <a:cubicBezTo>
                  <a:pt x="1598602" y="3053352"/>
                  <a:pt x="1598602" y="3030100"/>
                  <a:pt x="1600661" y="3005687"/>
                </a:cubicBezTo>
                <a:cubicBezTo>
                  <a:pt x="1597573" y="3003943"/>
                  <a:pt x="1595900" y="3003944"/>
                  <a:pt x="1595015" y="3004906"/>
                </a:cubicBezTo>
                <a:close/>
                <a:moveTo>
                  <a:pt x="1477120" y="2939421"/>
                </a:moveTo>
                <a:cubicBezTo>
                  <a:pt x="1475061" y="2939421"/>
                  <a:pt x="1476090" y="2949884"/>
                  <a:pt x="1476090" y="2951046"/>
                </a:cubicBezTo>
                <a:cubicBezTo>
                  <a:pt x="1475061" y="2960347"/>
                  <a:pt x="1475061" y="2978948"/>
                  <a:pt x="1481238" y="2961509"/>
                </a:cubicBezTo>
                <a:cubicBezTo>
                  <a:pt x="1481238" y="2961509"/>
                  <a:pt x="1477120" y="2959185"/>
                  <a:pt x="1477120" y="2959185"/>
                </a:cubicBezTo>
                <a:cubicBezTo>
                  <a:pt x="1477120" y="2956860"/>
                  <a:pt x="1482268" y="2938259"/>
                  <a:pt x="1477120" y="2939421"/>
                </a:cubicBezTo>
                <a:close/>
                <a:moveTo>
                  <a:pt x="1321665" y="2920822"/>
                </a:moveTo>
                <a:cubicBezTo>
                  <a:pt x="1332990" y="2926633"/>
                  <a:pt x="1316518" y="2940584"/>
                  <a:pt x="1323724" y="2947559"/>
                </a:cubicBezTo>
                <a:cubicBezTo>
                  <a:pt x="1314458" y="2955698"/>
                  <a:pt x="1317547" y="2928959"/>
                  <a:pt x="1321665" y="2920822"/>
                </a:cubicBezTo>
                <a:close/>
                <a:moveTo>
                  <a:pt x="1610957" y="2789457"/>
                </a:moveTo>
                <a:cubicBezTo>
                  <a:pt x="1602720" y="2787131"/>
                  <a:pt x="1604780" y="2798757"/>
                  <a:pt x="1601691" y="2802244"/>
                </a:cubicBezTo>
                <a:cubicBezTo>
                  <a:pt x="1609927" y="2799920"/>
                  <a:pt x="1599631" y="2825495"/>
                  <a:pt x="1608898" y="2823171"/>
                </a:cubicBezTo>
                <a:cubicBezTo>
                  <a:pt x="1605809" y="2806894"/>
                  <a:pt x="1611986" y="2803406"/>
                  <a:pt x="1610957" y="2789457"/>
                </a:cubicBezTo>
                <a:close/>
                <a:moveTo>
                  <a:pt x="1329788" y="2786965"/>
                </a:moveTo>
                <a:lnTo>
                  <a:pt x="1331960" y="2797592"/>
                </a:lnTo>
                <a:cubicBezTo>
                  <a:pt x="1331960" y="2808056"/>
                  <a:pt x="1325783" y="2819681"/>
                  <a:pt x="1325783" y="2830145"/>
                </a:cubicBezTo>
                <a:cubicBezTo>
                  <a:pt x="1325783" y="2833631"/>
                  <a:pt x="1328871" y="2840606"/>
                  <a:pt x="1328871" y="2845256"/>
                </a:cubicBezTo>
                <a:cubicBezTo>
                  <a:pt x="1329901" y="2859207"/>
                  <a:pt x="1334019" y="2888270"/>
                  <a:pt x="1319606" y="2906870"/>
                </a:cubicBezTo>
                <a:lnTo>
                  <a:pt x="1319577" y="2900960"/>
                </a:lnTo>
                <a:lnTo>
                  <a:pt x="1321663" y="2890597"/>
                </a:lnTo>
                <a:cubicBezTo>
                  <a:pt x="1322693" y="2881296"/>
                  <a:pt x="1323723" y="2869672"/>
                  <a:pt x="1323723" y="2861533"/>
                </a:cubicBezTo>
                <a:cubicBezTo>
                  <a:pt x="1324751" y="2845258"/>
                  <a:pt x="1324751" y="2832471"/>
                  <a:pt x="1325781" y="2824333"/>
                </a:cubicBezTo>
                <a:cubicBezTo>
                  <a:pt x="1326811" y="2816195"/>
                  <a:pt x="1324751" y="2811545"/>
                  <a:pt x="1328870" y="2808058"/>
                </a:cubicBezTo>
                <a:cubicBezTo>
                  <a:pt x="1329900" y="2806894"/>
                  <a:pt x="1327840" y="2801083"/>
                  <a:pt x="1328870" y="2799920"/>
                </a:cubicBezTo>
                <a:close/>
                <a:moveTo>
                  <a:pt x="1641843" y="2760394"/>
                </a:moveTo>
                <a:cubicBezTo>
                  <a:pt x="1632576" y="2792945"/>
                  <a:pt x="1640813" y="2825495"/>
                  <a:pt x="1637724" y="2860370"/>
                </a:cubicBezTo>
                <a:cubicBezTo>
                  <a:pt x="1635664" y="2878971"/>
                  <a:pt x="1623311" y="2897572"/>
                  <a:pt x="1629487" y="2919659"/>
                </a:cubicBezTo>
                <a:cubicBezTo>
                  <a:pt x="1638754" y="2920822"/>
                  <a:pt x="1637724" y="2912685"/>
                  <a:pt x="1638754" y="2906872"/>
                </a:cubicBezTo>
                <a:cubicBezTo>
                  <a:pt x="1640813" y="2895247"/>
                  <a:pt x="1655226" y="2889435"/>
                  <a:pt x="1646989" y="2881296"/>
                </a:cubicBezTo>
                <a:cubicBezTo>
                  <a:pt x="1644930" y="2878971"/>
                  <a:pt x="1650078" y="2876647"/>
                  <a:pt x="1650078" y="2876647"/>
                </a:cubicBezTo>
                <a:cubicBezTo>
                  <a:pt x="1652137" y="2853397"/>
                  <a:pt x="1652137" y="2838282"/>
                  <a:pt x="1652137" y="2818520"/>
                </a:cubicBezTo>
                <a:cubicBezTo>
                  <a:pt x="1658313" y="2809220"/>
                  <a:pt x="1659343" y="2792945"/>
                  <a:pt x="1663461" y="2780157"/>
                </a:cubicBezTo>
                <a:cubicBezTo>
                  <a:pt x="1657286" y="2780157"/>
                  <a:pt x="1661402" y="2766207"/>
                  <a:pt x="1657286" y="2763881"/>
                </a:cubicBezTo>
                <a:cubicBezTo>
                  <a:pt x="1653167" y="2760394"/>
                  <a:pt x="1649048" y="2758069"/>
                  <a:pt x="1641843" y="2760394"/>
                </a:cubicBezTo>
                <a:close/>
                <a:moveTo>
                  <a:pt x="1397849" y="2752254"/>
                </a:moveTo>
                <a:cubicBezTo>
                  <a:pt x="1393731" y="2758067"/>
                  <a:pt x="1387553" y="2755741"/>
                  <a:pt x="1383434" y="2760392"/>
                </a:cubicBezTo>
                <a:cubicBezTo>
                  <a:pt x="1391671" y="2781318"/>
                  <a:pt x="1383434" y="2806893"/>
                  <a:pt x="1390642" y="2827819"/>
                </a:cubicBezTo>
                <a:cubicBezTo>
                  <a:pt x="1399907" y="2822006"/>
                  <a:pt x="1391671" y="2811544"/>
                  <a:pt x="1392701" y="2804568"/>
                </a:cubicBezTo>
                <a:cubicBezTo>
                  <a:pt x="1392701" y="2803405"/>
                  <a:pt x="1394760" y="2801080"/>
                  <a:pt x="1394760" y="2799918"/>
                </a:cubicBezTo>
                <a:cubicBezTo>
                  <a:pt x="1394760" y="2787131"/>
                  <a:pt x="1392701" y="2777830"/>
                  <a:pt x="1394760" y="2768529"/>
                </a:cubicBezTo>
                <a:cubicBezTo>
                  <a:pt x="1395789" y="2763880"/>
                  <a:pt x="1411232" y="2759229"/>
                  <a:pt x="1397849" y="2752254"/>
                </a:cubicBezTo>
                <a:close/>
                <a:moveTo>
                  <a:pt x="1357260" y="2689902"/>
                </a:moveTo>
                <a:lnTo>
                  <a:pt x="1357696" y="2698780"/>
                </a:lnTo>
                <a:lnTo>
                  <a:pt x="1355775" y="2708327"/>
                </a:lnTo>
                <a:lnTo>
                  <a:pt x="1355638" y="2708077"/>
                </a:lnTo>
                <a:close/>
                <a:moveTo>
                  <a:pt x="1437999" y="2626703"/>
                </a:moveTo>
                <a:cubicBezTo>
                  <a:pt x="1434910" y="2629028"/>
                  <a:pt x="1431821" y="2652278"/>
                  <a:pt x="1439028" y="2655766"/>
                </a:cubicBezTo>
                <a:cubicBezTo>
                  <a:pt x="1441088" y="2646465"/>
                  <a:pt x="1450352" y="2629028"/>
                  <a:pt x="1437999" y="2626703"/>
                </a:cubicBezTo>
                <a:close/>
                <a:moveTo>
                  <a:pt x="1650078" y="2611589"/>
                </a:moveTo>
                <a:cubicBezTo>
                  <a:pt x="1649048" y="2620890"/>
                  <a:pt x="1637724" y="2616240"/>
                  <a:pt x="1640813" y="2630190"/>
                </a:cubicBezTo>
                <a:cubicBezTo>
                  <a:pt x="1636694" y="2630190"/>
                  <a:pt x="1637724" y="2637165"/>
                  <a:pt x="1634636" y="2638328"/>
                </a:cubicBezTo>
                <a:cubicBezTo>
                  <a:pt x="1636694" y="2648791"/>
                  <a:pt x="1640813" y="2655766"/>
                  <a:pt x="1641843" y="2667391"/>
                </a:cubicBezTo>
                <a:cubicBezTo>
                  <a:pt x="1642870" y="2676691"/>
                  <a:pt x="1638754" y="2682504"/>
                  <a:pt x="1639783" y="2692966"/>
                </a:cubicBezTo>
                <a:cubicBezTo>
                  <a:pt x="1640813" y="2701105"/>
                  <a:pt x="1642870" y="2702267"/>
                  <a:pt x="1642870" y="2709241"/>
                </a:cubicBezTo>
                <a:cubicBezTo>
                  <a:pt x="1640813" y="2723193"/>
                  <a:pt x="1634636" y="2730168"/>
                  <a:pt x="1634636" y="2747606"/>
                </a:cubicBezTo>
                <a:cubicBezTo>
                  <a:pt x="1642870" y="2746443"/>
                  <a:pt x="1650078" y="2737142"/>
                  <a:pt x="1650078" y="2730168"/>
                </a:cubicBezTo>
                <a:cubicBezTo>
                  <a:pt x="1650078" y="2722030"/>
                  <a:pt x="1656254" y="2719704"/>
                  <a:pt x="1656254" y="2712730"/>
                </a:cubicBezTo>
                <a:cubicBezTo>
                  <a:pt x="1656254" y="2708080"/>
                  <a:pt x="1658313" y="2710404"/>
                  <a:pt x="1659343" y="2708080"/>
                </a:cubicBezTo>
                <a:cubicBezTo>
                  <a:pt x="1667580" y="2680179"/>
                  <a:pt x="1654196" y="2665066"/>
                  <a:pt x="1648019" y="2645303"/>
                </a:cubicBezTo>
                <a:cubicBezTo>
                  <a:pt x="1648019" y="2636002"/>
                  <a:pt x="1660373" y="2620890"/>
                  <a:pt x="1650078" y="2611589"/>
                </a:cubicBezTo>
                <a:close/>
                <a:moveTo>
                  <a:pt x="1654582" y="2448690"/>
                </a:moveTo>
                <a:cubicBezTo>
                  <a:pt x="1651107" y="2447382"/>
                  <a:pt x="1648532" y="2446511"/>
                  <a:pt x="1645960" y="2449998"/>
                </a:cubicBezTo>
                <a:cubicBezTo>
                  <a:pt x="1639783" y="2458136"/>
                  <a:pt x="1650078" y="2466274"/>
                  <a:pt x="1650078" y="2479061"/>
                </a:cubicBezTo>
                <a:cubicBezTo>
                  <a:pt x="1645960" y="2480224"/>
                  <a:pt x="1644930" y="2489525"/>
                  <a:pt x="1643900" y="2496500"/>
                </a:cubicBezTo>
                <a:cubicBezTo>
                  <a:pt x="1640813" y="2515099"/>
                  <a:pt x="1643900" y="2512775"/>
                  <a:pt x="1644930" y="2525562"/>
                </a:cubicBezTo>
                <a:cubicBezTo>
                  <a:pt x="1645960" y="2537188"/>
                  <a:pt x="1640813" y="2555789"/>
                  <a:pt x="1652137" y="2554626"/>
                </a:cubicBezTo>
                <a:cubicBezTo>
                  <a:pt x="1658313" y="2544163"/>
                  <a:pt x="1653167" y="2520912"/>
                  <a:pt x="1654196" y="2504637"/>
                </a:cubicBezTo>
                <a:cubicBezTo>
                  <a:pt x="1662432" y="2491850"/>
                  <a:pt x="1670669" y="2476736"/>
                  <a:pt x="1668610" y="2449998"/>
                </a:cubicBezTo>
                <a:cubicBezTo>
                  <a:pt x="1662432" y="2451741"/>
                  <a:pt x="1658056" y="2449999"/>
                  <a:pt x="1654582" y="2448690"/>
                </a:cubicBezTo>
                <a:close/>
                <a:moveTo>
                  <a:pt x="1652137" y="2411635"/>
                </a:moveTo>
                <a:cubicBezTo>
                  <a:pt x="1651107" y="2417446"/>
                  <a:pt x="1645960" y="2422097"/>
                  <a:pt x="1652137" y="2424422"/>
                </a:cubicBezTo>
                <a:cubicBezTo>
                  <a:pt x="1652137" y="2419772"/>
                  <a:pt x="1657286" y="2415123"/>
                  <a:pt x="1652137" y="2411635"/>
                </a:cubicBezTo>
                <a:close/>
                <a:moveTo>
                  <a:pt x="1455500" y="2374434"/>
                </a:moveTo>
                <a:cubicBezTo>
                  <a:pt x="1459618" y="2390710"/>
                  <a:pt x="1463736" y="2416285"/>
                  <a:pt x="1460648" y="2429072"/>
                </a:cubicBezTo>
                <a:lnTo>
                  <a:pt x="1457599" y="2427008"/>
                </a:lnTo>
                <a:lnTo>
                  <a:pt x="1457559" y="2425584"/>
                </a:lnTo>
                <a:cubicBezTo>
                  <a:pt x="1455500" y="2413959"/>
                  <a:pt x="1458588" y="2397684"/>
                  <a:pt x="1447263" y="2401171"/>
                </a:cubicBezTo>
                <a:lnTo>
                  <a:pt x="1446776" y="2404429"/>
                </a:lnTo>
                <a:lnTo>
                  <a:pt x="1446379" y="2401408"/>
                </a:lnTo>
                <a:cubicBezTo>
                  <a:pt x="1445655" y="2390128"/>
                  <a:pt x="1446235" y="2369202"/>
                  <a:pt x="1455500" y="2374434"/>
                </a:cubicBezTo>
                <a:close/>
                <a:moveTo>
                  <a:pt x="1475061" y="2356996"/>
                </a:moveTo>
                <a:cubicBezTo>
                  <a:pt x="1477120" y="2356996"/>
                  <a:pt x="1479179" y="2356996"/>
                  <a:pt x="1481238" y="2356996"/>
                </a:cubicBezTo>
                <a:cubicBezTo>
                  <a:pt x="1481238" y="2363972"/>
                  <a:pt x="1482268" y="2375596"/>
                  <a:pt x="1482268" y="2386058"/>
                </a:cubicBezTo>
                <a:cubicBezTo>
                  <a:pt x="1482268" y="2394197"/>
                  <a:pt x="1486386" y="2410471"/>
                  <a:pt x="1476089" y="2406985"/>
                </a:cubicBezTo>
                <a:cubicBezTo>
                  <a:pt x="1476089" y="2390710"/>
                  <a:pt x="1475061" y="2373272"/>
                  <a:pt x="1475061" y="2356996"/>
                </a:cubicBezTo>
                <a:close/>
                <a:moveTo>
                  <a:pt x="1569776" y="2343045"/>
                </a:moveTo>
                <a:cubicBezTo>
                  <a:pt x="1586248" y="2340721"/>
                  <a:pt x="1582130" y="2366295"/>
                  <a:pt x="1586248" y="2380246"/>
                </a:cubicBezTo>
                <a:cubicBezTo>
                  <a:pt x="1590367" y="2372109"/>
                  <a:pt x="1588307" y="2354671"/>
                  <a:pt x="1602720" y="2359320"/>
                </a:cubicBezTo>
                <a:cubicBezTo>
                  <a:pt x="1598602" y="2372109"/>
                  <a:pt x="1609927" y="2396522"/>
                  <a:pt x="1603750" y="2405823"/>
                </a:cubicBezTo>
                <a:cubicBezTo>
                  <a:pt x="1602720" y="2406985"/>
                  <a:pt x="1597572" y="2404659"/>
                  <a:pt x="1597572" y="2405823"/>
                </a:cubicBezTo>
                <a:cubicBezTo>
                  <a:pt x="1595514" y="2411635"/>
                  <a:pt x="1598602" y="2425584"/>
                  <a:pt x="1595514" y="2431398"/>
                </a:cubicBezTo>
                <a:cubicBezTo>
                  <a:pt x="1589337" y="2429072"/>
                  <a:pt x="1589337" y="2418610"/>
                  <a:pt x="1583160" y="2427910"/>
                </a:cubicBezTo>
                <a:cubicBezTo>
                  <a:pt x="1580071" y="2445347"/>
                  <a:pt x="1590367" y="2444185"/>
                  <a:pt x="1590367" y="2456973"/>
                </a:cubicBezTo>
                <a:cubicBezTo>
                  <a:pt x="1578012" y="2460460"/>
                  <a:pt x="1584188" y="2487199"/>
                  <a:pt x="1579042" y="2498824"/>
                </a:cubicBezTo>
                <a:cubicBezTo>
                  <a:pt x="1578012" y="2510449"/>
                  <a:pt x="1590367" y="2502311"/>
                  <a:pt x="1591395" y="2511611"/>
                </a:cubicBezTo>
                <a:cubicBezTo>
                  <a:pt x="1594485" y="2538351"/>
                  <a:pt x="1576982" y="2549977"/>
                  <a:pt x="1586248" y="2574390"/>
                </a:cubicBezTo>
                <a:cubicBezTo>
                  <a:pt x="1582130" y="2579039"/>
                  <a:pt x="1574924" y="2579039"/>
                  <a:pt x="1573894" y="2587176"/>
                </a:cubicBezTo>
                <a:cubicBezTo>
                  <a:pt x="1574924" y="2592988"/>
                  <a:pt x="1582130" y="2590664"/>
                  <a:pt x="1586248" y="2590664"/>
                </a:cubicBezTo>
                <a:cubicBezTo>
                  <a:pt x="1585219" y="2596477"/>
                  <a:pt x="1581100" y="2597640"/>
                  <a:pt x="1580071" y="2603452"/>
                </a:cubicBezTo>
                <a:cubicBezTo>
                  <a:pt x="1579042" y="2627865"/>
                  <a:pt x="1580071" y="2653440"/>
                  <a:pt x="1575954" y="2674366"/>
                </a:cubicBezTo>
                <a:cubicBezTo>
                  <a:pt x="1575954" y="2675530"/>
                  <a:pt x="1572864" y="2674366"/>
                  <a:pt x="1572864" y="2679017"/>
                </a:cubicBezTo>
                <a:cubicBezTo>
                  <a:pt x="1572864" y="2687154"/>
                  <a:pt x="1578012" y="2703430"/>
                  <a:pt x="1576982" y="2716218"/>
                </a:cubicBezTo>
                <a:cubicBezTo>
                  <a:pt x="1576982" y="2724355"/>
                  <a:pt x="1571835" y="2727842"/>
                  <a:pt x="1570805" y="2737142"/>
                </a:cubicBezTo>
                <a:cubicBezTo>
                  <a:pt x="1570805" y="2740631"/>
                  <a:pt x="1573894" y="2762718"/>
                  <a:pt x="1571835" y="2766207"/>
                </a:cubicBezTo>
                <a:cubicBezTo>
                  <a:pt x="1563599" y="2775507"/>
                  <a:pt x="1568746" y="2773182"/>
                  <a:pt x="1569776" y="2791782"/>
                </a:cubicBezTo>
                <a:cubicBezTo>
                  <a:pt x="1569776" y="2801083"/>
                  <a:pt x="1567717" y="2802244"/>
                  <a:pt x="1566687" y="2808058"/>
                </a:cubicBezTo>
                <a:cubicBezTo>
                  <a:pt x="1565657" y="2823171"/>
                  <a:pt x="1566687" y="2834797"/>
                  <a:pt x="1564629" y="2849908"/>
                </a:cubicBezTo>
                <a:cubicBezTo>
                  <a:pt x="1564629" y="2852234"/>
                  <a:pt x="1561539" y="2853397"/>
                  <a:pt x="1561539" y="2854559"/>
                </a:cubicBezTo>
                <a:cubicBezTo>
                  <a:pt x="1560511" y="2862696"/>
                  <a:pt x="1565657" y="2873158"/>
                  <a:pt x="1559481" y="2880134"/>
                </a:cubicBezTo>
                <a:cubicBezTo>
                  <a:pt x="1549187" y="2882459"/>
                  <a:pt x="1552274" y="2880134"/>
                  <a:pt x="1550214" y="2867347"/>
                </a:cubicBezTo>
                <a:cubicBezTo>
                  <a:pt x="1549187" y="2863858"/>
                  <a:pt x="1548156" y="2854559"/>
                  <a:pt x="1546098" y="2841771"/>
                </a:cubicBezTo>
                <a:cubicBezTo>
                  <a:pt x="1544038" y="2832471"/>
                  <a:pt x="1544038" y="2835959"/>
                  <a:pt x="1546098" y="2825495"/>
                </a:cubicBezTo>
                <a:cubicBezTo>
                  <a:pt x="1547127" y="2818520"/>
                  <a:pt x="1545068" y="2811545"/>
                  <a:pt x="1545068" y="2804570"/>
                </a:cubicBezTo>
                <a:cubicBezTo>
                  <a:pt x="1545068" y="2803406"/>
                  <a:pt x="1548156" y="2803406"/>
                  <a:pt x="1548156" y="2799920"/>
                </a:cubicBezTo>
                <a:cubicBezTo>
                  <a:pt x="1548156" y="2798757"/>
                  <a:pt x="1548156" y="2796432"/>
                  <a:pt x="1548156" y="2795269"/>
                </a:cubicBezTo>
                <a:cubicBezTo>
                  <a:pt x="1549187" y="2790619"/>
                  <a:pt x="1550214" y="2788295"/>
                  <a:pt x="1551244" y="2782482"/>
                </a:cubicBezTo>
                <a:cubicBezTo>
                  <a:pt x="1551244" y="2780157"/>
                  <a:pt x="1554333" y="2777832"/>
                  <a:pt x="1554333" y="2777832"/>
                </a:cubicBezTo>
                <a:cubicBezTo>
                  <a:pt x="1554333" y="2770856"/>
                  <a:pt x="1551244" y="2770856"/>
                  <a:pt x="1551244" y="2765044"/>
                </a:cubicBezTo>
                <a:cubicBezTo>
                  <a:pt x="1551244" y="2758069"/>
                  <a:pt x="1554333" y="2756906"/>
                  <a:pt x="1554333" y="2752255"/>
                </a:cubicBezTo>
                <a:cubicBezTo>
                  <a:pt x="1553304" y="2744117"/>
                  <a:pt x="1548156" y="2739468"/>
                  <a:pt x="1547127" y="2731330"/>
                </a:cubicBezTo>
                <a:cubicBezTo>
                  <a:pt x="1562570" y="2719704"/>
                  <a:pt x="1547127" y="2687154"/>
                  <a:pt x="1558451" y="2676691"/>
                </a:cubicBezTo>
                <a:cubicBezTo>
                  <a:pt x="1560511" y="2662740"/>
                  <a:pt x="1548156" y="2670878"/>
                  <a:pt x="1548156" y="2660416"/>
                </a:cubicBezTo>
                <a:cubicBezTo>
                  <a:pt x="1547127" y="2644141"/>
                  <a:pt x="1553304" y="2637165"/>
                  <a:pt x="1550214" y="2618564"/>
                </a:cubicBezTo>
                <a:cubicBezTo>
                  <a:pt x="1565657" y="2618564"/>
                  <a:pt x="1570805" y="2606940"/>
                  <a:pt x="1574924" y="2592988"/>
                </a:cubicBezTo>
                <a:cubicBezTo>
                  <a:pt x="1573894" y="2587176"/>
                  <a:pt x="1566687" y="2589501"/>
                  <a:pt x="1562570" y="2589501"/>
                </a:cubicBezTo>
                <a:cubicBezTo>
                  <a:pt x="1561539" y="2577877"/>
                  <a:pt x="1557422" y="2566252"/>
                  <a:pt x="1558451" y="2552300"/>
                </a:cubicBezTo>
                <a:cubicBezTo>
                  <a:pt x="1559481" y="2543000"/>
                  <a:pt x="1562570" y="2522075"/>
                  <a:pt x="1560511" y="2502311"/>
                </a:cubicBezTo>
                <a:cubicBezTo>
                  <a:pt x="1558451" y="2487199"/>
                  <a:pt x="1555362" y="2456973"/>
                  <a:pt x="1565657" y="2439536"/>
                </a:cubicBezTo>
                <a:cubicBezTo>
                  <a:pt x="1563599" y="2427910"/>
                  <a:pt x="1560511" y="2417446"/>
                  <a:pt x="1558451" y="2405823"/>
                </a:cubicBezTo>
                <a:cubicBezTo>
                  <a:pt x="1564629" y="2404659"/>
                  <a:pt x="1558451" y="2387222"/>
                  <a:pt x="1564629" y="2384896"/>
                </a:cubicBezTo>
                <a:cubicBezTo>
                  <a:pt x="1568746" y="2365134"/>
                  <a:pt x="1560511" y="2354671"/>
                  <a:pt x="1569776" y="2343045"/>
                </a:cubicBezTo>
                <a:close/>
                <a:moveTo>
                  <a:pt x="1601691" y="2320957"/>
                </a:moveTo>
                <a:cubicBezTo>
                  <a:pt x="1601691" y="2330258"/>
                  <a:pt x="1601691" y="2340721"/>
                  <a:pt x="1602720" y="2350020"/>
                </a:cubicBezTo>
                <a:cubicBezTo>
                  <a:pt x="1589337" y="2355833"/>
                  <a:pt x="1588307" y="2316306"/>
                  <a:pt x="1601691" y="2320957"/>
                </a:cubicBezTo>
                <a:close/>
                <a:moveTo>
                  <a:pt x="1570805" y="2312819"/>
                </a:moveTo>
                <a:cubicBezTo>
                  <a:pt x="1572864" y="2313982"/>
                  <a:pt x="1574924" y="2313982"/>
                  <a:pt x="1576982" y="2312819"/>
                </a:cubicBezTo>
                <a:cubicBezTo>
                  <a:pt x="1576982" y="2317469"/>
                  <a:pt x="1576982" y="2320957"/>
                  <a:pt x="1576982" y="2325607"/>
                </a:cubicBezTo>
                <a:cubicBezTo>
                  <a:pt x="1574924" y="2325607"/>
                  <a:pt x="1572864" y="2325607"/>
                  <a:pt x="1570805" y="2325607"/>
                </a:cubicBezTo>
                <a:cubicBezTo>
                  <a:pt x="1570805" y="2320957"/>
                  <a:pt x="1570805" y="2317469"/>
                  <a:pt x="1570805" y="2312819"/>
                </a:cubicBezTo>
                <a:close/>
                <a:moveTo>
                  <a:pt x="1540949" y="2308168"/>
                </a:moveTo>
                <a:cubicBezTo>
                  <a:pt x="1551244" y="2309332"/>
                  <a:pt x="1549187" y="2327932"/>
                  <a:pt x="1554333" y="2337233"/>
                </a:cubicBezTo>
                <a:cubicBezTo>
                  <a:pt x="1545068" y="2345371"/>
                  <a:pt x="1553304" y="2358158"/>
                  <a:pt x="1552274" y="2366295"/>
                </a:cubicBezTo>
                <a:cubicBezTo>
                  <a:pt x="1552274" y="2366295"/>
                  <a:pt x="1550214" y="2367458"/>
                  <a:pt x="1549187" y="2370945"/>
                </a:cubicBezTo>
                <a:cubicBezTo>
                  <a:pt x="1547127" y="2381409"/>
                  <a:pt x="1546098" y="2381409"/>
                  <a:pt x="1546098" y="2391871"/>
                </a:cubicBezTo>
                <a:cubicBezTo>
                  <a:pt x="1549187" y="2400010"/>
                  <a:pt x="1552274" y="2409309"/>
                  <a:pt x="1553304" y="2420935"/>
                </a:cubicBezTo>
                <a:cubicBezTo>
                  <a:pt x="1553304" y="2430236"/>
                  <a:pt x="1549187" y="2444185"/>
                  <a:pt x="1548156" y="2458136"/>
                </a:cubicBezTo>
                <a:cubicBezTo>
                  <a:pt x="1546098" y="2482549"/>
                  <a:pt x="1549187" y="2509286"/>
                  <a:pt x="1539920" y="2517424"/>
                </a:cubicBezTo>
                <a:cubicBezTo>
                  <a:pt x="1547127" y="2538351"/>
                  <a:pt x="1536831" y="2555789"/>
                  <a:pt x="1534772" y="2575550"/>
                </a:cubicBezTo>
                <a:cubicBezTo>
                  <a:pt x="1533744" y="2587176"/>
                  <a:pt x="1535801" y="2601126"/>
                  <a:pt x="1535801" y="2612752"/>
                </a:cubicBezTo>
                <a:cubicBezTo>
                  <a:pt x="1535801" y="2617402"/>
                  <a:pt x="1533744" y="2618564"/>
                  <a:pt x="1532714" y="2625541"/>
                </a:cubicBezTo>
                <a:cubicBezTo>
                  <a:pt x="1531684" y="2638328"/>
                  <a:pt x="1530655" y="2641816"/>
                  <a:pt x="1529625" y="2646465"/>
                </a:cubicBezTo>
                <a:cubicBezTo>
                  <a:pt x="1526537" y="2662740"/>
                  <a:pt x="1526537" y="2674366"/>
                  <a:pt x="1527566" y="2688317"/>
                </a:cubicBezTo>
                <a:cubicBezTo>
                  <a:pt x="1527566" y="2690643"/>
                  <a:pt x="1530655" y="2692966"/>
                  <a:pt x="1530655" y="2692966"/>
                </a:cubicBezTo>
                <a:cubicBezTo>
                  <a:pt x="1530655" y="2697618"/>
                  <a:pt x="1528595" y="2697618"/>
                  <a:pt x="1527566" y="2701105"/>
                </a:cubicBezTo>
                <a:cubicBezTo>
                  <a:pt x="1525506" y="2715055"/>
                  <a:pt x="1531684" y="2723193"/>
                  <a:pt x="1531684" y="2734818"/>
                </a:cubicBezTo>
                <a:cubicBezTo>
                  <a:pt x="1531684" y="2740631"/>
                  <a:pt x="1530655" y="2747606"/>
                  <a:pt x="1528595" y="2755743"/>
                </a:cubicBezTo>
                <a:cubicBezTo>
                  <a:pt x="1527566" y="2765044"/>
                  <a:pt x="1527566" y="2774344"/>
                  <a:pt x="1526537" y="2781319"/>
                </a:cubicBezTo>
                <a:cubicBezTo>
                  <a:pt x="1525506" y="2787131"/>
                  <a:pt x="1523448" y="2787131"/>
                  <a:pt x="1520359" y="2789457"/>
                </a:cubicBezTo>
                <a:cubicBezTo>
                  <a:pt x="1519329" y="2790619"/>
                  <a:pt x="1521388" y="2796432"/>
                  <a:pt x="1520359" y="2797594"/>
                </a:cubicBezTo>
                <a:cubicBezTo>
                  <a:pt x="1516242" y="2813870"/>
                  <a:pt x="1518301" y="2822007"/>
                  <a:pt x="1508005" y="2823171"/>
                </a:cubicBezTo>
                <a:cubicBezTo>
                  <a:pt x="1508005" y="2825495"/>
                  <a:pt x="1508005" y="2828983"/>
                  <a:pt x="1508005" y="2831308"/>
                </a:cubicBezTo>
                <a:cubicBezTo>
                  <a:pt x="1508005" y="2832471"/>
                  <a:pt x="1511094" y="2837120"/>
                  <a:pt x="1511094" y="2835959"/>
                </a:cubicBezTo>
                <a:cubicBezTo>
                  <a:pt x="1511094" y="2841771"/>
                  <a:pt x="1508005" y="2845258"/>
                  <a:pt x="1508005" y="2848746"/>
                </a:cubicBezTo>
                <a:cubicBezTo>
                  <a:pt x="1508005" y="2865021"/>
                  <a:pt x="1508005" y="2883622"/>
                  <a:pt x="1505945" y="2890597"/>
                </a:cubicBezTo>
                <a:cubicBezTo>
                  <a:pt x="1501829" y="2902223"/>
                  <a:pt x="1498739" y="2912685"/>
                  <a:pt x="1497711" y="2924311"/>
                </a:cubicBezTo>
                <a:cubicBezTo>
                  <a:pt x="1496681" y="2931285"/>
                  <a:pt x="1498739" y="2938260"/>
                  <a:pt x="1498739" y="2945236"/>
                </a:cubicBezTo>
                <a:cubicBezTo>
                  <a:pt x="1498739" y="2951048"/>
                  <a:pt x="1495651" y="2949886"/>
                  <a:pt x="1498739" y="2953373"/>
                </a:cubicBezTo>
                <a:lnTo>
                  <a:pt x="1498057" y="2957746"/>
                </a:lnTo>
                <a:lnTo>
                  <a:pt x="1495651" y="2941746"/>
                </a:lnTo>
                <a:cubicBezTo>
                  <a:pt x="1492562" y="2949884"/>
                  <a:pt x="1491790" y="2959476"/>
                  <a:pt x="1491790" y="2968195"/>
                </a:cubicBezTo>
                <a:lnTo>
                  <a:pt x="1492562" y="2989379"/>
                </a:lnTo>
                <a:lnTo>
                  <a:pt x="1492562" y="2994062"/>
                </a:lnTo>
                <a:cubicBezTo>
                  <a:pt x="1490504" y="3008012"/>
                  <a:pt x="1487415" y="3023125"/>
                  <a:pt x="1487415" y="3035913"/>
                </a:cubicBezTo>
                <a:cubicBezTo>
                  <a:pt x="1487415" y="3045215"/>
                  <a:pt x="1489473" y="3055676"/>
                  <a:pt x="1488445" y="3064977"/>
                </a:cubicBezTo>
                <a:cubicBezTo>
                  <a:pt x="1487415" y="3071952"/>
                  <a:pt x="1484326" y="3080090"/>
                  <a:pt x="1482268" y="3085902"/>
                </a:cubicBezTo>
                <a:cubicBezTo>
                  <a:pt x="1480208" y="3095202"/>
                  <a:pt x="1481238" y="3103340"/>
                  <a:pt x="1480208" y="3111479"/>
                </a:cubicBezTo>
                <a:cubicBezTo>
                  <a:pt x="1479179" y="3118453"/>
                  <a:pt x="1478149" y="3120779"/>
                  <a:pt x="1477120" y="3127754"/>
                </a:cubicBezTo>
                <a:cubicBezTo>
                  <a:pt x="1477120" y="3130078"/>
                  <a:pt x="1474031" y="3132403"/>
                  <a:pt x="1474031" y="3132403"/>
                </a:cubicBezTo>
                <a:cubicBezTo>
                  <a:pt x="1474031" y="3135891"/>
                  <a:pt x="1477120" y="3137054"/>
                  <a:pt x="1477120" y="3140541"/>
                </a:cubicBezTo>
                <a:cubicBezTo>
                  <a:pt x="1477120" y="3140541"/>
                  <a:pt x="1470943" y="3148678"/>
                  <a:pt x="1477120" y="3148678"/>
                </a:cubicBezTo>
                <a:cubicBezTo>
                  <a:pt x="1479694" y="3134148"/>
                  <a:pt x="1482526" y="3120197"/>
                  <a:pt x="1484970" y="3105811"/>
                </a:cubicBezTo>
                <a:lnTo>
                  <a:pt x="1489545" y="3068213"/>
                </a:lnTo>
                <a:lnTo>
                  <a:pt x="1490505" y="3080669"/>
                </a:lnTo>
                <a:cubicBezTo>
                  <a:pt x="1489218" y="3085610"/>
                  <a:pt x="1487931" y="3090550"/>
                  <a:pt x="1491533" y="3094038"/>
                </a:cubicBezTo>
                <a:cubicBezTo>
                  <a:pt x="1499255" y="3087063"/>
                  <a:pt x="1498290" y="3071588"/>
                  <a:pt x="1494285" y="3067229"/>
                </a:cubicBezTo>
                <a:lnTo>
                  <a:pt x="1489655" y="3067298"/>
                </a:lnTo>
                <a:lnTo>
                  <a:pt x="1490504" y="3060326"/>
                </a:lnTo>
                <a:cubicBezTo>
                  <a:pt x="1498739" y="3054513"/>
                  <a:pt x="1500799" y="3041726"/>
                  <a:pt x="1501829" y="3031263"/>
                </a:cubicBezTo>
                <a:cubicBezTo>
                  <a:pt x="1501829" y="3028938"/>
                  <a:pt x="1504916" y="3027776"/>
                  <a:pt x="1504916" y="3026613"/>
                </a:cubicBezTo>
                <a:cubicBezTo>
                  <a:pt x="1508005" y="3012662"/>
                  <a:pt x="1504916" y="2988249"/>
                  <a:pt x="1506975" y="2971974"/>
                </a:cubicBezTo>
                <a:cubicBezTo>
                  <a:pt x="1508005" y="2966161"/>
                  <a:pt x="1510064" y="2966161"/>
                  <a:pt x="1510064" y="2959186"/>
                </a:cubicBezTo>
                <a:cubicBezTo>
                  <a:pt x="1510064" y="2955699"/>
                  <a:pt x="1513153" y="2955699"/>
                  <a:pt x="1513153" y="2954535"/>
                </a:cubicBezTo>
                <a:cubicBezTo>
                  <a:pt x="1514182" y="2944074"/>
                  <a:pt x="1510064" y="2933611"/>
                  <a:pt x="1512123" y="2925473"/>
                </a:cubicBezTo>
                <a:cubicBezTo>
                  <a:pt x="1513153" y="2923148"/>
                  <a:pt x="1515212" y="2926636"/>
                  <a:pt x="1515212" y="2920822"/>
                </a:cubicBezTo>
                <a:cubicBezTo>
                  <a:pt x="1515212" y="2913848"/>
                  <a:pt x="1526537" y="2902223"/>
                  <a:pt x="1530655" y="2903384"/>
                </a:cubicBezTo>
                <a:cubicBezTo>
                  <a:pt x="1538891" y="2917336"/>
                  <a:pt x="1529625" y="2932449"/>
                  <a:pt x="1528595" y="2945236"/>
                </a:cubicBezTo>
                <a:cubicBezTo>
                  <a:pt x="1526537" y="2960349"/>
                  <a:pt x="1525506" y="2981274"/>
                  <a:pt x="1523448" y="2987088"/>
                </a:cubicBezTo>
                <a:cubicBezTo>
                  <a:pt x="1523448" y="2988249"/>
                  <a:pt x="1523448" y="2990575"/>
                  <a:pt x="1523448" y="2991737"/>
                </a:cubicBezTo>
                <a:cubicBezTo>
                  <a:pt x="1523448" y="2995224"/>
                  <a:pt x="1520359" y="2995224"/>
                  <a:pt x="1520359" y="2996387"/>
                </a:cubicBezTo>
                <a:cubicBezTo>
                  <a:pt x="1519329" y="3003363"/>
                  <a:pt x="1522418" y="3010338"/>
                  <a:pt x="1521388" y="3017312"/>
                </a:cubicBezTo>
                <a:cubicBezTo>
                  <a:pt x="1520359" y="3023125"/>
                  <a:pt x="1518301" y="3023125"/>
                  <a:pt x="1515212" y="3025451"/>
                </a:cubicBezTo>
                <a:cubicBezTo>
                  <a:pt x="1514182" y="3026613"/>
                  <a:pt x="1515212" y="3032425"/>
                  <a:pt x="1515212" y="3033589"/>
                </a:cubicBezTo>
                <a:cubicBezTo>
                  <a:pt x="1513153" y="3047538"/>
                  <a:pt x="1513153" y="3051026"/>
                  <a:pt x="1513153" y="3062652"/>
                </a:cubicBezTo>
                <a:cubicBezTo>
                  <a:pt x="1513153" y="3066139"/>
                  <a:pt x="1510064" y="3066139"/>
                  <a:pt x="1510064" y="3067302"/>
                </a:cubicBezTo>
                <a:cubicBezTo>
                  <a:pt x="1508005" y="3081252"/>
                  <a:pt x="1510064" y="3085902"/>
                  <a:pt x="1508005" y="3092877"/>
                </a:cubicBezTo>
                <a:cubicBezTo>
                  <a:pt x="1504916" y="3099853"/>
                  <a:pt x="1506975" y="3098689"/>
                  <a:pt x="1508005" y="3105665"/>
                </a:cubicBezTo>
                <a:cubicBezTo>
                  <a:pt x="1510064" y="3117290"/>
                  <a:pt x="1505945" y="3118453"/>
                  <a:pt x="1504916" y="3126590"/>
                </a:cubicBezTo>
                <a:cubicBezTo>
                  <a:pt x="1504916" y="3130078"/>
                  <a:pt x="1504916" y="3134729"/>
                  <a:pt x="1504916" y="3139378"/>
                </a:cubicBezTo>
                <a:cubicBezTo>
                  <a:pt x="1504916" y="3141703"/>
                  <a:pt x="1501829" y="3144029"/>
                  <a:pt x="1501829" y="3144029"/>
                </a:cubicBezTo>
                <a:cubicBezTo>
                  <a:pt x="1501829" y="3152167"/>
                  <a:pt x="1505945" y="3161466"/>
                  <a:pt x="1505945" y="3169605"/>
                </a:cubicBezTo>
                <a:cubicBezTo>
                  <a:pt x="1505945" y="3175417"/>
                  <a:pt x="1502858" y="3178905"/>
                  <a:pt x="1502858" y="3182392"/>
                </a:cubicBezTo>
                <a:cubicBezTo>
                  <a:pt x="1502858" y="3184718"/>
                  <a:pt x="1499769" y="3187043"/>
                  <a:pt x="1499769" y="3187043"/>
                </a:cubicBezTo>
                <a:cubicBezTo>
                  <a:pt x="1499769" y="3192854"/>
                  <a:pt x="1502858" y="3199831"/>
                  <a:pt x="1503888" y="3207967"/>
                </a:cubicBezTo>
                <a:cubicBezTo>
                  <a:pt x="1504916" y="3218431"/>
                  <a:pt x="1503888" y="3228894"/>
                  <a:pt x="1504916" y="3237031"/>
                </a:cubicBezTo>
                <a:cubicBezTo>
                  <a:pt x="1502858" y="3246331"/>
                  <a:pt x="1498739" y="3250981"/>
                  <a:pt x="1495651" y="3257956"/>
                </a:cubicBezTo>
                <a:cubicBezTo>
                  <a:pt x="1502858" y="3256794"/>
                  <a:pt x="1497711" y="3273069"/>
                  <a:pt x="1499769" y="3278883"/>
                </a:cubicBezTo>
                <a:cubicBezTo>
                  <a:pt x="1495651" y="3280045"/>
                  <a:pt x="1496681" y="3285858"/>
                  <a:pt x="1496681" y="3291670"/>
                </a:cubicBezTo>
                <a:cubicBezTo>
                  <a:pt x="1493592" y="3297482"/>
                  <a:pt x="1487415" y="3302133"/>
                  <a:pt x="1487415" y="3312596"/>
                </a:cubicBezTo>
                <a:cubicBezTo>
                  <a:pt x="1482268" y="3313758"/>
                  <a:pt x="1487415" y="3317246"/>
                  <a:pt x="1487415" y="3320733"/>
                </a:cubicBezTo>
                <a:cubicBezTo>
                  <a:pt x="1487415" y="3326546"/>
                  <a:pt x="1482268" y="3328872"/>
                  <a:pt x="1484326" y="3337009"/>
                </a:cubicBezTo>
                <a:cubicBezTo>
                  <a:pt x="1480208" y="3341659"/>
                  <a:pt x="1476089" y="3348634"/>
                  <a:pt x="1478149" y="3361422"/>
                </a:cubicBezTo>
                <a:cubicBezTo>
                  <a:pt x="1476089" y="3378860"/>
                  <a:pt x="1470943" y="3386997"/>
                  <a:pt x="1473002" y="3404436"/>
                </a:cubicBezTo>
                <a:lnTo>
                  <a:pt x="1471303" y="3410062"/>
                </a:lnTo>
                <a:lnTo>
                  <a:pt x="1469915" y="3403271"/>
                </a:lnTo>
                <a:cubicBezTo>
                  <a:pt x="1468885" y="3397458"/>
                  <a:pt x="1464767" y="3393970"/>
                  <a:pt x="1466826" y="3388158"/>
                </a:cubicBezTo>
                <a:cubicBezTo>
                  <a:pt x="1481239" y="3364908"/>
                  <a:pt x="1474033" y="3341657"/>
                  <a:pt x="1476091" y="3319568"/>
                </a:cubicBezTo>
                <a:cubicBezTo>
                  <a:pt x="1476091" y="3313757"/>
                  <a:pt x="1479180" y="3307942"/>
                  <a:pt x="1479180" y="3303293"/>
                </a:cubicBezTo>
                <a:cubicBezTo>
                  <a:pt x="1479180" y="3299806"/>
                  <a:pt x="1479180" y="3293993"/>
                  <a:pt x="1480209" y="3291667"/>
                </a:cubicBezTo>
                <a:cubicBezTo>
                  <a:pt x="1485358" y="3281205"/>
                  <a:pt x="1479180" y="3260279"/>
                  <a:pt x="1487416" y="3247492"/>
                </a:cubicBezTo>
                <a:cubicBezTo>
                  <a:pt x="1474033" y="3233541"/>
                  <a:pt x="1489476" y="3211453"/>
                  <a:pt x="1477121" y="3196340"/>
                </a:cubicBezTo>
                <a:cubicBezTo>
                  <a:pt x="1465796" y="3223080"/>
                  <a:pt x="1481239" y="3241680"/>
                  <a:pt x="1465796" y="3269579"/>
                </a:cubicBezTo>
                <a:cubicBezTo>
                  <a:pt x="1469915" y="3275392"/>
                  <a:pt x="1471975" y="3281205"/>
                  <a:pt x="1473003" y="3287018"/>
                </a:cubicBezTo>
                <a:cubicBezTo>
                  <a:pt x="1464767" y="3305619"/>
                  <a:pt x="1470944" y="3326543"/>
                  <a:pt x="1468885" y="3346307"/>
                </a:cubicBezTo>
                <a:cubicBezTo>
                  <a:pt x="1467856" y="3356770"/>
                  <a:pt x="1460649" y="3366070"/>
                  <a:pt x="1458590" y="3376534"/>
                </a:cubicBezTo>
                <a:cubicBezTo>
                  <a:pt x="1458590" y="3376534"/>
                  <a:pt x="1462708" y="3377695"/>
                  <a:pt x="1462708" y="3378857"/>
                </a:cubicBezTo>
                <a:cubicBezTo>
                  <a:pt x="1463737" y="3381183"/>
                  <a:pt x="1459620" y="3392809"/>
                  <a:pt x="1459620" y="3395133"/>
                </a:cubicBezTo>
                <a:cubicBezTo>
                  <a:pt x="1460649" y="3407922"/>
                  <a:pt x="1452413" y="3420709"/>
                  <a:pt x="1451383" y="3432334"/>
                </a:cubicBezTo>
                <a:cubicBezTo>
                  <a:pt x="1451383" y="3435821"/>
                  <a:pt x="1454472" y="3443959"/>
                  <a:pt x="1454472" y="3447447"/>
                </a:cubicBezTo>
                <a:cubicBezTo>
                  <a:pt x="1455502" y="3453259"/>
                  <a:pt x="1455502" y="3460234"/>
                  <a:pt x="1455502" y="3466048"/>
                </a:cubicBezTo>
                <a:cubicBezTo>
                  <a:pt x="1454472" y="3485810"/>
                  <a:pt x="1444177" y="3512549"/>
                  <a:pt x="1447265" y="3523011"/>
                </a:cubicBezTo>
                <a:cubicBezTo>
                  <a:pt x="1447265" y="3525337"/>
                  <a:pt x="1442118" y="3529986"/>
                  <a:pt x="1442118" y="3532312"/>
                </a:cubicBezTo>
                <a:cubicBezTo>
                  <a:pt x="1438000" y="3549750"/>
                  <a:pt x="1436970" y="3571838"/>
                  <a:pt x="1439029" y="3579975"/>
                </a:cubicBezTo>
                <a:cubicBezTo>
                  <a:pt x="1439029" y="3582301"/>
                  <a:pt x="1433882" y="3586950"/>
                  <a:pt x="1433882" y="3589275"/>
                </a:cubicBezTo>
                <a:cubicBezTo>
                  <a:pt x="1433882" y="3595088"/>
                  <a:pt x="1436970" y="3600901"/>
                  <a:pt x="1436970" y="3604388"/>
                </a:cubicBezTo>
                <a:cubicBezTo>
                  <a:pt x="1435941" y="3614851"/>
                  <a:pt x="1428734" y="3624151"/>
                  <a:pt x="1426676" y="3634615"/>
                </a:cubicBezTo>
                <a:cubicBezTo>
                  <a:pt x="1426676" y="3634615"/>
                  <a:pt x="1430793" y="3635777"/>
                  <a:pt x="1430793" y="3636939"/>
                </a:cubicBezTo>
                <a:cubicBezTo>
                  <a:pt x="1430793" y="3639264"/>
                  <a:pt x="1425646" y="3643915"/>
                  <a:pt x="1425646" y="3646239"/>
                </a:cubicBezTo>
                <a:cubicBezTo>
                  <a:pt x="1423587" y="3662514"/>
                  <a:pt x="1414320" y="3692741"/>
                  <a:pt x="1414320" y="3699716"/>
                </a:cubicBezTo>
                <a:cubicBezTo>
                  <a:pt x="1414320" y="3713666"/>
                  <a:pt x="1407114" y="3736917"/>
                  <a:pt x="1407114" y="3743893"/>
                </a:cubicBezTo>
                <a:cubicBezTo>
                  <a:pt x="1407114" y="3752030"/>
                  <a:pt x="1405056" y="3768305"/>
                  <a:pt x="1402996" y="3771792"/>
                </a:cubicBezTo>
                <a:cubicBezTo>
                  <a:pt x="1399909" y="3776443"/>
                  <a:pt x="1404026" y="3776443"/>
                  <a:pt x="1404026" y="3778767"/>
                </a:cubicBezTo>
                <a:cubicBezTo>
                  <a:pt x="1402996" y="3788067"/>
                  <a:pt x="1399909" y="3791556"/>
                  <a:pt x="1398877" y="3799693"/>
                </a:cubicBezTo>
                <a:cubicBezTo>
                  <a:pt x="1397850" y="3805506"/>
                  <a:pt x="1397850" y="3815969"/>
                  <a:pt x="1396820" y="3822944"/>
                </a:cubicBezTo>
                <a:cubicBezTo>
                  <a:pt x="1395790" y="3831081"/>
                  <a:pt x="1392701" y="3838056"/>
                  <a:pt x="1391671" y="3843870"/>
                </a:cubicBezTo>
                <a:cubicBezTo>
                  <a:pt x="1390643" y="3850846"/>
                  <a:pt x="1390643" y="3860146"/>
                  <a:pt x="1389613" y="3867121"/>
                </a:cubicBezTo>
                <a:lnTo>
                  <a:pt x="1363378" y="4002174"/>
                </a:lnTo>
                <a:lnTo>
                  <a:pt x="1362201" y="4004301"/>
                </a:lnTo>
                <a:cubicBezTo>
                  <a:pt x="1361557" y="4009533"/>
                  <a:pt x="1360786" y="4014764"/>
                  <a:pt x="1355637" y="4014764"/>
                </a:cubicBezTo>
                <a:cubicBezTo>
                  <a:pt x="1356667" y="4031039"/>
                  <a:pt x="1350490" y="4038014"/>
                  <a:pt x="1353579" y="4056614"/>
                </a:cubicBezTo>
                <a:lnTo>
                  <a:pt x="1348262" y="4062618"/>
                </a:lnTo>
                <a:lnTo>
                  <a:pt x="1349462" y="4057775"/>
                </a:lnTo>
                <a:cubicBezTo>
                  <a:pt x="1351521" y="4046151"/>
                  <a:pt x="1349462" y="4034525"/>
                  <a:pt x="1351521" y="4021737"/>
                </a:cubicBezTo>
                <a:cubicBezTo>
                  <a:pt x="1355638" y="4003137"/>
                  <a:pt x="1365934" y="3976399"/>
                  <a:pt x="1363876" y="3968261"/>
                </a:cubicBezTo>
                <a:cubicBezTo>
                  <a:pt x="1363876" y="3965935"/>
                  <a:pt x="1369023" y="3961286"/>
                  <a:pt x="1369023" y="3958960"/>
                </a:cubicBezTo>
                <a:cubicBezTo>
                  <a:pt x="1369023" y="3958960"/>
                  <a:pt x="1364904" y="3957798"/>
                  <a:pt x="1364904" y="3956635"/>
                </a:cubicBezTo>
                <a:cubicBezTo>
                  <a:pt x="1364904" y="3954311"/>
                  <a:pt x="1370051" y="3949660"/>
                  <a:pt x="1370051" y="3947334"/>
                </a:cubicBezTo>
                <a:cubicBezTo>
                  <a:pt x="1373140" y="3931059"/>
                  <a:pt x="1380347" y="3899671"/>
                  <a:pt x="1378288" y="3891533"/>
                </a:cubicBezTo>
                <a:cubicBezTo>
                  <a:pt x="1377259" y="3889208"/>
                  <a:pt x="1381377" y="3877583"/>
                  <a:pt x="1381377" y="3875258"/>
                </a:cubicBezTo>
                <a:cubicBezTo>
                  <a:pt x="1380347" y="3861308"/>
                  <a:pt x="1385494" y="3847357"/>
                  <a:pt x="1383436" y="3839220"/>
                </a:cubicBezTo>
                <a:cubicBezTo>
                  <a:pt x="1383436" y="3839220"/>
                  <a:pt x="1386524" y="3822944"/>
                  <a:pt x="1386524" y="3822944"/>
                </a:cubicBezTo>
                <a:cubicBezTo>
                  <a:pt x="1387553" y="3819457"/>
                  <a:pt x="1390643" y="3817132"/>
                  <a:pt x="1391671" y="3813644"/>
                </a:cubicBezTo>
                <a:cubicBezTo>
                  <a:pt x="1393731" y="3806668"/>
                  <a:pt x="1392701" y="3798531"/>
                  <a:pt x="1393731" y="3790393"/>
                </a:cubicBezTo>
                <a:cubicBezTo>
                  <a:pt x="1395790" y="3777606"/>
                  <a:pt x="1399909" y="3767143"/>
                  <a:pt x="1397850" y="3762492"/>
                </a:cubicBezTo>
                <a:cubicBezTo>
                  <a:pt x="1397850" y="3760168"/>
                  <a:pt x="1402996" y="3755517"/>
                  <a:pt x="1402996" y="3753193"/>
                </a:cubicBezTo>
                <a:cubicBezTo>
                  <a:pt x="1402996" y="3753193"/>
                  <a:pt x="1398877" y="3752030"/>
                  <a:pt x="1398877" y="3750868"/>
                </a:cubicBezTo>
                <a:cubicBezTo>
                  <a:pt x="1398877" y="3748542"/>
                  <a:pt x="1404026" y="3743893"/>
                  <a:pt x="1404026" y="3741567"/>
                </a:cubicBezTo>
                <a:cubicBezTo>
                  <a:pt x="1404026" y="3741567"/>
                  <a:pt x="1399909" y="3740404"/>
                  <a:pt x="1399909" y="3739242"/>
                </a:cubicBezTo>
                <a:cubicBezTo>
                  <a:pt x="1399909" y="3736917"/>
                  <a:pt x="1405056" y="3732267"/>
                  <a:pt x="1405056" y="3729941"/>
                </a:cubicBezTo>
                <a:cubicBezTo>
                  <a:pt x="1406084" y="3724129"/>
                  <a:pt x="1406084" y="3717154"/>
                  <a:pt x="1404026" y="3711342"/>
                </a:cubicBezTo>
                <a:cubicBezTo>
                  <a:pt x="1404026" y="3709016"/>
                  <a:pt x="1409174" y="3704366"/>
                  <a:pt x="1409174" y="3702041"/>
                </a:cubicBezTo>
                <a:cubicBezTo>
                  <a:pt x="1409174" y="3702041"/>
                  <a:pt x="1405056" y="3700879"/>
                  <a:pt x="1405056" y="3699716"/>
                </a:cubicBezTo>
                <a:cubicBezTo>
                  <a:pt x="1405056" y="3697391"/>
                  <a:pt x="1410203" y="3692741"/>
                  <a:pt x="1410203" y="3690415"/>
                </a:cubicBezTo>
                <a:cubicBezTo>
                  <a:pt x="1411233" y="3679953"/>
                  <a:pt x="1413292" y="3671815"/>
                  <a:pt x="1414320" y="3662514"/>
                </a:cubicBezTo>
                <a:cubicBezTo>
                  <a:pt x="1416380" y="3645077"/>
                  <a:pt x="1416380" y="3626477"/>
                  <a:pt x="1419469" y="3610201"/>
                </a:cubicBezTo>
                <a:cubicBezTo>
                  <a:pt x="1421527" y="3599739"/>
                  <a:pt x="1428734" y="3589275"/>
                  <a:pt x="1429763" y="3579975"/>
                </a:cubicBezTo>
                <a:cubicBezTo>
                  <a:pt x="1429763" y="3576488"/>
                  <a:pt x="1426676" y="3568351"/>
                  <a:pt x="1426676" y="3564862"/>
                </a:cubicBezTo>
                <a:cubicBezTo>
                  <a:pt x="1426676" y="3559051"/>
                  <a:pt x="1429763" y="3553237"/>
                  <a:pt x="1429763" y="3548587"/>
                </a:cubicBezTo>
                <a:cubicBezTo>
                  <a:pt x="1430793" y="3535799"/>
                  <a:pt x="1433882" y="3527662"/>
                  <a:pt x="1435941" y="3516037"/>
                </a:cubicBezTo>
                <a:cubicBezTo>
                  <a:pt x="1438000" y="3502085"/>
                  <a:pt x="1440059" y="3482323"/>
                  <a:pt x="1441089" y="3476509"/>
                </a:cubicBezTo>
                <a:cubicBezTo>
                  <a:pt x="1442118" y="3473022"/>
                  <a:pt x="1446236" y="3470697"/>
                  <a:pt x="1446236" y="3467210"/>
                </a:cubicBezTo>
                <a:cubicBezTo>
                  <a:pt x="1446236" y="3463722"/>
                  <a:pt x="1443147" y="3455585"/>
                  <a:pt x="1443147" y="3452098"/>
                </a:cubicBezTo>
                <a:cubicBezTo>
                  <a:pt x="1446236" y="3428846"/>
                  <a:pt x="1453443" y="3409084"/>
                  <a:pt x="1455502" y="3386995"/>
                </a:cubicBezTo>
                <a:cubicBezTo>
                  <a:pt x="1456532" y="3384670"/>
                  <a:pt x="1453443" y="3384670"/>
                  <a:pt x="1454472" y="3380021"/>
                </a:cubicBezTo>
                <a:cubicBezTo>
                  <a:pt x="1455502" y="3376534"/>
                  <a:pt x="1459620" y="3374208"/>
                  <a:pt x="1459620" y="3370720"/>
                </a:cubicBezTo>
                <a:cubicBezTo>
                  <a:pt x="1459620" y="3367231"/>
                  <a:pt x="1456532" y="3359095"/>
                  <a:pt x="1456532" y="3355607"/>
                </a:cubicBezTo>
                <a:cubicBezTo>
                  <a:pt x="1456532" y="3348633"/>
                  <a:pt x="1459620" y="3345144"/>
                  <a:pt x="1459620" y="3339332"/>
                </a:cubicBezTo>
                <a:cubicBezTo>
                  <a:pt x="1459620" y="3334681"/>
                  <a:pt x="1456532" y="3328868"/>
                  <a:pt x="1456532" y="3324219"/>
                </a:cubicBezTo>
                <a:cubicBezTo>
                  <a:pt x="1456532" y="3313757"/>
                  <a:pt x="1461678" y="3302131"/>
                  <a:pt x="1462708" y="3291667"/>
                </a:cubicBezTo>
                <a:cubicBezTo>
                  <a:pt x="1463737" y="3278880"/>
                  <a:pt x="1461678" y="3270742"/>
                  <a:pt x="1462708" y="3260279"/>
                </a:cubicBezTo>
                <a:cubicBezTo>
                  <a:pt x="1462708" y="3254467"/>
                  <a:pt x="1465796" y="3250978"/>
                  <a:pt x="1465796" y="3244004"/>
                </a:cubicBezTo>
                <a:cubicBezTo>
                  <a:pt x="1465796" y="3240517"/>
                  <a:pt x="1462708" y="3232378"/>
                  <a:pt x="1462708" y="3228891"/>
                </a:cubicBezTo>
                <a:cubicBezTo>
                  <a:pt x="1462708" y="3223080"/>
                  <a:pt x="1465796" y="3217266"/>
                  <a:pt x="1465796" y="3212616"/>
                </a:cubicBezTo>
                <a:cubicBezTo>
                  <a:pt x="1466826" y="3210290"/>
                  <a:pt x="1463737" y="3211453"/>
                  <a:pt x="1464767" y="3205641"/>
                </a:cubicBezTo>
                <a:lnTo>
                  <a:pt x="1465566" y="3201627"/>
                </a:lnTo>
                <a:lnTo>
                  <a:pt x="1465795" y="3200993"/>
                </a:lnTo>
                <a:lnTo>
                  <a:pt x="1465703" y="3200940"/>
                </a:lnTo>
                <a:lnTo>
                  <a:pt x="1467341" y="3192708"/>
                </a:lnTo>
                <a:cubicBezTo>
                  <a:pt x="1467341" y="3189947"/>
                  <a:pt x="1466826" y="3187621"/>
                  <a:pt x="1466826" y="3182391"/>
                </a:cubicBezTo>
                <a:cubicBezTo>
                  <a:pt x="1466826" y="3176577"/>
                  <a:pt x="1469915" y="3173090"/>
                  <a:pt x="1469915" y="3166116"/>
                </a:cubicBezTo>
                <a:cubicBezTo>
                  <a:pt x="1469915" y="3162627"/>
                  <a:pt x="1466826" y="3154490"/>
                  <a:pt x="1466826" y="3151002"/>
                </a:cubicBezTo>
                <a:cubicBezTo>
                  <a:pt x="1466826" y="3145189"/>
                  <a:pt x="1469915" y="3139377"/>
                  <a:pt x="1469915" y="3134726"/>
                </a:cubicBezTo>
                <a:cubicBezTo>
                  <a:pt x="1470944" y="3113801"/>
                  <a:pt x="1476091" y="3094038"/>
                  <a:pt x="1469915" y="3073113"/>
                </a:cubicBezTo>
                <a:cubicBezTo>
                  <a:pt x="1460649" y="3089388"/>
                  <a:pt x="1463737" y="3114963"/>
                  <a:pt x="1458590" y="3126588"/>
                </a:cubicBezTo>
                <a:cubicBezTo>
                  <a:pt x="1455502" y="3131240"/>
                  <a:pt x="1459620" y="3130076"/>
                  <a:pt x="1459620" y="3133563"/>
                </a:cubicBezTo>
                <a:cubicBezTo>
                  <a:pt x="1459620" y="3148677"/>
                  <a:pt x="1454472" y="3160302"/>
                  <a:pt x="1454472" y="3173090"/>
                </a:cubicBezTo>
                <a:cubicBezTo>
                  <a:pt x="1454472" y="3173090"/>
                  <a:pt x="1458590" y="3174252"/>
                  <a:pt x="1458590" y="3175414"/>
                </a:cubicBezTo>
                <a:cubicBezTo>
                  <a:pt x="1458590" y="3177740"/>
                  <a:pt x="1453443" y="3182391"/>
                  <a:pt x="1453443" y="3184714"/>
                </a:cubicBezTo>
                <a:cubicBezTo>
                  <a:pt x="1454472" y="3195178"/>
                  <a:pt x="1459620" y="3203315"/>
                  <a:pt x="1455502" y="3211453"/>
                </a:cubicBezTo>
                <a:cubicBezTo>
                  <a:pt x="1451383" y="3219590"/>
                  <a:pt x="1456532" y="3227728"/>
                  <a:pt x="1453443" y="3234703"/>
                </a:cubicBezTo>
                <a:cubicBezTo>
                  <a:pt x="1450353" y="3242841"/>
                  <a:pt x="1452413" y="3262604"/>
                  <a:pt x="1451383" y="3270742"/>
                </a:cubicBezTo>
                <a:cubicBezTo>
                  <a:pt x="1451383" y="3270742"/>
                  <a:pt x="1455502" y="3271905"/>
                  <a:pt x="1455502" y="3273068"/>
                </a:cubicBezTo>
                <a:cubicBezTo>
                  <a:pt x="1455502" y="3275392"/>
                  <a:pt x="1450353" y="3280043"/>
                  <a:pt x="1450353" y="3282368"/>
                </a:cubicBezTo>
                <a:cubicBezTo>
                  <a:pt x="1448294" y="3302131"/>
                  <a:pt x="1447265" y="3319568"/>
                  <a:pt x="1451383" y="3332356"/>
                </a:cubicBezTo>
                <a:cubicBezTo>
                  <a:pt x="1451383" y="3334681"/>
                  <a:pt x="1446236" y="3339332"/>
                  <a:pt x="1446236" y="3341657"/>
                </a:cubicBezTo>
                <a:cubicBezTo>
                  <a:pt x="1445206" y="3350956"/>
                  <a:pt x="1443147" y="3360256"/>
                  <a:pt x="1442118" y="3369557"/>
                </a:cubicBezTo>
                <a:cubicBezTo>
                  <a:pt x="1440059" y="3390483"/>
                  <a:pt x="1443147" y="3418383"/>
                  <a:pt x="1435941" y="3433497"/>
                </a:cubicBezTo>
                <a:cubicBezTo>
                  <a:pt x="1432852" y="3438147"/>
                  <a:pt x="1436970" y="3438147"/>
                  <a:pt x="1436970" y="3440472"/>
                </a:cubicBezTo>
                <a:cubicBezTo>
                  <a:pt x="1434911" y="3459072"/>
                  <a:pt x="1427705" y="3474186"/>
                  <a:pt x="1427705" y="3489298"/>
                </a:cubicBezTo>
                <a:cubicBezTo>
                  <a:pt x="1427705" y="3510224"/>
                  <a:pt x="1420498" y="3528824"/>
                  <a:pt x="1417409" y="3549750"/>
                </a:cubicBezTo>
                <a:cubicBezTo>
                  <a:pt x="1417409" y="3549750"/>
                  <a:pt x="1421527" y="3550912"/>
                  <a:pt x="1421527" y="3552074"/>
                </a:cubicBezTo>
                <a:cubicBezTo>
                  <a:pt x="1421527" y="3554399"/>
                  <a:pt x="1416380" y="3559051"/>
                  <a:pt x="1416380" y="3561374"/>
                </a:cubicBezTo>
                <a:cubicBezTo>
                  <a:pt x="1416380" y="3561374"/>
                  <a:pt x="1420498" y="3562537"/>
                  <a:pt x="1420498" y="3563700"/>
                </a:cubicBezTo>
                <a:cubicBezTo>
                  <a:pt x="1420498" y="3566025"/>
                  <a:pt x="1415350" y="3570675"/>
                  <a:pt x="1415350" y="3573000"/>
                </a:cubicBezTo>
                <a:cubicBezTo>
                  <a:pt x="1415350" y="3573000"/>
                  <a:pt x="1419469" y="3574162"/>
                  <a:pt x="1419469" y="3575326"/>
                </a:cubicBezTo>
                <a:cubicBezTo>
                  <a:pt x="1419469" y="3577649"/>
                  <a:pt x="1414320" y="3582301"/>
                  <a:pt x="1414320" y="3584626"/>
                </a:cubicBezTo>
                <a:cubicBezTo>
                  <a:pt x="1412262" y="3597413"/>
                  <a:pt x="1407114" y="3618340"/>
                  <a:pt x="1409174" y="3624151"/>
                </a:cubicBezTo>
                <a:cubicBezTo>
                  <a:pt x="1409174" y="3626477"/>
                  <a:pt x="1404026" y="3631127"/>
                  <a:pt x="1404026" y="3633452"/>
                </a:cubicBezTo>
                <a:cubicBezTo>
                  <a:pt x="1404026" y="3633452"/>
                  <a:pt x="1408144" y="3634615"/>
                  <a:pt x="1408144" y="3635777"/>
                </a:cubicBezTo>
                <a:cubicBezTo>
                  <a:pt x="1408144" y="3638102"/>
                  <a:pt x="1402996" y="3642752"/>
                  <a:pt x="1402996" y="3645077"/>
                </a:cubicBezTo>
                <a:cubicBezTo>
                  <a:pt x="1401966" y="3652052"/>
                  <a:pt x="1401966" y="3660191"/>
                  <a:pt x="1400937" y="3668328"/>
                </a:cubicBezTo>
                <a:cubicBezTo>
                  <a:pt x="1399909" y="3676466"/>
                  <a:pt x="1393731" y="3685765"/>
                  <a:pt x="1392701" y="3693904"/>
                </a:cubicBezTo>
                <a:cubicBezTo>
                  <a:pt x="1392701" y="3693904"/>
                  <a:pt x="1396820" y="3695067"/>
                  <a:pt x="1396820" y="3696228"/>
                </a:cubicBezTo>
                <a:cubicBezTo>
                  <a:pt x="1396820" y="3698553"/>
                  <a:pt x="1391671" y="3703203"/>
                  <a:pt x="1391671" y="3705528"/>
                </a:cubicBezTo>
                <a:cubicBezTo>
                  <a:pt x="1391671" y="3705528"/>
                  <a:pt x="1395790" y="3706691"/>
                  <a:pt x="1395790" y="3707854"/>
                </a:cubicBezTo>
                <a:cubicBezTo>
                  <a:pt x="1395790" y="3710179"/>
                  <a:pt x="1390643" y="3714829"/>
                  <a:pt x="1390643" y="3717154"/>
                </a:cubicBezTo>
                <a:cubicBezTo>
                  <a:pt x="1390643" y="3717154"/>
                  <a:pt x="1394760" y="3718316"/>
                  <a:pt x="1394760" y="3719480"/>
                </a:cubicBezTo>
                <a:cubicBezTo>
                  <a:pt x="1394760" y="3721803"/>
                  <a:pt x="1389613" y="3726455"/>
                  <a:pt x="1389613" y="3728779"/>
                </a:cubicBezTo>
                <a:cubicBezTo>
                  <a:pt x="1389613" y="3728779"/>
                  <a:pt x="1393731" y="3729941"/>
                  <a:pt x="1393731" y="3731104"/>
                </a:cubicBezTo>
                <a:cubicBezTo>
                  <a:pt x="1393731" y="3733429"/>
                  <a:pt x="1388583" y="3738080"/>
                  <a:pt x="1388583" y="3740404"/>
                </a:cubicBezTo>
                <a:cubicBezTo>
                  <a:pt x="1386524" y="3755517"/>
                  <a:pt x="1381377" y="3774118"/>
                  <a:pt x="1379318" y="3789231"/>
                </a:cubicBezTo>
                <a:cubicBezTo>
                  <a:pt x="1379318" y="3789231"/>
                  <a:pt x="1383436" y="3790393"/>
                  <a:pt x="1383436" y="3791556"/>
                </a:cubicBezTo>
                <a:cubicBezTo>
                  <a:pt x="1383436" y="3793881"/>
                  <a:pt x="1378288" y="3798531"/>
                  <a:pt x="1378288" y="3800857"/>
                </a:cubicBezTo>
                <a:cubicBezTo>
                  <a:pt x="1377259" y="3808994"/>
                  <a:pt x="1379318" y="3810157"/>
                  <a:pt x="1381377" y="3815969"/>
                </a:cubicBezTo>
                <a:cubicBezTo>
                  <a:pt x="1381377" y="3818294"/>
                  <a:pt x="1376228" y="3822944"/>
                  <a:pt x="1376228" y="3825269"/>
                </a:cubicBezTo>
                <a:lnTo>
                  <a:pt x="1374007" y="3837331"/>
                </a:lnTo>
                <a:lnTo>
                  <a:pt x="1370695" y="3845759"/>
                </a:lnTo>
                <a:lnTo>
                  <a:pt x="1371635" y="3848596"/>
                </a:lnTo>
                <a:lnTo>
                  <a:pt x="1369135" y="3855513"/>
                </a:lnTo>
                <a:cubicBezTo>
                  <a:pt x="1368057" y="3857239"/>
                  <a:pt x="1366964" y="3857529"/>
                  <a:pt x="1365934" y="3855495"/>
                </a:cubicBezTo>
                <a:cubicBezTo>
                  <a:pt x="1365934" y="3845033"/>
                  <a:pt x="1364904" y="3839220"/>
                  <a:pt x="1367994" y="3832245"/>
                </a:cubicBezTo>
                <a:cubicBezTo>
                  <a:pt x="1371081" y="3827595"/>
                  <a:pt x="1366964" y="3828758"/>
                  <a:pt x="1366964" y="3825269"/>
                </a:cubicBezTo>
                <a:cubicBezTo>
                  <a:pt x="1366964" y="3813644"/>
                  <a:pt x="1374170" y="3810157"/>
                  <a:pt x="1375200" y="3799693"/>
                </a:cubicBezTo>
                <a:cubicBezTo>
                  <a:pt x="1375200" y="3796205"/>
                  <a:pt x="1371081" y="3790393"/>
                  <a:pt x="1372111" y="3784581"/>
                </a:cubicBezTo>
                <a:cubicBezTo>
                  <a:pt x="1373140" y="3778767"/>
                  <a:pt x="1378288" y="3775281"/>
                  <a:pt x="1379318" y="3770631"/>
                </a:cubicBezTo>
                <a:cubicBezTo>
                  <a:pt x="1379318" y="3768305"/>
                  <a:pt x="1376228" y="3757843"/>
                  <a:pt x="1376228" y="3755517"/>
                </a:cubicBezTo>
                <a:cubicBezTo>
                  <a:pt x="1377259" y="3749705"/>
                  <a:pt x="1382407" y="3746217"/>
                  <a:pt x="1383436" y="3741567"/>
                </a:cubicBezTo>
                <a:cubicBezTo>
                  <a:pt x="1383436" y="3739242"/>
                  <a:pt x="1380347" y="3728779"/>
                  <a:pt x="1380347" y="3726455"/>
                </a:cubicBezTo>
                <a:cubicBezTo>
                  <a:pt x="1381377" y="3706691"/>
                  <a:pt x="1388583" y="3691579"/>
                  <a:pt x="1391671" y="3672978"/>
                </a:cubicBezTo>
                <a:cubicBezTo>
                  <a:pt x="1391671" y="3672978"/>
                  <a:pt x="1387553" y="3671815"/>
                  <a:pt x="1387553" y="3670652"/>
                </a:cubicBezTo>
                <a:cubicBezTo>
                  <a:pt x="1387553" y="3668328"/>
                  <a:pt x="1392701" y="3663677"/>
                  <a:pt x="1392701" y="3661353"/>
                </a:cubicBezTo>
                <a:cubicBezTo>
                  <a:pt x="1393731" y="3655539"/>
                  <a:pt x="1393731" y="3648565"/>
                  <a:pt x="1391671" y="3642752"/>
                </a:cubicBezTo>
                <a:cubicBezTo>
                  <a:pt x="1391671" y="3640427"/>
                  <a:pt x="1396820" y="3635777"/>
                  <a:pt x="1396820" y="3633452"/>
                </a:cubicBezTo>
                <a:cubicBezTo>
                  <a:pt x="1396820" y="3629964"/>
                  <a:pt x="1393731" y="3621827"/>
                  <a:pt x="1393731" y="3618340"/>
                </a:cubicBezTo>
                <a:cubicBezTo>
                  <a:pt x="1393731" y="3617176"/>
                  <a:pt x="1395790" y="3614851"/>
                  <a:pt x="1395790" y="3613689"/>
                </a:cubicBezTo>
                <a:cubicBezTo>
                  <a:pt x="1398877" y="3609039"/>
                  <a:pt x="1394760" y="3609039"/>
                  <a:pt x="1394760" y="3606714"/>
                </a:cubicBezTo>
                <a:cubicBezTo>
                  <a:pt x="1395790" y="3591601"/>
                  <a:pt x="1405056" y="3584626"/>
                  <a:pt x="1407114" y="3571838"/>
                </a:cubicBezTo>
                <a:cubicBezTo>
                  <a:pt x="1407114" y="3569512"/>
                  <a:pt x="1404026" y="3560213"/>
                  <a:pt x="1404026" y="3556725"/>
                </a:cubicBezTo>
                <a:cubicBezTo>
                  <a:pt x="1404026" y="3542775"/>
                  <a:pt x="1409174" y="3532312"/>
                  <a:pt x="1410203" y="3524175"/>
                </a:cubicBezTo>
                <a:cubicBezTo>
                  <a:pt x="1411233" y="3513711"/>
                  <a:pt x="1411233" y="3506736"/>
                  <a:pt x="1414320" y="3496273"/>
                </a:cubicBezTo>
                <a:cubicBezTo>
                  <a:pt x="1417409" y="3486973"/>
                  <a:pt x="1417409" y="3476509"/>
                  <a:pt x="1418439" y="3468373"/>
                </a:cubicBezTo>
                <a:cubicBezTo>
                  <a:pt x="1419469" y="3466048"/>
                  <a:pt x="1416380" y="3466048"/>
                  <a:pt x="1417409" y="3461396"/>
                </a:cubicBezTo>
                <a:cubicBezTo>
                  <a:pt x="1419469" y="3454422"/>
                  <a:pt x="1419469" y="3450935"/>
                  <a:pt x="1420498" y="3445121"/>
                </a:cubicBezTo>
                <a:cubicBezTo>
                  <a:pt x="1421527" y="3441634"/>
                  <a:pt x="1425646" y="3436984"/>
                  <a:pt x="1421527" y="3433497"/>
                </a:cubicBezTo>
                <a:cubicBezTo>
                  <a:pt x="1423587" y="3427684"/>
                  <a:pt x="1421527" y="3417222"/>
                  <a:pt x="1416380" y="3423034"/>
                </a:cubicBezTo>
                <a:cubicBezTo>
                  <a:pt x="1418439" y="3430008"/>
                  <a:pt x="1414320" y="3443959"/>
                  <a:pt x="1414320" y="3446285"/>
                </a:cubicBezTo>
                <a:cubicBezTo>
                  <a:pt x="1414320" y="3459072"/>
                  <a:pt x="1409174" y="3468373"/>
                  <a:pt x="1408144" y="3478835"/>
                </a:cubicBezTo>
                <a:cubicBezTo>
                  <a:pt x="1408144" y="3485810"/>
                  <a:pt x="1410203" y="3490461"/>
                  <a:pt x="1409174" y="3497436"/>
                </a:cubicBezTo>
                <a:cubicBezTo>
                  <a:pt x="1407114" y="3509062"/>
                  <a:pt x="1398877" y="3520686"/>
                  <a:pt x="1396820" y="3532312"/>
                </a:cubicBezTo>
                <a:cubicBezTo>
                  <a:pt x="1396820" y="3534636"/>
                  <a:pt x="1399909" y="3542775"/>
                  <a:pt x="1399909" y="3547425"/>
                </a:cubicBezTo>
                <a:cubicBezTo>
                  <a:pt x="1397850" y="3564862"/>
                  <a:pt x="1391671" y="3574162"/>
                  <a:pt x="1394760" y="3586950"/>
                </a:cubicBezTo>
                <a:cubicBezTo>
                  <a:pt x="1395790" y="3593926"/>
                  <a:pt x="1386524" y="3605551"/>
                  <a:pt x="1386524" y="3612526"/>
                </a:cubicBezTo>
                <a:cubicBezTo>
                  <a:pt x="1386524" y="3625315"/>
                  <a:pt x="1381377" y="3645077"/>
                  <a:pt x="1381377" y="3652052"/>
                </a:cubicBezTo>
                <a:cubicBezTo>
                  <a:pt x="1381377" y="3659028"/>
                  <a:pt x="1382407" y="3663677"/>
                  <a:pt x="1382407" y="3670652"/>
                </a:cubicBezTo>
                <a:cubicBezTo>
                  <a:pt x="1383436" y="3678791"/>
                  <a:pt x="1380347" y="3681115"/>
                  <a:pt x="1377259" y="3691579"/>
                </a:cubicBezTo>
                <a:cubicBezTo>
                  <a:pt x="1374170" y="3704366"/>
                  <a:pt x="1374170" y="3713666"/>
                  <a:pt x="1371081" y="3724129"/>
                </a:cubicBezTo>
                <a:cubicBezTo>
                  <a:pt x="1367994" y="3733429"/>
                  <a:pt x="1370051" y="3740404"/>
                  <a:pt x="1369023" y="3747380"/>
                </a:cubicBezTo>
                <a:cubicBezTo>
                  <a:pt x="1366964" y="3769469"/>
                  <a:pt x="1366964" y="3791556"/>
                  <a:pt x="1362845" y="3811319"/>
                </a:cubicBezTo>
                <a:cubicBezTo>
                  <a:pt x="1361816" y="3815969"/>
                  <a:pt x="1356668" y="3820619"/>
                  <a:pt x="1355638" y="3825269"/>
                </a:cubicBezTo>
                <a:cubicBezTo>
                  <a:pt x="1355638" y="3828758"/>
                  <a:pt x="1358727" y="3836894"/>
                  <a:pt x="1358727" y="3840382"/>
                </a:cubicBezTo>
                <a:cubicBezTo>
                  <a:pt x="1358727" y="3846195"/>
                  <a:pt x="1355638" y="3852008"/>
                  <a:pt x="1355638" y="3856657"/>
                </a:cubicBezTo>
                <a:cubicBezTo>
                  <a:pt x="1352551" y="3890371"/>
                  <a:pt x="1346373" y="3925247"/>
                  <a:pt x="1330931" y="3956635"/>
                </a:cubicBezTo>
                <a:cubicBezTo>
                  <a:pt x="1338138" y="3961286"/>
                  <a:pt x="1332990" y="3967098"/>
                  <a:pt x="1331960" y="3975235"/>
                </a:cubicBezTo>
                <a:cubicBezTo>
                  <a:pt x="1329901" y="3997324"/>
                  <a:pt x="1320635" y="4035687"/>
                  <a:pt x="1318577" y="4051963"/>
                </a:cubicBezTo>
                <a:cubicBezTo>
                  <a:pt x="1316518" y="4063587"/>
                  <a:pt x="1314458" y="4065913"/>
                  <a:pt x="1310340" y="4077539"/>
                </a:cubicBezTo>
                <a:cubicBezTo>
                  <a:pt x="1306222" y="4088001"/>
                  <a:pt x="1305194" y="4107764"/>
                  <a:pt x="1302104" y="4114740"/>
                </a:cubicBezTo>
                <a:cubicBezTo>
                  <a:pt x="1299015" y="4119390"/>
                  <a:pt x="1303134" y="4118227"/>
                  <a:pt x="1303134" y="4121715"/>
                </a:cubicBezTo>
                <a:cubicBezTo>
                  <a:pt x="1304163" y="4129852"/>
                  <a:pt x="1301075" y="4132178"/>
                  <a:pt x="1297986" y="4142639"/>
                </a:cubicBezTo>
                <a:cubicBezTo>
                  <a:pt x="1294897" y="4155429"/>
                  <a:pt x="1294897" y="4164729"/>
                  <a:pt x="1291810" y="4175191"/>
                </a:cubicBezTo>
                <a:cubicBezTo>
                  <a:pt x="1288721" y="4187979"/>
                  <a:pt x="1288721" y="4197280"/>
                  <a:pt x="1285632" y="4207742"/>
                </a:cubicBezTo>
                <a:cubicBezTo>
                  <a:pt x="1284602" y="4211229"/>
                  <a:pt x="1286662" y="4213555"/>
                  <a:pt x="1286662" y="4214716"/>
                </a:cubicBezTo>
                <a:cubicBezTo>
                  <a:pt x="1282544" y="4232155"/>
                  <a:pt x="1275338" y="4246105"/>
                  <a:pt x="1275338" y="4256569"/>
                </a:cubicBezTo>
                <a:cubicBezTo>
                  <a:pt x="1276367" y="4274005"/>
                  <a:pt x="1264012" y="4290281"/>
                  <a:pt x="1259895" y="4307719"/>
                </a:cubicBezTo>
                <a:cubicBezTo>
                  <a:pt x="1259895" y="4310045"/>
                  <a:pt x="1264012" y="4320507"/>
                  <a:pt x="1262982" y="4322833"/>
                </a:cubicBezTo>
                <a:cubicBezTo>
                  <a:pt x="1261952" y="4329808"/>
                  <a:pt x="1254746" y="4334458"/>
                  <a:pt x="1253717" y="4341434"/>
                </a:cubicBezTo>
                <a:cubicBezTo>
                  <a:pt x="1252688" y="4342595"/>
                  <a:pt x="1255777" y="4343758"/>
                  <a:pt x="1254746" y="4348408"/>
                </a:cubicBezTo>
                <a:cubicBezTo>
                  <a:pt x="1252688" y="4355383"/>
                  <a:pt x="1251658" y="4358872"/>
                  <a:pt x="1251658" y="4364684"/>
                </a:cubicBezTo>
                <a:cubicBezTo>
                  <a:pt x="1251658" y="4368171"/>
                  <a:pt x="1251658" y="4373984"/>
                  <a:pt x="1250628" y="4376309"/>
                </a:cubicBezTo>
                <a:cubicBezTo>
                  <a:pt x="1247539" y="4389097"/>
                  <a:pt x="1243422" y="4404210"/>
                  <a:pt x="1239304" y="4418159"/>
                </a:cubicBezTo>
                <a:cubicBezTo>
                  <a:pt x="1232096" y="4443735"/>
                  <a:pt x="1208419" y="4492563"/>
                  <a:pt x="1212537" y="4511162"/>
                </a:cubicBezTo>
                <a:cubicBezTo>
                  <a:pt x="1214596" y="4518137"/>
                  <a:pt x="1205330" y="4525113"/>
                  <a:pt x="1207389" y="4532089"/>
                </a:cubicBezTo>
                <a:cubicBezTo>
                  <a:pt x="1207389" y="4533251"/>
                  <a:pt x="1203271" y="4540226"/>
                  <a:pt x="1202241" y="4541389"/>
                </a:cubicBezTo>
                <a:cubicBezTo>
                  <a:pt x="1199153" y="4550689"/>
                  <a:pt x="1197095" y="4555339"/>
                  <a:pt x="1197095" y="4562313"/>
                </a:cubicBezTo>
                <a:cubicBezTo>
                  <a:pt x="1197095" y="4577426"/>
                  <a:pt x="1187828" y="4593701"/>
                  <a:pt x="1183711" y="4608815"/>
                </a:cubicBezTo>
                <a:cubicBezTo>
                  <a:pt x="1182681" y="4609977"/>
                  <a:pt x="1185769" y="4611140"/>
                  <a:pt x="1184740" y="4615790"/>
                </a:cubicBezTo>
                <a:cubicBezTo>
                  <a:pt x="1178563" y="4639041"/>
                  <a:pt x="1165179" y="4655316"/>
                  <a:pt x="1157972" y="4677405"/>
                </a:cubicBezTo>
                <a:cubicBezTo>
                  <a:pt x="1154883" y="4685541"/>
                  <a:pt x="1155913" y="4696005"/>
                  <a:pt x="1153854" y="4705305"/>
                </a:cubicBezTo>
                <a:cubicBezTo>
                  <a:pt x="1152826" y="4708793"/>
                  <a:pt x="1149737" y="4711117"/>
                  <a:pt x="1148707" y="4714606"/>
                </a:cubicBezTo>
                <a:cubicBezTo>
                  <a:pt x="1145619" y="4723906"/>
                  <a:pt x="1148707" y="4730881"/>
                  <a:pt x="1146647" y="4737856"/>
                </a:cubicBezTo>
                <a:cubicBezTo>
                  <a:pt x="1142530" y="4755294"/>
                  <a:pt x="1133264" y="4777383"/>
                  <a:pt x="1126057" y="4778544"/>
                </a:cubicBezTo>
                <a:cubicBezTo>
                  <a:pt x="1122970" y="4778544"/>
                  <a:pt x="1128116" y="4804120"/>
                  <a:pt x="1121940" y="4806445"/>
                </a:cubicBezTo>
                <a:cubicBezTo>
                  <a:pt x="1114733" y="4804120"/>
                  <a:pt x="1115763" y="4792496"/>
                  <a:pt x="1110614" y="4798307"/>
                </a:cubicBezTo>
                <a:cubicBezTo>
                  <a:pt x="1113703" y="4801796"/>
                  <a:pt x="1111645" y="4804120"/>
                  <a:pt x="1109586" y="4809933"/>
                </a:cubicBezTo>
                <a:cubicBezTo>
                  <a:pt x="1106497" y="4814582"/>
                  <a:pt x="1110614" y="4813420"/>
                  <a:pt x="1110614" y="4816908"/>
                </a:cubicBezTo>
                <a:cubicBezTo>
                  <a:pt x="1111645" y="4821558"/>
                  <a:pt x="1113703" y="4829695"/>
                  <a:pt x="1111645" y="4835509"/>
                </a:cubicBezTo>
                <a:cubicBezTo>
                  <a:pt x="1111645" y="4847134"/>
                  <a:pt x="1101350" y="4851784"/>
                  <a:pt x="1097231" y="4862246"/>
                </a:cubicBezTo>
                <a:cubicBezTo>
                  <a:pt x="1097231" y="4862246"/>
                  <a:pt x="1099290" y="4865734"/>
                  <a:pt x="1098260" y="4869222"/>
                </a:cubicBezTo>
                <a:cubicBezTo>
                  <a:pt x="1091054" y="4894797"/>
                  <a:pt x="1076641" y="4933161"/>
                  <a:pt x="1072523" y="4949436"/>
                </a:cubicBezTo>
                <a:cubicBezTo>
                  <a:pt x="1068405" y="4965712"/>
                  <a:pt x="1066346" y="4966874"/>
                  <a:pt x="1062228" y="4979662"/>
                </a:cubicBezTo>
                <a:cubicBezTo>
                  <a:pt x="1057081" y="4992450"/>
                  <a:pt x="1049874" y="5008725"/>
                  <a:pt x="1044727" y="5022676"/>
                </a:cubicBezTo>
                <a:cubicBezTo>
                  <a:pt x="1041638" y="5034302"/>
                  <a:pt x="1040608" y="5048251"/>
                  <a:pt x="1036490" y="5059877"/>
                </a:cubicBezTo>
                <a:cubicBezTo>
                  <a:pt x="1029284" y="5081965"/>
                  <a:pt x="1015900" y="5100566"/>
                  <a:pt x="1009722" y="5121490"/>
                </a:cubicBezTo>
                <a:cubicBezTo>
                  <a:pt x="1006634" y="5130791"/>
                  <a:pt x="1008694" y="5140091"/>
                  <a:pt x="1005604" y="5149391"/>
                </a:cubicBezTo>
                <a:cubicBezTo>
                  <a:pt x="997369" y="5171480"/>
                  <a:pt x="988104" y="5191242"/>
                  <a:pt x="983985" y="5201706"/>
                </a:cubicBezTo>
                <a:cubicBezTo>
                  <a:pt x="978838" y="5216819"/>
                  <a:pt x="974719" y="5227281"/>
                  <a:pt x="973689" y="5231930"/>
                </a:cubicBezTo>
                <a:cubicBezTo>
                  <a:pt x="971632" y="5238907"/>
                  <a:pt x="965454" y="5247044"/>
                  <a:pt x="962365" y="5254020"/>
                </a:cubicBezTo>
                <a:cubicBezTo>
                  <a:pt x="960306" y="5257507"/>
                  <a:pt x="963395" y="5260995"/>
                  <a:pt x="963395" y="5260995"/>
                </a:cubicBezTo>
                <a:cubicBezTo>
                  <a:pt x="959276" y="5273782"/>
                  <a:pt x="954129" y="5287733"/>
                  <a:pt x="948982" y="5300520"/>
                </a:cubicBezTo>
                <a:cubicBezTo>
                  <a:pt x="946408" y="5307495"/>
                  <a:pt x="944091" y="5316795"/>
                  <a:pt x="941260" y="5324208"/>
                </a:cubicBezTo>
                <a:lnTo>
                  <a:pt x="934691" y="5331714"/>
                </a:lnTo>
                <a:lnTo>
                  <a:pt x="931529" y="5329738"/>
                </a:lnTo>
                <a:lnTo>
                  <a:pt x="934842" y="5308822"/>
                </a:lnTo>
                <a:cubicBezTo>
                  <a:pt x="942226" y="5280757"/>
                  <a:pt x="956703" y="5252857"/>
                  <a:pt x="961335" y="5235419"/>
                </a:cubicBezTo>
                <a:cubicBezTo>
                  <a:pt x="966483" y="5217981"/>
                  <a:pt x="970602" y="5209843"/>
                  <a:pt x="973689" y="5200542"/>
                </a:cubicBezTo>
                <a:cubicBezTo>
                  <a:pt x="975749" y="5193568"/>
                  <a:pt x="980897" y="5188918"/>
                  <a:pt x="982956" y="5181942"/>
                </a:cubicBezTo>
                <a:cubicBezTo>
                  <a:pt x="986045" y="5173805"/>
                  <a:pt x="985015" y="5162180"/>
                  <a:pt x="987072" y="5154042"/>
                </a:cubicBezTo>
                <a:cubicBezTo>
                  <a:pt x="991191" y="5136604"/>
                  <a:pt x="1003547" y="5120329"/>
                  <a:pt x="1008694" y="5101728"/>
                </a:cubicBezTo>
                <a:cubicBezTo>
                  <a:pt x="1009722" y="5101728"/>
                  <a:pt x="1006634" y="5098240"/>
                  <a:pt x="1007664" y="5094753"/>
                </a:cubicBezTo>
                <a:cubicBezTo>
                  <a:pt x="1011782" y="5079640"/>
                  <a:pt x="1011782" y="5079640"/>
                  <a:pt x="1015900" y="5069178"/>
                </a:cubicBezTo>
                <a:cubicBezTo>
                  <a:pt x="1022077" y="5052901"/>
                  <a:pt x="1022077" y="5048251"/>
                  <a:pt x="1027225" y="5047088"/>
                </a:cubicBezTo>
                <a:cubicBezTo>
                  <a:pt x="1029284" y="5047088"/>
                  <a:pt x="1031343" y="5038952"/>
                  <a:pt x="1032372" y="5037790"/>
                </a:cubicBezTo>
                <a:cubicBezTo>
                  <a:pt x="1044727" y="5020351"/>
                  <a:pt x="1039579" y="5008725"/>
                  <a:pt x="1043697" y="4995938"/>
                </a:cubicBezTo>
                <a:cubicBezTo>
                  <a:pt x="1047815" y="4983150"/>
                  <a:pt x="1057081" y="4972687"/>
                  <a:pt x="1062228" y="4959900"/>
                </a:cubicBezTo>
                <a:cubicBezTo>
                  <a:pt x="1065316" y="4951761"/>
                  <a:pt x="1062228" y="4942461"/>
                  <a:pt x="1066346" y="4931998"/>
                </a:cubicBezTo>
                <a:cubicBezTo>
                  <a:pt x="1068405" y="4925024"/>
                  <a:pt x="1075613" y="4918049"/>
                  <a:pt x="1077671" y="4909911"/>
                </a:cubicBezTo>
                <a:cubicBezTo>
                  <a:pt x="1080759" y="4901773"/>
                  <a:pt x="1078701" y="4888984"/>
                  <a:pt x="1079729" y="4886661"/>
                </a:cubicBezTo>
                <a:cubicBezTo>
                  <a:pt x="1080759" y="4878522"/>
                  <a:pt x="1083847" y="4871547"/>
                  <a:pt x="1084877" y="4865734"/>
                </a:cubicBezTo>
                <a:cubicBezTo>
                  <a:pt x="1085907" y="4857596"/>
                  <a:pt x="1088996" y="4850621"/>
                  <a:pt x="1090025" y="4844809"/>
                </a:cubicBezTo>
                <a:cubicBezTo>
                  <a:pt x="1091054" y="4838996"/>
                  <a:pt x="1096202" y="4835509"/>
                  <a:pt x="1097231" y="4830858"/>
                </a:cubicBezTo>
                <a:cubicBezTo>
                  <a:pt x="1099290" y="4822720"/>
                  <a:pt x="1097231" y="4815746"/>
                  <a:pt x="1099290" y="4807607"/>
                </a:cubicBezTo>
                <a:cubicBezTo>
                  <a:pt x="1105468" y="4787844"/>
                  <a:pt x="1113703" y="4775057"/>
                  <a:pt x="1116792" y="4764594"/>
                </a:cubicBezTo>
                <a:cubicBezTo>
                  <a:pt x="1118851" y="4757619"/>
                  <a:pt x="1125029" y="4749482"/>
                  <a:pt x="1128116" y="4742507"/>
                </a:cubicBezTo>
                <a:cubicBezTo>
                  <a:pt x="1129146" y="4740181"/>
                  <a:pt x="1125029" y="4736694"/>
                  <a:pt x="1129146" y="4730881"/>
                </a:cubicBezTo>
                <a:cubicBezTo>
                  <a:pt x="1131205" y="4728555"/>
                  <a:pt x="1134294" y="4733206"/>
                  <a:pt x="1137383" y="4725068"/>
                </a:cubicBezTo>
                <a:cubicBezTo>
                  <a:pt x="1137383" y="4725068"/>
                  <a:pt x="1133264" y="4722743"/>
                  <a:pt x="1133264" y="4722743"/>
                </a:cubicBezTo>
                <a:cubicBezTo>
                  <a:pt x="1133264" y="4720417"/>
                  <a:pt x="1139440" y="4711117"/>
                  <a:pt x="1140470" y="4708793"/>
                </a:cubicBezTo>
                <a:cubicBezTo>
                  <a:pt x="1142530" y="4705305"/>
                  <a:pt x="1139440" y="4702980"/>
                  <a:pt x="1139440" y="4701818"/>
                </a:cubicBezTo>
                <a:cubicBezTo>
                  <a:pt x="1144589" y="4679730"/>
                  <a:pt x="1153854" y="4663453"/>
                  <a:pt x="1157972" y="4646016"/>
                </a:cubicBezTo>
                <a:cubicBezTo>
                  <a:pt x="1160031" y="4637878"/>
                  <a:pt x="1159002" y="4623928"/>
                  <a:pt x="1162090" y="4618116"/>
                </a:cubicBezTo>
                <a:cubicBezTo>
                  <a:pt x="1165179" y="4609977"/>
                  <a:pt x="1178563" y="4608815"/>
                  <a:pt x="1177533" y="4598353"/>
                </a:cubicBezTo>
                <a:cubicBezTo>
                  <a:pt x="1181652" y="4594864"/>
                  <a:pt x="1177533" y="4593701"/>
                  <a:pt x="1176503" y="4591377"/>
                </a:cubicBezTo>
                <a:cubicBezTo>
                  <a:pt x="1174445" y="4584402"/>
                  <a:pt x="1176503" y="4587889"/>
                  <a:pt x="1177533" y="4579752"/>
                </a:cubicBezTo>
                <a:cubicBezTo>
                  <a:pt x="1178563" y="4565801"/>
                  <a:pt x="1184740" y="4565801"/>
                  <a:pt x="1182681" y="4558827"/>
                </a:cubicBezTo>
                <a:cubicBezTo>
                  <a:pt x="1182681" y="4557664"/>
                  <a:pt x="1186799" y="4550689"/>
                  <a:pt x="1187828" y="4549526"/>
                </a:cubicBezTo>
                <a:cubicBezTo>
                  <a:pt x="1187828" y="4549526"/>
                  <a:pt x="1183711" y="4547201"/>
                  <a:pt x="1183711" y="4547201"/>
                </a:cubicBezTo>
                <a:cubicBezTo>
                  <a:pt x="1182681" y="4541389"/>
                  <a:pt x="1197095" y="4523951"/>
                  <a:pt x="1198123" y="4520463"/>
                </a:cubicBezTo>
                <a:cubicBezTo>
                  <a:pt x="1198123" y="4518137"/>
                  <a:pt x="1195035" y="4507675"/>
                  <a:pt x="1195035" y="4505350"/>
                </a:cubicBezTo>
                <a:cubicBezTo>
                  <a:pt x="1195035" y="4499537"/>
                  <a:pt x="1199153" y="4487911"/>
                  <a:pt x="1200183" y="4484423"/>
                </a:cubicBezTo>
                <a:cubicBezTo>
                  <a:pt x="1202241" y="4478611"/>
                  <a:pt x="1209448" y="4482100"/>
                  <a:pt x="1211507" y="4473962"/>
                </a:cubicBezTo>
                <a:cubicBezTo>
                  <a:pt x="1211507" y="4477449"/>
                  <a:pt x="1210478" y="4465825"/>
                  <a:pt x="1210478" y="4466987"/>
                </a:cubicBezTo>
                <a:cubicBezTo>
                  <a:pt x="1206359" y="4450712"/>
                  <a:pt x="1218713" y="4457687"/>
                  <a:pt x="1221802" y="4444898"/>
                </a:cubicBezTo>
                <a:cubicBezTo>
                  <a:pt x="1221802" y="4442573"/>
                  <a:pt x="1218713" y="4432111"/>
                  <a:pt x="1218713" y="4429785"/>
                </a:cubicBezTo>
                <a:cubicBezTo>
                  <a:pt x="1219744" y="4426297"/>
                  <a:pt x="1222832" y="4423973"/>
                  <a:pt x="1223862" y="4420485"/>
                </a:cubicBezTo>
                <a:cubicBezTo>
                  <a:pt x="1225920" y="4410022"/>
                  <a:pt x="1230039" y="4394909"/>
                  <a:pt x="1230039" y="4387935"/>
                </a:cubicBezTo>
                <a:cubicBezTo>
                  <a:pt x="1230039" y="4375147"/>
                  <a:pt x="1238275" y="4360033"/>
                  <a:pt x="1241363" y="4346083"/>
                </a:cubicBezTo>
                <a:cubicBezTo>
                  <a:pt x="1243422" y="4337946"/>
                  <a:pt x="1243422" y="4326320"/>
                  <a:pt x="1245482" y="4318182"/>
                </a:cubicBezTo>
                <a:cubicBezTo>
                  <a:pt x="1247539" y="4304232"/>
                  <a:pt x="1250628" y="4291444"/>
                  <a:pt x="1253717" y="4280982"/>
                </a:cubicBezTo>
                <a:cubicBezTo>
                  <a:pt x="1255777" y="4277493"/>
                  <a:pt x="1252688" y="4275169"/>
                  <a:pt x="1252688" y="4274005"/>
                </a:cubicBezTo>
                <a:cubicBezTo>
                  <a:pt x="1255777" y="4254243"/>
                  <a:pt x="1269160" y="4224019"/>
                  <a:pt x="1269160" y="4211229"/>
                </a:cubicBezTo>
                <a:cubicBezTo>
                  <a:pt x="1269160" y="4197280"/>
                  <a:pt x="1278425" y="4177516"/>
                  <a:pt x="1282544" y="4164729"/>
                </a:cubicBezTo>
                <a:cubicBezTo>
                  <a:pt x="1282544" y="4162404"/>
                  <a:pt x="1276367" y="4162404"/>
                  <a:pt x="1280484" y="4157752"/>
                </a:cubicBezTo>
                <a:cubicBezTo>
                  <a:pt x="1281514" y="4156590"/>
                  <a:pt x="1284602" y="4162404"/>
                  <a:pt x="1286662" y="4156590"/>
                </a:cubicBezTo>
                <a:cubicBezTo>
                  <a:pt x="1286662" y="4157752"/>
                  <a:pt x="1284602" y="4151940"/>
                  <a:pt x="1285632" y="4149615"/>
                </a:cubicBezTo>
                <a:cubicBezTo>
                  <a:pt x="1286662" y="4143803"/>
                  <a:pt x="1291810" y="4140315"/>
                  <a:pt x="1292838" y="4135665"/>
                </a:cubicBezTo>
                <a:cubicBezTo>
                  <a:pt x="1296957" y="4126364"/>
                  <a:pt x="1282544" y="4122876"/>
                  <a:pt x="1288721" y="4113577"/>
                </a:cubicBezTo>
                <a:cubicBezTo>
                  <a:pt x="1302104" y="4061264"/>
                  <a:pt x="1311370" y="4003137"/>
                  <a:pt x="1321665" y="3957798"/>
                </a:cubicBezTo>
                <a:cubicBezTo>
                  <a:pt x="1330931" y="3914784"/>
                  <a:pt x="1339166" y="3884558"/>
                  <a:pt x="1343284" y="3843870"/>
                </a:cubicBezTo>
                <a:cubicBezTo>
                  <a:pt x="1344314" y="3839220"/>
                  <a:pt x="1341226" y="3840382"/>
                  <a:pt x="1344314" y="3832245"/>
                </a:cubicBezTo>
                <a:cubicBezTo>
                  <a:pt x="1348433" y="3824107"/>
                  <a:pt x="1343284" y="3815969"/>
                  <a:pt x="1346373" y="3808994"/>
                </a:cubicBezTo>
                <a:cubicBezTo>
                  <a:pt x="1349462" y="3804344"/>
                  <a:pt x="1345344" y="3804344"/>
                  <a:pt x="1345344" y="3802019"/>
                </a:cubicBezTo>
                <a:cubicBezTo>
                  <a:pt x="1346373" y="3792719"/>
                  <a:pt x="1348433" y="3789231"/>
                  <a:pt x="1350491" y="3781093"/>
                </a:cubicBezTo>
                <a:cubicBezTo>
                  <a:pt x="1352551" y="3772956"/>
                  <a:pt x="1357697" y="3764817"/>
                  <a:pt x="1358727" y="3755517"/>
                </a:cubicBezTo>
                <a:cubicBezTo>
                  <a:pt x="1358727" y="3753193"/>
                  <a:pt x="1355638" y="3745054"/>
                  <a:pt x="1355638" y="3740404"/>
                </a:cubicBezTo>
                <a:cubicBezTo>
                  <a:pt x="1355638" y="3734593"/>
                  <a:pt x="1357697" y="3728779"/>
                  <a:pt x="1358727" y="3724129"/>
                </a:cubicBezTo>
                <a:cubicBezTo>
                  <a:pt x="1361816" y="3699716"/>
                  <a:pt x="1367994" y="3679953"/>
                  <a:pt x="1371081" y="3659028"/>
                </a:cubicBezTo>
                <a:cubicBezTo>
                  <a:pt x="1373140" y="3649728"/>
                  <a:pt x="1372111" y="3641590"/>
                  <a:pt x="1373140" y="3635777"/>
                </a:cubicBezTo>
                <a:cubicBezTo>
                  <a:pt x="1375200" y="3628801"/>
                  <a:pt x="1375200" y="3624151"/>
                  <a:pt x="1376228" y="3619502"/>
                </a:cubicBezTo>
                <a:cubicBezTo>
                  <a:pt x="1378288" y="3612526"/>
                  <a:pt x="1378288" y="3607876"/>
                  <a:pt x="1379318" y="3603227"/>
                </a:cubicBezTo>
                <a:cubicBezTo>
                  <a:pt x="1380347" y="3599739"/>
                  <a:pt x="1384466" y="3597413"/>
                  <a:pt x="1384466" y="3593926"/>
                </a:cubicBezTo>
                <a:cubicBezTo>
                  <a:pt x="1384466" y="3590439"/>
                  <a:pt x="1381377" y="3582301"/>
                  <a:pt x="1381377" y="3578813"/>
                </a:cubicBezTo>
                <a:cubicBezTo>
                  <a:pt x="1381377" y="3573000"/>
                  <a:pt x="1383436" y="3566025"/>
                  <a:pt x="1384466" y="3562537"/>
                </a:cubicBezTo>
                <a:cubicBezTo>
                  <a:pt x="1386524" y="3546261"/>
                  <a:pt x="1392701" y="3525337"/>
                  <a:pt x="1393731" y="3513711"/>
                </a:cubicBezTo>
                <a:cubicBezTo>
                  <a:pt x="1394760" y="3511385"/>
                  <a:pt x="1391671" y="3511385"/>
                  <a:pt x="1392701" y="3506736"/>
                </a:cubicBezTo>
                <a:cubicBezTo>
                  <a:pt x="1393731" y="3500924"/>
                  <a:pt x="1398877" y="3497436"/>
                  <a:pt x="1399909" y="3492787"/>
                </a:cubicBezTo>
                <a:cubicBezTo>
                  <a:pt x="1388583" y="3475348"/>
                  <a:pt x="1399909" y="3454422"/>
                  <a:pt x="1401966" y="3438147"/>
                </a:cubicBezTo>
                <a:cubicBezTo>
                  <a:pt x="1402996" y="3436984"/>
                  <a:pt x="1399909" y="3434660"/>
                  <a:pt x="1400937" y="3431172"/>
                </a:cubicBezTo>
                <a:cubicBezTo>
                  <a:pt x="1400937" y="3430008"/>
                  <a:pt x="1401966" y="3427684"/>
                  <a:pt x="1402996" y="3426521"/>
                </a:cubicBezTo>
                <a:cubicBezTo>
                  <a:pt x="1406084" y="3421871"/>
                  <a:pt x="1401966" y="3421871"/>
                  <a:pt x="1401966" y="3419546"/>
                </a:cubicBezTo>
                <a:cubicBezTo>
                  <a:pt x="1404026" y="3406758"/>
                  <a:pt x="1408144" y="3390483"/>
                  <a:pt x="1409174" y="3375370"/>
                </a:cubicBezTo>
                <a:cubicBezTo>
                  <a:pt x="1410203" y="3373045"/>
                  <a:pt x="1407114" y="3373045"/>
                  <a:pt x="1408144" y="3368395"/>
                </a:cubicBezTo>
                <a:cubicBezTo>
                  <a:pt x="1410203" y="3355607"/>
                  <a:pt x="1413292" y="3334681"/>
                  <a:pt x="1413292" y="3328868"/>
                </a:cubicBezTo>
                <a:lnTo>
                  <a:pt x="1412960" y="3327245"/>
                </a:lnTo>
                <a:lnTo>
                  <a:pt x="1413289" y="3325384"/>
                </a:lnTo>
                <a:cubicBezTo>
                  <a:pt x="1415349" y="3313758"/>
                  <a:pt x="1418438" y="3307945"/>
                  <a:pt x="1418438" y="3296320"/>
                </a:cubicBezTo>
                <a:cubicBezTo>
                  <a:pt x="1418438" y="3292832"/>
                  <a:pt x="1421526" y="3292832"/>
                  <a:pt x="1421526" y="3291670"/>
                </a:cubicBezTo>
                <a:lnTo>
                  <a:pt x="1421334" y="3286914"/>
                </a:lnTo>
                <a:lnTo>
                  <a:pt x="1423071" y="3284838"/>
                </a:lnTo>
                <a:cubicBezTo>
                  <a:pt x="1425389" y="3283240"/>
                  <a:pt x="1427706" y="3281786"/>
                  <a:pt x="1429763" y="3277717"/>
                </a:cubicBezTo>
                <a:cubicBezTo>
                  <a:pt x="1423587" y="3271905"/>
                  <a:pt x="1434911" y="3260279"/>
                  <a:pt x="1425646" y="3255630"/>
                </a:cubicBezTo>
                <a:lnTo>
                  <a:pt x="1425503" y="3255070"/>
                </a:lnTo>
                <a:lnTo>
                  <a:pt x="1426674" y="3253307"/>
                </a:lnTo>
                <a:cubicBezTo>
                  <a:pt x="1426674" y="3248656"/>
                  <a:pt x="1422556" y="3238193"/>
                  <a:pt x="1422556" y="3232381"/>
                </a:cubicBezTo>
                <a:cubicBezTo>
                  <a:pt x="1422556" y="3233543"/>
                  <a:pt x="1425645" y="3230056"/>
                  <a:pt x="1425645" y="3227732"/>
                </a:cubicBezTo>
                <a:cubicBezTo>
                  <a:pt x="1428732" y="3210293"/>
                  <a:pt x="1425645" y="3194018"/>
                  <a:pt x="1427703" y="3177743"/>
                </a:cubicBezTo>
                <a:cubicBezTo>
                  <a:pt x="1428732" y="3169605"/>
                  <a:pt x="1431821" y="3160304"/>
                  <a:pt x="1432850" y="3152167"/>
                </a:cubicBezTo>
                <a:cubicBezTo>
                  <a:pt x="1434910" y="3140541"/>
                  <a:pt x="1433880" y="3130078"/>
                  <a:pt x="1434910" y="3118453"/>
                </a:cubicBezTo>
                <a:cubicBezTo>
                  <a:pt x="1437999" y="3098689"/>
                  <a:pt x="1443145" y="3080090"/>
                  <a:pt x="1446235" y="3059164"/>
                </a:cubicBezTo>
                <a:cubicBezTo>
                  <a:pt x="1447263" y="3051026"/>
                  <a:pt x="1445205" y="3041726"/>
                  <a:pt x="1445205" y="3033589"/>
                </a:cubicBezTo>
                <a:cubicBezTo>
                  <a:pt x="1445205" y="3033589"/>
                  <a:pt x="1447263" y="3032425"/>
                  <a:pt x="1448293" y="3028938"/>
                </a:cubicBezTo>
                <a:cubicBezTo>
                  <a:pt x="1449323" y="3023125"/>
                  <a:pt x="1450352" y="3019638"/>
                  <a:pt x="1451382" y="3016150"/>
                </a:cubicBezTo>
                <a:cubicBezTo>
                  <a:pt x="1453441" y="3005687"/>
                  <a:pt x="1453441" y="3004526"/>
                  <a:pt x="1457559" y="2998713"/>
                </a:cubicBezTo>
                <a:cubicBezTo>
                  <a:pt x="1459618" y="2995224"/>
                  <a:pt x="1459618" y="2990575"/>
                  <a:pt x="1463736" y="2990575"/>
                </a:cubicBezTo>
                <a:cubicBezTo>
                  <a:pt x="1464766" y="2983600"/>
                  <a:pt x="1461677" y="2976625"/>
                  <a:pt x="1462706" y="2964999"/>
                </a:cubicBezTo>
                <a:cubicBezTo>
                  <a:pt x="1462706" y="2964999"/>
                  <a:pt x="1465795" y="2964999"/>
                  <a:pt x="1465795" y="2964999"/>
                </a:cubicBezTo>
                <a:cubicBezTo>
                  <a:pt x="1466825" y="2963836"/>
                  <a:pt x="1468883" y="2951048"/>
                  <a:pt x="1468883" y="2948723"/>
                </a:cubicBezTo>
                <a:cubicBezTo>
                  <a:pt x="1468883" y="2942912"/>
                  <a:pt x="1469913" y="2933611"/>
                  <a:pt x="1467855" y="2927798"/>
                </a:cubicBezTo>
                <a:cubicBezTo>
                  <a:pt x="1465795" y="2919659"/>
                  <a:pt x="1456530" y="2916172"/>
                  <a:pt x="1464766" y="2915010"/>
                </a:cubicBezTo>
                <a:cubicBezTo>
                  <a:pt x="1468883" y="2915010"/>
                  <a:pt x="1466825" y="2908035"/>
                  <a:pt x="1467855" y="2902223"/>
                </a:cubicBezTo>
                <a:cubicBezTo>
                  <a:pt x="1468883" y="2895247"/>
                  <a:pt x="1470943" y="2887109"/>
                  <a:pt x="1474031" y="2881296"/>
                </a:cubicBezTo>
                <a:cubicBezTo>
                  <a:pt x="1477120" y="2874322"/>
                  <a:pt x="1476089" y="2869672"/>
                  <a:pt x="1477120" y="2860370"/>
                </a:cubicBezTo>
                <a:cubicBezTo>
                  <a:pt x="1477120" y="2856883"/>
                  <a:pt x="1480208" y="2856883"/>
                  <a:pt x="1480208" y="2855721"/>
                </a:cubicBezTo>
                <a:cubicBezTo>
                  <a:pt x="1482268" y="2839446"/>
                  <a:pt x="1480208" y="2824333"/>
                  <a:pt x="1482268" y="2809220"/>
                </a:cubicBezTo>
                <a:cubicBezTo>
                  <a:pt x="1484326" y="2790619"/>
                  <a:pt x="1489473" y="2773182"/>
                  <a:pt x="1490504" y="2754581"/>
                </a:cubicBezTo>
                <a:cubicBezTo>
                  <a:pt x="1491532" y="2737142"/>
                  <a:pt x="1487415" y="2718544"/>
                  <a:pt x="1489473" y="2699943"/>
                </a:cubicBezTo>
                <a:cubicBezTo>
                  <a:pt x="1489473" y="2694130"/>
                  <a:pt x="1492562" y="2694130"/>
                  <a:pt x="1492562" y="2687154"/>
                </a:cubicBezTo>
                <a:cubicBezTo>
                  <a:pt x="1492562" y="2683667"/>
                  <a:pt x="1495651" y="2683667"/>
                  <a:pt x="1495651" y="2682504"/>
                </a:cubicBezTo>
                <a:cubicBezTo>
                  <a:pt x="1496681" y="2674366"/>
                  <a:pt x="1493592" y="2663904"/>
                  <a:pt x="1494621" y="2656929"/>
                </a:cubicBezTo>
                <a:cubicBezTo>
                  <a:pt x="1494621" y="2655766"/>
                  <a:pt x="1499769" y="2649954"/>
                  <a:pt x="1500799" y="2648791"/>
                </a:cubicBezTo>
                <a:cubicBezTo>
                  <a:pt x="1506975" y="2636002"/>
                  <a:pt x="1503888" y="2618564"/>
                  <a:pt x="1512123" y="2610427"/>
                </a:cubicBezTo>
                <a:cubicBezTo>
                  <a:pt x="1504916" y="2601126"/>
                  <a:pt x="1510064" y="2573226"/>
                  <a:pt x="1508005" y="2555789"/>
                </a:cubicBezTo>
                <a:cubicBezTo>
                  <a:pt x="1512123" y="2554626"/>
                  <a:pt x="1511094" y="2545325"/>
                  <a:pt x="1511094" y="2539513"/>
                </a:cubicBezTo>
                <a:cubicBezTo>
                  <a:pt x="1514182" y="2541837"/>
                  <a:pt x="1522418" y="2548813"/>
                  <a:pt x="1520359" y="2534863"/>
                </a:cubicBezTo>
                <a:cubicBezTo>
                  <a:pt x="1520359" y="2529050"/>
                  <a:pt x="1516242" y="2529050"/>
                  <a:pt x="1517271" y="2522075"/>
                </a:cubicBezTo>
                <a:cubicBezTo>
                  <a:pt x="1512123" y="2522075"/>
                  <a:pt x="1505945" y="2523237"/>
                  <a:pt x="1508005" y="2513937"/>
                </a:cubicBezTo>
                <a:cubicBezTo>
                  <a:pt x="1511094" y="2508125"/>
                  <a:pt x="1516242" y="2505800"/>
                  <a:pt x="1520359" y="2501149"/>
                </a:cubicBezTo>
                <a:cubicBezTo>
                  <a:pt x="1518301" y="2482549"/>
                  <a:pt x="1526537" y="2467435"/>
                  <a:pt x="1528595" y="2446511"/>
                </a:cubicBezTo>
                <a:cubicBezTo>
                  <a:pt x="1529625" y="2438373"/>
                  <a:pt x="1526537" y="2426747"/>
                  <a:pt x="1527566" y="2417446"/>
                </a:cubicBezTo>
                <a:cubicBezTo>
                  <a:pt x="1528595" y="2410471"/>
                  <a:pt x="1532714" y="2400010"/>
                  <a:pt x="1532714" y="2391871"/>
                </a:cubicBezTo>
                <a:cubicBezTo>
                  <a:pt x="1533744" y="2373272"/>
                  <a:pt x="1533744" y="2354671"/>
                  <a:pt x="1534772" y="2345371"/>
                </a:cubicBezTo>
                <a:cubicBezTo>
                  <a:pt x="1535801" y="2331420"/>
                  <a:pt x="1533744" y="2329095"/>
                  <a:pt x="1537861" y="2324444"/>
                </a:cubicBezTo>
                <a:cubicBezTo>
                  <a:pt x="1539920" y="2320957"/>
                  <a:pt x="1534772" y="2307007"/>
                  <a:pt x="1540949" y="2308168"/>
                </a:cubicBezTo>
                <a:close/>
                <a:moveTo>
                  <a:pt x="1413289" y="2287244"/>
                </a:moveTo>
                <a:lnTo>
                  <a:pt x="1412183" y="2294744"/>
                </a:lnTo>
                <a:lnTo>
                  <a:pt x="1411786" y="2288710"/>
                </a:lnTo>
                <a:close/>
                <a:moveTo>
                  <a:pt x="1581100" y="2237255"/>
                </a:moveTo>
                <a:cubicBezTo>
                  <a:pt x="1593455" y="2241904"/>
                  <a:pt x="1589337" y="2277943"/>
                  <a:pt x="1575954" y="2275618"/>
                </a:cubicBezTo>
                <a:cubicBezTo>
                  <a:pt x="1578012" y="2262831"/>
                  <a:pt x="1569776" y="2263994"/>
                  <a:pt x="1571835" y="2250043"/>
                </a:cubicBezTo>
                <a:cubicBezTo>
                  <a:pt x="1574924" y="2245392"/>
                  <a:pt x="1578012" y="2241904"/>
                  <a:pt x="1581100" y="2237255"/>
                </a:cubicBezTo>
                <a:close/>
                <a:moveTo>
                  <a:pt x="1527566" y="2230280"/>
                </a:moveTo>
                <a:cubicBezTo>
                  <a:pt x="1540949" y="2238417"/>
                  <a:pt x="1533744" y="2277943"/>
                  <a:pt x="1532714" y="2293057"/>
                </a:cubicBezTo>
                <a:cubicBezTo>
                  <a:pt x="1521388" y="2287244"/>
                  <a:pt x="1524477" y="2243067"/>
                  <a:pt x="1527566" y="2230280"/>
                </a:cubicBezTo>
                <a:close/>
                <a:moveTo>
                  <a:pt x="1446235" y="2227955"/>
                </a:moveTo>
                <a:cubicBezTo>
                  <a:pt x="1456530" y="2230280"/>
                  <a:pt x="1451382" y="2239581"/>
                  <a:pt x="1450352" y="2248880"/>
                </a:cubicBezTo>
                <a:cubicBezTo>
                  <a:pt x="1443145" y="2250043"/>
                  <a:pt x="1448293" y="2233767"/>
                  <a:pt x="1446235" y="2227955"/>
                </a:cubicBezTo>
                <a:close/>
                <a:moveTo>
                  <a:pt x="1601691" y="2200053"/>
                </a:moveTo>
                <a:cubicBezTo>
                  <a:pt x="1601691" y="2212842"/>
                  <a:pt x="1605809" y="2231443"/>
                  <a:pt x="1593455" y="2229118"/>
                </a:cubicBezTo>
                <a:cubicBezTo>
                  <a:pt x="1590367" y="2218654"/>
                  <a:pt x="1589337" y="2201217"/>
                  <a:pt x="1601691" y="2200053"/>
                </a:cubicBezTo>
                <a:close/>
                <a:moveTo>
                  <a:pt x="1407113" y="2095427"/>
                </a:moveTo>
                <a:cubicBezTo>
                  <a:pt x="1405055" y="2118677"/>
                  <a:pt x="1413289" y="2144253"/>
                  <a:pt x="1412260" y="2162853"/>
                </a:cubicBezTo>
                <a:cubicBezTo>
                  <a:pt x="1412260" y="2170991"/>
                  <a:pt x="1410202" y="2172153"/>
                  <a:pt x="1412260" y="2175640"/>
                </a:cubicBezTo>
                <a:cubicBezTo>
                  <a:pt x="1413289" y="2176803"/>
                  <a:pt x="1412260" y="2189592"/>
                  <a:pt x="1412260" y="2191916"/>
                </a:cubicBezTo>
                <a:cubicBezTo>
                  <a:pt x="1414319" y="2223305"/>
                  <a:pt x="1412260" y="2260505"/>
                  <a:pt x="1411231" y="2280269"/>
                </a:cubicBezTo>
                <a:lnTo>
                  <a:pt x="1411786" y="2288710"/>
                </a:lnTo>
                <a:lnTo>
                  <a:pt x="1404796" y="2295527"/>
                </a:lnTo>
                <a:cubicBezTo>
                  <a:pt x="1404796" y="2300613"/>
                  <a:pt x="1407113" y="2306426"/>
                  <a:pt x="1410202" y="2308168"/>
                </a:cubicBezTo>
                <a:lnTo>
                  <a:pt x="1412183" y="2294744"/>
                </a:lnTo>
                <a:lnTo>
                  <a:pt x="1412904" y="2305699"/>
                </a:lnTo>
                <a:cubicBezTo>
                  <a:pt x="1414063" y="2312819"/>
                  <a:pt x="1415349" y="2319213"/>
                  <a:pt x="1415349" y="2326770"/>
                </a:cubicBezTo>
                <a:cubicBezTo>
                  <a:pt x="1415349" y="2334907"/>
                  <a:pt x="1413289" y="2344207"/>
                  <a:pt x="1413289" y="2352346"/>
                </a:cubicBezTo>
                <a:cubicBezTo>
                  <a:pt x="1413289" y="2366295"/>
                  <a:pt x="1417407" y="2373272"/>
                  <a:pt x="1414319" y="2377921"/>
                </a:cubicBezTo>
                <a:cubicBezTo>
                  <a:pt x="1413289" y="2379084"/>
                  <a:pt x="1414319" y="2384896"/>
                  <a:pt x="1414319" y="2386058"/>
                </a:cubicBezTo>
                <a:cubicBezTo>
                  <a:pt x="1413289" y="2408146"/>
                  <a:pt x="1417407" y="2429072"/>
                  <a:pt x="1418438" y="2440698"/>
                </a:cubicBezTo>
                <a:cubicBezTo>
                  <a:pt x="1421526" y="2465112"/>
                  <a:pt x="1413289" y="2480224"/>
                  <a:pt x="1413289" y="2499985"/>
                </a:cubicBezTo>
                <a:cubicBezTo>
                  <a:pt x="1425645" y="2503474"/>
                  <a:pt x="1421526" y="2481387"/>
                  <a:pt x="1421526" y="2474412"/>
                </a:cubicBezTo>
                <a:cubicBezTo>
                  <a:pt x="1422556" y="2468598"/>
                  <a:pt x="1424614" y="2468598"/>
                  <a:pt x="1424614" y="2461623"/>
                </a:cubicBezTo>
                <a:cubicBezTo>
                  <a:pt x="1424614" y="2454648"/>
                  <a:pt x="1418438" y="2446511"/>
                  <a:pt x="1420496" y="2440698"/>
                </a:cubicBezTo>
                <a:cubicBezTo>
                  <a:pt x="1426674" y="2437210"/>
                  <a:pt x="1419467" y="2417446"/>
                  <a:pt x="1425645" y="2415123"/>
                </a:cubicBezTo>
                <a:cubicBezTo>
                  <a:pt x="1425645" y="2402334"/>
                  <a:pt x="1417407" y="2401171"/>
                  <a:pt x="1415349" y="2390710"/>
                </a:cubicBezTo>
                <a:cubicBezTo>
                  <a:pt x="1422556" y="2384896"/>
                  <a:pt x="1420496" y="2367458"/>
                  <a:pt x="1423586" y="2356996"/>
                </a:cubicBezTo>
                <a:cubicBezTo>
                  <a:pt x="1425645" y="2341882"/>
                  <a:pt x="1412260" y="2324444"/>
                  <a:pt x="1425645" y="2319794"/>
                </a:cubicBezTo>
                <a:cubicBezTo>
                  <a:pt x="1433880" y="2330258"/>
                  <a:pt x="1425645" y="2351183"/>
                  <a:pt x="1426674" y="2353508"/>
                </a:cubicBezTo>
                <a:cubicBezTo>
                  <a:pt x="1426674" y="2354671"/>
                  <a:pt x="1429762" y="2353508"/>
                  <a:pt x="1429762" y="2358158"/>
                </a:cubicBezTo>
                <a:cubicBezTo>
                  <a:pt x="1431821" y="2374434"/>
                  <a:pt x="1433880" y="2384896"/>
                  <a:pt x="1433880" y="2395359"/>
                </a:cubicBezTo>
                <a:cubicBezTo>
                  <a:pt x="1433880" y="2403497"/>
                  <a:pt x="1430792" y="2404659"/>
                  <a:pt x="1430792" y="2411635"/>
                </a:cubicBezTo>
                <a:cubicBezTo>
                  <a:pt x="1430792" y="2416285"/>
                  <a:pt x="1432850" y="2420935"/>
                  <a:pt x="1433880" y="2427910"/>
                </a:cubicBezTo>
                <a:cubicBezTo>
                  <a:pt x="1436969" y="2444185"/>
                  <a:pt x="1434910" y="2451160"/>
                  <a:pt x="1434910" y="2465112"/>
                </a:cubicBezTo>
                <a:cubicBezTo>
                  <a:pt x="1434910" y="2476736"/>
                  <a:pt x="1439028" y="2483711"/>
                  <a:pt x="1435939" y="2494174"/>
                </a:cubicBezTo>
                <a:cubicBezTo>
                  <a:pt x="1431821" y="2496500"/>
                  <a:pt x="1430792" y="2499985"/>
                  <a:pt x="1426674" y="2502311"/>
                </a:cubicBezTo>
                <a:cubicBezTo>
                  <a:pt x="1422556" y="2504637"/>
                  <a:pt x="1415349" y="2499985"/>
                  <a:pt x="1417407" y="2510449"/>
                </a:cubicBezTo>
                <a:cubicBezTo>
                  <a:pt x="1418438" y="2519750"/>
                  <a:pt x="1434910" y="2509286"/>
                  <a:pt x="1432850" y="2523237"/>
                </a:cubicBezTo>
                <a:cubicBezTo>
                  <a:pt x="1435939" y="2543000"/>
                  <a:pt x="1431821" y="2560438"/>
                  <a:pt x="1430792" y="2569738"/>
                </a:cubicBezTo>
                <a:cubicBezTo>
                  <a:pt x="1429762" y="2582527"/>
                  <a:pt x="1428732" y="2586014"/>
                  <a:pt x="1427703" y="2590664"/>
                </a:cubicBezTo>
                <a:cubicBezTo>
                  <a:pt x="1425645" y="2602289"/>
                  <a:pt x="1430792" y="2605777"/>
                  <a:pt x="1433880" y="2606940"/>
                </a:cubicBezTo>
                <a:cubicBezTo>
                  <a:pt x="1436969" y="2587176"/>
                  <a:pt x="1437999" y="2563926"/>
                  <a:pt x="1439028" y="2552300"/>
                </a:cubicBezTo>
                <a:cubicBezTo>
                  <a:pt x="1440057" y="2536025"/>
                  <a:pt x="1441088" y="2527887"/>
                  <a:pt x="1441088" y="2518586"/>
                </a:cubicBezTo>
                <a:cubicBezTo>
                  <a:pt x="1443145" y="2493011"/>
                  <a:pt x="1445205" y="2463948"/>
                  <a:pt x="1445205" y="2447673"/>
                </a:cubicBezTo>
                <a:cubicBezTo>
                  <a:pt x="1445720" y="2438373"/>
                  <a:pt x="1444690" y="2429072"/>
                  <a:pt x="1444305" y="2420935"/>
                </a:cubicBezTo>
                <a:lnTo>
                  <a:pt x="1446776" y="2404429"/>
                </a:lnTo>
                <a:lnTo>
                  <a:pt x="1447263" y="2408146"/>
                </a:lnTo>
                <a:cubicBezTo>
                  <a:pt x="1449838" y="2411635"/>
                  <a:pt x="1450352" y="2418028"/>
                  <a:pt x="1451639" y="2422969"/>
                </a:cubicBezTo>
                <a:lnTo>
                  <a:pt x="1457599" y="2427008"/>
                </a:lnTo>
                <a:lnTo>
                  <a:pt x="1458460" y="2457264"/>
                </a:lnTo>
                <a:cubicBezTo>
                  <a:pt x="1458074" y="2466855"/>
                  <a:pt x="1457044" y="2474993"/>
                  <a:pt x="1455500" y="2480224"/>
                </a:cubicBezTo>
                <a:cubicBezTo>
                  <a:pt x="1458588" y="2498824"/>
                  <a:pt x="1474031" y="2496500"/>
                  <a:pt x="1471973" y="2522075"/>
                </a:cubicBezTo>
                <a:cubicBezTo>
                  <a:pt x="1464766" y="2524400"/>
                  <a:pt x="1464766" y="2515099"/>
                  <a:pt x="1456530" y="2518586"/>
                </a:cubicBezTo>
                <a:cubicBezTo>
                  <a:pt x="1452412" y="2531376"/>
                  <a:pt x="1457559" y="2530212"/>
                  <a:pt x="1457559" y="2547651"/>
                </a:cubicBezTo>
                <a:cubicBezTo>
                  <a:pt x="1455500" y="2553463"/>
                  <a:pt x="1452412" y="2565089"/>
                  <a:pt x="1452412" y="2576713"/>
                </a:cubicBezTo>
                <a:cubicBezTo>
                  <a:pt x="1451382" y="2591827"/>
                  <a:pt x="1451382" y="2611589"/>
                  <a:pt x="1456530" y="2618564"/>
                </a:cubicBezTo>
                <a:cubicBezTo>
                  <a:pt x="1460648" y="2611589"/>
                  <a:pt x="1460648" y="2603452"/>
                  <a:pt x="1461677" y="2592988"/>
                </a:cubicBezTo>
                <a:cubicBezTo>
                  <a:pt x="1462706" y="2583690"/>
                  <a:pt x="1463736" y="2572064"/>
                  <a:pt x="1463736" y="2563926"/>
                </a:cubicBezTo>
                <a:cubicBezTo>
                  <a:pt x="1463736" y="2559276"/>
                  <a:pt x="1460648" y="2558113"/>
                  <a:pt x="1460648" y="2551139"/>
                </a:cubicBezTo>
                <a:cubicBezTo>
                  <a:pt x="1460648" y="2544163"/>
                  <a:pt x="1462706" y="2540676"/>
                  <a:pt x="1466825" y="2538351"/>
                </a:cubicBezTo>
                <a:cubicBezTo>
                  <a:pt x="1465795" y="2546488"/>
                  <a:pt x="1471973" y="2547651"/>
                  <a:pt x="1469913" y="2554626"/>
                </a:cubicBezTo>
                <a:cubicBezTo>
                  <a:pt x="1467855" y="2566252"/>
                  <a:pt x="1470943" y="2570901"/>
                  <a:pt x="1470943" y="2583690"/>
                </a:cubicBezTo>
                <a:cubicBezTo>
                  <a:pt x="1470943" y="2588339"/>
                  <a:pt x="1468883" y="2590664"/>
                  <a:pt x="1467855" y="2596477"/>
                </a:cubicBezTo>
                <a:cubicBezTo>
                  <a:pt x="1466825" y="2603452"/>
                  <a:pt x="1468883" y="2610427"/>
                  <a:pt x="1468883" y="2617402"/>
                </a:cubicBezTo>
                <a:cubicBezTo>
                  <a:pt x="1468883" y="2622053"/>
                  <a:pt x="1466825" y="2622053"/>
                  <a:pt x="1465795" y="2625541"/>
                </a:cubicBezTo>
                <a:cubicBezTo>
                  <a:pt x="1464766" y="2629028"/>
                  <a:pt x="1466825" y="2633677"/>
                  <a:pt x="1465795" y="2638328"/>
                </a:cubicBezTo>
                <a:cubicBezTo>
                  <a:pt x="1464766" y="2646465"/>
                  <a:pt x="1463736" y="2652278"/>
                  <a:pt x="1462706" y="2659253"/>
                </a:cubicBezTo>
                <a:cubicBezTo>
                  <a:pt x="1462706" y="2665066"/>
                  <a:pt x="1466825" y="2665066"/>
                  <a:pt x="1465795" y="2672041"/>
                </a:cubicBezTo>
                <a:cubicBezTo>
                  <a:pt x="1465795" y="2670878"/>
                  <a:pt x="1462706" y="2674366"/>
                  <a:pt x="1462706" y="2676691"/>
                </a:cubicBezTo>
                <a:cubicBezTo>
                  <a:pt x="1461677" y="2680179"/>
                  <a:pt x="1463736" y="2684830"/>
                  <a:pt x="1462706" y="2689479"/>
                </a:cubicBezTo>
                <a:cubicBezTo>
                  <a:pt x="1462706" y="2692966"/>
                  <a:pt x="1459618" y="2691805"/>
                  <a:pt x="1459618" y="2694130"/>
                </a:cubicBezTo>
                <a:cubicBezTo>
                  <a:pt x="1458588" y="2697618"/>
                  <a:pt x="1462706" y="2702267"/>
                  <a:pt x="1462706" y="2702267"/>
                </a:cubicBezTo>
                <a:cubicBezTo>
                  <a:pt x="1462706" y="2708080"/>
                  <a:pt x="1460648" y="2710404"/>
                  <a:pt x="1459618" y="2718544"/>
                </a:cubicBezTo>
                <a:cubicBezTo>
                  <a:pt x="1459618" y="2727842"/>
                  <a:pt x="1460648" y="2738305"/>
                  <a:pt x="1460648" y="2744117"/>
                </a:cubicBezTo>
                <a:cubicBezTo>
                  <a:pt x="1458588" y="2754581"/>
                  <a:pt x="1453441" y="2762718"/>
                  <a:pt x="1452412" y="2773182"/>
                </a:cubicBezTo>
                <a:cubicBezTo>
                  <a:pt x="1450352" y="2794108"/>
                  <a:pt x="1452412" y="2816195"/>
                  <a:pt x="1450352" y="2827820"/>
                </a:cubicBezTo>
                <a:cubicBezTo>
                  <a:pt x="1448293" y="2845258"/>
                  <a:pt x="1447263" y="2846420"/>
                  <a:pt x="1451382" y="2861533"/>
                </a:cubicBezTo>
                <a:cubicBezTo>
                  <a:pt x="1449323" y="2870834"/>
                  <a:pt x="1442117" y="2870834"/>
                  <a:pt x="1442117" y="2878971"/>
                </a:cubicBezTo>
                <a:cubicBezTo>
                  <a:pt x="1442117" y="2883622"/>
                  <a:pt x="1440057" y="2881296"/>
                  <a:pt x="1439028" y="2883622"/>
                </a:cubicBezTo>
                <a:cubicBezTo>
                  <a:pt x="1437999" y="2888271"/>
                  <a:pt x="1440057" y="2895247"/>
                  <a:pt x="1439028" y="2899897"/>
                </a:cubicBezTo>
                <a:cubicBezTo>
                  <a:pt x="1439028" y="2901061"/>
                  <a:pt x="1433880" y="2905710"/>
                  <a:pt x="1432850" y="2908035"/>
                </a:cubicBezTo>
                <a:cubicBezTo>
                  <a:pt x="1430792" y="2916172"/>
                  <a:pt x="1434910" y="2928962"/>
                  <a:pt x="1433880" y="2937098"/>
                </a:cubicBezTo>
                <a:cubicBezTo>
                  <a:pt x="1433880" y="2937098"/>
                  <a:pt x="1431821" y="2938260"/>
                  <a:pt x="1430792" y="2941749"/>
                </a:cubicBezTo>
                <a:cubicBezTo>
                  <a:pt x="1430792" y="2944074"/>
                  <a:pt x="1431821" y="2947560"/>
                  <a:pt x="1430792" y="2949886"/>
                </a:cubicBezTo>
                <a:cubicBezTo>
                  <a:pt x="1428732" y="2956861"/>
                  <a:pt x="1426674" y="2959186"/>
                  <a:pt x="1424614" y="2967325"/>
                </a:cubicBezTo>
                <a:cubicBezTo>
                  <a:pt x="1424614" y="2968487"/>
                  <a:pt x="1424614" y="2970812"/>
                  <a:pt x="1424614" y="2971974"/>
                </a:cubicBezTo>
                <a:cubicBezTo>
                  <a:pt x="1424614" y="2975462"/>
                  <a:pt x="1421526" y="2975462"/>
                  <a:pt x="1421526" y="2976625"/>
                </a:cubicBezTo>
                <a:cubicBezTo>
                  <a:pt x="1419467" y="2990575"/>
                  <a:pt x="1423586" y="2997549"/>
                  <a:pt x="1419467" y="3002201"/>
                </a:cubicBezTo>
                <a:cubicBezTo>
                  <a:pt x="1418438" y="3003363"/>
                  <a:pt x="1419467" y="3012662"/>
                  <a:pt x="1419467" y="3014988"/>
                </a:cubicBezTo>
                <a:cubicBezTo>
                  <a:pt x="1419467" y="3018476"/>
                  <a:pt x="1416379" y="3018476"/>
                  <a:pt x="1416379" y="3019638"/>
                </a:cubicBezTo>
                <a:cubicBezTo>
                  <a:pt x="1414319" y="3033589"/>
                  <a:pt x="1415349" y="3049864"/>
                  <a:pt x="1414319" y="3066139"/>
                </a:cubicBezTo>
                <a:lnTo>
                  <a:pt x="1419219" y="3064812"/>
                </a:lnTo>
                <a:lnTo>
                  <a:pt x="1413934" y="3122956"/>
                </a:lnTo>
                <a:cubicBezTo>
                  <a:pt x="1413034" y="3150421"/>
                  <a:pt x="1412777" y="3177741"/>
                  <a:pt x="1410203" y="3205641"/>
                </a:cubicBezTo>
                <a:cubicBezTo>
                  <a:pt x="1404026" y="3197504"/>
                  <a:pt x="1405056" y="3180065"/>
                  <a:pt x="1404026" y="3176577"/>
                </a:cubicBezTo>
                <a:cubicBezTo>
                  <a:pt x="1404026" y="3174252"/>
                  <a:pt x="1409174" y="3169603"/>
                  <a:pt x="1409174" y="3167277"/>
                </a:cubicBezTo>
                <a:cubicBezTo>
                  <a:pt x="1409174" y="3163790"/>
                  <a:pt x="1406084" y="3155652"/>
                  <a:pt x="1406084" y="3152164"/>
                </a:cubicBezTo>
                <a:cubicBezTo>
                  <a:pt x="1406084" y="3151002"/>
                  <a:pt x="1408144" y="3148677"/>
                  <a:pt x="1408144" y="3147515"/>
                </a:cubicBezTo>
                <a:cubicBezTo>
                  <a:pt x="1411233" y="3141701"/>
                  <a:pt x="1407114" y="3124263"/>
                  <a:pt x="1406084" y="3120776"/>
                </a:cubicBezTo>
                <a:cubicBezTo>
                  <a:pt x="1404026" y="3112639"/>
                  <a:pt x="1416380" y="3101013"/>
                  <a:pt x="1401966" y="3098687"/>
                </a:cubicBezTo>
                <a:cubicBezTo>
                  <a:pt x="1396820" y="3106826"/>
                  <a:pt x="1393731" y="3124263"/>
                  <a:pt x="1384466" y="3111476"/>
                </a:cubicBezTo>
                <a:cubicBezTo>
                  <a:pt x="1387554" y="3104501"/>
                  <a:pt x="1391158" y="3097526"/>
                  <a:pt x="1392444" y="3091276"/>
                </a:cubicBezTo>
                <a:lnTo>
                  <a:pt x="1389292" y="3082844"/>
                </a:lnTo>
                <a:lnTo>
                  <a:pt x="1389998" y="3079509"/>
                </a:lnTo>
                <a:cubicBezTo>
                  <a:pt x="1389354" y="3069919"/>
                  <a:pt x="1387551" y="3059745"/>
                  <a:pt x="1388581" y="3049864"/>
                </a:cubicBezTo>
                <a:cubicBezTo>
                  <a:pt x="1388581" y="3045215"/>
                  <a:pt x="1390641" y="3045215"/>
                  <a:pt x="1391670" y="3041726"/>
                </a:cubicBezTo>
                <a:cubicBezTo>
                  <a:pt x="1392700" y="3037076"/>
                  <a:pt x="1390641" y="3030100"/>
                  <a:pt x="1391670" y="3025451"/>
                </a:cubicBezTo>
                <a:cubicBezTo>
                  <a:pt x="1391670" y="3024288"/>
                  <a:pt x="1396817" y="3018476"/>
                  <a:pt x="1397847" y="3017312"/>
                </a:cubicBezTo>
                <a:cubicBezTo>
                  <a:pt x="1402995" y="3003363"/>
                  <a:pt x="1397847" y="2990575"/>
                  <a:pt x="1396817" y="2980112"/>
                </a:cubicBezTo>
                <a:cubicBezTo>
                  <a:pt x="1405055" y="2968487"/>
                  <a:pt x="1399906" y="2949886"/>
                  <a:pt x="1401965" y="2933611"/>
                </a:cubicBezTo>
                <a:cubicBezTo>
                  <a:pt x="1402995" y="2924311"/>
                  <a:pt x="1408143" y="2916172"/>
                  <a:pt x="1407113" y="2908035"/>
                </a:cubicBezTo>
                <a:cubicBezTo>
                  <a:pt x="1407113" y="2905710"/>
                  <a:pt x="1404024" y="2903384"/>
                  <a:pt x="1404024" y="2903384"/>
                </a:cubicBezTo>
                <a:cubicBezTo>
                  <a:pt x="1404024" y="2899897"/>
                  <a:pt x="1407113" y="2897572"/>
                  <a:pt x="1407113" y="2895247"/>
                </a:cubicBezTo>
                <a:cubicBezTo>
                  <a:pt x="1406083" y="2889435"/>
                  <a:pt x="1404024" y="2880134"/>
                  <a:pt x="1400936" y="2878971"/>
                </a:cubicBezTo>
                <a:cubicBezTo>
                  <a:pt x="1397847" y="2898735"/>
                  <a:pt x="1395789" y="2921985"/>
                  <a:pt x="1392700" y="2938260"/>
                </a:cubicBezTo>
                <a:cubicBezTo>
                  <a:pt x="1390641" y="2952212"/>
                  <a:pt x="1392700" y="2967325"/>
                  <a:pt x="1390641" y="2980112"/>
                </a:cubicBezTo>
                <a:lnTo>
                  <a:pt x="1389691" y="2983328"/>
                </a:lnTo>
                <a:lnTo>
                  <a:pt x="1386524" y="2968485"/>
                </a:lnTo>
                <a:cubicBezTo>
                  <a:pt x="1385494" y="2977203"/>
                  <a:pt x="1384464" y="2985922"/>
                  <a:pt x="1384336" y="2994351"/>
                </a:cubicBezTo>
                <a:lnTo>
                  <a:pt x="1384991" y="2999255"/>
                </a:lnTo>
                <a:lnTo>
                  <a:pt x="1384463" y="3001037"/>
                </a:lnTo>
                <a:cubicBezTo>
                  <a:pt x="1383433" y="3010338"/>
                  <a:pt x="1385493" y="3020801"/>
                  <a:pt x="1385493" y="3030100"/>
                </a:cubicBezTo>
                <a:cubicBezTo>
                  <a:pt x="1384463" y="3045215"/>
                  <a:pt x="1376227" y="3056839"/>
                  <a:pt x="1380346" y="3071952"/>
                </a:cubicBezTo>
                <a:cubicBezTo>
                  <a:pt x="1376228" y="3076021"/>
                  <a:pt x="1374169" y="3083868"/>
                  <a:pt x="1374684" y="3090989"/>
                </a:cubicBezTo>
                <a:lnTo>
                  <a:pt x="1379104" y="3097623"/>
                </a:lnTo>
                <a:lnTo>
                  <a:pt x="1374170" y="3110313"/>
                </a:lnTo>
                <a:cubicBezTo>
                  <a:pt x="1378802" y="3113220"/>
                  <a:pt x="1380090" y="3118160"/>
                  <a:pt x="1380347" y="3123537"/>
                </a:cubicBezTo>
                <a:lnTo>
                  <a:pt x="1380347" y="3129986"/>
                </a:lnTo>
                <a:lnTo>
                  <a:pt x="1377146" y="3129841"/>
                </a:lnTo>
                <a:cubicBezTo>
                  <a:pt x="1375335" y="3131777"/>
                  <a:pt x="1374719" y="3136122"/>
                  <a:pt x="1375136" y="3139876"/>
                </a:cubicBezTo>
                <a:lnTo>
                  <a:pt x="1379089" y="3146003"/>
                </a:lnTo>
                <a:lnTo>
                  <a:pt x="1377259" y="3155652"/>
                </a:lnTo>
                <a:cubicBezTo>
                  <a:pt x="1378288" y="3157977"/>
                  <a:pt x="1384466" y="3159139"/>
                  <a:pt x="1385494" y="3161464"/>
                </a:cubicBezTo>
                <a:cubicBezTo>
                  <a:pt x="1389613" y="3168439"/>
                  <a:pt x="1379318" y="3181228"/>
                  <a:pt x="1377259" y="3187040"/>
                </a:cubicBezTo>
                <a:cubicBezTo>
                  <a:pt x="1384466" y="3199827"/>
                  <a:pt x="1382407" y="3211453"/>
                  <a:pt x="1383436" y="3216102"/>
                </a:cubicBezTo>
                <a:cubicBezTo>
                  <a:pt x="1383436" y="3216102"/>
                  <a:pt x="1382664" y="3220171"/>
                  <a:pt x="1381892" y="3224240"/>
                </a:cubicBezTo>
                <a:lnTo>
                  <a:pt x="1380776" y="3230120"/>
                </a:lnTo>
                <a:lnTo>
                  <a:pt x="1377257" y="3220756"/>
                </a:lnTo>
                <a:cubicBezTo>
                  <a:pt x="1375198" y="3220175"/>
                  <a:pt x="1373911" y="3219012"/>
                  <a:pt x="1372625" y="3218577"/>
                </a:cubicBezTo>
                <a:cubicBezTo>
                  <a:pt x="1371337" y="3218141"/>
                  <a:pt x="1370050" y="3218431"/>
                  <a:pt x="1367991" y="3220756"/>
                </a:cubicBezTo>
                <a:cubicBezTo>
                  <a:pt x="1366963" y="3235869"/>
                  <a:pt x="1360785" y="3254469"/>
                  <a:pt x="1359756" y="3270745"/>
                </a:cubicBezTo>
                <a:cubicBezTo>
                  <a:pt x="1359756" y="3280045"/>
                  <a:pt x="1357696" y="3292832"/>
                  <a:pt x="1363874" y="3299807"/>
                </a:cubicBezTo>
                <a:cubicBezTo>
                  <a:pt x="1364903" y="3293995"/>
                  <a:pt x="1366963" y="3293995"/>
                  <a:pt x="1366963" y="3287020"/>
                </a:cubicBezTo>
                <a:cubicBezTo>
                  <a:pt x="1366963" y="3278883"/>
                  <a:pt x="1373139" y="3276557"/>
                  <a:pt x="1373139" y="3269582"/>
                </a:cubicBezTo>
                <a:cubicBezTo>
                  <a:pt x="1373139" y="3268419"/>
                  <a:pt x="1375198" y="3269582"/>
                  <a:pt x="1376227" y="3267257"/>
                </a:cubicBezTo>
                <a:cubicBezTo>
                  <a:pt x="1379317" y="3254469"/>
                  <a:pt x="1376227" y="3247495"/>
                  <a:pt x="1378287" y="3241681"/>
                </a:cubicBezTo>
                <a:lnTo>
                  <a:pt x="1380302" y="3232807"/>
                </a:lnTo>
                <a:lnTo>
                  <a:pt x="1378932" y="3245748"/>
                </a:lnTo>
                <a:cubicBezTo>
                  <a:pt x="1379318" y="3248945"/>
                  <a:pt x="1379833" y="3251561"/>
                  <a:pt x="1378288" y="3255630"/>
                </a:cubicBezTo>
                <a:cubicBezTo>
                  <a:pt x="1376228" y="3260279"/>
                  <a:pt x="1380347" y="3259117"/>
                  <a:pt x="1380347" y="3262604"/>
                </a:cubicBezTo>
                <a:cubicBezTo>
                  <a:pt x="1380347" y="3268417"/>
                  <a:pt x="1378288" y="3278880"/>
                  <a:pt x="1378288" y="3285855"/>
                </a:cubicBezTo>
                <a:cubicBezTo>
                  <a:pt x="1377259" y="3316081"/>
                  <a:pt x="1373140" y="3356770"/>
                  <a:pt x="1365934" y="3382345"/>
                </a:cubicBezTo>
                <a:cubicBezTo>
                  <a:pt x="1362845" y="3391646"/>
                  <a:pt x="1366964" y="3398621"/>
                  <a:pt x="1363876" y="3405596"/>
                </a:cubicBezTo>
                <a:cubicBezTo>
                  <a:pt x="1360787" y="3410245"/>
                  <a:pt x="1364904" y="3410245"/>
                  <a:pt x="1364904" y="3412571"/>
                </a:cubicBezTo>
                <a:cubicBezTo>
                  <a:pt x="1362845" y="3423034"/>
                  <a:pt x="1355638" y="3433497"/>
                  <a:pt x="1354609" y="3442796"/>
                </a:cubicBezTo>
                <a:cubicBezTo>
                  <a:pt x="1354609" y="3442796"/>
                  <a:pt x="1358727" y="3443959"/>
                  <a:pt x="1358727" y="3445121"/>
                </a:cubicBezTo>
                <a:cubicBezTo>
                  <a:pt x="1358727" y="3447447"/>
                  <a:pt x="1353581" y="3452098"/>
                  <a:pt x="1353581" y="3454422"/>
                </a:cubicBezTo>
                <a:cubicBezTo>
                  <a:pt x="1353581" y="3454422"/>
                  <a:pt x="1357697" y="3455585"/>
                  <a:pt x="1357697" y="3456747"/>
                </a:cubicBezTo>
                <a:cubicBezTo>
                  <a:pt x="1357697" y="3459072"/>
                  <a:pt x="1352551" y="3463722"/>
                  <a:pt x="1352551" y="3466048"/>
                </a:cubicBezTo>
                <a:cubicBezTo>
                  <a:pt x="1352551" y="3466048"/>
                  <a:pt x="1356668" y="3467210"/>
                  <a:pt x="1356668" y="3468373"/>
                </a:cubicBezTo>
                <a:cubicBezTo>
                  <a:pt x="1356668" y="3470697"/>
                  <a:pt x="1351521" y="3475348"/>
                  <a:pt x="1351521" y="3477673"/>
                </a:cubicBezTo>
                <a:cubicBezTo>
                  <a:pt x="1351521" y="3477673"/>
                  <a:pt x="1355638" y="3478835"/>
                  <a:pt x="1355638" y="3479997"/>
                </a:cubicBezTo>
                <a:cubicBezTo>
                  <a:pt x="1355638" y="3482323"/>
                  <a:pt x="1350491" y="3486973"/>
                  <a:pt x="1350491" y="3489298"/>
                </a:cubicBezTo>
                <a:cubicBezTo>
                  <a:pt x="1350491" y="3489298"/>
                  <a:pt x="1354609" y="3490461"/>
                  <a:pt x="1354609" y="3491623"/>
                </a:cubicBezTo>
                <a:cubicBezTo>
                  <a:pt x="1355638" y="3492787"/>
                  <a:pt x="1349462" y="3512549"/>
                  <a:pt x="1349462" y="3512549"/>
                </a:cubicBezTo>
                <a:cubicBezTo>
                  <a:pt x="1346373" y="3541612"/>
                  <a:pt x="1343284" y="3567188"/>
                  <a:pt x="1340195" y="3592763"/>
                </a:cubicBezTo>
                <a:cubicBezTo>
                  <a:pt x="1340195" y="3596250"/>
                  <a:pt x="1338138" y="3607876"/>
                  <a:pt x="1337108" y="3609039"/>
                </a:cubicBezTo>
                <a:cubicBezTo>
                  <a:pt x="1334019" y="3618340"/>
                  <a:pt x="1336078" y="3634615"/>
                  <a:pt x="1335049" y="3645077"/>
                </a:cubicBezTo>
                <a:cubicBezTo>
                  <a:pt x="1334019" y="3650890"/>
                  <a:pt x="1328871" y="3654377"/>
                  <a:pt x="1327842" y="3659028"/>
                </a:cubicBezTo>
                <a:cubicBezTo>
                  <a:pt x="1327842" y="3661353"/>
                  <a:pt x="1330931" y="3671815"/>
                  <a:pt x="1330931" y="3674140"/>
                </a:cubicBezTo>
                <a:cubicBezTo>
                  <a:pt x="1329901" y="3679953"/>
                  <a:pt x="1324753" y="3683441"/>
                  <a:pt x="1323724" y="3688091"/>
                </a:cubicBezTo>
                <a:cubicBezTo>
                  <a:pt x="1323724" y="3690415"/>
                  <a:pt x="1326812" y="3700879"/>
                  <a:pt x="1326812" y="3703203"/>
                </a:cubicBezTo>
                <a:cubicBezTo>
                  <a:pt x="1325783" y="3709016"/>
                  <a:pt x="1320635" y="3712503"/>
                  <a:pt x="1319606" y="3717154"/>
                </a:cubicBezTo>
                <a:cubicBezTo>
                  <a:pt x="1319606" y="3719480"/>
                  <a:pt x="1322695" y="3729941"/>
                  <a:pt x="1322695" y="3732267"/>
                </a:cubicBezTo>
                <a:cubicBezTo>
                  <a:pt x="1321665" y="3735755"/>
                  <a:pt x="1318577" y="3738080"/>
                  <a:pt x="1317547" y="3741567"/>
                </a:cubicBezTo>
                <a:cubicBezTo>
                  <a:pt x="1315488" y="3745054"/>
                  <a:pt x="1318577" y="3747380"/>
                  <a:pt x="1318577" y="3748542"/>
                </a:cubicBezTo>
                <a:cubicBezTo>
                  <a:pt x="1315488" y="3767143"/>
                  <a:pt x="1313428" y="3775281"/>
                  <a:pt x="1311370" y="3792719"/>
                </a:cubicBezTo>
                <a:cubicBezTo>
                  <a:pt x="1310340" y="3802019"/>
                  <a:pt x="1310340" y="3811319"/>
                  <a:pt x="1309310" y="3815969"/>
                </a:cubicBezTo>
                <a:cubicBezTo>
                  <a:pt x="1307252" y="3821781"/>
                  <a:pt x="1306222" y="3821781"/>
                  <a:pt x="1308281" y="3827595"/>
                </a:cubicBezTo>
                <a:cubicBezTo>
                  <a:pt x="1308281" y="3829920"/>
                  <a:pt x="1303134" y="3834569"/>
                  <a:pt x="1303134" y="3836894"/>
                </a:cubicBezTo>
                <a:cubicBezTo>
                  <a:pt x="1303134" y="3840382"/>
                  <a:pt x="1306222" y="3848520"/>
                  <a:pt x="1306222" y="3852008"/>
                </a:cubicBezTo>
                <a:cubicBezTo>
                  <a:pt x="1305194" y="3855495"/>
                  <a:pt x="1302104" y="3857820"/>
                  <a:pt x="1301075" y="3861308"/>
                </a:cubicBezTo>
                <a:cubicBezTo>
                  <a:pt x="1299015" y="3864795"/>
                  <a:pt x="1302104" y="3867121"/>
                  <a:pt x="1302104" y="3868283"/>
                </a:cubicBezTo>
                <a:cubicBezTo>
                  <a:pt x="1300045" y="3881070"/>
                  <a:pt x="1295927" y="3884558"/>
                  <a:pt x="1293868" y="3893859"/>
                </a:cubicBezTo>
                <a:cubicBezTo>
                  <a:pt x="1292838" y="3897345"/>
                  <a:pt x="1294897" y="3899671"/>
                  <a:pt x="1294897" y="3900833"/>
                </a:cubicBezTo>
                <a:cubicBezTo>
                  <a:pt x="1291810" y="3915946"/>
                  <a:pt x="1284602" y="3925247"/>
                  <a:pt x="1282544" y="3935710"/>
                </a:cubicBezTo>
                <a:cubicBezTo>
                  <a:pt x="1282544" y="3940360"/>
                  <a:pt x="1286662" y="3945011"/>
                  <a:pt x="1285632" y="3950822"/>
                </a:cubicBezTo>
                <a:cubicBezTo>
                  <a:pt x="1284602" y="3958960"/>
                  <a:pt x="1276367" y="3964773"/>
                  <a:pt x="1274308" y="3972910"/>
                </a:cubicBezTo>
                <a:cubicBezTo>
                  <a:pt x="1274308" y="3975235"/>
                  <a:pt x="1277395" y="3985699"/>
                  <a:pt x="1277395" y="3988023"/>
                </a:cubicBezTo>
                <a:cubicBezTo>
                  <a:pt x="1275338" y="4001974"/>
                  <a:pt x="1272248" y="4003137"/>
                  <a:pt x="1269160" y="4013599"/>
                </a:cubicBezTo>
                <a:cubicBezTo>
                  <a:pt x="1267101" y="4017086"/>
                  <a:pt x="1270189" y="4019412"/>
                  <a:pt x="1270189" y="4020575"/>
                </a:cubicBezTo>
                <a:cubicBezTo>
                  <a:pt x="1268130" y="4034525"/>
                  <a:pt x="1265041" y="4040337"/>
                  <a:pt x="1259895" y="4050800"/>
                </a:cubicBezTo>
                <a:cubicBezTo>
                  <a:pt x="1257835" y="4054288"/>
                  <a:pt x="1260925" y="4056613"/>
                  <a:pt x="1260925" y="4057775"/>
                </a:cubicBezTo>
                <a:cubicBezTo>
                  <a:pt x="1254746" y="4083351"/>
                  <a:pt x="1245482" y="4117064"/>
                  <a:pt x="1243422" y="4132178"/>
                </a:cubicBezTo>
                <a:cubicBezTo>
                  <a:pt x="1242393" y="4144965"/>
                  <a:pt x="1237245" y="4157752"/>
                  <a:pt x="1235185" y="4169378"/>
                </a:cubicBezTo>
                <a:cubicBezTo>
                  <a:pt x="1232096" y="4178679"/>
                  <a:pt x="1232096" y="4189141"/>
                  <a:pt x="1233127" y="4192628"/>
                </a:cubicBezTo>
                <a:cubicBezTo>
                  <a:pt x="1233127" y="4193792"/>
                  <a:pt x="1229009" y="4200767"/>
                  <a:pt x="1227979" y="4201929"/>
                </a:cubicBezTo>
                <a:cubicBezTo>
                  <a:pt x="1224891" y="4210067"/>
                  <a:pt x="1222832" y="4212393"/>
                  <a:pt x="1224891" y="4218205"/>
                </a:cubicBezTo>
                <a:cubicBezTo>
                  <a:pt x="1224891" y="4218205"/>
                  <a:pt x="1221802" y="4234480"/>
                  <a:pt x="1221802" y="4234480"/>
                </a:cubicBezTo>
                <a:cubicBezTo>
                  <a:pt x="1219744" y="4241455"/>
                  <a:pt x="1219744" y="4246105"/>
                  <a:pt x="1218713" y="4250755"/>
                </a:cubicBezTo>
                <a:cubicBezTo>
                  <a:pt x="1213566" y="4272844"/>
                  <a:pt x="1210478" y="4286794"/>
                  <a:pt x="1207389" y="4304232"/>
                </a:cubicBezTo>
                <a:cubicBezTo>
                  <a:pt x="1204301" y="4320507"/>
                  <a:pt x="1198123" y="4361196"/>
                  <a:pt x="1188858" y="4360033"/>
                </a:cubicBezTo>
                <a:cubicBezTo>
                  <a:pt x="1194006" y="4349570"/>
                  <a:pt x="1191946" y="4334458"/>
                  <a:pt x="1195035" y="4327482"/>
                </a:cubicBezTo>
                <a:cubicBezTo>
                  <a:pt x="1198123" y="4322833"/>
                  <a:pt x="1194006" y="4322833"/>
                  <a:pt x="1194006" y="4320507"/>
                </a:cubicBezTo>
                <a:cubicBezTo>
                  <a:pt x="1197095" y="4304232"/>
                  <a:pt x="1201212" y="4303070"/>
                  <a:pt x="1204301" y="4290281"/>
                </a:cubicBezTo>
                <a:cubicBezTo>
                  <a:pt x="1204301" y="4287957"/>
                  <a:pt x="1201212" y="4277493"/>
                  <a:pt x="1201212" y="4275169"/>
                </a:cubicBezTo>
                <a:cubicBezTo>
                  <a:pt x="1202241" y="4269356"/>
                  <a:pt x="1207389" y="4265869"/>
                  <a:pt x="1208419" y="4261218"/>
                </a:cubicBezTo>
                <a:cubicBezTo>
                  <a:pt x="1208419" y="4258892"/>
                  <a:pt x="1205330" y="4248431"/>
                  <a:pt x="1205330" y="4246105"/>
                </a:cubicBezTo>
                <a:cubicBezTo>
                  <a:pt x="1207389" y="4236806"/>
                  <a:pt x="1213566" y="4226342"/>
                  <a:pt x="1215626" y="4215879"/>
                </a:cubicBezTo>
                <a:cubicBezTo>
                  <a:pt x="1215626" y="4215879"/>
                  <a:pt x="1211507" y="4213555"/>
                  <a:pt x="1211507" y="4213555"/>
                </a:cubicBezTo>
                <a:cubicBezTo>
                  <a:pt x="1211507" y="4211229"/>
                  <a:pt x="1216654" y="4206580"/>
                  <a:pt x="1216654" y="4204254"/>
                </a:cubicBezTo>
                <a:cubicBezTo>
                  <a:pt x="1218713" y="4197280"/>
                  <a:pt x="1218713" y="4192628"/>
                  <a:pt x="1219744" y="4187979"/>
                </a:cubicBezTo>
                <a:cubicBezTo>
                  <a:pt x="1222832" y="4171704"/>
                  <a:pt x="1233127" y="4135665"/>
                  <a:pt x="1230039" y="4127528"/>
                </a:cubicBezTo>
                <a:cubicBezTo>
                  <a:pt x="1229009" y="4125202"/>
                  <a:pt x="1233127" y="4113577"/>
                  <a:pt x="1233127" y="4111252"/>
                </a:cubicBezTo>
                <a:cubicBezTo>
                  <a:pt x="1232096" y="4103114"/>
                  <a:pt x="1235185" y="4100789"/>
                  <a:pt x="1238275" y="4090326"/>
                </a:cubicBezTo>
                <a:cubicBezTo>
                  <a:pt x="1240334" y="4083351"/>
                  <a:pt x="1234156" y="4079864"/>
                  <a:pt x="1235185" y="4075213"/>
                </a:cubicBezTo>
                <a:cubicBezTo>
                  <a:pt x="1237245" y="4064750"/>
                  <a:pt x="1243422" y="4054288"/>
                  <a:pt x="1245482" y="4044987"/>
                </a:cubicBezTo>
                <a:cubicBezTo>
                  <a:pt x="1245482" y="4044987"/>
                  <a:pt x="1241363" y="4043825"/>
                  <a:pt x="1241363" y="4042663"/>
                </a:cubicBezTo>
                <a:cubicBezTo>
                  <a:pt x="1241363" y="4040337"/>
                  <a:pt x="1246511" y="4035687"/>
                  <a:pt x="1246511" y="4033362"/>
                </a:cubicBezTo>
                <a:cubicBezTo>
                  <a:pt x="1251658" y="4010111"/>
                  <a:pt x="1253717" y="3986861"/>
                  <a:pt x="1258865" y="3968261"/>
                </a:cubicBezTo>
                <a:cubicBezTo>
                  <a:pt x="1259895" y="3964773"/>
                  <a:pt x="1257835" y="3962448"/>
                  <a:pt x="1257835" y="3961286"/>
                </a:cubicBezTo>
                <a:cubicBezTo>
                  <a:pt x="1259895" y="3949660"/>
                  <a:pt x="1266071" y="3942685"/>
                  <a:pt x="1268130" y="3931059"/>
                </a:cubicBezTo>
                <a:cubicBezTo>
                  <a:pt x="1268130" y="3927572"/>
                  <a:pt x="1265041" y="3919434"/>
                  <a:pt x="1265041" y="3915946"/>
                </a:cubicBezTo>
                <a:cubicBezTo>
                  <a:pt x="1266071" y="3898509"/>
                  <a:pt x="1276367" y="3884558"/>
                  <a:pt x="1278425" y="3869446"/>
                </a:cubicBezTo>
                <a:cubicBezTo>
                  <a:pt x="1278425" y="3865957"/>
                  <a:pt x="1275338" y="3857820"/>
                  <a:pt x="1275338" y="3854332"/>
                </a:cubicBezTo>
                <a:cubicBezTo>
                  <a:pt x="1275338" y="3846195"/>
                  <a:pt x="1279455" y="3841545"/>
                  <a:pt x="1280484" y="3833407"/>
                </a:cubicBezTo>
                <a:cubicBezTo>
                  <a:pt x="1281514" y="3831081"/>
                  <a:pt x="1278425" y="3832245"/>
                  <a:pt x="1279455" y="3826432"/>
                </a:cubicBezTo>
                <a:cubicBezTo>
                  <a:pt x="1281514" y="3819457"/>
                  <a:pt x="1282544" y="3815969"/>
                  <a:pt x="1282544" y="3810157"/>
                </a:cubicBezTo>
                <a:cubicBezTo>
                  <a:pt x="1282544" y="3786906"/>
                  <a:pt x="1287691" y="3752030"/>
                  <a:pt x="1289751" y="3734593"/>
                </a:cubicBezTo>
                <a:cubicBezTo>
                  <a:pt x="1289751" y="3733429"/>
                  <a:pt x="1290779" y="3731104"/>
                  <a:pt x="1291810" y="3729941"/>
                </a:cubicBezTo>
                <a:cubicBezTo>
                  <a:pt x="1294897" y="3725292"/>
                  <a:pt x="1290779" y="3725292"/>
                  <a:pt x="1290779" y="3722967"/>
                </a:cubicBezTo>
                <a:cubicBezTo>
                  <a:pt x="1294897" y="3697391"/>
                  <a:pt x="1299015" y="3675303"/>
                  <a:pt x="1302104" y="3649728"/>
                </a:cubicBezTo>
                <a:cubicBezTo>
                  <a:pt x="1305194" y="3625315"/>
                  <a:pt x="1304163" y="3597413"/>
                  <a:pt x="1315488" y="3573000"/>
                </a:cubicBezTo>
                <a:cubicBezTo>
                  <a:pt x="1320635" y="3564862"/>
                  <a:pt x="1320635" y="3579975"/>
                  <a:pt x="1325783" y="3574162"/>
                </a:cubicBezTo>
                <a:cubicBezTo>
                  <a:pt x="1318577" y="3568351"/>
                  <a:pt x="1329901" y="3561374"/>
                  <a:pt x="1330931" y="3553237"/>
                </a:cubicBezTo>
                <a:cubicBezTo>
                  <a:pt x="1330931" y="3553237"/>
                  <a:pt x="1326812" y="3552074"/>
                  <a:pt x="1326812" y="3550912"/>
                </a:cubicBezTo>
                <a:cubicBezTo>
                  <a:pt x="1324753" y="3546261"/>
                  <a:pt x="1331960" y="3535799"/>
                  <a:pt x="1331960" y="3529986"/>
                </a:cubicBezTo>
                <a:cubicBezTo>
                  <a:pt x="1326812" y="3519523"/>
                  <a:pt x="1319606" y="3510224"/>
                  <a:pt x="1321665" y="3497436"/>
                </a:cubicBezTo>
                <a:cubicBezTo>
                  <a:pt x="1327842" y="3481161"/>
                  <a:pt x="1320635" y="3469535"/>
                  <a:pt x="1335049" y="3450935"/>
                </a:cubicBezTo>
                <a:cubicBezTo>
                  <a:pt x="1327842" y="3427684"/>
                  <a:pt x="1335049" y="3399784"/>
                  <a:pt x="1340195" y="3380021"/>
                </a:cubicBezTo>
                <a:cubicBezTo>
                  <a:pt x="1341226" y="3376534"/>
                  <a:pt x="1339166" y="3374208"/>
                  <a:pt x="1339166" y="3373045"/>
                </a:cubicBezTo>
                <a:cubicBezTo>
                  <a:pt x="1341226" y="3363744"/>
                  <a:pt x="1348433" y="3352120"/>
                  <a:pt x="1349462" y="3342819"/>
                </a:cubicBezTo>
                <a:cubicBezTo>
                  <a:pt x="1349462" y="3340494"/>
                  <a:pt x="1344314" y="3334681"/>
                  <a:pt x="1344314" y="3332356"/>
                </a:cubicBezTo>
                <a:cubicBezTo>
                  <a:pt x="1344314" y="3327706"/>
                  <a:pt x="1347403" y="3319568"/>
                  <a:pt x="1347403" y="3316081"/>
                </a:cubicBezTo>
                <a:cubicBezTo>
                  <a:pt x="1348433" y="3306781"/>
                  <a:pt x="1351521" y="3296318"/>
                  <a:pt x="1351521" y="3288180"/>
                </a:cubicBezTo>
                <a:cubicBezTo>
                  <a:pt x="1351521" y="3285855"/>
                  <a:pt x="1346373" y="3280043"/>
                  <a:pt x="1346373" y="3277717"/>
                </a:cubicBezTo>
                <a:cubicBezTo>
                  <a:pt x="1346373" y="3273068"/>
                  <a:pt x="1349462" y="3264930"/>
                  <a:pt x="1349462" y="3261442"/>
                </a:cubicBezTo>
                <a:cubicBezTo>
                  <a:pt x="1349462" y="3250978"/>
                  <a:pt x="1345344" y="3238191"/>
                  <a:pt x="1355638" y="3228891"/>
                </a:cubicBezTo>
                <a:cubicBezTo>
                  <a:pt x="1351521" y="3219590"/>
                  <a:pt x="1348433" y="3207966"/>
                  <a:pt x="1347403" y="3204479"/>
                </a:cubicBezTo>
                <a:cubicBezTo>
                  <a:pt x="1347403" y="3202153"/>
                  <a:pt x="1352551" y="3197504"/>
                  <a:pt x="1352551" y="3195178"/>
                </a:cubicBezTo>
                <a:cubicBezTo>
                  <a:pt x="1352551" y="3195178"/>
                  <a:pt x="1348433" y="3194015"/>
                  <a:pt x="1348433" y="3192853"/>
                </a:cubicBezTo>
                <a:cubicBezTo>
                  <a:pt x="1348433" y="3190528"/>
                  <a:pt x="1353581" y="3185878"/>
                  <a:pt x="1353581" y="3183552"/>
                </a:cubicBezTo>
                <a:cubicBezTo>
                  <a:pt x="1353581" y="3183552"/>
                  <a:pt x="1349462" y="3182391"/>
                  <a:pt x="1349462" y="3181228"/>
                </a:cubicBezTo>
                <a:cubicBezTo>
                  <a:pt x="1349462" y="3178903"/>
                  <a:pt x="1354609" y="3174252"/>
                  <a:pt x="1354609" y="3171927"/>
                </a:cubicBezTo>
                <a:cubicBezTo>
                  <a:pt x="1356668" y="3161464"/>
                  <a:pt x="1350491" y="3154490"/>
                  <a:pt x="1350491" y="3149840"/>
                </a:cubicBezTo>
                <a:cubicBezTo>
                  <a:pt x="1351521" y="3140538"/>
                  <a:pt x="1355638" y="3141701"/>
                  <a:pt x="1353581" y="3133563"/>
                </a:cubicBezTo>
                <a:cubicBezTo>
                  <a:pt x="1353581" y="3131240"/>
                  <a:pt x="1358727" y="3126588"/>
                  <a:pt x="1358727" y="3124263"/>
                </a:cubicBezTo>
                <a:cubicBezTo>
                  <a:pt x="1358727" y="3118450"/>
                  <a:pt x="1352551" y="3114963"/>
                  <a:pt x="1355638" y="3109150"/>
                </a:cubicBezTo>
                <a:cubicBezTo>
                  <a:pt x="1359757" y="3101013"/>
                  <a:pt x="1354609" y="3092875"/>
                  <a:pt x="1357697" y="3085900"/>
                </a:cubicBezTo>
                <a:cubicBezTo>
                  <a:pt x="1359757" y="3081249"/>
                  <a:pt x="1356668" y="3071949"/>
                  <a:pt x="1356668" y="3067299"/>
                </a:cubicBezTo>
                <a:cubicBezTo>
                  <a:pt x="1356668" y="3059161"/>
                  <a:pt x="1354609" y="3048699"/>
                  <a:pt x="1354609" y="3040560"/>
                </a:cubicBezTo>
                <a:cubicBezTo>
                  <a:pt x="1354609" y="3032423"/>
                  <a:pt x="1359757" y="3027774"/>
                  <a:pt x="1359757" y="3019636"/>
                </a:cubicBezTo>
                <a:cubicBezTo>
                  <a:pt x="1359757" y="3014986"/>
                  <a:pt x="1351521" y="3008010"/>
                  <a:pt x="1358727" y="3001035"/>
                </a:cubicBezTo>
                <a:cubicBezTo>
                  <a:pt x="1363876" y="3005684"/>
                  <a:pt x="1361816" y="3012661"/>
                  <a:pt x="1365934" y="3018474"/>
                </a:cubicBezTo>
                <a:cubicBezTo>
                  <a:pt x="1374170" y="3002198"/>
                  <a:pt x="1371081" y="2988248"/>
                  <a:pt x="1366964" y="2975460"/>
                </a:cubicBezTo>
                <a:cubicBezTo>
                  <a:pt x="1362845" y="2980110"/>
                  <a:pt x="1360787" y="2988248"/>
                  <a:pt x="1355638" y="2985922"/>
                </a:cubicBezTo>
                <a:lnTo>
                  <a:pt x="1355362" y="2978589"/>
                </a:lnTo>
                <a:lnTo>
                  <a:pt x="1356667" y="2976625"/>
                </a:lnTo>
                <a:cubicBezTo>
                  <a:pt x="1357696" y="2971974"/>
                  <a:pt x="1356667" y="2964999"/>
                  <a:pt x="1356667" y="2960349"/>
                </a:cubicBezTo>
                <a:cubicBezTo>
                  <a:pt x="1356667" y="2956861"/>
                  <a:pt x="1359756" y="2956861"/>
                  <a:pt x="1359756" y="2955699"/>
                </a:cubicBezTo>
                <a:cubicBezTo>
                  <a:pt x="1361814" y="2939422"/>
                  <a:pt x="1359756" y="2915010"/>
                  <a:pt x="1364903" y="2909198"/>
                </a:cubicBezTo>
                <a:cubicBezTo>
                  <a:pt x="1365933" y="2908035"/>
                  <a:pt x="1363874" y="2902223"/>
                  <a:pt x="1364903" y="2901061"/>
                </a:cubicBezTo>
                <a:cubicBezTo>
                  <a:pt x="1366963" y="2891759"/>
                  <a:pt x="1369021" y="2882459"/>
                  <a:pt x="1370050" y="2871996"/>
                </a:cubicBezTo>
                <a:cubicBezTo>
                  <a:pt x="1372110" y="2859209"/>
                  <a:pt x="1374169" y="2842934"/>
                  <a:pt x="1375198" y="2830145"/>
                </a:cubicBezTo>
                <a:cubicBezTo>
                  <a:pt x="1375198" y="2823171"/>
                  <a:pt x="1374169" y="2816195"/>
                  <a:pt x="1374169" y="2809220"/>
                </a:cubicBezTo>
                <a:cubicBezTo>
                  <a:pt x="1375198" y="2802244"/>
                  <a:pt x="1379317" y="2795269"/>
                  <a:pt x="1380346" y="2788295"/>
                </a:cubicBezTo>
                <a:cubicBezTo>
                  <a:pt x="1381374" y="2774344"/>
                  <a:pt x="1379317" y="2761556"/>
                  <a:pt x="1379317" y="2746443"/>
                </a:cubicBezTo>
                <a:cubicBezTo>
                  <a:pt x="1379317" y="2738305"/>
                  <a:pt x="1381374" y="2737142"/>
                  <a:pt x="1382406" y="2730168"/>
                </a:cubicBezTo>
                <a:cubicBezTo>
                  <a:pt x="1383433" y="2711567"/>
                  <a:pt x="1382406" y="2704592"/>
                  <a:pt x="1384463" y="2692966"/>
                </a:cubicBezTo>
                <a:lnTo>
                  <a:pt x="1385606" y="2684263"/>
                </a:lnTo>
                <a:lnTo>
                  <a:pt x="1389226" y="2675091"/>
                </a:lnTo>
                <a:lnTo>
                  <a:pt x="1387491" y="2669890"/>
                </a:lnTo>
                <a:lnTo>
                  <a:pt x="1389392" y="2655400"/>
                </a:lnTo>
                <a:lnTo>
                  <a:pt x="1391285" y="2646754"/>
                </a:lnTo>
                <a:lnTo>
                  <a:pt x="1390912" y="2643820"/>
                </a:lnTo>
                <a:lnTo>
                  <a:pt x="1392700" y="2630190"/>
                </a:lnTo>
                <a:cubicBezTo>
                  <a:pt x="1392700" y="2624378"/>
                  <a:pt x="1391670" y="2618564"/>
                  <a:pt x="1392700" y="2613915"/>
                </a:cubicBezTo>
                <a:lnTo>
                  <a:pt x="1393403" y="2609940"/>
                </a:lnTo>
                <a:lnTo>
                  <a:pt x="1405056" y="2645300"/>
                </a:lnTo>
                <a:cubicBezTo>
                  <a:pt x="1402996" y="2655764"/>
                  <a:pt x="1408144" y="2665064"/>
                  <a:pt x="1398877" y="2677852"/>
                </a:cubicBezTo>
                <a:cubicBezTo>
                  <a:pt x="1405056" y="2699359"/>
                  <a:pt x="1407372" y="2722028"/>
                  <a:pt x="1408916" y="2744844"/>
                </a:cubicBezTo>
                <a:lnTo>
                  <a:pt x="1410432" y="2763870"/>
                </a:lnTo>
                <a:lnTo>
                  <a:pt x="1410202" y="2768531"/>
                </a:lnTo>
                <a:cubicBezTo>
                  <a:pt x="1409173" y="2774344"/>
                  <a:pt x="1407113" y="2774344"/>
                  <a:pt x="1407113" y="2781319"/>
                </a:cubicBezTo>
                <a:cubicBezTo>
                  <a:pt x="1407113" y="2784806"/>
                  <a:pt x="1404024" y="2784806"/>
                  <a:pt x="1404024" y="2785969"/>
                </a:cubicBezTo>
                <a:cubicBezTo>
                  <a:pt x="1401965" y="2798757"/>
                  <a:pt x="1405055" y="2812707"/>
                  <a:pt x="1401965" y="2823171"/>
                </a:cubicBezTo>
                <a:cubicBezTo>
                  <a:pt x="1406083" y="2824333"/>
                  <a:pt x="1407113" y="2820845"/>
                  <a:pt x="1408143" y="2818520"/>
                </a:cubicBezTo>
                <a:lnTo>
                  <a:pt x="1413788" y="2806011"/>
                </a:lnTo>
                <a:lnTo>
                  <a:pt x="1414320" y="2812706"/>
                </a:lnTo>
                <a:cubicBezTo>
                  <a:pt x="1416637" y="2823168"/>
                  <a:pt x="1409688" y="2836901"/>
                  <a:pt x="1411715" y="2848018"/>
                </a:cubicBezTo>
                <a:lnTo>
                  <a:pt x="1411778" y="2848128"/>
                </a:lnTo>
                <a:lnTo>
                  <a:pt x="1407114" y="2896407"/>
                </a:lnTo>
                <a:cubicBezTo>
                  <a:pt x="1407114" y="2901058"/>
                  <a:pt x="1410203" y="2906870"/>
                  <a:pt x="1410203" y="2911521"/>
                </a:cubicBezTo>
                <a:cubicBezTo>
                  <a:pt x="1410203" y="2917333"/>
                  <a:pt x="1407114" y="2920822"/>
                  <a:pt x="1407114" y="2927795"/>
                </a:cubicBezTo>
                <a:cubicBezTo>
                  <a:pt x="1407114" y="2931283"/>
                  <a:pt x="1410203" y="2939420"/>
                  <a:pt x="1410203" y="2942908"/>
                </a:cubicBezTo>
                <a:cubicBezTo>
                  <a:pt x="1410203" y="2949884"/>
                  <a:pt x="1404026" y="2955696"/>
                  <a:pt x="1411233" y="2961509"/>
                </a:cubicBezTo>
                <a:cubicBezTo>
                  <a:pt x="1419468" y="2952209"/>
                  <a:pt x="1416380" y="2939420"/>
                  <a:pt x="1412262" y="2925471"/>
                </a:cubicBezTo>
                <a:cubicBezTo>
                  <a:pt x="1412262" y="2924308"/>
                  <a:pt x="1414320" y="2921982"/>
                  <a:pt x="1414320" y="2920822"/>
                </a:cubicBezTo>
                <a:cubicBezTo>
                  <a:pt x="1415350" y="2917333"/>
                  <a:pt x="1413291" y="2915007"/>
                  <a:pt x="1413291" y="2913845"/>
                </a:cubicBezTo>
                <a:cubicBezTo>
                  <a:pt x="1413291" y="2905708"/>
                  <a:pt x="1421527" y="2884782"/>
                  <a:pt x="1421527" y="2876645"/>
                </a:cubicBezTo>
                <a:cubicBezTo>
                  <a:pt x="1422042" y="2874320"/>
                  <a:pt x="1421013" y="2869960"/>
                  <a:pt x="1419855" y="2865600"/>
                </a:cubicBezTo>
                <a:lnTo>
                  <a:pt x="1417973" y="2857095"/>
                </a:lnTo>
                <a:lnTo>
                  <a:pt x="1424391" y="2846274"/>
                </a:lnTo>
                <a:cubicBezTo>
                  <a:pt x="1428155" y="2835593"/>
                  <a:pt x="1424101" y="2827528"/>
                  <a:pt x="1428734" y="2816193"/>
                </a:cubicBezTo>
                <a:cubicBezTo>
                  <a:pt x="1419469" y="2808056"/>
                  <a:pt x="1423587" y="2791779"/>
                  <a:pt x="1421527" y="2780153"/>
                </a:cubicBezTo>
                <a:lnTo>
                  <a:pt x="1419422" y="2763515"/>
                </a:lnTo>
                <a:lnTo>
                  <a:pt x="1425901" y="2752836"/>
                </a:lnTo>
                <a:cubicBezTo>
                  <a:pt x="1429248" y="2747606"/>
                  <a:pt x="1431820" y="2741211"/>
                  <a:pt x="1430792" y="2730168"/>
                </a:cubicBezTo>
                <a:cubicBezTo>
                  <a:pt x="1429762" y="2722030"/>
                  <a:pt x="1418438" y="2726680"/>
                  <a:pt x="1420496" y="2713892"/>
                </a:cubicBezTo>
                <a:cubicBezTo>
                  <a:pt x="1423586" y="2712730"/>
                  <a:pt x="1435939" y="2705754"/>
                  <a:pt x="1426674" y="2701105"/>
                </a:cubicBezTo>
                <a:cubicBezTo>
                  <a:pt x="1426674" y="2702267"/>
                  <a:pt x="1426674" y="2703430"/>
                  <a:pt x="1426674" y="2705754"/>
                </a:cubicBezTo>
                <a:cubicBezTo>
                  <a:pt x="1418438" y="2698780"/>
                  <a:pt x="1421526" y="2694130"/>
                  <a:pt x="1423586" y="2689479"/>
                </a:cubicBezTo>
                <a:cubicBezTo>
                  <a:pt x="1427703" y="2670878"/>
                  <a:pt x="1416379" y="2668553"/>
                  <a:pt x="1422556" y="2660416"/>
                </a:cubicBezTo>
                <a:cubicBezTo>
                  <a:pt x="1423586" y="2659253"/>
                  <a:pt x="1422556" y="2653440"/>
                  <a:pt x="1422556" y="2652278"/>
                </a:cubicBezTo>
                <a:cubicBezTo>
                  <a:pt x="1423586" y="2639491"/>
                  <a:pt x="1424614" y="2636002"/>
                  <a:pt x="1425645" y="2631353"/>
                </a:cubicBezTo>
                <a:cubicBezTo>
                  <a:pt x="1426674" y="2623215"/>
                  <a:pt x="1421526" y="2616240"/>
                  <a:pt x="1419467" y="2615077"/>
                </a:cubicBezTo>
                <a:cubicBezTo>
                  <a:pt x="1416379" y="2633677"/>
                  <a:pt x="1419467" y="2644141"/>
                  <a:pt x="1417407" y="2661578"/>
                </a:cubicBezTo>
                <a:lnTo>
                  <a:pt x="1417217" y="2663765"/>
                </a:lnTo>
                <a:lnTo>
                  <a:pt x="1413292" y="2645300"/>
                </a:lnTo>
                <a:cubicBezTo>
                  <a:pt x="1412262" y="2640651"/>
                  <a:pt x="1412262" y="2634838"/>
                  <a:pt x="1410203" y="2630188"/>
                </a:cubicBezTo>
                <a:cubicBezTo>
                  <a:pt x="1412262" y="2619726"/>
                  <a:pt x="1407114" y="2610426"/>
                  <a:pt x="1416380" y="2597637"/>
                </a:cubicBezTo>
                <a:cubicBezTo>
                  <a:pt x="1408144" y="2588336"/>
                  <a:pt x="1413292" y="2577875"/>
                  <a:pt x="1414320" y="2570899"/>
                </a:cubicBezTo>
                <a:cubicBezTo>
                  <a:pt x="1414320" y="2568574"/>
                  <a:pt x="1409174" y="2562761"/>
                  <a:pt x="1409174" y="2560436"/>
                </a:cubicBezTo>
                <a:cubicBezTo>
                  <a:pt x="1408144" y="2554623"/>
                  <a:pt x="1409174" y="2547649"/>
                  <a:pt x="1408144" y="2541836"/>
                </a:cubicBezTo>
                <a:cubicBezTo>
                  <a:pt x="1407114" y="2531373"/>
                  <a:pt x="1407114" y="2530211"/>
                  <a:pt x="1404026" y="2519748"/>
                </a:cubicBezTo>
                <a:lnTo>
                  <a:pt x="1400320" y="2517949"/>
                </a:lnTo>
                <a:lnTo>
                  <a:pt x="1398876" y="2459298"/>
                </a:lnTo>
                <a:cubicBezTo>
                  <a:pt x="1398876" y="2453486"/>
                  <a:pt x="1401965" y="2453486"/>
                  <a:pt x="1401965" y="2446511"/>
                </a:cubicBezTo>
                <a:cubicBezTo>
                  <a:pt x="1401965" y="2417446"/>
                  <a:pt x="1397847" y="2388384"/>
                  <a:pt x="1399906" y="2358158"/>
                </a:cubicBezTo>
                <a:cubicBezTo>
                  <a:pt x="1399906" y="2350020"/>
                  <a:pt x="1402995" y="2348859"/>
                  <a:pt x="1402995" y="2341882"/>
                </a:cubicBezTo>
                <a:cubicBezTo>
                  <a:pt x="1402995" y="2337233"/>
                  <a:pt x="1399906" y="2333745"/>
                  <a:pt x="1399906" y="2325607"/>
                </a:cubicBezTo>
                <a:cubicBezTo>
                  <a:pt x="1397847" y="2305845"/>
                  <a:pt x="1397847" y="2281431"/>
                  <a:pt x="1397847" y="2262831"/>
                </a:cubicBezTo>
                <a:cubicBezTo>
                  <a:pt x="1397847" y="2254693"/>
                  <a:pt x="1400936" y="2253530"/>
                  <a:pt x="1400936" y="2246556"/>
                </a:cubicBezTo>
                <a:cubicBezTo>
                  <a:pt x="1400936" y="2238417"/>
                  <a:pt x="1396817" y="2232604"/>
                  <a:pt x="1396817" y="2225629"/>
                </a:cubicBezTo>
                <a:cubicBezTo>
                  <a:pt x="1396817" y="2219818"/>
                  <a:pt x="1398876" y="2210517"/>
                  <a:pt x="1399906" y="2204705"/>
                </a:cubicBezTo>
                <a:cubicBezTo>
                  <a:pt x="1400936" y="2186104"/>
                  <a:pt x="1397847" y="2167503"/>
                  <a:pt x="1398876" y="2150065"/>
                </a:cubicBezTo>
                <a:cubicBezTo>
                  <a:pt x="1398876" y="2141928"/>
                  <a:pt x="1400936" y="2140764"/>
                  <a:pt x="1401965" y="2133790"/>
                </a:cubicBezTo>
                <a:cubicBezTo>
                  <a:pt x="1402995" y="2122164"/>
                  <a:pt x="1397847" y="2103564"/>
                  <a:pt x="1407113" y="2095427"/>
                </a:cubicBezTo>
                <a:close/>
                <a:moveTo>
                  <a:pt x="1550214" y="2088452"/>
                </a:moveTo>
                <a:cubicBezTo>
                  <a:pt x="1555362" y="2088452"/>
                  <a:pt x="1556392" y="2095427"/>
                  <a:pt x="1556392" y="2104727"/>
                </a:cubicBezTo>
                <a:cubicBezTo>
                  <a:pt x="1547127" y="2109376"/>
                  <a:pt x="1550214" y="2095427"/>
                  <a:pt x="1550214" y="2088452"/>
                </a:cubicBezTo>
                <a:close/>
                <a:moveTo>
                  <a:pt x="1493592" y="2075663"/>
                </a:moveTo>
                <a:cubicBezTo>
                  <a:pt x="1495651" y="2076826"/>
                  <a:pt x="1496681" y="2080314"/>
                  <a:pt x="1499769" y="2079151"/>
                </a:cubicBezTo>
                <a:cubicBezTo>
                  <a:pt x="1498739" y="2083801"/>
                  <a:pt x="1498739" y="2086126"/>
                  <a:pt x="1499769" y="2088452"/>
                </a:cubicBezTo>
                <a:cubicBezTo>
                  <a:pt x="1493592" y="2090775"/>
                  <a:pt x="1493592" y="2082638"/>
                  <a:pt x="1493592" y="2075663"/>
                </a:cubicBezTo>
                <a:close/>
                <a:moveTo>
                  <a:pt x="1557422" y="2037300"/>
                </a:moveTo>
                <a:cubicBezTo>
                  <a:pt x="1556392" y="2053576"/>
                  <a:pt x="1564629" y="2081475"/>
                  <a:pt x="1549187" y="2079151"/>
                </a:cubicBezTo>
                <a:cubicBezTo>
                  <a:pt x="1553304" y="2058225"/>
                  <a:pt x="1543008" y="2039624"/>
                  <a:pt x="1557422" y="2037300"/>
                </a:cubicBezTo>
                <a:close/>
                <a:moveTo>
                  <a:pt x="1491532" y="2017537"/>
                </a:moveTo>
                <a:cubicBezTo>
                  <a:pt x="1502858" y="2015211"/>
                  <a:pt x="1506975" y="2054738"/>
                  <a:pt x="1492562" y="2051250"/>
                </a:cubicBezTo>
                <a:cubicBezTo>
                  <a:pt x="1484326" y="2040787"/>
                  <a:pt x="1493592" y="2032649"/>
                  <a:pt x="1491532" y="2017537"/>
                </a:cubicBezTo>
                <a:close/>
                <a:moveTo>
                  <a:pt x="1640813" y="1981498"/>
                </a:moveTo>
                <a:cubicBezTo>
                  <a:pt x="1642870" y="1981498"/>
                  <a:pt x="1644930" y="1981498"/>
                  <a:pt x="1646989" y="1981498"/>
                </a:cubicBezTo>
                <a:cubicBezTo>
                  <a:pt x="1646989" y="1983823"/>
                  <a:pt x="1646989" y="1987312"/>
                  <a:pt x="1646989" y="1989635"/>
                </a:cubicBezTo>
                <a:cubicBezTo>
                  <a:pt x="1644930" y="1989635"/>
                  <a:pt x="1642870" y="1989635"/>
                  <a:pt x="1640813" y="1989635"/>
                </a:cubicBezTo>
                <a:cubicBezTo>
                  <a:pt x="1640813" y="1987312"/>
                  <a:pt x="1640813" y="1983823"/>
                  <a:pt x="1640813" y="1981498"/>
                </a:cubicBezTo>
                <a:close/>
                <a:moveTo>
                  <a:pt x="1587277" y="1965222"/>
                </a:moveTo>
                <a:cubicBezTo>
                  <a:pt x="1591395" y="1966385"/>
                  <a:pt x="1588307" y="1978011"/>
                  <a:pt x="1593455" y="1978011"/>
                </a:cubicBezTo>
                <a:cubicBezTo>
                  <a:pt x="1594485" y="1988474"/>
                  <a:pt x="1594485" y="1997774"/>
                  <a:pt x="1591395" y="2003587"/>
                </a:cubicBezTo>
                <a:cubicBezTo>
                  <a:pt x="1594485" y="2005911"/>
                  <a:pt x="1591395" y="2021024"/>
                  <a:pt x="1595514" y="2024511"/>
                </a:cubicBezTo>
                <a:cubicBezTo>
                  <a:pt x="1599631" y="2029163"/>
                  <a:pt x="1595514" y="2025674"/>
                  <a:pt x="1595514" y="2029163"/>
                </a:cubicBezTo>
                <a:cubicBezTo>
                  <a:pt x="1594485" y="2036137"/>
                  <a:pt x="1599631" y="2064039"/>
                  <a:pt x="1589337" y="2061713"/>
                </a:cubicBezTo>
                <a:cubicBezTo>
                  <a:pt x="1593455" y="2040787"/>
                  <a:pt x="1579042" y="2022186"/>
                  <a:pt x="1588307" y="2007073"/>
                </a:cubicBezTo>
                <a:cubicBezTo>
                  <a:pt x="1590367" y="1995449"/>
                  <a:pt x="1582130" y="1998936"/>
                  <a:pt x="1582130" y="1990798"/>
                </a:cubicBezTo>
                <a:cubicBezTo>
                  <a:pt x="1581100" y="1978011"/>
                  <a:pt x="1589337" y="1978011"/>
                  <a:pt x="1587277" y="1965222"/>
                </a:cubicBezTo>
                <a:close/>
                <a:moveTo>
                  <a:pt x="1427703" y="1954759"/>
                </a:moveTo>
                <a:cubicBezTo>
                  <a:pt x="1427703" y="1976848"/>
                  <a:pt x="1421526" y="1988474"/>
                  <a:pt x="1441088" y="1988474"/>
                </a:cubicBezTo>
                <a:cubicBezTo>
                  <a:pt x="1432850" y="1998936"/>
                  <a:pt x="1428732" y="2021024"/>
                  <a:pt x="1435939" y="2038463"/>
                </a:cubicBezTo>
                <a:cubicBezTo>
                  <a:pt x="1441088" y="2038463"/>
                  <a:pt x="1442117" y="2032649"/>
                  <a:pt x="1448293" y="2033812"/>
                </a:cubicBezTo>
                <a:cubicBezTo>
                  <a:pt x="1446235" y="2058225"/>
                  <a:pt x="1458588" y="2081475"/>
                  <a:pt x="1450352" y="2101239"/>
                </a:cubicBezTo>
                <a:cubicBezTo>
                  <a:pt x="1443145" y="2111702"/>
                  <a:pt x="1444175" y="2095427"/>
                  <a:pt x="1434910" y="2097750"/>
                </a:cubicBezTo>
                <a:cubicBezTo>
                  <a:pt x="1435939" y="2118677"/>
                  <a:pt x="1432850" y="2116352"/>
                  <a:pt x="1435939" y="2134953"/>
                </a:cubicBezTo>
                <a:cubicBezTo>
                  <a:pt x="1435939" y="2133790"/>
                  <a:pt x="1441088" y="2137277"/>
                  <a:pt x="1439028" y="2139603"/>
                </a:cubicBezTo>
                <a:cubicBezTo>
                  <a:pt x="1436969" y="2141928"/>
                  <a:pt x="1435939" y="2143090"/>
                  <a:pt x="1435939" y="2147741"/>
                </a:cubicBezTo>
                <a:cubicBezTo>
                  <a:pt x="1453441" y="2150065"/>
                  <a:pt x="1434910" y="2109376"/>
                  <a:pt x="1453441" y="2115189"/>
                </a:cubicBezTo>
                <a:cubicBezTo>
                  <a:pt x="1456530" y="2132627"/>
                  <a:pt x="1451382" y="2144253"/>
                  <a:pt x="1451382" y="2157039"/>
                </a:cubicBezTo>
                <a:cubicBezTo>
                  <a:pt x="1451382" y="2160527"/>
                  <a:pt x="1450352" y="2167503"/>
                  <a:pt x="1451382" y="2169828"/>
                </a:cubicBezTo>
                <a:cubicBezTo>
                  <a:pt x="1451382" y="2170991"/>
                  <a:pt x="1457559" y="2173315"/>
                  <a:pt x="1457559" y="2173315"/>
                </a:cubicBezTo>
                <a:cubicBezTo>
                  <a:pt x="1457559" y="2175640"/>
                  <a:pt x="1455500" y="2183778"/>
                  <a:pt x="1454471" y="2194241"/>
                </a:cubicBezTo>
                <a:cubicBezTo>
                  <a:pt x="1454471" y="2194241"/>
                  <a:pt x="1458588" y="2198891"/>
                  <a:pt x="1457559" y="2202379"/>
                </a:cubicBezTo>
                <a:cubicBezTo>
                  <a:pt x="1457559" y="2203542"/>
                  <a:pt x="1452412" y="2207030"/>
                  <a:pt x="1454471" y="2210517"/>
                </a:cubicBezTo>
                <a:cubicBezTo>
                  <a:pt x="1450352" y="2216329"/>
                  <a:pt x="1443145" y="2216329"/>
                  <a:pt x="1439028" y="2210517"/>
                </a:cubicBezTo>
                <a:cubicBezTo>
                  <a:pt x="1441088" y="2236092"/>
                  <a:pt x="1443145" y="2260505"/>
                  <a:pt x="1437999" y="2286082"/>
                </a:cubicBezTo>
                <a:cubicBezTo>
                  <a:pt x="1440057" y="2302357"/>
                  <a:pt x="1450352" y="2282595"/>
                  <a:pt x="1456530" y="2294219"/>
                </a:cubicBezTo>
                <a:cubicBezTo>
                  <a:pt x="1449323" y="2311657"/>
                  <a:pt x="1459618" y="2348859"/>
                  <a:pt x="1452412" y="2365134"/>
                </a:cubicBezTo>
                <a:cubicBezTo>
                  <a:pt x="1442117" y="2351183"/>
                  <a:pt x="1443145" y="2326770"/>
                  <a:pt x="1444175" y="2307007"/>
                </a:cubicBezTo>
                <a:cubicBezTo>
                  <a:pt x="1437999" y="2298870"/>
                  <a:pt x="1437999" y="2309332"/>
                  <a:pt x="1434910" y="2315145"/>
                </a:cubicBezTo>
                <a:cubicBezTo>
                  <a:pt x="1421526" y="2305845"/>
                  <a:pt x="1422556" y="2276781"/>
                  <a:pt x="1423586" y="2257017"/>
                </a:cubicBezTo>
                <a:cubicBezTo>
                  <a:pt x="1425645" y="2232604"/>
                  <a:pt x="1422556" y="2176803"/>
                  <a:pt x="1426674" y="2147741"/>
                </a:cubicBezTo>
                <a:cubicBezTo>
                  <a:pt x="1427703" y="2139603"/>
                  <a:pt x="1427703" y="2140764"/>
                  <a:pt x="1425645" y="2126815"/>
                </a:cubicBezTo>
                <a:cubicBezTo>
                  <a:pt x="1422556" y="2093101"/>
                  <a:pt x="1424614" y="2050087"/>
                  <a:pt x="1422556" y="2017537"/>
                </a:cubicBezTo>
                <a:cubicBezTo>
                  <a:pt x="1422556" y="2008236"/>
                  <a:pt x="1409173" y="1958247"/>
                  <a:pt x="1427703" y="1954759"/>
                </a:cubicBezTo>
                <a:close/>
                <a:moveTo>
                  <a:pt x="1424646" y="1931272"/>
                </a:moveTo>
                <a:cubicBezTo>
                  <a:pt x="1425773" y="1929984"/>
                  <a:pt x="1427446" y="1929765"/>
                  <a:pt x="1429762" y="1931509"/>
                </a:cubicBezTo>
                <a:cubicBezTo>
                  <a:pt x="1430792" y="1939647"/>
                  <a:pt x="1427703" y="1941972"/>
                  <a:pt x="1426674" y="1947785"/>
                </a:cubicBezTo>
                <a:cubicBezTo>
                  <a:pt x="1422813" y="1948657"/>
                  <a:pt x="1421268" y="1935143"/>
                  <a:pt x="1424646" y="1931272"/>
                </a:cubicBezTo>
                <a:close/>
                <a:moveTo>
                  <a:pt x="1554333" y="1908259"/>
                </a:moveTo>
                <a:cubicBezTo>
                  <a:pt x="1561539" y="1916397"/>
                  <a:pt x="1554333" y="1924534"/>
                  <a:pt x="1552274" y="1933834"/>
                </a:cubicBezTo>
                <a:cubicBezTo>
                  <a:pt x="1547127" y="1932672"/>
                  <a:pt x="1544038" y="1902446"/>
                  <a:pt x="1554333" y="1908259"/>
                </a:cubicBezTo>
                <a:close/>
                <a:moveTo>
                  <a:pt x="1644930" y="1905934"/>
                </a:moveTo>
                <a:cubicBezTo>
                  <a:pt x="1646989" y="1905934"/>
                  <a:pt x="1649048" y="1905934"/>
                  <a:pt x="1651107" y="1905934"/>
                </a:cubicBezTo>
                <a:cubicBezTo>
                  <a:pt x="1651107" y="1908259"/>
                  <a:pt x="1651107" y="1911746"/>
                  <a:pt x="1651107" y="1914071"/>
                </a:cubicBezTo>
                <a:cubicBezTo>
                  <a:pt x="1649048" y="1914071"/>
                  <a:pt x="1646989" y="1914071"/>
                  <a:pt x="1644930" y="1914071"/>
                </a:cubicBezTo>
                <a:cubicBezTo>
                  <a:pt x="1644930" y="1911746"/>
                  <a:pt x="1644930" y="1908259"/>
                  <a:pt x="1644930" y="1905934"/>
                </a:cubicBezTo>
                <a:close/>
                <a:moveTo>
                  <a:pt x="1604780" y="1879195"/>
                </a:moveTo>
                <a:cubicBezTo>
                  <a:pt x="1615074" y="1879195"/>
                  <a:pt x="1618163" y="1895471"/>
                  <a:pt x="1617133" y="1915233"/>
                </a:cubicBezTo>
                <a:cubicBezTo>
                  <a:pt x="1616104" y="1928022"/>
                  <a:pt x="1616104" y="1929185"/>
                  <a:pt x="1618163" y="1944298"/>
                </a:cubicBezTo>
                <a:cubicBezTo>
                  <a:pt x="1620222" y="1960573"/>
                  <a:pt x="1620222" y="1978011"/>
                  <a:pt x="1616104" y="1990798"/>
                </a:cubicBezTo>
                <a:cubicBezTo>
                  <a:pt x="1621252" y="1993123"/>
                  <a:pt x="1616104" y="2010562"/>
                  <a:pt x="1623311" y="2011724"/>
                </a:cubicBezTo>
                <a:cubicBezTo>
                  <a:pt x="1624340" y="2025674"/>
                  <a:pt x="1620222" y="2031486"/>
                  <a:pt x="1610957" y="2032649"/>
                </a:cubicBezTo>
                <a:cubicBezTo>
                  <a:pt x="1603750" y="2008236"/>
                  <a:pt x="1605809" y="1979174"/>
                  <a:pt x="1602720" y="1945460"/>
                </a:cubicBezTo>
                <a:cubicBezTo>
                  <a:pt x="1601691" y="1937322"/>
                  <a:pt x="1599631" y="1933834"/>
                  <a:pt x="1599631" y="1929185"/>
                </a:cubicBezTo>
                <a:cubicBezTo>
                  <a:pt x="1599631" y="1922208"/>
                  <a:pt x="1602720" y="1922208"/>
                  <a:pt x="1602720" y="1916397"/>
                </a:cubicBezTo>
                <a:cubicBezTo>
                  <a:pt x="1601691" y="1902446"/>
                  <a:pt x="1594485" y="1883845"/>
                  <a:pt x="1604780" y="1879195"/>
                </a:cubicBezTo>
                <a:close/>
                <a:moveTo>
                  <a:pt x="1240371" y="1861181"/>
                </a:moveTo>
                <a:lnTo>
                  <a:pt x="1243421" y="1861756"/>
                </a:lnTo>
                <a:lnTo>
                  <a:pt x="1241152" y="1873283"/>
                </a:lnTo>
                <a:lnTo>
                  <a:pt x="1240461" y="1861468"/>
                </a:lnTo>
                <a:close/>
                <a:moveTo>
                  <a:pt x="1231067" y="1859430"/>
                </a:moveTo>
                <a:lnTo>
                  <a:pt x="1236426" y="1860439"/>
                </a:lnTo>
                <a:lnTo>
                  <a:pt x="1235827" y="1867134"/>
                </a:lnTo>
                <a:lnTo>
                  <a:pt x="1240681" y="1875673"/>
                </a:lnTo>
                <a:lnTo>
                  <a:pt x="1239302" y="1882680"/>
                </a:lnTo>
                <a:cubicBezTo>
                  <a:pt x="1235184" y="1881519"/>
                  <a:pt x="1231067" y="1880356"/>
                  <a:pt x="1226949" y="1880356"/>
                </a:cubicBezTo>
                <a:cubicBezTo>
                  <a:pt x="1227978" y="1873381"/>
                  <a:pt x="1229008" y="1866405"/>
                  <a:pt x="1231067" y="1859430"/>
                </a:cubicBezTo>
                <a:close/>
                <a:moveTo>
                  <a:pt x="1395789" y="1836182"/>
                </a:moveTo>
                <a:cubicBezTo>
                  <a:pt x="1411231" y="1846644"/>
                  <a:pt x="1402995" y="1867570"/>
                  <a:pt x="1399906" y="1886171"/>
                </a:cubicBezTo>
                <a:cubicBezTo>
                  <a:pt x="1378287" y="1881521"/>
                  <a:pt x="1400936" y="1857107"/>
                  <a:pt x="1395789" y="1836182"/>
                </a:cubicBezTo>
                <a:close/>
                <a:moveTo>
                  <a:pt x="1789384" y="1836055"/>
                </a:moveTo>
                <a:cubicBezTo>
                  <a:pt x="1785910" y="1839379"/>
                  <a:pt x="1786489" y="1850714"/>
                  <a:pt x="1791121" y="1848969"/>
                </a:cubicBezTo>
                <a:cubicBezTo>
                  <a:pt x="1791121" y="1843158"/>
                  <a:pt x="1795238" y="1843158"/>
                  <a:pt x="1794209" y="1836182"/>
                </a:cubicBezTo>
                <a:cubicBezTo>
                  <a:pt x="1792150" y="1834730"/>
                  <a:pt x="1790541" y="1834947"/>
                  <a:pt x="1789384" y="1836055"/>
                </a:cubicBezTo>
                <a:close/>
                <a:moveTo>
                  <a:pt x="1244451" y="1811767"/>
                </a:moveTo>
                <a:cubicBezTo>
                  <a:pt x="1249598" y="1814091"/>
                  <a:pt x="1249598" y="1819905"/>
                  <a:pt x="1255776" y="1821067"/>
                </a:cubicBezTo>
                <a:cubicBezTo>
                  <a:pt x="1253716" y="1826880"/>
                  <a:pt x="1248568" y="1826880"/>
                  <a:pt x="1247538" y="1833854"/>
                </a:cubicBezTo>
                <a:cubicBezTo>
                  <a:pt x="1242392" y="1831529"/>
                  <a:pt x="1242392" y="1825716"/>
                  <a:pt x="1236214" y="1824554"/>
                </a:cubicBezTo>
                <a:cubicBezTo>
                  <a:pt x="1238274" y="1818742"/>
                  <a:pt x="1243421" y="1818742"/>
                  <a:pt x="1244451" y="1811767"/>
                </a:cubicBezTo>
                <a:close/>
                <a:moveTo>
                  <a:pt x="1792151" y="1764105"/>
                </a:moveTo>
                <a:cubicBezTo>
                  <a:pt x="1780825" y="1759455"/>
                  <a:pt x="1787003" y="1776894"/>
                  <a:pt x="1785974" y="1785031"/>
                </a:cubicBezTo>
                <a:cubicBezTo>
                  <a:pt x="1795238" y="1786193"/>
                  <a:pt x="1796268" y="1769918"/>
                  <a:pt x="1792151" y="1764105"/>
                </a:cubicBezTo>
                <a:close/>
                <a:moveTo>
                  <a:pt x="1412260" y="1730391"/>
                </a:moveTo>
                <a:cubicBezTo>
                  <a:pt x="1425645" y="1731554"/>
                  <a:pt x="1418438" y="1752481"/>
                  <a:pt x="1419467" y="1764105"/>
                </a:cubicBezTo>
                <a:cubicBezTo>
                  <a:pt x="1419467" y="1771080"/>
                  <a:pt x="1418438" y="1779217"/>
                  <a:pt x="1420496" y="1789680"/>
                </a:cubicBezTo>
                <a:cubicBezTo>
                  <a:pt x="1422556" y="1797818"/>
                  <a:pt x="1421526" y="1794331"/>
                  <a:pt x="1420496" y="1802468"/>
                </a:cubicBezTo>
                <a:cubicBezTo>
                  <a:pt x="1419467" y="1811769"/>
                  <a:pt x="1421526" y="1822231"/>
                  <a:pt x="1424614" y="1831532"/>
                </a:cubicBezTo>
                <a:cubicBezTo>
                  <a:pt x="1426674" y="1838507"/>
                  <a:pt x="1428732" y="1850133"/>
                  <a:pt x="1437999" y="1852457"/>
                </a:cubicBezTo>
                <a:cubicBezTo>
                  <a:pt x="1435939" y="1871057"/>
                  <a:pt x="1444175" y="1875708"/>
                  <a:pt x="1442117" y="1894309"/>
                </a:cubicBezTo>
                <a:cubicBezTo>
                  <a:pt x="1434910" y="1896633"/>
                  <a:pt x="1436969" y="1887334"/>
                  <a:pt x="1432850" y="1886171"/>
                </a:cubicBezTo>
                <a:cubicBezTo>
                  <a:pt x="1429762" y="1885009"/>
                  <a:pt x="1426674" y="1891983"/>
                  <a:pt x="1422556" y="1889658"/>
                </a:cubicBezTo>
                <a:cubicBezTo>
                  <a:pt x="1414319" y="1838507"/>
                  <a:pt x="1415349" y="1786193"/>
                  <a:pt x="1412260" y="1730391"/>
                </a:cubicBezTo>
                <a:close/>
                <a:moveTo>
                  <a:pt x="1549187" y="1719928"/>
                </a:moveTo>
                <a:cubicBezTo>
                  <a:pt x="1550214" y="1723416"/>
                  <a:pt x="1552274" y="1724579"/>
                  <a:pt x="1552274" y="1728066"/>
                </a:cubicBezTo>
                <a:cubicBezTo>
                  <a:pt x="1551244" y="1733880"/>
                  <a:pt x="1547127" y="1736204"/>
                  <a:pt x="1546098" y="1745504"/>
                </a:cubicBezTo>
                <a:cubicBezTo>
                  <a:pt x="1546098" y="1745504"/>
                  <a:pt x="1550214" y="1750155"/>
                  <a:pt x="1549187" y="1753643"/>
                </a:cubicBezTo>
                <a:cubicBezTo>
                  <a:pt x="1549187" y="1754804"/>
                  <a:pt x="1546098" y="1753643"/>
                  <a:pt x="1546098" y="1758292"/>
                </a:cubicBezTo>
                <a:cubicBezTo>
                  <a:pt x="1546098" y="1764105"/>
                  <a:pt x="1549187" y="1771080"/>
                  <a:pt x="1550214" y="1779217"/>
                </a:cubicBezTo>
                <a:cubicBezTo>
                  <a:pt x="1551244" y="1793168"/>
                  <a:pt x="1551244" y="1807119"/>
                  <a:pt x="1551244" y="1821068"/>
                </a:cubicBezTo>
                <a:cubicBezTo>
                  <a:pt x="1552274" y="1841995"/>
                  <a:pt x="1563599" y="1869896"/>
                  <a:pt x="1540949" y="1866408"/>
                </a:cubicBezTo>
                <a:cubicBezTo>
                  <a:pt x="1550214" y="1837345"/>
                  <a:pt x="1536831" y="1797818"/>
                  <a:pt x="1540949" y="1761781"/>
                </a:cubicBezTo>
                <a:cubicBezTo>
                  <a:pt x="1540949" y="1758292"/>
                  <a:pt x="1544038" y="1757130"/>
                  <a:pt x="1544038" y="1753643"/>
                </a:cubicBezTo>
                <a:cubicBezTo>
                  <a:pt x="1544038" y="1743180"/>
                  <a:pt x="1537861" y="1733880"/>
                  <a:pt x="1539920" y="1724579"/>
                </a:cubicBezTo>
                <a:cubicBezTo>
                  <a:pt x="1541979" y="1722254"/>
                  <a:pt x="1545068" y="1719928"/>
                  <a:pt x="1549187" y="1719928"/>
                </a:cubicBezTo>
                <a:close/>
                <a:moveTo>
                  <a:pt x="1785974" y="1695515"/>
                </a:moveTo>
                <a:cubicBezTo>
                  <a:pt x="1785974" y="1700166"/>
                  <a:pt x="1785974" y="1703653"/>
                  <a:pt x="1785974" y="1708303"/>
                </a:cubicBezTo>
                <a:cubicBezTo>
                  <a:pt x="1788032" y="1708303"/>
                  <a:pt x="1790092" y="1708303"/>
                  <a:pt x="1792151" y="1708303"/>
                </a:cubicBezTo>
                <a:cubicBezTo>
                  <a:pt x="1792151" y="1703653"/>
                  <a:pt x="1792151" y="1700166"/>
                  <a:pt x="1792151" y="1695515"/>
                </a:cubicBezTo>
                <a:cubicBezTo>
                  <a:pt x="1790092" y="1695515"/>
                  <a:pt x="1788032" y="1695515"/>
                  <a:pt x="1785974" y="1695515"/>
                </a:cubicBezTo>
                <a:close/>
                <a:moveTo>
                  <a:pt x="1727292" y="1689703"/>
                </a:moveTo>
                <a:cubicBezTo>
                  <a:pt x="1726262" y="1699003"/>
                  <a:pt x="1728320" y="1705979"/>
                  <a:pt x="1733468" y="1705979"/>
                </a:cubicBezTo>
                <a:cubicBezTo>
                  <a:pt x="1733468" y="1699003"/>
                  <a:pt x="1737586" y="1685053"/>
                  <a:pt x="1727292" y="1689703"/>
                </a:cubicBezTo>
                <a:close/>
                <a:moveTo>
                  <a:pt x="1548156" y="1686215"/>
                </a:moveTo>
                <a:cubicBezTo>
                  <a:pt x="1555362" y="1694354"/>
                  <a:pt x="1549187" y="1707141"/>
                  <a:pt x="1538891" y="1707141"/>
                </a:cubicBezTo>
                <a:cubicBezTo>
                  <a:pt x="1541979" y="1700166"/>
                  <a:pt x="1538891" y="1685053"/>
                  <a:pt x="1548156" y="1686215"/>
                </a:cubicBezTo>
                <a:close/>
                <a:moveTo>
                  <a:pt x="1729351" y="1659478"/>
                </a:moveTo>
                <a:cubicBezTo>
                  <a:pt x="1729351" y="1666452"/>
                  <a:pt x="1732439" y="1669939"/>
                  <a:pt x="1735527" y="1672265"/>
                </a:cubicBezTo>
                <a:cubicBezTo>
                  <a:pt x="1735527" y="1665290"/>
                  <a:pt x="1736556" y="1657152"/>
                  <a:pt x="1729351" y="1659478"/>
                </a:cubicBezTo>
                <a:close/>
                <a:moveTo>
                  <a:pt x="1496681" y="1657152"/>
                </a:moveTo>
                <a:cubicBezTo>
                  <a:pt x="1501829" y="1658315"/>
                  <a:pt x="1500799" y="1676915"/>
                  <a:pt x="1500799" y="1686215"/>
                </a:cubicBezTo>
                <a:cubicBezTo>
                  <a:pt x="1501829" y="1699003"/>
                  <a:pt x="1505945" y="1715279"/>
                  <a:pt x="1495651" y="1711790"/>
                </a:cubicBezTo>
                <a:cubicBezTo>
                  <a:pt x="1492562" y="1708303"/>
                  <a:pt x="1494621" y="1697840"/>
                  <a:pt x="1494621" y="1686215"/>
                </a:cubicBezTo>
                <a:cubicBezTo>
                  <a:pt x="1494621" y="1675753"/>
                  <a:pt x="1492562" y="1661801"/>
                  <a:pt x="1496681" y="1657152"/>
                </a:cubicBezTo>
                <a:close/>
                <a:moveTo>
                  <a:pt x="1790092" y="1623439"/>
                </a:moveTo>
                <a:cubicBezTo>
                  <a:pt x="1778768" y="1622276"/>
                  <a:pt x="1780825" y="1636226"/>
                  <a:pt x="1781855" y="1649015"/>
                </a:cubicBezTo>
                <a:cubicBezTo>
                  <a:pt x="1793179" y="1651340"/>
                  <a:pt x="1791121" y="1636226"/>
                  <a:pt x="1790092" y="1623439"/>
                </a:cubicBezTo>
                <a:close/>
                <a:moveTo>
                  <a:pt x="1731441" y="1619879"/>
                </a:moveTo>
                <a:cubicBezTo>
                  <a:pt x="1728063" y="1624021"/>
                  <a:pt x="1729606" y="1637970"/>
                  <a:pt x="1733468" y="1636226"/>
                </a:cubicBezTo>
                <a:cubicBezTo>
                  <a:pt x="1734498" y="1631576"/>
                  <a:pt x="1737586" y="1629251"/>
                  <a:pt x="1736556" y="1619950"/>
                </a:cubicBezTo>
                <a:cubicBezTo>
                  <a:pt x="1734241" y="1618207"/>
                  <a:pt x="1732568" y="1618498"/>
                  <a:pt x="1731441" y="1619879"/>
                </a:cubicBezTo>
                <a:close/>
                <a:moveTo>
                  <a:pt x="1342254" y="1614138"/>
                </a:moveTo>
                <a:cubicBezTo>
                  <a:pt x="1345342" y="1617627"/>
                  <a:pt x="1348431" y="1629251"/>
                  <a:pt x="1349461" y="1635064"/>
                </a:cubicBezTo>
                <a:cubicBezTo>
                  <a:pt x="1353579" y="1667615"/>
                  <a:pt x="1349461" y="1692028"/>
                  <a:pt x="1354607" y="1710629"/>
                </a:cubicBezTo>
                <a:cubicBezTo>
                  <a:pt x="1348431" y="1711790"/>
                  <a:pt x="1352548" y="1725742"/>
                  <a:pt x="1345342" y="1728066"/>
                </a:cubicBezTo>
                <a:cubicBezTo>
                  <a:pt x="1343283" y="1737367"/>
                  <a:pt x="1352548" y="1737367"/>
                  <a:pt x="1352548" y="1748992"/>
                </a:cubicBezTo>
                <a:cubicBezTo>
                  <a:pt x="1352548" y="1747829"/>
                  <a:pt x="1349461" y="1751317"/>
                  <a:pt x="1349461" y="1753643"/>
                </a:cubicBezTo>
                <a:cubicBezTo>
                  <a:pt x="1347401" y="1766430"/>
                  <a:pt x="1352548" y="1766430"/>
                  <a:pt x="1355637" y="1769918"/>
                </a:cubicBezTo>
                <a:cubicBezTo>
                  <a:pt x="1356667" y="1771080"/>
                  <a:pt x="1355637" y="1776894"/>
                  <a:pt x="1355637" y="1778056"/>
                </a:cubicBezTo>
                <a:cubicBezTo>
                  <a:pt x="1361814" y="1800144"/>
                  <a:pt x="1356667" y="1816419"/>
                  <a:pt x="1356667" y="1836182"/>
                </a:cubicBezTo>
                <a:cubicBezTo>
                  <a:pt x="1356667" y="1844320"/>
                  <a:pt x="1359756" y="1852457"/>
                  <a:pt x="1360785" y="1861757"/>
                </a:cubicBezTo>
                <a:cubicBezTo>
                  <a:pt x="1362844" y="1885009"/>
                  <a:pt x="1360785" y="1908259"/>
                  <a:pt x="1362844" y="1932672"/>
                </a:cubicBezTo>
                <a:cubicBezTo>
                  <a:pt x="1362844" y="1937322"/>
                  <a:pt x="1365933" y="1938484"/>
                  <a:pt x="1365933" y="1945460"/>
                </a:cubicBezTo>
                <a:cubicBezTo>
                  <a:pt x="1369021" y="1975686"/>
                  <a:pt x="1369021" y="2009399"/>
                  <a:pt x="1367991" y="2037300"/>
                </a:cubicBezTo>
                <a:cubicBezTo>
                  <a:pt x="1367991" y="2043112"/>
                  <a:pt x="1364903" y="2043112"/>
                  <a:pt x="1364903" y="2050087"/>
                </a:cubicBezTo>
                <a:cubicBezTo>
                  <a:pt x="1364903" y="2059387"/>
                  <a:pt x="1365933" y="2073338"/>
                  <a:pt x="1365933" y="2083801"/>
                </a:cubicBezTo>
                <a:cubicBezTo>
                  <a:pt x="1365933" y="2091939"/>
                  <a:pt x="1362844" y="2097750"/>
                  <a:pt x="1362844" y="2104727"/>
                </a:cubicBezTo>
                <a:cubicBezTo>
                  <a:pt x="1362844" y="2115189"/>
                  <a:pt x="1366963" y="2119840"/>
                  <a:pt x="1366963" y="2130303"/>
                </a:cubicBezTo>
                <a:cubicBezTo>
                  <a:pt x="1366963" y="2137277"/>
                  <a:pt x="1364903" y="2144253"/>
                  <a:pt x="1363874" y="2151227"/>
                </a:cubicBezTo>
                <a:cubicBezTo>
                  <a:pt x="1362844" y="2168665"/>
                  <a:pt x="1366963" y="2186104"/>
                  <a:pt x="1361814" y="2201217"/>
                </a:cubicBezTo>
                <a:cubicBezTo>
                  <a:pt x="1365933" y="2204705"/>
                  <a:pt x="1367991" y="2211679"/>
                  <a:pt x="1372110" y="2217492"/>
                </a:cubicBezTo>
                <a:cubicBezTo>
                  <a:pt x="1367991" y="2219818"/>
                  <a:pt x="1366963" y="2226792"/>
                  <a:pt x="1365933" y="2234930"/>
                </a:cubicBezTo>
                <a:cubicBezTo>
                  <a:pt x="1372110" y="2239581"/>
                  <a:pt x="1372110" y="2245392"/>
                  <a:pt x="1372110" y="2251205"/>
                </a:cubicBezTo>
                <a:cubicBezTo>
                  <a:pt x="1375198" y="2274456"/>
                  <a:pt x="1376227" y="2311657"/>
                  <a:pt x="1374169" y="2343045"/>
                </a:cubicBezTo>
                <a:cubicBezTo>
                  <a:pt x="1374169" y="2351183"/>
                  <a:pt x="1371080" y="2352346"/>
                  <a:pt x="1371080" y="2359320"/>
                </a:cubicBezTo>
                <a:cubicBezTo>
                  <a:pt x="1371080" y="2365134"/>
                  <a:pt x="1374169" y="2365134"/>
                  <a:pt x="1374169" y="2372109"/>
                </a:cubicBezTo>
                <a:cubicBezTo>
                  <a:pt x="1374169" y="2377921"/>
                  <a:pt x="1372110" y="2380246"/>
                  <a:pt x="1371080" y="2388384"/>
                </a:cubicBezTo>
                <a:cubicBezTo>
                  <a:pt x="1370050" y="2408146"/>
                  <a:pt x="1370050" y="2424422"/>
                  <a:pt x="1369021" y="2434885"/>
                </a:cubicBezTo>
                <a:cubicBezTo>
                  <a:pt x="1367991" y="2445347"/>
                  <a:pt x="1371080" y="2456973"/>
                  <a:pt x="1370050" y="2463948"/>
                </a:cubicBezTo>
                <a:cubicBezTo>
                  <a:pt x="1369021" y="2470923"/>
                  <a:pt x="1364903" y="2477899"/>
                  <a:pt x="1363874" y="2484874"/>
                </a:cubicBezTo>
                <a:lnTo>
                  <a:pt x="1364122" y="2496091"/>
                </a:lnTo>
                <a:lnTo>
                  <a:pt x="1351521" y="2487196"/>
                </a:lnTo>
                <a:lnTo>
                  <a:pt x="1350522" y="2486904"/>
                </a:lnTo>
                <a:lnTo>
                  <a:pt x="1352548" y="2468598"/>
                </a:lnTo>
                <a:cubicBezTo>
                  <a:pt x="1353579" y="2452322"/>
                  <a:pt x="1354607" y="2444185"/>
                  <a:pt x="1354607" y="2434885"/>
                </a:cubicBezTo>
                <a:cubicBezTo>
                  <a:pt x="1354607" y="2424422"/>
                  <a:pt x="1353579" y="2411635"/>
                  <a:pt x="1353579" y="2401171"/>
                </a:cubicBezTo>
                <a:cubicBezTo>
                  <a:pt x="1353579" y="2395359"/>
                  <a:pt x="1356667" y="2395359"/>
                  <a:pt x="1356667" y="2388384"/>
                </a:cubicBezTo>
                <a:cubicBezTo>
                  <a:pt x="1357696" y="2365134"/>
                  <a:pt x="1358726" y="2324444"/>
                  <a:pt x="1354607" y="2317469"/>
                </a:cubicBezTo>
                <a:cubicBezTo>
                  <a:pt x="1352548" y="2313982"/>
                  <a:pt x="1352548" y="2316306"/>
                  <a:pt x="1351520" y="2309332"/>
                </a:cubicBezTo>
                <a:cubicBezTo>
                  <a:pt x="1349461" y="2298870"/>
                  <a:pt x="1351520" y="2283756"/>
                  <a:pt x="1350490" y="2272131"/>
                </a:cubicBezTo>
                <a:cubicBezTo>
                  <a:pt x="1350490" y="2266317"/>
                  <a:pt x="1347401" y="2262831"/>
                  <a:pt x="1347401" y="2259343"/>
                </a:cubicBezTo>
                <a:cubicBezTo>
                  <a:pt x="1347401" y="2253530"/>
                  <a:pt x="1350490" y="2253530"/>
                  <a:pt x="1350490" y="2246556"/>
                </a:cubicBezTo>
                <a:cubicBezTo>
                  <a:pt x="1350490" y="2240742"/>
                  <a:pt x="1347401" y="2238417"/>
                  <a:pt x="1347401" y="2230280"/>
                </a:cubicBezTo>
                <a:cubicBezTo>
                  <a:pt x="1345342" y="2207030"/>
                  <a:pt x="1349461" y="2191916"/>
                  <a:pt x="1349461" y="2180291"/>
                </a:cubicBezTo>
                <a:cubicBezTo>
                  <a:pt x="1349461" y="2174478"/>
                  <a:pt x="1346372" y="2174478"/>
                  <a:pt x="1346372" y="2167503"/>
                </a:cubicBezTo>
                <a:cubicBezTo>
                  <a:pt x="1346372" y="2161691"/>
                  <a:pt x="1348431" y="2159365"/>
                  <a:pt x="1349461" y="2151227"/>
                </a:cubicBezTo>
                <a:cubicBezTo>
                  <a:pt x="1350490" y="2139603"/>
                  <a:pt x="1347401" y="2129140"/>
                  <a:pt x="1348431" y="2122164"/>
                </a:cubicBezTo>
                <a:cubicBezTo>
                  <a:pt x="1349461" y="2115189"/>
                  <a:pt x="1353579" y="2108214"/>
                  <a:pt x="1354607" y="2101239"/>
                </a:cubicBezTo>
                <a:cubicBezTo>
                  <a:pt x="1354607" y="2096589"/>
                  <a:pt x="1351520" y="2095427"/>
                  <a:pt x="1351520" y="2088452"/>
                </a:cubicBezTo>
                <a:cubicBezTo>
                  <a:pt x="1351520" y="2082638"/>
                  <a:pt x="1353579" y="2080314"/>
                  <a:pt x="1354607" y="2072176"/>
                </a:cubicBezTo>
                <a:cubicBezTo>
                  <a:pt x="1355637" y="2054738"/>
                  <a:pt x="1352548" y="2039624"/>
                  <a:pt x="1353579" y="2022186"/>
                </a:cubicBezTo>
                <a:cubicBezTo>
                  <a:pt x="1351520" y="2014049"/>
                  <a:pt x="1345342" y="2009399"/>
                  <a:pt x="1343283" y="1997774"/>
                </a:cubicBezTo>
                <a:cubicBezTo>
                  <a:pt x="1341224" y="1984986"/>
                  <a:pt x="1344313" y="1966385"/>
                  <a:pt x="1342254" y="1951273"/>
                </a:cubicBezTo>
                <a:cubicBezTo>
                  <a:pt x="1341224" y="1940809"/>
                  <a:pt x="1354607" y="1947785"/>
                  <a:pt x="1351520" y="1933834"/>
                </a:cubicBezTo>
                <a:cubicBezTo>
                  <a:pt x="1350490" y="1919885"/>
                  <a:pt x="1348431" y="1905934"/>
                  <a:pt x="1347401" y="1891983"/>
                </a:cubicBezTo>
                <a:cubicBezTo>
                  <a:pt x="1346372" y="1876870"/>
                  <a:pt x="1345342" y="1861757"/>
                  <a:pt x="1346372" y="1845482"/>
                </a:cubicBezTo>
                <a:cubicBezTo>
                  <a:pt x="1347401" y="1838507"/>
                  <a:pt x="1349461" y="1836182"/>
                  <a:pt x="1349461" y="1829207"/>
                </a:cubicBezTo>
                <a:cubicBezTo>
                  <a:pt x="1349461" y="1823394"/>
                  <a:pt x="1346372" y="1821068"/>
                  <a:pt x="1346372" y="1812931"/>
                </a:cubicBezTo>
                <a:cubicBezTo>
                  <a:pt x="1346372" y="1804793"/>
                  <a:pt x="1345342" y="1800144"/>
                  <a:pt x="1349461" y="1792006"/>
                </a:cubicBezTo>
                <a:cubicBezTo>
                  <a:pt x="1344313" y="1788518"/>
                  <a:pt x="1339164" y="1786193"/>
                  <a:pt x="1339164" y="1775730"/>
                </a:cubicBezTo>
                <a:cubicBezTo>
                  <a:pt x="1336077" y="1758292"/>
                  <a:pt x="1341224" y="1742017"/>
                  <a:pt x="1341224" y="1725742"/>
                </a:cubicBezTo>
                <a:cubicBezTo>
                  <a:pt x="1341224" y="1717603"/>
                  <a:pt x="1338136" y="1716441"/>
                  <a:pt x="1338136" y="1709466"/>
                </a:cubicBezTo>
                <a:cubicBezTo>
                  <a:pt x="1338136" y="1703653"/>
                  <a:pt x="1340194" y="1701328"/>
                  <a:pt x="1341224" y="1693191"/>
                </a:cubicBezTo>
                <a:cubicBezTo>
                  <a:pt x="1341224" y="1679240"/>
                  <a:pt x="1340194" y="1666452"/>
                  <a:pt x="1340194" y="1651340"/>
                </a:cubicBezTo>
                <a:cubicBezTo>
                  <a:pt x="1340194" y="1637389"/>
                  <a:pt x="1337106" y="1616463"/>
                  <a:pt x="1342254" y="1614138"/>
                </a:cubicBezTo>
                <a:close/>
                <a:moveTo>
                  <a:pt x="1358726" y="1599026"/>
                </a:moveTo>
                <a:cubicBezTo>
                  <a:pt x="1371080" y="1595537"/>
                  <a:pt x="1365933" y="1610651"/>
                  <a:pt x="1369021" y="1623439"/>
                </a:cubicBezTo>
                <a:cubicBezTo>
                  <a:pt x="1370050" y="1630414"/>
                  <a:pt x="1375198" y="1658315"/>
                  <a:pt x="1376227" y="1673427"/>
                </a:cubicBezTo>
                <a:cubicBezTo>
                  <a:pt x="1376227" y="1676915"/>
                  <a:pt x="1373139" y="1678078"/>
                  <a:pt x="1373139" y="1681565"/>
                </a:cubicBezTo>
                <a:cubicBezTo>
                  <a:pt x="1373139" y="1685053"/>
                  <a:pt x="1376227" y="1686215"/>
                  <a:pt x="1376227" y="1689703"/>
                </a:cubicBezTo>
                <a:cubicBezTo>
                  <a:pt x="1377257" y="1696678"/>
                  <a:pt x="1376227" y="1703653"/>
                  <a:pt x="1377257" y="1710629"/>
                </a:cubicBezTo>
                <a:cubicBezTo>
                  <a:pt x="1379317" y="1732716"/>
                  <a:pt x="1382406" y="1747829"/>
                  <a:pt x="1382406" y="1773405"/>
                </a:cubicBezTo>
                <a:cubicBezTo>
                  <a:pt x="1382406" y="1772243"/>
                  <a:pt x="1377257" y="1775730"/>
                  <a:pt x="1379317" y="1778056"/>
                </a:cubicBezTo>
                <a:cubicBezTo>
                  <a:pt x="1390641" y="1789680"/>
                  <a:pt x="1383433" y="1878034"/>
                  <a:pt x="1385493" y="1907096"/>
                </a:cubicBezTo>
                <a:cubicBezTo>
                  <a:pt x="1386523" y="1918721"/>
                  <a:pt x="1387552" y="1915233"/>
                  <a:pt x="1386523" y="1928022"/>
                </a:cubicBezTo>
                <a:cubicBezTo>
                  <a:pt x="1384463" y="1944298"/>
                  <a:pt x="1389612" y="1972198"/>
                  <a:pt x="1391670" y="1990798"/>
                </a:cubicBezTo>
                <a:cubicBezTo>
                  <a:pt x="1393730" y="2016373"/>
                  <a:pt x="1391670" y="2044275"/>
                  <a:pt x="1393730" y="2069851"/>
                </a:cubicBezTo>
                <a:cubicBezTo>
                  <a:pt x="1384463" y="2068688"/>
                  <a:pt x="1394759" y="2089613"/>
                  <a:pt x="1383433" y="2082638"/>
                </a:cubicBezTo>
                <a:cubicBezTo>
                  <a:pt x="1379317" y="2041950"/>
                  <a:pt x="1379317" y="2001261"/>
                  <a:pt x="1377257" y="1961735"/>
                </a:cubicBezTo>
                <a:cubicBezTo>
                  <a:pt x="1376227" y="1947785"/>
                  <a:pt x="1373139" y="1937322"/>
                  <a:pt x="1373139" y="1924534"/>
                </a:cubicBezTo>
                <a:cubicBezTo>
                  <a:pt x="1373139" y="1914071"/>
                  <a:pt x="1375198" y="1902446"/>
                  <a:pt x="1375198" y="1890821"/>
                </a:cubicBezTo>
                <a:cubicBezTo>
                  <a:pt x="1375198" y="1860595"/>
                  <a:pt x="1370050" y="1824556"/>
                  <a:pt x="1373139" y="1790843"/>
                </a:cubicBezTo>
                <a:cubicBezTo>
                  <a:pt x="1373139" y="1789680"/>
                  <a:pt x="1372110" y="1782705"/>
                  <a:pt x="1373139" y="1782705"/>
                </a:cubicBezTo>
                <a:cubicBezTo>
                  <a:pt x="1377257" y="1778056"/>
                  <a:pt x="1371080" y="1771080"/>
                  <a:pt x="1369021" y="1757130"/>
                </a:cubicBezTo>
                <a:cubicBezTo>
                  <a:pt x="1367991" y="1745504"/>
                  <a:pt x="1369021" y="1732716"/>
                  <a:pt x="1367991" y="1719928"/>
                </a:cubicBezTo>
                <a:cubicBezTo>
                  <a:pt x="1366963" y="1697840"/>
                  <a:pt x="1364903" y="1667615"/>
                  <a:pt x="1362844" y="1636226"/>
                </a:cubicBezTo>
                <a:cubicBezTo>
                  <a:pt x="1361814" y="1623439"/>
                  <a:pt x="1355637" y="1611813"/>
                  <a:pt x="1358726" y="1599026"/>
                </a:cubicBezTo>
                <a:close/>
                <a:moveTo>
                  <a:pt x="1670669" y="1567638"/>
                </a:moveTo>
                <a:cubicBezTo>
                  <a:pt x="1669638" y="1573450"/>
                  <a:pt x="1664491" y="1578100"/>
                  <a:pt x="1670669" y="1580425"/>
                </a:cubicBezTo>
                <a:cubicBezTo>
                  <a:pt x="1672726" y="1586237"/>
                  <a:pt x="1667580" y="1602514"/>
                  <a:pt x="1674786" y="1601351"/>
                </a:cubicBezTo>
                <a:cubicBezTo>
                  <a:pt x="1673756" y="1588562"/>
                  <a:pt x="1683023" y="1571125"/>
                  <a:pt x="1670669" y="1567638"/>
                </a:cubicBezTo>
                <a:close/>
                <a:moveTo>
                  <a:pt x="1623311" y="1567638"/>
                </a:moveTo>
                <a:cubicBezTo>
                  <a:pt x="1624340" y="1583913"/>
                  <a:pt x="1622281" y="1603675"/>
                  <a:pt x="1633605" y="1604838"/>
                </a:cubicBezTo>
                <a:cubicBezTo>
                  <a:pt x="1634636" y="1587400"/>
                  <a:pt x="1632576" y="1571125"/>
                  <a:pt x="1623311" y="1567638"/>
                </a:cubicBezTo>
                <a:close/>
                <a:moveTo>
                  <a:pt x="1595514" y="1543224"/>
                </a:moveTo>
                <a:cubicBezTo>
                  <a:pt x="1602720" y="1539737"/>
                  <a:pt x="1594485" y="1558338"/>
                  <a:pt x="1598602" y="1564149"/>
                </a:cubicBezTo>
                <a:cubicBezTo>
                  <a:pt x="1598602" y="1564149"/>
                  <a:pt x="1601691" y="1564149"/>
                  <a:pt x="1601691" y="1564149"/>
                </a:cubicBezTo>
                <a:cubicBezTo>
                  <a:pt x="1602720" y="1573450"/>
                  <a:pt x="1605809" y="1590888"/>
                  <a:pt x="1596543" y="1589726"/>
                </a:cubicBezTo>
                <a:cubicBezTo>
                  <a:pt x="1599631" y="1569962"/>
                  <a:pt x="1590367" y="1553686"/>
                  <a:pt x="1595514" y="1543224"/>
                </a:cubicBezTo>
                <a:close/>
                <a:moveTo>
                  <a:pt x="1780825" y="1539737"/>
                </a:moveTo>
                <a:cubicBezTo>
                  <a:pt x="1778768" y="1550200"/>
                  <a:pt x="1772589" y="1579262"/>
                  <a:pt x="1788032" y="1576936"/>
                </a:cubicBezTo>
                <a:cubicBezTo>
                  <a:pt x="1785974" y="1562987"/>
                  <a:pt x="1791121" y="1540899"/>
                  <a:pt x="1780825" y="1539737"/>
                </a:cubicBezTo>
                <a:close/>
                <a:moveTo>
                  <a:pt x="1545068" y="1539737"/>
                </a:moveTo>
                <a:cubicBezTo>
                  <a:pt x="1546098" y="1553686"/>
                  <a:pt x="1544038" y="1562987"/>
                  <a:pt x="1532714" y="1560661"/>
                </a:cubicBezTo>
                <a:cubicBezTo>
                  <a:pt x="1530655" y="1546712"/>
                  <a:pt x="1532714" y="1536249"/>
                  <a:pt x="1545068" y="1539737"/>
                </a:cubicBezTo>
                <a:close/>
                <a:moveTo>
                  <a:pt x="1578012" y="1535086"/>
                </a:moveTo>
                <a:cubicBezTo>
                  <a:pt x="1583160" y="1543224"/>
                  <a:pt x="1585219" y="1561825"/>
                  <a:pt x="1586248" y="1576936"/>
                </a:cubicBezTo>
                <a:cubicBezTo>
                  <a:pt x="1588307" y="1593214"/>
                  <a:pt x="1590367" y="1609489"/>
                  <a:pt x="1587277" y="1623439"/>
                </a:cubicBezTo>
                <a:cubicBezTo>
                  <a:pt x="1600661" y="1625764"/>
                  <a:pt x="1589337" y="1595537"/>
                  <a:pt x="1602720" y="1597863"/>
                </a:cubicBezTo>
                <a:cubicBezTo>
                  <a:pt x="1609927" y="1626927"/>
                  <a:pt x="1600661" y="1655990"/>
                  <a:pt x="1604780" y="1681565"/>
                </a:cubicBezTo>
                <a:cubicBezTo>
                  <a:pt x="1606838" y="1693191"/>
                  <a:pt x="1614044" y="1693191"/>
                  <a:pt x="1611986" y="1710629"/>
                </a:cubicBezTo>
                <a:cubicBezTo>
                  <a:pt x="1611986" y="1714116"/>
                  <a:pt x="1608898" y="1715279"/>
                  <a:pt x="1608898" y="1718767"/>
                </a:cubicBezTo>
                <a:cubicBezTo>
                  <a:pt x="1608898" y="1728066"/>
                  <a:pt x="1613015" y="1736204"/>
                  <a:pt x="1613015" y="1744342"/>
                </a:cubicBezTo>
                <a:cubicBezTo>
                  <a:pt x="1613015" y="1760618"/>
                  <a:pt x="1609927" y="1778056"/>
                  <a:pt x="1607868" y="1794331"/>
                </a:cubicBezTo>
                <a:cubicBezTo>
                  <a:pt x="1615074" y="1814093"/>
                  <a:pt x="1624340" y="1850133"/>
                  <a:pt x="1609927" y="1865244"/>
                </a:cubicBezTo>
                <a:cubicBezTo>
                  <a:pt x="1600661" y="1867570"/>
                  <a:pt x="1602720" y="1860595"/>
                  <a:pt x="1600661" y="1852457"/>
                </a:cubicBezTo>
                <a:cubicBezTo>
                  <a:pt x="1600661" y="1852457"/>
                  <a:pt x="1595514" y="1851295"/>
                  <a:pt x="1597572" y="1847807"/>
                </a:cubicBezTo>
                <a:cubicBezTo>
                  <a:pt x="1605809" y="1838507"/>
                  <a:pt x="1595514" y="1829207"/>
                  <a:pt x="1593455" y="1818745"/>
                </a:cubicBezTo>
                <a:cubicBezTo>
                  <a:pt x="1592425" y="1809444"/>
                  <a:pt x="1593455" y="1798980"/>
                  <a:pt x="1592425" y="1789680"/>
                </a:cubicBezTo>
                <a:cubicBezTo>
                  <a:pt x="1591395" y="1781543"/>
                  <a:pt x="1586248" y="1772243"/>
                  <a:pt x="1588307" y="1755967"/>
                </a:cubicBezTo>
                <a:cubicBezTo>
                  <a:pt x="1588307" y="1752481"/>
                  <a:pt x="1591395" y="1751317"/>
                  <a:pt x="1591395" y="1747829"/>
                </a:cubicBezTo>
                <a:cubicBezTo>
                  <a:pt x="1591395" y="1742017"/>
                  <a:pt x="1586248" y="1737367"/>
                  <a:pt x="1585219" y="1731554"/>
                </a:cubicBezTo>
                <a:cubicBezTo>
                  <a:pt x="1582130" y="1712953"/>
                  <a:pt x="1589337" y="1675753"/>
                  <a:pt x="1583160" y="1652501"/>
                </a:cubicBezTo>
                <a:cubicBezTo>
                  <a:pt x="1583160" y="1651340"/>
                  <a:pt x="1580071" y="1646689"/>
                  <a:pt x="1580071" y="1647852"/>
                </a:cubicBezTo>
                <a:cubicBezTo>
                  <a:pt x="1580071" y="1639715"/>
                  <a:pt x="1583160" y="1635064"/>
                  <a:pt x="1583160" y="1626927"/>
                </a:cubicBezTo>
                <a:cubicBezTo>
                  <a:pt x="1582130" y="1606001"/>
                  <a:pt x="1575954" y="1567638"/>
                  <a:pt x="1578012" y="1535086"/>
                </a:cubicBezTo>
                <a:close/>
                <a:moveTo>
                  <a:pt x="1362844" y="1535086"/>
                </a:moveTo>
                <a:cubicBezTo>
                  <a:pt x="1366963" y="1542062"/>
                  <a:pt x="1374169" y="1545549"/>
                  <a:pt x="1373139" y="1559499"/>
                </a:cubicBezTo>
                <a:cubicBezTo>
                  <a:pt x="1370050" y="1559499"/>
                  <a:pt x="1366963" y="1559499"/>
                  <a:pt x="1363874" y="1560661"/>
                </a:cubicBezTo>
                <a:cubicBezTo>
                  <a:pt x="1363874" y="1552524"/>
                  <a:pt x="1363874" y="1544386"/>
                  <a:pt x="1362844" y="1535086"/>
                </a:cubicBezTo>
                <a:close/>
                <a:moveTo>
                  <a:pt x="1667580" y="1533924"/>
                </a:moveTo>
                <a:cubicBezTo>
                  <a:pt x="1667580" y="1537411"/>
                  <a:pt x="1667580" y="1539737"/>
                  <a:pt x="1664491" y="1538574"/>
                </a:cubicBezTo>
                <a:cubicBezTo>
                  <a:pt x="1664491" y="1540899"/>
                  <a:pt x="1664491" y="1544386"/>
                  <a:pt x="1664491" y="1546712"/>
                </a:cubicBezTo>
                <a:cubicBezTo>
                  <a:pt x="1672726" y="1552524"/>
                  <a:pt x="1673756" y="1532762"/>
                  <a:pt x="1667580" y="1533924"/>
                </a:cubicBezTo>
                <a:close/>
                <a:moveTo>
                  <a:pt x="1344313" y="1522298"/>
                </a:moveTo>
                <a:cubicBezTo>
                  <a:pt x="1354607" y="1518810"/>
                  <a:pt x="1355637" y="1536249"/>
                  <a:pt x="1351520" y="1543224"/>
                </a:cubicBezTo>
                <a:cubicBezTo>
                  <a:pt x="1344313" y="1543224"/>
                  <a:pt x="1344313" y="1532762"/>
                  <a:pt x="1344313" y="1522298"/>
                </a:cubicBezTo>
                <a:close/>
                <a:moveTo>
                  <a:pt x="1661402" y="1479285"/>
                </a:moveTo>
                <a:cubicBezTo>
                  <a:pt x="1663461" y="1487422"/>
                  <a:pt x="1657286" y="1507186"/>
                  <a:pt x="1668610" y="1503698"/>
                </a:cubicBezTo>
                <a:cubicBezTo>
                  <a:pt x="1668610" y="1492074"/>
                  <a:pt x="1669638" y="1479285"/>
                  <a:pt x="1661402" y="1479285"/>
                </a:cubicBezTo>
                <a:close/>
                <a:moveTo>
                  <a:pt x="1777994" y="1473473"/>
                </a:moveTo>
                <a:cubicBezTo>
                  <a:pt x="1777480" y="1471147"/>
                  <a:pt x="1776708" y="1470567"/>
                  <a:pt x="1775679" y="1474635"/>
                </a:cubicBezTo>
                <a:cubicBezTo>
                  <a:pt x="1777736" y="1489748"/>
                  <a:pt x="1766412" y="1507186"/>
                  <a:pt x="1779796" y="1511836"/>
                </a:cubicBezTo>
                <a:cubicBezTo>
                  <a:pt x="1783914" y="1506023"/>
                  <a:pt x="1783914" y="1488585"/>
                  <a:pt x="1778768" y="1482773"/>
                </a:cubicBezTo>
                <a:cubicBezTo>
                  <a:pt x="1778768" y="1479866"/>
                  <a:pt x="1778510" y="1475797"/>
                  <a:pt x="1777994" y="1473473"/>
                </a:cubicBezTo>
                <a:close/>
                <a:moveTo>
                  <a:pt x="1339164" y="1472310"/>
                </a:moveTo>
                <a:cubicBezTo>
                  <a:pt x="1346372" y="1479285"/>
                  <a:pt x="1346372" y="1496723"/>
                  <a:pt x="1346372" y="1514161"/>
                </a:cubicBezTo>
                <a:cubicBezTo>
                  <a:pt x="1342254" y="1524624"/>
                  <a:pt x="1344313" y="1504861"/>
                  <a:pt x="1343283" y="1497885"/>
                </a:cubicBezTo>
                <a:cubicBezTo>
                  <a:pt x="1342254" y="1489748"/>
                  <a:pt x="1338136" y="1478122"/>
                  <a:pt x="1339164" y="1472310"/>
                </a:cubicBezTo>
                <a:close/>
                <a:moveTo>
                  <a:pt x="1639783" y="1453709"/>
                </a:moveTo>
                <a:cubicBezTo>
                  <a:pt x="1644930" y="1468822"/>
                  <a:pt x="1628457" y="1486260"/>
                  <a:pt x="1643900" y="1487422"/>
                </a:cubicBezTo>
                <a:cubicBezTo>
                  <a:pt x="1652137" y="1482773"/>
                  <a:pt x="1642870" y="1469985"/>
                  <a:pt x="1642870" y="1461847"/>
                </a:cubicBezTo>
                <a:cubicBezTo>
                  <a:pt x="1641843" y="1458360"/>
                  <a:pt x="1642870" y="1453709"/>
                  <a:pt x="1639783" y="1453709"/>
                </a:cubicBezTo>
                <a:close/>
                <a:moveTo>
                  <a:pt x="1657286" y="1419996"/>
                </a:moveTo>
                <a:cubicBezTo>
                  <a:pt x="1658313" y="1435108"/>
                  <a:pt x="1656254" y="1453709"/>
                  <a:pt x="1664491" y="1457197"/>
                </a:cubicBezTo>
                <a:cubicBezTo>
                  <a:pt x="1662432" y="1443246"/>
                  <a:pt x="1667580" y="1421158"/>
                  <a:pt x="1657286" y="1419996"/>
                </a:cubicBezTo>
                <a:close/>
                <a:moveTo>
                  <a:pt x="1535801" y="1417671"/>
                </a:moveTo>
                <a:cubicBezTo>
                  <a:pt x="1546098" y="1421158"/>
                  <a:pt x="1539920" y="1446734"/>
                  <a:pt x="1549187" y="1451383"/>
                </a:cubicBezTo>
                <a:cubicBezTo>
                  <a:pt x="1551244" y="1464172"/>
                  <a:pt x="1544038" y="1466497"/>
                  <a:pt x="1547127" y="1480448"/>
                </a:cubicBezTo>
                <a:cubicBezTo>
                  <a:pt x="1537861" y="1467659"/>
                  <a:pt x="1536831" y="1443246"/>
                  <a:pt x="1535801" y="1417671"/>
                </a:cubicBezTo>
                <a:close/>
                <a:moveTo>
                  <a:pt x="1770531" y="1416509"/>
                </a:moveTo>
                <a:cubicBezTo>
                  <a:pt x="1760236" y="1415346"/>
                  <a:pt x="1758176" y="1440921"/>
                  <a:pt x="1771561" y="1437434"/>
                </a:cubicBezTo>
                <a:cubicBezTo>
                  <a:pt x="1771561" y="1430459"/>
                  <a:pt x="1771561" y="1423484"/>
                  <a:pt x="1770531" y="1416509"/>
                </a:cubicBezTo>
                <a:close/>
                <a:moveTo>
                  <a:pt x="1347401" y="1409532"/>
                </a:moveTo>
                <a:cubicBezTo>
                  <a:pt x="1356667" y="1410696"/>
                  <a:pt x="1353579" y="1425808"/>
                  <a:pt x="1354607" y="1438596"/>
                </a:cubicBezTo>
                <a:cubicBezTo>
                  <a:pt x="1354607" y="1439759"/>
                  <a:pt x="1360785" y="1451383"/>
                  <a:pt x="1358726" y="1464172"/>
                </a:cubicBezTo>
                <a:cubicBezTo>
                  <a:pt x="1347401" y="1456034"/>
                  <a:pt x="1352548" y="1425808"/>
                  <a:pt x="1347401" y="1409532"/>
                </a:cubicBezTo>
                <a:close/>
                <a:moveTo>
                  <a:pt x="1373139" y="1404883"/>
                </a:moveTo>
                <a:cubicBezTo>
                  <a:pt x="1383433" y="1407209"/>
                  <a:pt x="1380346" y="1421158"/>
                  <a:pt x="1383433" y="1438596"/>
                </a:cubicBezTo>
                <a:cubicBezTo>
                  <a:pt x="1384463" y="1442085"/>
                  <a:pt x="1386523" y="1443246"/>
                  <a:pt x="1386523" y="1446734"/>
                </a:cubicBezTo>
                <a:cubicBezTo>
                  <a:pt x="1389612" y="1463009"/>
                  <a:pt x="1388581" y="1485097"/>
                  <a:pt x="1390641" y="1501372"/>
                </a:cubicBezTo>
                <a:cubicBezTo>
                  <a:pt x="1392700" y="1514161"/>
                  <a:pt x="1398876" y="1525786"/>
                  <a:pt x="1400936" y="1538574"/>
                </a:cubicBezTo>
                <a:cubicBezTo>
                  <a:pt x="1404024" y="1560661"/>
                  <a:pt x="1401965" y="1583913"/>
                  <a:pt x="1406083" y="1606001"/>
                </a:cubicBezTo>
                <a:cubicBezTo>
                  <a:pt x="1407113" y="1611813"/>
                  <a:pt x="1412260" y="1621114"/>
                  <a:pt x="1413289" y="1626927"/>
                </a:cubicBezTo>
                <a:cubicBezTo>
                  <a:pt x="1414319" y="1633902"/>
                  <a:pt x="1410202" y="1672265"/>
                  <a:pt x="1414319" y="1676915"/>
                </a:cubicBezTo>
                <a:cubicBezTo>
                  <a:pt x="1418438" y="1681565"/>
                  <a:pt x="1413289" y="1695515"/>
                  <a:pt x="1415349" y="1714116"/>
                </a:cubicBezTo>
                <a:cubicBezTo>
                  <a:pt x="1404024" y="1703653"/>
                  <a:pt x="1410202" y="1682728"/>
                  <a:pt x="1408143" y="1668778"/>
                </a:cubicBezTo>
                <a:cubicBezTo>
                  <a:pt x="1407113" y="1662965"/>
                  <a:pt x="1406083" y="1655990"/>
                  <a:pt x="1404024" y="1647852"/>
                </a:cubicBezTo>
                <a:cubicBezTo>
                  <a:pt x="1401965" y="1635064"/>
                  <a:pt x="1401965" y="1622276"/>
                  <a:pt x="1399906" y="1601351"/>
                </a:cubicBezTo>
                <a:cubicBezTo>
                  <a:pt x="1398876" y="1594375"/>
                  <a:pt x="1393730" y="1586237"/>
                  <a:pt x="1392700" y="1580425"/>
                </a:cubicBezTo>
                <a:cubicBezTo>
                  <a:pt x="1390641" y="1571125"/>
                  <a:pt x="1392700" y="1561825"/>
                  <a:pt x="1391670" y="1551362"/>
                </a:cubicBezTo>
                <a:cubicBezTo>
                  <a:pt x="1389612" y="1532762"/>
                  <a:pt x="1380346" y="1519973"/>
                  <a:pt x="1387552" y="1496723"/>
                </a:cubicBezTo>
                <a:cubicBezTo>
                  <a:pt x="1388581" y="1483935"/>
                  <a:pt x="1379317" y="1486260"/>
                  <a:pt x="1377257" y="1475796"/>
                </a:cubicBezTo>
                <a:cubicBezTo>
                  <a:pt x="1379317" y="1453709"/>
                  <a:pt x="1373139" y="1442085"/>
                  <a:pt x="1370050" y="1425808"/>
                </a:cubicBezTo>
                <a:cubicBezTo>
                  <a:pt x="1377257" y="1425808"/>
                  <a:pt x="1371080" y="1410696"/>
                  <a:pt x="1373139" y="1404883"/>
                </a:cubicBezTo>
                <a:close/>
                <a:moveTo>
                  <a:pt x="1653167" y="1378144"/>
                </a:moveTo>
                <a:cubicBezTo>
                  <a:pt x="1653167" y="1388608"/>
                  <a:pt x="1655226" y="1395583"/>
                  <a:pt x="1660373" y="1399071"/>
                </a:cubicBezTo>
                <a:cubicBezTo>
                  <a:pt x="1658313" y="1390933"/>
                  <a:pt x="1663461" y="1373495"/>
                  <a:pt x="1653167" y="1378144"/>
                </a:cubicBezTo>
                <a:close/>
                <a:moveTo>
                  <a:pt x="1696406" y="1365357"/>
                </a:moveTo>
                <a:cubicBezTo>
                  <a:pt x="1683023" y="1366520"/>
                  <a:pt x="1693318" y="1386282"/>
                  <a:pt x="1694347" y="1399071"/>
                </a:cubicBezTo>
                <a:cubicBezTo>
                  <a:pt x="1695376" y="1417671"/>
                  <a:pt x="1699495" y="1438596"/>
                  <a:pt x="1695376" y="1449060"/>
                </a:cubicBezTo>
                <a:cubicBezTo>
                  <a:pt x="1705671" y="1450222"/>
                  <a:pt x="1700524" y="1430459"/>
                  <a:pt x="1700524" y="1419996"/>
                </a:cubicBezTo>
                <a:cubicBezTo>
                  <a:pt x="1700524" y="1406046"/>
                  <a:pt x="1699495" y="1388608"/>
                  <a:pt x="1699495" y="1378144"/>
                </a:cubicBezTo>
                <a:cubicBezTo>
                  <a:pt x="1695376" y="1376982"/>
                  <a:pt x="1696406" y="1371169"/>
                  <a:pt x="1696406" y="1365357"/>
                </a:cubicBezTo>
                <a:close/>
                <a:moveTo>
                  <a:pt x="1564629" y="1325831"/>
                </a:moveTo>
                <a:cubicBezTo>
                  <a:pt x="1578012" y="1325831"/>
                  <a:pt x="1567717" y="1344431"/>
                  <a:pt x="1568746" y="1354894"/>
                </a:cubicBezTo>
                <a:cubicBezTo>
                  <a:pt x="1569776" y="1368844"/>
                  <a:pt x="1571835" y="1383957"/>
                  <a:pt x="1572864" y="1396745"/>
                </a:cubicBezTo>
                <a:cubicBezTo>
                  <a:pt x="1563599" y="1383957"/>
                  <a:pt x="1565657" y="1353731"/>
                  <a:pt x="1561539" y="1333968"/>
                </a:cubicBezTo>
                <a:cubicBezTo>
                  <a:pt x="1560511" y="1329319"/>
                  <a:pt x="1561539" y="1326993"/>
                  <a:pt x="1564629" y="1325831"/>
                </a:cubicBezTo>
                <a:close/>
                <a:moveTo>
                  <a:pt x="1633605" y="1300254"/>
                </a:moveTo>
                <a:cubicBezTo>
                  <a:pt x="1622281" y="1300254"/>
                  <a:pt x="1626400" y="1320018"/>
                  <a:pt x="1627428" y="1332806"/>
                </a:cubicBezTo>
                <a:cubicBezTo>
                  <a:pt x="1628457" y="1340945"/>
                  <a:pt x="1634636" y="1351406"/>
                  <a:pt x="1631547" y="1358382"/>
                </a:cubicBezTo>
                <a:cubicBezTo>
                  <a:pt x="1653167" y="1351406"/>
                  <a:pt x="1626400" y="1326993"/>
                  <a:pt x="1633605" y="1300254"/>
                </a:cubicBezTo>
                <a:close/>
                <a:moveTo>
                  <a:pt x="1580071" y="1300254"/>
                </a:moveTo>
                <a:cubicBezTo>
                  <a:pt x="1582130" y="1301418"/>
                  <a:pt x="1583160" y="1304906"/>
                  <a:pt x="1586248" y="1304906"/>
                </a:cubicBezTo>
                <a:cubicBezTo>
                  <a:pt x="1586248" y="1307231"/>
                  <a:pt x="1586248" y="1310718"/>
                  <a:pt x="1586248" y="1313044"/>
                </a:cubicBezTo>
                <a:cubicBezTo>
                  <a:pt x="1580071" y="1315368"/>
                  <a:pt x="1580071" y="1307231"/>
                  <a:pt x="1580071" y="1300254"/>
                </a:cubicBezTo>
                <a:close/>
                <a:moveTo>
                  <a:pt x="1448293" y="1299093"/>
                </a:moveTo>
                <a:cubicBezTo>
                  <a:pt x="1456530" y="1302580"/>
                  <a:pt x="1447263" y="1330481"/>
                  <a:pt x="1458588" y="1328156"/>
                </a:cubicBezTo>
                <a:cubicBezTo>
                  <a:pt x="1458588" y="1337456"/>
                  <a:pt x="1455500" y="1340945"/>
                  <a:pt x="1449323" y="1340945"/>
                </a:cubicBezTo>
                <a:cubicBezTo>
                  <a:pt x="1452412" y="1322343"/>
                  <a:pt x="1441088" y="1310718"/>
                  <a:pt x="1448293" y="1299093"/>
                </a:cubicBezTo>
                <a:close/>
                <a:moveTo>
                  <a:pt x="1516242" y="1270029"/>
                </a:moveTo>
                <a:cubicBezTo>
                  <a:pt x="1529625" y="1266542"/>
                  <a:pt x="1525506" y="1292117"/>
                  <a:pt x="1526537" y="1306068"/>
                </a:cubicBezTo>
                <a:cubicBezTo>
                  <a:pt x="1526537" y="1313044"/>
                  <a:pt x="1529625" y="1313044"/>
                  <a:pt x="1529625" y="1318855"/>
                </a:cubicBezTo>
                <a:cubicBezTo>
                  <a:pt x="1532714" y="1340945"/>
                  <a:pt x="1531684" y="1363031"/>
                  <a:pt x="1534772" y="1381632"/>
                </a:cubicBezTo>
                <a:cubicBezTo>
                  <a:pt x="1527566" y="1379308"/>
                  <a:pt x="1526537" y="1365357"/>
                  <a:pt x="1524477" y="1357220"/>
                </a:cubicBezTo>
                <a:cubicBezTo>
                  <a:pt x="1520359" y="1330481"/>
                  <a:pt x="1521388" y="1295605"/>
                  <a:pt x="1516242" y="1270029"/>
                </a:cubicBezTo>
                <a:close/>
                <a:moveTo>
                  <a:pt x="1642870" y="1252591"/>
                </a:moveTo>
                <a:cubicBezTo>
                  <a:pt x="1644930" y="1273517"/>
                  <a:pt x="1643900" y="1296767"/>
                  <a:pt x="1654196" y="1302580"/>
                </a:cubicBezTo>
                <a:cubicBezTo>
                  <a:pt x="1655226" y="1289793"/>
                  <a:pt x="1666550" y="1288630"/>
                  <a:pt x="1665520" y="1273517"/>
                </a:cubicBezTo>
                <a:cubicBezTo>
                  <a:pt x="1657286" y="1267704"/>
                  <a:pt x="1651107" y="1259567"/>
                  <a:pt x="1642870" y="1252591"/>
                </a:cubicBezTo>
                <a:close/>
                <a:moveTo>
                  <a:pt x="1686111" y="1247942"/>
                </a:moveTo>
                <a:cubicBezTo>
                  <a:pt x="1676845" y="1264217"/>
                  <a:pt x="1684052" y="1295605"/>
                  <a:pt x="1686111" y="1306068"/>
                </a:cubicBezTo>
                <a:cubicBezTo>
                  <a:pt x="1687140" y="1311880"/>
                  <a:pt x="1683023" y="1325831"/>
                  <a:pt x="1690229" y="1326993"/>
                </a:cubicBezTo>
                <a:cubicBezTo>
                  <a:pt x="1687140" y="1315368"/>
                  <a:pt x="1694347" y="1316529"/>
                  <a:pt x="1693318" y="1306068"/>
                </a:cubicBezTo>
                <a:cubicBezTo>
                  <a:pt x="1693318" y="1301418"/>
                  <a:pt x="1691258" y="1300254"/>
                  <a:pt x="1690229" y="1297931"/>
                </a:cubicBezTo>
                <a:cubicBezTo>
                  <a:pt x="1683023" y="1289793"/>
                  <a:pt x="1696406" y="1251429"/>
                  <a:pt x="1686111" y="1247942"/>
                </a:cubicBezTo>
                <a:close/>
                <a:moveTo>
                  <a:pt x="1617133" y="1215391"/>
                </a:moveTo>
                <a:cubicBezTo>
                  <a:pt x="1617133" y="1240965"/>
                  <a:pt x="1624340" y="1252591"/>
                  <a:pt x="1622281" y="1278167"/>
                </a:cubicBezTo>
                <a:cubicBezTo>
                  <a:pt x="1627428" y="1278167"/>
                  <a:pt x="1624340" y="1289793"/>
                  <a:pt x="1628457" y="1290956"/>
                </a:cubicBezTo>
                <a:cubicBezTo>
                  <a:pt x="1632576" y="1278167"/>
                  <a:pt x="1629487" y="1267704"/>
                  <a:pt x="1624340" y="1257241"/>
                </a:cubicBezTo>
                <a:cubicBezTo>
                  <a:pt x="1624340" y="1239804"/>
                  <a:pt x="1624340" y="1223529"/>
                  <a:pt x="1617133" y="1215391"/>
                </a:cubicBezTo>
                <a:close/>
                <a:moveTo>
                  <a:pt x="1312188" y="1208278"/>
                </a:moveTo>
                <a:lnTo>
                  <a:pt x="1312398" y="1209577"/>
                </a:lnTo>
                <a:cubicBezTo>
                  <a:pt x="1313427" y="1221203"/>
                  <a:pt x="1314457" y="1229341"/>
                  <a:pt x="1316516" y="1246779"/>
                </a:cubicBezTo>
                <a:cubicBezTo>
                  <a:pt x="1318575" y="1259567"/>
                  <a:pt x="1319605" y="1293280"/>
                  <a:pt x="1324751" y="1313044"/>
                </a:cubicBezTo>
                <a:cubicBezTo>
                  <a:pt x="1325781" y="1318855"/>
                  <a:pt x="1330930" y="1326993"/>
                  <a:pt x="1331958" y="1333968"/>
                </a:cubicBezTo>
                <a:cubicBezTo>
                  <a:pt x="1337106" y="1368844"/>
                  <a:pt x="1334018" y="1404883"/>
                  <a:pt x="1344313" y="1433947"/>
                </a:cubicBezTo>
                <a:cubicBezTo>
                  <a:pt x="1345342" y="1440921"/>
                  <a:pt x="1340194" y="1443246"/>
                  <a:pt x="1341224" y="1450222"/>
                </a:cubicBezTo>
                <a:cubicBezTo>
                  <a:pt x="1328870" y="1440921"/>
                  <a:pt x="1336077" y="1421158"/>
                  <a:pt x="1334018" y="1408370"/>
                </a:cubicBezTo>
                <a:cubicBezTo>
                  <a:pt x="1330930" y="1402558"/>
                  <a:pt x="1326811" y="1397908"/>
                  <a:pt x="1324751" y="1389770"/>
                </a:cubicBezTo>
                <a:cubicBezTo>
                  <a:pt x="1323723" y="1385119"/>
                  <a:pt x="1324751" y="1378144"/>
                  <a:pt x="1324751" y="1373495"/>
                </a:cubicBezTo>
                <a:cubicBezTo>
                  <a:pt x="1323723" y="1367682"/>
                  <a:pt x="1321663" y="1366520"/>
                  <a:pt x="1321663" y="1360707"/>
                </a:cubicBezTo>
                <a:cubicBezTo>
                  <a:pt x="1319605" y="1340945"/>
                  <a:pt x="1321663" y="1321181"/>
                  <a:pt x="1317546" y="1302580"/>
                </a:cubicBezTo>
                <a:cubicBezTo>
                  <a:pt x="1317546" y="1301418"/>
                  <a:pt x="1318575" y="1295605"/>
                  <a:pt x="1317546" y="1294443"/>
                </a:cubicBezTo>
                <a:cubicBezTo>
                  <a:pt x="1314457" y="1292117"/>
                  <a:pt x="1312398" y="1292117"/>
                  <a:pt x="1311368" y="1286305"/>
                </a:cubicBezTo>
                <a:lnTo>
                  <a:pt x="1310551" y="1277077"/>
                </a:lnTo>
                <a:lnTo>
                  <a:pt x="1311368" y="1271190"/>
                </a:lnTo>
                <a:close/>
                <a:moveTo>
                  <a:pt x="1783914" y="1203766"/>
                </a:moveTo>
                <a:cubicBezTo>
                  <a:pt x="1783914" y="1208415"/>
                  <a:pt x="1783914" y="1211904"/>
                  <a:pt x="1783914" y="1216553"/>
                </a:cubicBezTo>
                <a:cubicBezTo>
                  <a:pt x="1785974" y="1216553"/>
                  <a:pt x="1788032" y="1216553"/>
                  <a:pt x="1790092" y="1216553"/>
                </a:cubicBezTo>
                <a:cubicBezTo>
                  <a:pt x="1790092" y="1211904"/>
                  <a:pt x="1790092" y="1208415"/>
                  <a:pt x="1790092" y="1203766"/>
                </a:cubicBezTo>
                <a:cubicBezTo>
                  <a:pt x="1788032" y="1203766"/>
                  <a:pt x="1785974" y="1203766"/>
                  <a:pt x="1783914" y="1203766"/>
                </a:cubicBezTo>
                <a:close/>
                <a:moveTo>
                  <a:pt x="1679933" y="1197953"/>
                </a:moveTo>
                <a:cubicBezTo>
                  <a:pt x="1679933" y="1210740"/>
                  <a:pt x="1680963" y="1223529"/>
                  <a:pt x="1680963" y="1235154"/>
                </a:cubicBezTo>
                <a:cubicBezTo>
                  <a:pt x="1693318" y="1235154"/>
                  <a:pt x="1686111" y="1199114"/>
                  <a:pt x="1679933" y="1197953"/>
                </a:cubicBezTo>
                <a:close/>
                <a:moveTo>
                  <a:pt x="1619949" y="1190741"/>
                </a:moveTo>
                <a:cubicBezTo>
                  <a:pt x="1617777" y="1190033"/>
                  <a:pt x="1614302" y="1208125"/>
                  <a:pt x="1621252" y="1207253"/>
                </a:cubicBezTo>
                <a:cubicBezTo>
                  <a:pt x="1621252" y="1204928"/>
                  <a:pt x="1621252" y="1201440"/>
                  <a:pt x="1621252" y="1199114"/>
                </a:cubicBezTo>
                <a:cubicBezTo>
                  <a:pt x="1621252" y="1193302"/>
                  <a:pt x="1620673" y="1190976"/>
                  <a:pt x="1619949" y="1190741"/>
                </a:cubicBezTo>
                <a:close/>
                <a:moveTo>
                  <a:pt x="1615975" y="1169816"/>
                </a:moveTo>
                <a:cubicBezTo>
                  <a:pt x="1614044" y="1169108"/>
                  <a:pt x="1610957" y="1187200"/>
                  <a:pt x="1617133" y="1186327"/>
                </a:cubicBezTo>
                <a:cubicBezTo>
                  <a:pt x="1617133" y="1184001"/>
                  <a:pt x="1617133" y="1180515"/>
                  <a:pt x="1617133" y="1178190"/>
                </a:cubicBezTo>
                <a:cubicBezTo>
                  <a:pt x="1617133" y="1172377"/>
                  <a:pt x="1616619" y="1170052"/>
                  <a:pt x="1615975" y="1169816"/>
                </a:cubicBezTo>
                <a:close/>
                <a:moveTo>
                  <a:pt x="1302501" y="1166207"/>
                </a:moveTo>
                <a:lnTo>
                  <a:pt x="1305192" y="1167726"/>
                </a:lnTo>
                <a:cubicBezTo>
                  <a:pt x="1308280" y="1172377"/>
                  <a:pt x="1307250" y="1177027"/>
                  <a:pt x="1308280" y="1184001"/>
                </a:cubicBezTo>
                <a:lnTo>
                  <a:pt x="1308601" y="1185995"/>
                </a:lnTo>
                <a:lnTo>
                  <a:pt x="1307638" y="1184436"/>
                </a:lnTo>
                <a:cubicBezTo>
                  <a:pt x="1305193" y="1181094"/>
                  <a:pt x="1302618" y="1177606"/>
                  <a:pt x="1302103" y="1175862"/>
                </a:cubicBezTo>
                <a:close/>
                <a:moveTo>
                  <a:pt x="1385493" y="1157264"/>
                </a:moveTo>
                <a:cubicBezTo>
                  <a:pt x="1388068" y="1157264"/>
                  <a:pt x="1390125" y="1159007"/>
                  <a:pt x="1391686" y="1161769"/>
                </a:cubicBezTo>
                <a:lnTo>
                  <a:pt x="1392160" y="1163336"/>
                </a:lnTo>
                <a:lnTo>
                  <a:pt x="1394292" y="1178386"/>
                </a:lnTo>
                <a:lnTo>
                  <a:pt x="1392700" y="1194465"/>
                </a:lnTo>
                <a:cubicBezTo>
                  <a:pt x="1385493" y="1188653"/>
                  <a:pt x="1384463" y="1173539"/>
                  <a:pt x="1385493" y="1157264"/>
                </a:cubicBezTo>
                <a:close/>
                <a:moveTo>
                  <a:pt x="1672726" y="1151451"/>
                </a:moveTo>
                <a:cubicBezTo>
                  <a:pt x="1665520" y="1161914"/>
                  <a:pt x="1681993" y="1178190"/>
                  <a:pt x="1676845" y="1185165"/>
                </a:cubicBezTo>
                <a:cubicBezTo>
                  <a:pt x="1676845" y="1189815"/>
                  <a:pt x="1680963" y="1188653"/>
                  <a:pt x="1679933" y="1180515"/>
                </a:cubicBezTo>
                <a:cubicBezTo>
                  <a:pt x="1677875" y="1174701"/>
                  <a:pt x="1674786" y="1149126"/>
                  <a:pt x="1672726" y="1151451"/>
                </a:cubicBezTo>
                <a:close/>
                <a:moveTo>
                  <a:pt x="1545068" y="1137502"/>
                </a:moveTo>
                <a:cubicBezTo>
                  <a:pt x="1555362" y="1136338"/>
                  <a:pt x="1549187" y="1154939"/>
                  <a:pt x="1551244" y="1163077"/>
                </a:cubicBezTo>
                <a:cubicBezTo>
                  <a:pt x="1553304" y="1172377"/>
                  <a:pt x="1560511" y="1179352"/>
                  <a:pt x="1558451" y="1187490"/>
                </a:cubicBezTo>
                <a:cubicBezTo>
                  <a:pt x="1545068" y="1185165"/>
                  <a:pt x="1548156" y="1157264"/>
                  <a:pt x="1545068" y="1137502"/>
                </a:cubicBezTo>
                <a:close/>
                <a:moveTo>
                  <a:pt x="1512123" y="1114251"/>
                </a:moveTo>
                <a:cubicBezTo>
                  <a:pt x="1517271" y="1116575"/>
                  <a:pt x="1519329" y="1125875"/>
                  <a:pt x="1519329" y="1138664"/>
                </a:cubicBezTo>
                <a:cubicBezTo>
                  <a:pt x="1505945" y="1136338"/>
                  <a:pt x="1513153" y="1127038"/>
                  <a:pt x="1512123" y="1114251"/>
                </a:cubicBezTo>
                <a:close/>
                <a:moveTo>
                  <a:pt x="1671424" y="1110817"/>
                </a:moveTo>
                <a:cubicBezTo>
                  <a:pt x="1669252" y="1109455"/>
                  <a:pt x="1665778" y="1133431"/>
                  <a:pt x="1672726" y="1135176"/>
                </a:cubicBezTo>
                <a:cubicBezTo>
                  <a:pt x="1672726" y="1130527"/>
                  <a:pt x="1672726" y="1127038"/>
                  <a:pt x="1672726" y="1122389"/>
                </a:cubicBezTo>
                <a:cubicBezTo>
                  <a:pt x="1672726" y="1114541"/>
                  <a:pt x="1672148" y="1111272"/>
                  <a:pt x="1671424" y="1110817"/>
                </a:cubicBezTo>
                <a:close/>
                <a:moveTo>
                  <a:pt x="1589690" y="1109000"/>
                </a:moveTo>
                <a:cubicBezTo>
                  <a:pt x="1589079" y="1109237"/>
                  <a:pt x="1588307" y="1111053"/>
                  <a:pt x="1587277" y="1115413"/>
                </a:cubicBezTo>
                <a:cubicBezTo>
                  <a:pt x="1596543" y="1122389"/>
                  <a:pt x="1583160" y="1161914"/>
                  <a:pt x="1600661" y="1157264"/>
                </a:cubicBezTo>
                <a:cubicBezTo>
                  <a:pt x="1596543" y="1152613"/>
                  <a:pt x="1599631" y="1134013"/>
                  <a:pt x="1596543" y="1123550"/>
                </a:cubicBezTo>
                <a:cubicBezTo>
                  <a:pt x="1596543" y="1123550"/>
                  <a:pt x="1593455" y="1123550"/>
                  <a:pt x="1593455" y="1123550"/>
                </a:cubicBezTo>
                <a:cubicBezTo>
                  <a:pt x="1591910" y="1121807"/>
                  <a:pt x="1591524" y="1108291"/>
                  <a:pt x="1589690" y="1109000"/>
                </a:cubicBezTo>
                <a:close/>
                <a:moveTo>
                  <a:pt x="1767442" y="1095650"/>
                </a:moveTo>
                <a:cubicBezTo>
                  <a:pt x="1767442" y="1106111"/>
                  <a:pt x="1769501" y="1113088"/>
                  <a:pt x="1777736" y="1111925"/>
                </a:cubicBezTo>
                <a:cubicBezTo>
                  <a:pt x="1776708" y="1103788"/>
                  <a:pt x="1775679" y="1094487"/>
                  <a:pt x="1767442" y="1095650"/>
                </a:cubicBezTo>
                <a:close/>
                <a:moveTo>
                  <a:pt x="1599631" y="1064263"/>
                </a:moveTo>
                <a:cubicBezTo>
                  <a:pt x="1596543" y="1078212"/>
                  <a:pt x="1603750" y="1093324"/>
                  <a:pt x="1603750" y="1097974"/>
                </a:cubicBezTo>
                <a:cubicBezTo>
                  <a:pt x="1605809" y="1104950"/>
                  <a:pt x="1601691" y="1106111"/>
                  <a:pt x="1602720" y="1115413"/>
                </a:cubicBezTo>
                <a:cubicBezTo>
                  <a:pt x="1603750" y="1121226"/>
                  <a:pt x="1608898" y="1131689"/>
                  <a:pt x="1608898" y="1131689"/>
                </a:cubicBezTo>
                <a:cubicBezTo>
                  <a:pt x="1611986" y="1134013"/>
                  <a:pt x="1606838" y="1150289"/>
                  <a:pt x="1611986" y="1147964"/>
                </a:cubicBezTo>
                <a:cubicBezTo>
                  <a:pt x="1609927" y="1125875"/>
                  <a:pt x="1609927" y="1103788"/>
                  <a:pt x="1606838" y="1085187"/>
                </a:cubicBezTo>
                <a:cubicBezTo>
                  <a:pt x="1605809" y="1079375"/>
                  <a:pt x="1603750" y="1067749"/>
                  <a:pt x="1599631" y="1064263"/>
                </a:cubicBezTo>
                <a:close/>
                <a:moveTo>
                  <a:pt x="1300397" y="1062210"/>
                </a:moveTo>
                <a:lnTo>
                  <a:pt x="1302103" y="1088675"/>
                </a:lnTo>
                <a:cubicBezTo>
                  <a:pt x="1305192" y="1096813"/>
                  <a:pt x="1310339" y="1102625"/>
                  <a:pt x="1315487" y="1109600"/>
                </a:cubicBezTo>
                <a:cubicBezTo>
                  <a:pt x="1316516" y="1152613"/>
                  <a:pt x="1320634" y="1188653"/>
                  <a:pt x="1324751" y="1227016"/>
                </a:cubicBezTo>
                <a:cubicBezTo>
                  <a:pt x="1313427" y="1213066"/>
                  <a:pt x="1317546" y="1192140"/>
                  <a:pt x="1314457" y="1172377"/>
                </a:cubicBezTo>
                <a:cubicBezTo>
                  <a:pt x="1312398" y="1159589"/>
                  <a:pt x="1306220" y="1149126"/>
                  <a:pt x="1304162" y="1135176"/>
                </a:cubicBezTo>
                <a:lnTo>
                  <a:pt x="1303901" y="1132223"/>
                </a:lnTo>
                <a:lnTo>
                  <a:pt x="1304162" y="1125875"/>
                </a:lnTo>
                <a:lnTo>
                  <a:pt x="1303203" y="1124360"/>
                </a:lnTo>
                <a:lnTo>
                  <a:pt x="1300044" y="1088675"/>
                </a:lnTo>
                <a:lnTo>
                  <a:pt x="1299722" y="1089330"/>
                </a:lnTo>
                <a:close/>
                <a:moveTo>
                  <a:pt x="1541979" y="1053799"/>
                </a:moveTo>
                <a:cubicBezTo>
                  <a:pt x="1539920" y="1061937"/>
                  <a:pt x="1548156" y="1082861"/>
                  <a:pt x="1536831" y="1079375"/>
                </a:cubicBezTo>
                <a:cubicBezTo>
                  <a:pt x="1537861" y="1071238"/>
                  <a:pt x="1530655" y="1050311"/>
                  <a:pt x="1541979" y="1053799"/>
                </a:cubicBezTo>
                <a:close/>
                <a:moveTo>
                  <a:pt x="1566687" y="1049149"/>
                </a:moveTo>
                <a:cubicBezTo>
                  <a:pt x="1567717" y="1068912"/>
                  <a:pt x="1566687" y="1091000"/>
                  <a:pt x="1573894" y="1099137"/>
                </a:cubicBezTo>
                <a:cubicBezTo>
                  <a:pt x="1570805" y="1087513"/>
                  <a:pt x="1578012" y="1088675"/>
                  <a:pt x="1576982" y="1078212"/>
                </a:cubicBezTo>
                <a:cubicBezTo>
                  <a:pt x="1569776" y="1074724"/>
                  <a:pt x="1573894" y="1053799"/>
                  <a:pt x="1566687" y="1049149"/>
                </a:cubicBezTo>
                <a:close/>
                <a:moveTo>
                  <a:pt x="1766412" y="1045661"/>
                </a:moveTo>
                <a:cubicBezTo>
                  <a:pt x="1760236" y="1049149"/>
                  <a:pt x="1765383" y="1073561"/>
                  <a:pt x="1773619" y="1070074"/>
                </a:cubicBezTo>
                <a:cubicBezTo>
                  <a:pt x="1771561" y="1061937"/>
                  <a:pt x="1777736" y="1041011"/>
                  <a:pt x="1766412" y="1045661"/>
                </a:cubicBezTo>
                <a:close/>
                <a:moveTo>
                  <a:pt x="1370050" y="1041011"/>
                </a:moveTo>
                <a:lnTo>
                  <a:pt x="1376777" y="1060542"/>
                </a:lnTo>
                <a:lnTo>
                  <a:pt x="1376886" y="1061655"/>
                </a:lnTo>
                <a:lnTo>
                  <a:pt x="1369794" y="1056269"/>
                </a:lnTo>
                <a:cubicBezTo>
                  <a:pt x="1369536" y="1051473"/>
                  <a:pt x="1370565" y="1045080"/>
                  <a:pt x="1370050" y="1041011"/>
                </a:cubicBezTo>
                <a:close/>
                <a:moveTo>
                  <a:pt x="1582822" y="1038231"/>
                </a:moveTo>
                <a:cubicBezTo>
                  <a:pt x="1581487" y="1036579"/>
                  <a:pt x="1580071" y="1036943"/>
                  <a:pt x="1579042" y="1041011"/>
                </a:cubicBezTo>
                <a:cubicBezTo>
                  <a:pt x="1588307" y="1044499"/>
                  <a:pt x="1574924" y="1051473"/>
                  <a:pt x="1580071" y="1061937"/>
                </a:cubicBezTo>
                <a:cubicBezTo>
                  <a:pt x="1590108" y="1066296"/>
                  <a:pt x="1586828" y="1043191"/>
                  <a:pt x="1582822" y="1038231"/>
                </a:cubicBezTo>
                <a:close/>
                <a:moveTo>
                  <a:pt x="1762295" y="1010785"/>
                </a:moveTo>
                <a:cubicBezTo>
                  <a:pt x="1762295" y="1013110"/>
                  <a:pt x="1762295" y="1016597"/>
                  <a:pt x="1762295" y="1018923"/>
                </a:cubicBezTo>
                <a:cubicBezTo>
                  <a:pt x="1764353" y="1020085"/>
                  <a:pt x="1766412" y="1020085"/>
                  <a:pt x="1768472" y="1018923"/>
                </a:cubicBezTo>
                <a:cubicBezTo>
                  <a:pt x="1768472" y="1016597"/>
                  <a:pt x="1768472" y="1013110"/>
                  <a:pt x="1768472" y="1010785"/>
                </a:cubicBezTo>
                <a:cubicBezTo>
                  <a:pt x="1766412" y="1010785"/>
                  <a:pt x="1764353" y="1010785"/>
                  <a:pt x="1762295" y="1010785"/>
                </a:cubicBezTo>
                <a:close/>
                <a:moveTo>
                  <a:pt x="1564371" y="1001612"/>
                </a:moveTo>
                <a:cubicBezTo>
                  <a:pt x="1563342" y="999742"/>
                  <a:pt x="1561797" y="1000032"/>
                  <a:pt x="1559481" y="1003810"/>
                </a:cubicBezTo>
                <a:cubicBezTo>
                  <a:pt x="1568746" y="1008459"/>
                  <a:pt x="1551244" y="1038686"/>
                  <a:pt x="1566687" y="1041011"/>
                </a:cubicBezTo>
                <a:cubicBezTo>
                  <a:pt x="1565914" y="1032292"/>
                  <a:pt x="1567461" y="1007225"/>
                  <a:pt x="1564371" y="1001612"/>
                </a:cubicBezTo>
                <a:close/>
                <a:moveTo>
                  <a:pt x="1311368" y="984047"/>
                </a:moveTo>
                <a:cubicBezTo>
                  <a:pt x="1319605" y="982884"/>
                  <a:pt x="1319605" y="992184"/>
                  <a:pt x="1321663" y="1000322"/>
                </a:cubicBezTo>
                <a:cubicBezTo>
                  <a:pt x="1321663" y="1009623"/>
                  <a:pt x="1321663" y="1020085"/>
                  <a:pt x="1322693" y="1029386"/>
                </a:cubicBezTo>
                <a:cubicBezTo>
                  <a:pt x="1328870" y="1029386"/>
                  <a:pt x="1323723" y="1046824"/>
                  <a:pt x="1325781" y="1054961"/>
                </a:cubicBezTo>
                <a:cubicBezTo>
                  <a:pt x="1331958" y="1054961"/>
                  <a:pt x="1327840" y="1068912"/>
                  <a:pt x="1331958" y="1071238"/>
                </a:cubicBezTo>
                <a:cubicBezTo>
                  <a:pt x="1331958" y="1082861"/>
                  <a:pt x="1332989" y="1093324"/>
                  <a:pt x="1332989" y="1104950"/>
                </a:cubicBezTo>
                <a:cubicBezTo>
                  <a:pt x="1335048" y="1117737"/>
                  <a:pt x="1340194" y="1127038"/>
                  <a:pt x="1343283" y="1138664"/>
                </a:cubicBezTo>
                <a:cubicBezTo>
                  <a:pt x="1342254" y="1156102"/>
                  <a:pt x="1346372" y="1165401"/>
                  <a:pt x="1350490" y="1175864"/>
                </a:cubicBezTo>
                <a:cubicBezTo>
                  <a:pt x="1355637" y="1254917"/>
                  <a:pt x="1374169" y="1316529"/>
                  <a:pt x="1375198" y="1401395"/>
                </a:cubicBezTo>
                <a:cubicBezTo>
                  <a:pt x="1365933" y="1394420"/>
                  <a:pt x="1369021" y="1382796"/>
                  <a:pt x="1364903" y="1364195"/>
                </a:cubicBezTo>
                <a:cubicBezTo>
                  <a:pt x="1360785" y="1343268"/>
                  <a:pt x="1358726" y="1293280"/>
                  <a:pt x="1352548" y="1264217"/>
                </a:cubicBezTo>
                <a:cubicBezTo>
                  <a:pt x="1349461" y="1247942"/>
                  <a:pt x="1344313" y="1223529"/>
                  <a:pt x="1341224" y="1201440"/>
                </a:cubicBezTo>
                <a:cubicBezTo>
                  <a:pt x="1335048" y="1156102"/>
                  <a:pt x="1331958" y="1113088"/>
                  <a:pt x="1319605" y="1075887"/>
                </a:cubicBezTo>
                <a:cubicBezTo>
                  <a:pt x="1318575" y="1043336"/>
                  <a:pt x="1315487" y="1011948"/>
                  <a:pt x="1311368" y="984047"/>
                </a:cubicBezTo>
                <a:close/>
                <a:moveTo>
                  <a:pt x="1614044" y="979397"/>
                </a:moveTo>
                <a:cubicBezTo>
                  <a:pt x="1607868" y="988697"/>
                  <a:pt x="1617133" y="1000322"/>
                  <a:pt x="1618163" y="1013110"/>
                </a:cubicBezTo>
                <a:cubicBezTo>
                  <a:pt x="1619193" y="1015435"/>
                  <a:pt x="1616104" y="1016597"/>
                  <a:pt x="1616104" y="1023572"/>
                </a:cubicBezTo>
                <a:cubicBezTo>
                  <a:pt x="1616104" y="1028223"/>
                  <a:pt x="1619193" y="1029386"/>
                  <a:pt x="1619193" y="1036361"/>
                </a:cubicBezTo>
                <a:cubicBezTo>
                  <a:pt x="1620222" y="1044499"/>
                  <a:pt x="1619193" y="1049149"/>
                  <a:pt x="1622281" y="1052637"/>
                </a:cubicBezTo>
                <a:cubicBezTo>
                  <a:pt x="1623311" y="1053799"/>
                  <a:pt x="1622281" y="1063099"/>
                  <a:pt x="1622281" y="1065424"/>
                </a:cubicBezTo>
                <a:cubicBezTo>
                  <a:pt x="1622281" y="1068912"/>
                  <a:pt x="1625370" y="1067749"/>
                  <a:pt x="1625370" y="1070074"/>
                </a:cubicBezTo>
                <a:cubicBezTo>
                  <a:pt x="1630517" y="1091000"/>
                  <a:pt x="1621252" y="1109600"/>
                  <a:pt x="1635664" y="1111925"/>
                </a:cubicBezTo>
                <a:cubicBezTo>
                  <a:pt x="1631547" y="1101462"/>
                  <a:pt x="1634636" y="1088675"/>
                  <a:pt x="1631547" y="1074724"/>
                </a:cubicBezTo>
                <a:cubicBezTo>
                  <a:pt x="1631547" y="1074724"/>
                  <a:pt x="1628457" y="1074724"/>
                  <a:pt x="1628457" y="1074724"/>
                </a:cubicBezTo>
                <a:cubicBezTo>
                  <a:pt x="1627428" y="1073561"/>
                  <a:pt x="1628457" y="1067749"/>
                  <a:pt x="1628457" y="1066586"/>
                </a:cubicBezTo>
                <a:cubicBezTo>
                  <a:pt x="1624340" y="1051473"/>
                  <a:pt x="1622281" y="1024735"/>
                  <a:pt x="1620222" y="1008459"/>
                </a:cubicBezTo>
                <a:cubicBezTo>
                  <a:pt x="1618163" y="994510"/>
                  <a:pt x="1626400" y="997997"/>
                  <a:pt x="1620222" y="992184"/>
                </a:cubicBezTo>
                <a:cubicBezTo>
                  <a:pt x="1617133" y="989860"/>
                  <a:pt x="1619193" y="978235"/>
                  <a:pt x="1614044" y="979397"/>
                </a:cubicBezTo>
                <a:close/>
                <a:moveTo>
                  <a:pt x="1644930" y="938707"/>
                </a:moveTo>
                <a:cubicBezTo>
                  <a:pt x="1644930" y="964283"/>
                  <a:pt x="1650078" y="1000322"/>
                  <a:pt x="1653167" y="1014272"/>
                </a:cubicBezTo>
                <a:cubicBezTo>
                  <a:pt x="1658313" y="1038686"/>
                  <a:pt x="1658313" y="1054961"/>
                  <a:pt x="1661402" y="1072400"/>
                </a:cubicBezTo>
                <a:cubicBezTo>
                  <a:pt x="1662432" y="1079375"/>
                  <a:pt x="1661402" y="1089836"/>
                  <a:pt x="1668610" y="1093324"/>
                </a:cubicBezTo>
                <a:cubicBezTo>
                  <a:pt x="1666550" y="1039847"/>
                  <a:pt x="1656254" y="995673"/>
                  <a:pt x="1652137" y="954983"/>
                </a:cubicBezTo>
                <a:cubicBezTo>
                  <a:pt x="1643900" y="958472"/>
                  <a:pt x="1654196" y="936384"/>
                  <a:pt x="1644930" y="938707"/>
                </a:cubicBezTo>
                <a:close/>
                <a:moveTo>
                  <a:pt x="1750969" y="930570"/>
                </a:moveTo>
                <a:cubicBezTo>
                  <a:pt x="1750969" y="935221"/>
                  <a:pt x="1750969" y="938707"/>
                  <a:pt x="1750969" y="943359"/>
                </a:cubicBezTo>
                <a:cubicBezTo>
                  <a:pt x="1753029" y="943359"/>
                  <a:pt x="1755088" y="943359"/>
                  <a:pt x="1757147" y="943359"/>
                </a:cubicBezTo>
                <a:cubicBezTo>
                  <a:pt x="1757147" y="938707"/>
                  <a:pt x="1757147" y="935221"/>
                  <a:pt x="1757147" y="930570"/>
                </a:cubicBezTo>
                <a:cubicBezTo>
                  <a:pt x="1755088" y="930570"/>
                  <a:pt x="1753029" y="930570"/>
                  <a:pt x="1750969" y="930570"/>
                </a:cubicBezTo>
                <a:close/>
                <a:moveTo>
                  <a:pt x="1431821" y="930570"/>
                </a:moveTo>
                <a:cubicBezTo>
                  <a:pt x="1445205" y="931733"/>
                  <a:pt x="1440057" y="952659"/>
                  <a:pt x="1442117" y="964283"/>
                </a:cubicBezTo>
                <a:cubicBezTo>
                  <a:pt x="1443145" y="968934"/>
                  <a:pt x="1444175" y="973583"/>
                  <a:pt x="1445205" y="980560"/>
                </a:cubicBezTo>
                <a:cubicBezTo>
                  <a:pt x="1451382" y="1010785"/>
                  <a:pt x="1456530" y="1060774"/>
                  <a:pt x="1458588" y="1097974"/>
                </a:cubicBezTo>
                <a:cubicBezTo>
                  <a:pt x="1448293" y="1096813"/>
                  <a:pt x="1453441" y="1078212"/>
                  <a:pt x="1451382" y="1068912"/>
                </a:cubicBezTo>
                <a:cubicBezTo>
                  <a:pt x="1448293" y="1054961"/>
                  <a:pt x="1445205" y="1043336"/>
                  <a:pt x="1437999" y="1039847"/>
                </a:cubicBezTo>
                <a:cubicBezTo>
                  <a:pt x="1445205" y="1006135"/>
                  <a:pt x="1428732" y="973583"/>
                  <a:pt x="1431821" y="930570"/>
                </a:cubicBezTo>
                <a:close/>
                <a:moveTo>
                  <a:pt x="1641843" y="922432"/>
                </a:moveTo>
                <a:cubicBezTo>
                  <a:pt x="1641843" y="927083"/>
                  <a:pt x="1641843" y="930570"/>
                  <a:pt x="1641843" y="935221"/>
                </a:cubicBezTo>
                <a:cubicBezTo>
                  <a:pt x="1643900" y="935221"/>
                  <a:pt x="1645960" y="935221"/>
                  <a:pt x="1648019" y="935221"/>
                </a:cubicBezTo>
                <a:cubicBezTo>
                  <a:pt x="1648019" y="930570"/>
                  <a:pt x="1648019" y="927083"/>
                  <a:pt x="1648019" y="922432"/>
                </a:cubicBezTo>
                <a:cubicBezTo>
                  <a:pt x="1645960" y="922432"/>
                  <a:pt x="1643900" y="922432"/>
                  <a:pt x="1641843" y="922432"/>
                </a:cubicBezTo>
                <a:close/>
                <a:moveTo>
                  <a:pt x="1300044" y="908483"/>
                </a:moveTo>
                <a:cubicBezTo>
                  <a:pt x="1307250" y="908483"/>
                  <a:pt x="1307250" y="918945"/>
                  <a:pt x="1307250" y="929408"/>
                </a:cubicBezTo>
                <a:cubicBezTo>
                  <a:pt x="1301074" y="925920"/>
                  <a:pt x="1293867" y="916620"/>
                  <a:pt x="1300044" y="908483"/>
                </a:cubicBezTo>
                <a:close/>
                <a:moveTo>
                  <a:pt x="1110493" y="906527"/>
                </a:moveTo>
                <a:lnTo>
                  <a:pt x="1113188" y="916184"/>
                </a:lnTo>
                <a:cubicBezTo>
                  <a:pt x="1116019" y="924759"/>
                  <a:pt x="1119364" y="932897"/>
                  <a:pt x="1122967" y="937546"/>
                </a:cubicBezTo>
                <a:cubicBezTo>
                  <a:pt x="1118850" y="959634"/>
                  <a:pt x="1122967" y="968934"/>
                  <a:pt x="1120909" y="995673"/>
                </a:cubicBezTo>
                <a:lnTo>
                  <a:pt x="1130468" y="1022657"/>
                </a:lnTo>
                <a:lnTo>
                  <a:pt x="1130969" y="1030184"/>
                </a:lnTo>
                <a:lnTo>
                  <a:pt x="1130561" y="1039704"/>
                </a:lnTo>
                <a:cubicBezTo>
                  <a:pt x="1129145" y="1043336"/>
                  <a:pt x="1127086" y="1046243"/>
                  <a:pt x="1126056" y="1050311"/>
                </a:cubicBezTo>
                <a:cubicBezTo>
                  <a:pt x="1134293" y="1058449"/>
                  <a:pt x="1129144" y="1066586"/>
                  <a:pt x="1133263" y="1074724"/>
                </a:cubicBezTo>
                <a:cubicBezTo>
                  <a:pt x="1135322" y="1084025"/>
                  <a:pt x="1127086" y="1080538"/>
                  <a:pt x="1127086" y="1087513"/>
                </a:cubicBezTo>
                <a:cubicBezTo>
                  <a:pt x="1129144" y="1100300"/>
                  <a:pt x="1133263" y="1110763"/>
                  <a:pt x="1137382" y="1121226"/>
                </a:cubicBezTo>
                <a:cubicBezTo>
                  <a:pt x="1138410" y="1132850"/>
                  <a:pt x="1137382" y="1146802"/>
                  <a:pt x="1138410" y="1158426"/>
                </a:cubicBezTo>
                <a:cubicBezTo>
                  <a:pt x="1138410" y="1166564"/>
                  <a:pt x="1141499" y="1170052"/>
                  <a:pt x="1141499" y="1174701"/>
                </a:cubicBezTo>
                <a:cubicBezTo>
                  <a:pt x="1141499" y="1180515"/>
                  <a:pt x="1138410" y="1182839"/>
                  <a:pt x="1138410" y="1187490"/>
                </a:cubicBezTo>
                <a:lnTo>
                  <a:pt x="1144379" y="1203217"/>
                </a:lnTo>
                <a:lnTo>
                  <a:pt x="1141499" y="1246776"/>
                </a:lnTo>
                <a:cubicBezTo>
                  <a:pt x="1140984" y="1254333"/>
                  <a:pt x="1144330" y="1258693"/>
                  <a:pt x="1148706" y="1262326"/>
                </a:cubicBezTo>
                <a:lnTo>
                  <a:pt x="1149698" y="1263154"/>
                </a:lnTo>
                <a:lnTo>
                  <a:pt x="1149735" y="1271192"/>
                </a:lnTo>
                <a:cubicBezTo>
                  <a:pt x="1149219" y="1274099"/>
                  <a:pt x="1148963" y="1280492"/>
                  <a:pt x="1149092" y="1288776"/>
                </a:cubicBezTo>
                <a:lnTo>
                  <a:pt x="1150603" y="1314882"/>
                </a:lnTo>
                <a:lnTo>
                  <a:pt x="1150073" y="1318472"/>
                </a:lnTo>
                <a:cubicBezTo>
                  <a:pt x="1149606" y="1324667"/>
                  <a:pt x="1149478" y="1331932"/>
                  <a:pt x="1149736" y="1340942"/>
                </a:cubicBezTo>
                <a:cubicBezTo>
                  <a:pt x="1149736" y="1342686"/>
                  <a:pt x="1151021" y="1345010"/>
                  <a:pt x="1152309" y="1346754"/>
                </a:cubicBezTo>
                <a:lnTo>
                  <a:pt x="1154882" y="1349080"/>
                </a:lnTo>
                <a:lnTo>
                  <a:pt x="1154882" y="1349081"/>
                </a:lnTo>
                <a:lnTo>
                  <a:pt x="1149220" y="1362013"/>
                </a:lnTo>
                <a:cubicBezTo>
                  <a:pt x="1146647" y="1365355"/>
                  <a:pt x="1144074" y="1368843"/>
                  <a:pt x="1143558" y="1375818"/>
                </a:cubicBezTo>
                <a:cubicBezTo>
                  <a:pt x="1142014" y="1410694"/>
                  <a:pt x="1152051" y="1448839"/>
                  <a:pt x="1147612" y="1484860"/>
                </a:cubicBezTo>
                <a:lnTo>
                  <a:pt x="1140120" y="1510570"/>
                </a:lnTo>
                <a:lnTo>
                  <a:pt x="1139439" y="1497885"/>
                </a:lnTo>
                <a:cubicBezTo>
                  <a:pt x="1139439" y="1494397"/>
                  <a:pt x="1140469" y="1488585"/>
                  <a:pt x="1139439" y="1485097"/>
                </a:cubicBezTo>
                <a:cubicBezTo>
                  <a:pt x="1139439" y="1483935"/>
                  <a:pt x="1136351" y="1479285"/>
                  <a:pt x="1136351" y="1480448"/>
                </a:cubicBezTo>
                <a:cubicBezTo>
                  <a:pt x="1136351" y="1473473"/>
                  <a:pt x="1139439" y="1471147"/>
                  <a:pt x="1139439" y="1464172"/>
                </a:cubicBezTo>
                <a:cubicBezTo>
                  <a:pt x="1138410" y="1457197"/>
                  <a:pt x="1136351" y="1454872"/>
                  <a:pt x="1136351" y="1447896"/>
                </a:cubicBezTo>
                <a:cubicBezTo>
                  <a:pt x="1136351" y="1440921"/>
                  <a:pt x="1139439" y="1430459"/>
                  <a:pt x="1138410" y="1422322"/>
                </a:cubicBezTo>
                <a:cubicBezTo>
                  <a:pt x="1137382" y="1411858"/>
                  <a:pt x="1133263" y="1403720"/>
                  <a:pt x="1131204" y="1393257"/>
                </a:cubicBezTo>
                <a:cubicBezTo>
                  <a:pt x="1130175" y="1385119"/>
                  <a:pt x="1131204" y="1375819"/>
                  <a:pt x="1130175" y="1367682"/>
                </a:cubicBezTo>
                <a:cubicBezTo>
                  <a:pt x="1130175" y="1368844"/>
                  <a:pt x="1125026" y="1365357"/>
                  <a:pt x="1127086" y="1363031"/>
                </a:cubicBezTo>
                <a:cubicBezTo>
                  <a:pt x="1131204" y="1358382"/>
                  <a:pt x="1127086" y="1360707"/>
                  <a:pt x="1127086" y="1354894"/>
                </a:cubicBezTo>
                <a:cubicBezTo>
                  <a:pt x="1127086" y="1347920"/>
                  <a:pt x="1130175" y="1340945"/>
                  <a:pt x="1130175" y="1333968"/>
                </a:cubicBezTo>
                <a:cubicBezTo>
                  <a:pt x="1130175" y="1324668"/>
                  <a:pt x="1127086" y="1323506"/>
                  <a:pt x="1127086" y="1317693"/>
                </a:cubicBezTo>
                <a:cubicBezTo>
                  <a:pt x="1127086" y="1314206"/>
                  <a:pt x="1131204" y="1313044"/>
                  <a:pt x="1130175" y="1309555"/>
                </a:cubicBezTo>
                <a:cubicBezTo>
                  <a:pt x="1130175" y="1308392"/>
                  <a:pt x="1127086" y="1309555"/>
                  <a:pt x="1127086" y="1304906"/>
                </a:cubicBezTo>
                <a:cubicBezTo>
                  <a:pt x="1126056" y="1292117"/>
                  <a:pt x="1127086" y="1277004"/>
                  <a:pt x="1126056" y="1263055"/>
                </a:cubicBezTo>
                <a:cubicBezTo>
                  <a:pt x="1125026" y="1250266"/>
                  <a:pt x="1122967" y="1233990"/>
                  <a:pt x="1121939" y="1213066"/>
                </a:cubicBezTo>
                <a:cubicBezTo>
                  <a:pt x="1120909" y="1199114"/>
                  <a:pt x="1117820" y="1184001"/>
                  <a:pt x="1117820" y="1158426"/>
                </a:cubicBezTo>
                <a:cubicBezTo>
                  <a:pt x="1117820" y="1159589"/>
                  <a:pt x="1112673" y="1156102"/>
                  <a:pt x="1114732" y="1153777"/>
                </a:cubicBezTo>
                <a:cubicBezTo>
                  <a:pt x="1121939" y="1145639"/>
                  <a:pt x="1114732" y="1123550"/>
                  <a:pt x="1113701" y="1107275"/>
                </a:cubicBezTo>
                <a:cubicBezTo>
                  <a:pt x="1111128" y="1083443"/>
                  <a:pt x="1110613" y="1058449"/>
                  <a:pt x="1110099" y="1033600"/>
                </a:cubicBezTo>
                <a:lnTo>
                  <a:pt x="1109801" y="1027574"/>
                </a:lnTo>
                <a:close/>
                <a:moveTo>
                  <a:pt x="1137382" y="887557"/>
                </a:moveTo>
                <a:lnTo>
                  <a:pt x="1143120" y="906999"/>
                </a:lnTo>
                <a:lnTo>
                  <a:pt x="1142532" y="909270"/>
                </a:lnTo>
                <a:lnTo>
                  <a:pt x="1138281" y="903687"/>
                </a:lnTo>
                <a:cubicBezTo>
                  <a:pt x="1137638" y="898892"/>
                  <a:pt x="1137895" y="892789"/>
                  <a:pt x="1137382" y="887557"/>
                </a:cubicBezTo>
                <a:close/>
                <a:moveTo>
                  <a:pt x="1749941" y="881744"/>
                </a:moveTo>
                <a:cubicBezTo>
                  <a:pt x="1740675" y="882907"/>
                  <a:pt x="1737586" y="910807"/>
                  <a:pt x="1750969" y="907319"/>
                </a:cubicBezTo>
                <a:cubicBezTo>
                  <a:pt x="1750969" y="899182"/>
                  <a:pt x="1750969" y="891044"/>
                  <a:pt x="1749941" y="881744"/>
                </a:cubicBezTo>
                <a:close/>
                <a:moveTo>
                  <a:pt x="1702582" y="861982"/>
                </a:moveTo>
                <a:cubicBezTo>
                  <a:pt x="1695376" y="867794"/>
                  <a:pt x="1696406" y="882907"/>
                  <a:pt x="1700524" y="887557"/>
                </a:cubicBezTo>
                <a:cubicBezTo>
                  <a:pt x="1707730" y="889882"/>
                  <a:pt x="1709789" y="906157"/>
                  <a:pt x="1710819" y="911970"/>
                </a:cubicBezTo>
                <a:cubicBezTo>
                  <a:pt x="1715967" y="944521"/>
                  <a:pt x="1711849" y="975909"/>
                  <a:pt x="1715967" y="1011948"/>
                </a:cubicBezTo>
                <a:cubicBezTo>
                  <a:pt x="1720085" y="1010785"/>
                  <a:pt x="1718025" y="1017760"/>
                  <a:pt x="1719055" y="1020085"/>
                </a:cubicBezTo>
                <a:cubicBezTo>
                  <a:pt x="1721113" y="1022410"/>
                  <a:pt x="1728320" y="1018923"/>
                  <a:pt x="1725232" y="1028223"/>
                </a:cubicBezTo>
                <a:cubicBezTo>
                  <a:pt x="1731410" y="1053799"/>
                  <a:pt x="1729351" y="1088675"/>
                  <a:pt x="1730380" y="1120063"/>
                </a:cubicBezTo>
                <a:cubicBezTo>
                  <a:pt x="1746852" y="1142151"/>
                  <a:pt x="1746852" y="1187490"/>
                  <a:pt x="1751999" y="1224690"/>
                </a:cubicBezTo>
                <a:cubicBezTo>
                  <a:pt x="1747882" y="1231667"/>
                  <a:pt x="1745823" y="1240965"/>
                  <a:pt x="1743763" y="1250266"/>
                </a:cubicBezTo>
                <a:cubicBezTo>
                  <a:pt x="1747882" y="1251429"/>
                  <a:pt x="1746852" y="1260729"/>
                  <a:pt x="1746852" y="1266542"/>
                </a:cubicBezTo>
                <a:cubicBezTo>
                  <a:pt x="1748911" y="1292117"/>
                  <a:pt x="1751999" y="1308392"/>
                  <a:pt x="1751999" y="1329319"/>
                </a:cubicBezTo>
                <a:cubicBezTo>
                  <a:pt x="1753029" y="1337456"/>
                  <a:pt x="1760236" y="1337456"/>
                  <a:pt x="1762295" y="1345594"/>
                </a:cubicBezTo>
                <a:cubicBezTo>
                  <a:pt x="1756118" y="1350243"/>
                  <a:pt x="1758176" y="1380470"/>
                  <a:pt x="1766412" y="1379308"/>
                </a:cubicBezTo>
                <a:cubicBezTo>
                  <a:pt x="1772589" y="1367682"/>
                  <a:pt x="1765383" y="1351406"/>
                  <a:pt x="1765383" y="1337456"/>
                </a:cubicBezTo>
                <a:cubicBezTo>
                  <a:pt x="1765383" y="1330481"/>
                  <a:pt x="1770531" y="1331644"/>
                  <a:pt x="1765383" y="1324668"/>
                </a:cubicBezTo>
                <a:cubicBezTo>
                  <a:pt x="1763325" y="1322343"/>
                  <a:pt x="1765383" y="1310718"/>
                  <a:pt x="1765383" y="1308392"/>
                </a:cubicBezTo>
                <a:cubicBezTo>
                  <a:pt x="1762295" y="1287467"/>
                  <a:pt x="1762295" y="1265379"/>
                  <a:pt x="1760236" y="1240965"/>
                </a:cubicBezTo>
                <a:cubicBezTo>
                  <a:pt x="1760236" y="1233990"/>
                  <a:pt x="1756118" y="1230503"/>
                  <a:pt x="1757147" y="1224690"/>
                </a:cubicBezTo>
                <a:cubicBezTo>
                  <a:pt x="1759206" y="1215391"/>
                  <a:pt x="1757147" y="1207253"/>
                  <a:pt x="1756118" y="1195627"/>
                </a:cubicBezTo>
                <a:cubicBezTo>
                  <a:pt x="1754058" y="1173539"/>
                  <a:pt x="1749941" y="1143313"/>
                  <a:pt x="1747882" y="1132850"/>
                </a:cubicBezTo>
                <a:cubicBezTo>
                  <a:pt x="1746852" y="1129363"/>
                  <a:pt x="1747882" y="1124713"/>
                  <a:pt x="1747882" y="1120063"/>
                </a:cubicBezTo>
                <a:cubicBezTo>
                  <a:pt x="1741704" y="1087513"/>
                  <a:pt x="1735527" y="1049149"/>
                  <a:pt x="1732439" y="1020085"/>
                </a:cubicBezTo>
                <a:cubicBezTo>
                  <a:pt x="1731410" y="1014272"/>
                  <a:pt x="1729351" y="1011948"/>
                  <a:pt x="1729351" y="1007297"/>
                </a:cubicBezTo>
                <a:cubicBezTo>
                  <a:pt x="1727292" y="991022"/>
                  <a:pt x="1727292" y="972421"/>
                  <a:pt x="1725232" y="957308"/>
                </a:cubicBezTo>
                <a:cubicBezTo>
                  <a:pt x="1724203" y="951496"/>
                  <a:pt x="1719055" y="945684"/>
                  <a:pt x="1719055" y="941033"/>
                </a:cubicBezTo>
                <a:cubicBezTo>
                  <a:pt x="1719055" y="937546"/>
                  <a:pt x="1725232" y="923595"/>
                  <a:pt x="1722143" y="920108"/>
                </a:cubicBezTo>
                <a:cubicBezTo>
                  <a:pt x="1719055" y="915457"/>
                  <a:pt x="1720085" y="915457"/>
                  <a:pt x="1719055" y="907319"/>
                </a:cubicBezTo>
                <a:cubicBezTo>
                  <a:pt x="1714937" y="891044"/>
                  <a:pt x="1718025" y="864306"/>
                  <a:pt x="1702582" y="861982"/>
                </a:cubicBezTo>
                <a:close/>
                <a:moveTo>
                  <a:pt x="1635407" y="835952"/>
                </a:moveTo>
                <a:cubicBezTo>
                  <a:pt x="1634571" y="835824"/>
                  <a:pt x="1633092" y="837858"/>
                  <a:pt x="1630517" y="843381"/>
                </a:cubicBezTo>
                <a:cubicBezTo>
                  <a:pt x="1639783" y="846868"/>
                  <a:pt x="1628457" y="878257"/>
                  <a:pt x="1637724" y="880581"/>
                </a:cubicBezTo>
                <a:cubicBezTo>
                  <a:pt x="1637724" y="874769"/>
                  <a:pt x="1640813" y="868956"/>
                  <a:pt x="1640813" y="859656"/>
                </a:cubicBezTo>
                <a:cubicBezTo>
                  <a:pt x="1640813" y="859656"/>
                  <a:pt x="1637724" y="859656"/>
                  <a:pt x="1637724" y="859656"/>
                </a:cubicBezTo>
                <a:cubicBezTo>
                  <a:pt x="1634635" y="856168"/>
                  <a:pt x="1637916" y="836332"/>
                  <a:pt x="1635407" y="835952"/>
                </a:cubicBezTo>
                <a:close/>
                <a:moveTo>
                  <a:pt x="1597572" y="831755"/>
                </a:moveTo>
                <a:cubicBezTo>
                  <a:pt x="1595514" y="859656"/>
                  <a:pt x="1597572" y="884069"/>
                  <a:pt x="1603750" y="902670"/>
                </a:cubicBezTo>
                <a:cubicBezTo>
                  <a:pt x="1602720" y="915457"/>
                  <a:pt x="1605809" y="925920"/>
                  <a:pt x="1607868" y="928246"/>
                </a:cubicBezTo>
                <a:cubicBezTo>
                  <a:pt x="1611986" y="932895"/>
                  <a:pt x="1602720" y="952659"/>
                  <a:pt x="1611986" y="949171"/>
                </a:cubicBezTo>
                <a:cubicBezTo>
                  <a:pt x="1610957" y="930570"/>
                  <a:pt x="1611986" y="911970"/>
                  <a:pt x="1610957" y="899182"/>
                </a:cubicBezTo>
                <a:cubicBezTo>
                  <a:pt x="1609927" y="893370"/>
                  <a:pt x="1607868" y="889882"/>
                  <a:pt x="1607868" y="886395"/>
                </a:cubicBezTo>
                <a:cubicBezTo>
                  <a:pt x="1605809" y="866631"/>
                  <a:pt x="1605809" y="845707"/>
                  <a:pt x="1597572" y="831755"/>
                </a:cubicBezTo>
                <a:close/>
                <a:moveTo>
                  <a:pt x="1414319" y="830593"/>
                </a:moveTo>
                <a:cubicBezTo>
                  <a:pt x="1425645" y="825942"/>
                  <a:pt x="1420496" y="844543"/>
                  <a:pt x="1427703" y="846868"/>
                </a:cubicBezTo>
                <a:cubicBezTo>
                  <a:pt x="1427703" y="850356"/>
                  <a:pt x="1424614" y="851519"/>
                  <a:pt x="1424614" y="855006"/>
                </a:cubicBezTo>
                <a:cubicBezTo>
                  <a:pt x="1422556" y="855006"/>
                  <a:pt x="1420496" y="855006"/>
                  <a:pt x="1418438" y="855006"/>
                </a:cubicBezTo>
                <a:cubicBezTo>
                  <a:pt x="1417407" y="845707"/>
                  <a:pt x="1412260" y="843381"/>
                  <a:pt x="1414319" y="830593"/>
                </a:cubicBezTo>
                <a:close/>
                <a:moveTo>
                  <a:pt x="1628329" y="797133"/>
                </a:moveTo>
                <a:cubicBezTo>
                  <a:pt x="1626400" y="796589"/>
                  <a:pt x="1623311" y="814027"/>
                  <a:pt x="1629487" y="813154"/>
                </a:cubicBezTo>
                <a:cubicBezTo>
                  <a:pt x="1629487" y="810831"/>
                  <a:pt x="1629487" y="807342"/>
                  <a:pt x="1629487" y="805017"/>
                </a:cubicBezTo>
                <a:cubicBezTo>
                  <a:pt x="1629487" y="799495"/>
                  <a:pt x="1628973" y="797315"/>
                  <a:pt x="1628329" y="797133"/>
                </a:cubicBezTo>
                <a:close/>
                <a:moveTo>
                  <a:pt x="1276033" y="783979"/>
                </a:moveTo>
                <a:lnTo>
                  <a:pt x="1278424" y="787579"/>
                </a:lnTo>
                <a:cubicBezTo>
                  <a:pt x="1278424" y="788741"/>
                  <a:pt x="1278424" y="791067"/>
                  <a:pt x="1278424" y="792230"/>
                </a:cubicBezTo>
                <a:cubicBezTo>
                  <a:pt x="1281513" y="800367"/>
                  <a:pt x="1284601" y="830593"/>
                  <a:pt x="1288719" y="846868"/>
                </a:cubicBezTo>
                <a:cubicBezTo>
                  <a:pt x="1289749" y="851519"/>
                  <a:pt x="1287690" y="853844"/>
                  <a:pt x="1285631" y="855006"/>
                </a:cubicBezTo>
                <a:cubicBezTo>
                  <a:pt x="1285631" y="850356"/>
                  <a:pt x="1284601" y="848030"/>
                  <a:pt x="1282542" y="846868"/>
                </a:cubicBezTo>
                <a:lnTo>
                  <a:pt x="1275268" y="811546"/>
                </a:lnTo>
                <a:lnTo>
                  <a:pt x="1275207" y="809666"/>
                </a:lnTo>
                <a:close/>
                <a:moveTo>
                  <a:pt x="1619193" y="767816"/>
                </a:moveTo>
                <a:cubicBezTo>
                  <a:pt x="1619193" y="778279"/>
                  <a:pt x="1621252" y="785254"/>
                  <a:pt x="1626400" y="788741"/>
                </a:cubicBezTo>
                <a:cubicBezTo>
                  <a:pt x="1626400" y="778279"/>
                  <a:pt x="1626400" y="767816"/>
                  <a:pt x="1619193" y="767816"/>
                </a:cubicBezTo>
                <a:close/>
                <a:moveTo>
                  <a:pt x="1271878" y="760336"/>
                </a:moveTo>
                <a:lnTo>
                  <a:pt x="1273838" y="773152"/>
                </a:lnTo>
                <a:lnTo>
                  <a:pt x="1270188" y="772465"/>
                </a:lnTo>
                <a:cubicBezTo>
                  <a:pt x="1269158" y="771302"/>
                  <a:pt x="1269931" y="768396"/>
                  <a:pt x="1270832" y="765490"/>
                </a:cubicBezTo>
                <a:close/>
                <a:moveTo>
                  <a:pt x="1723173" y="758516"/>
                </a:moveTo>
                <a:cubicBezTo>
                  <a:pt x="1726262" y="777117"/>
                  <a:pt x="1736556" y="822455"/>
                  <a:pt x="1738616" y="842219"/>
                </a:cubicBezTo>
                <a:cubicBezTo>
                  <a:pt x="1744793" y="835243"/>
                  <a:pt x="1735527" y="752704"/>
                  <a:pt x="1723173" y="758516"/>
                </a:cubicBezTo>
                <a:close/>
                <a:moveTo>
                  <a:pt x="1737586" y="749216"/>
                </a:moveTo>
                <a:cubicBezTo>
                  <a:pt x="1738616" y="756190"/>
                  <a:pt x="1734498" y="770142"/>
                  <a:pt x="1743763" y="765491"/>
                </a:cubicBezTo>
                <a:cubicBezTo>
                  <a:pt x="1742735" y="757353"/>
                  <a:pt x="1741704" y="751541"/>
                  <a:pt x="1737586" y="749216"/>
                </a:cubicBezTo>
                <a:close/>
                <a:moveTo>
                  <a:pt x="1262347" y="724328"/>
                </a:moveTo>
                <a:lnTo>
                  <a:pt x="1268129" y="741078"/>
                </a:lnTo>
                <a:lnTo>
                  <a:pt x="1271263" y="757003"/>
                </a:lnTo>
                <a:lnTo>
                  <a:pt x="1267227" y="750812"/>
                </a:lnTo>
                <a:cubicBezTo>
                  <a:pt x="1265298" y="748632"/>
                  <a:pt x="1263496" y="746308"/>
                  <a:pt x="1262981" y="742238"/>
                </a:cubicBezTo>
                <a:close/>
                <a:moveTo>
                  <a:pt x="1573894" y="714340"/>
                </a:moveTo>
                <a:cubicBezTo>
                  <a:pt x="1571835" y="742241"/>
                  <a:pt x="1584188" y="749216"/>
                  <a:pt x="1582130" y="777117"/>
                </a:cubicBezTo>
                <a:cubicBezTo>
                  <a:pt x="1589337" y="774791"/>
                  <a:pt x="1581100" y="795717"/>
                  <a:pt x="1591395" y="789904"/>
                </a:cubicBezTo>
                <a:cubicBezTo>
                  <a:pt x="1588307" y="762004"/>
                  <a:pt x="1585219" y="731777"/>
                  <a:pt x="1573894" y="714340"/>
                </a:cubicBezTo>
                <a:close/>
                <a:moveTo>
                  <a:pt x="1535801" y="712014"/>
                </a:moveTo>
                <a:cubicBezTo>
                  <a:pt x="1536831" y="735266"/>
                  <a:pt x="1546098" y="745728"/>
                  <a:pt x="1544038" y="774791"/>
                </a:cubicBezTo>
                <a:cubicBezTo>
                  <a:pt x="1549187" y="781766"/>
                  <a:pt x="1552274" y="796879"/>
                  <a:pt x="1554333" y="808505"/>
                </a:cubicBezTo>
                <a:cubicBezTo>
                  <a:pt x="1556392" y="824780"/>
                  <a:pt x="1549187" y="818968"/>
                  <a:pt x="1554333" y="824780"/>
                </a:cubicBezTo>
                <a:cubicBezTo>
                  <a:pt x="1555362" y="825942"/>
                  <a:pt x="1554333" y="831755"/>
                  <a:pt x="1554333" y="832917"/>
                </a:cubicBezTo>
                <a:cubicBezTo>
                  <a:pt x="1556392" y="846868"/>
                  <a:pt x="1562570" y="860819"/>
                  <a:pt x="1552274" y="866631"/>
                </a:cubicBezTo>
                <a:cubicBezTo>
                  <a:pt x="1552274" y="846868"/>
                  <a:pt x="1546098" y="815480"/>
                  <a:pt x="1544038" y="808505"/>
                </a:cubicBezTo>
                <a:cubicBezTo>
                  <a:pt x="1543008" y="802692"/>
                  <a:pt x="1543008" y="799205"/>
                  <a:pt x="1540949" y="795717"/>
                </a:cubicBezTo>
                <a:cubicBezTo>
                  <a:pt x="1539920" y="793392"/>
                  <a:pt x="1538891" y="789904"/>
                  <a:pt x="1534772" y="792230"/>
                </a:cubicBezTo>
                <a:cubicBezTo>
                  <a:pt x="1536831" y="817805"/>
                  <a:pt x="1543008" y="845707"/>
                  <a:pt x="1546098" y="871281"/>
                </a:cubicBezTo>
                <a:cubicBezTo>
                  <a:pt x="1547127" y="878257"/>
                  <a:pt x="1545068" y="885232"/>
                  <a:pt x="1547127" y="892206"/>
                </a:cubicBezTo>
                <a:cubicBezTo>
                  <a:pt x="1549187" y="902670"/>
                  <a:pt x="1553304" y="910807"/>
                  <a:pt x="1554333" y="921271"/>
                </a:cubicBezTo>
                <a:cubicBezTo>
                  <a:pt x="1556392" y="939871"/>
                  <a:pt x="1557422" y="953821"/>
                  <a:pt x="1558451" y="963122"/>
                </a:cubicBezTo>
                <a:cubicBezTo>
                  <a:pt x="1559481" y="972421"/>
                  <a:pt x="1558451" y="986373"/>
                  <a:pt x="1565657" y="992184"/>
                </a:cubicBezTo>
                <a:cubicBezTo>
                  <a:pt x="1565657" y="984047"/>
                  <a:pt x="1567717" y="978235"/>
                  <a:pt x="1571835" y="974747"/>
                </a:cubicBezTo>
                <a:cubicBezTo>
                  <a:pt x="1576982" y="981721"/>
                  <a:pt x="1576982" y="994510"/>
                  <a:pt x="1582130" y="999159"/>
                </a:cubicBezTo>
                <a:cubicBezTo>
                  <a:pt x="1576982" y="986373"/>
                  <a:pt x="1579042" y="971260"/>
                  <a:pt x="1573894" y="965446"/>
                </a:cubicBezTo>
                <a:cubicBezTo>
                  <a:pt x="1572864" y="959634"/>
                  <a:pt x="1574924" y="950333"/>
                  <a:pt x="1570805" y="949171"/>
                </a:cubicBezTo>
                <a:cubicBezTo>
                  <a:pt x="1570805" y="956146"/>
                  <a:pt x="1568746" y="959634"/>
                  <a:pt x="1564629" y="961959"/>
                </a:cubicBezTo>
                <a:cubicBezTo>
                  <a:pt x="1559481" y="951496"/>
                  <a:pt x="1561539" y="935221"/>
                  <a:pt x="1560511" y="924758"/>
                </a:cubicBezTo>
                <a:cubicBezTo>
                  <a:pt x="1560511" y="920108"/>
                  <a:pt x="1557422" y="920108"/>
                  <a:pt x="1557422" y="916620"/>
                </a:cubicBezTo>
                <a:cubicBezTo>
                  <a:pt x="1557422" y="910807"/>
                  <a:pt x="1561539" y="910807"/>
                  <a:pt x="1560511" y="903832"/>
                </a:cubicBezTo>
                <a:cubicBezTo>
                  <a:pt x="1560511" y="902670"/>
                  <a:pt x="1554333" y="896857"/>
                  <a:pt x="1554333" y="895695"/>
                </a:cubicBezTo>
                <a:cubicBezTo>
                  <a:pt x="1553304" y="889882"/>
                  <a:pt x="1554333" y="879420"/>
                  <a:pt x="1557422" y="879420"/>
                </a:cubicBezTo>
                <a:cubicBezTo>
                  <a:pt x="1563599" y="881744"/>
                  <a:pt x="1556392" y="903832"/>
                  <a:pt x="1567717" y="900345"/>
                </a:cubicBezTo>
                <a:cubicBezTo>
                  <a:pt x="1564629" y="872443"/>
                  <a:pt x="1563599" y="839893"/>
                  <a:pt x="1559481" y="821292"/>
                </a:cubicBezTo>
                <a:cubicBezTo>
                  <a:pt x="1555362" y="802692"/>
                  <a:pt x="1550214" y="784092"/>
                  <a:pt x="1549187" y="766653"/>
                </a:cubicBezTo>
                <a:cubicBezTo>
                  <a:pt x="1546098" y="741078"/>
                  <a:pt x="1547127" y="724802"/>
                  <a:pt x="1535801" y="712014"/>
                </a:cubicBezTo>
                <a:close/>
                <a:moveTo>
                  <a:pt x="1729269" y="702242"/>
                </a:moveTo>
                <a:cubicBezTo>
                  <a:pt x="1728320" y="702569"/>
                  <a:pt x="1727549" y="704168"/>
                  <a:pt x="1727292" y="707365"/>
                </a:cubicBezTo>
                <a:cubicBezTo>
                  <a:pt x="1727292" y="705039"/>
                  <a:pt x="1730380" y="710853"/>
                  <a:pt x="1730380" y="712014"/>
                </a:cubicBezTo>
                <a:cubicBezTo>
                  <a:pt x="1731410" y="716665"/>
                  <a:pt x="1729351" y="723640"/>
                  <a:pt x="1733468" y="724802"/>
                </a:cubicBezTo>
                <a:cubicBezTo>
                  <a:pt x="1736556" y="711724"/>
                  <a:pt x="1732117" y="701262"/>
                  <a:pt x="1729269" y="702242"/>
                </a:cubicBezTo>
                <a:close/>
                <a:moveTo>
                  <a:pt x="1674240" y="690635"/>
                </a:moveTo>
                <a:cubicBezTo>
                  <a:pt x="1677424" y="690145"/>
                  <a:pt x="1679162" y="701261"/>
                  <a:pt x="1676845" y="703876"/>
                </a:cubicBezTo>
                <a:cubicBezTo>
                  <a:pt x="1675816" y="706202"/>
                  <a:pt x="1672726" y="693414"/>
                  <a:pt x="1670669" y="695739"/>
                </a:cubicBezTo>
                <a:cubicBezTo>
                  <a:pt x="1671955" y="692252"/>
                  <a:pt x="1673178" y="690798"/>
                  <a:pt x="1674240" y="690635"/>
                </a:cubicBezTo>
                <a:close/>
                <a:moveTo>
                  <a:pt x="1541979" y="656213"/>
                </a:moveTo>
                <a:cubicBezTo>
                  <a:pt x="1540949" y="665513"/>
                  <a:pt x="1544038" y="675977"/>
                  <a:pt x="1546098" y="685277"/>
                </a:cubicBezTo>
                <a:cubicBezTo>
                  <a:pt x="1547127" y="695739"/>
                  <a:pt x="1545068" y="713176"/>
                  <a:pt x="1555362" y="710853"/>
                </a:cubicBezTo>
                <a:cubicBezTo>
                  <a:pt x="1551244" y="692252"/>
                  <a:pt x="1550214" y="669001"/>
                  <a:pt x="1541979" y="656213"/>
                </a:cubicBezTo>
                <a:close/>
                <a:moveTo>
                  <a:pt x="1522418" y="644589"/>
                </a:moveTo>
                <a:cubicBezTo>
                  <a:pt x="1523448" y="657376"/>
                  <a:pt x="1524477" y="670163"/>
                  <a:pt x="1532714" y="673651"/>
                </a:cubicBezTo>
                <a:cubicBezTo>
                  <a:pt x="1528595" y="664351"/>
                  <a:pt x="1530655" y="646912"/>
                  <a:pt x="1522418" y="644589"/>
                </a:cubicBezTo>
                <a:close/>
                <a:moveTo>
                  <a:pt x="1631547" y="638775"/>
                </a:moveTo>
                <a:cubicBezTo>
                  <a:pt x="1627428" y="643426"/>
                  <a:pt x="1627428" y="653887"/>
                  <a:pt x="1634636" y="655051"/>
                </a:cubicBezTo>
                <a:cubicBezTo>
                  <a:pt x="1633605" y="649238"/>
                  <a:pt x="1635664" y="639938"/>
                  <a:pt x="1631547" y="638775"/>
                </a:cubicBezTo>
                <a:close/>
                <a:moveTo>
                  <a:pt x="1559481" y="622499"/>
                </a:moveTo>
                <a:cubicBezTo>
                  <a:pt x="1557422" y="625988"/>
                  <a:pt x="1553304" y="645750"/>
                  <a:pt x="1560511" y="648076"/>
                </a:cubicBezTo>
                <a:cubicBezTo>
                  <a:pt x="1564629" y="653887"/>
                  <a:pt x="1562570" y="669001"/>
                  <a:pt x="1570805" y="669001"/>
                </a:cubicBezTo>
                <a:cubicBezTo>
                  <a:pt x="1564629" y="655051"/>
                  <a:pt x="1569776" y="627150"/>
                  <a:pt x="1559481" y="622499"/>
                </a:cubicBezTo>
                <a:close/>
                <a:moveTo>
                  <a:pt x="1428862" y="618577"/>
                </a:moveTo>
                <a:cubicBezTo>
                  <a:pt x="1429763" y="617850"/>
                  <a:pt x="1430792" y="618431"/>
                  <a:pt x="1430792" y="620175"/>
                </a:cubicBezTo>
                <a:cubicBezTo>
                  <a:pt x="1431821" y="632963"/>
                  <a:pt x="1437999" y="635288"/>
                  <a:pt x="1444175" y="641101"/>
                </a:cubicBezTo>
                <a:cubicBezTo>
                  <a:pt x="1442117" y="659702"/>
                  <a:pt x="1455500" y="670163"/>
                  <a:pt x="1448293" y="682952"/>
                </a:cubicBezTo>
                <a:cubicBezTo>
                  <a:pt x="1458588" y="681788"/>
                  <a:pt x="1450352" y="706202"/>
                  <a:pt x="1455500" y="712014"/>
                </a:cubicBezTo>
                <a:cubicBezTo>
                  <a:pt x="1455500" y="712014"/>
                  <a:pt x="1458588" y="710853"/>
                  <a:pt x="1458588" y="712014"/>
                </a:cubicBezTo>
                <a:cubicBezTo>
                  <a:pt x="1459618" y="713176"/>
                  <a:pt x="1457559" y="718990"/>
                  <a:pt x="1458588" y="720153"/>
                </a:cubicBezTo>
                <a:cubicBezTo>
                  <a:pt x="1462706" y="724802"/>
                  <a:pt x="1459618" y="732941"/>
                  <a:pt x="1462706" y="745728"/>
                </a:cubicBezTo>
                <a:cubicBezTo>
                  <a:pt x="1464766" y="752704"/>
                  <a:pt x="1467855" y="760842"/>
                  <a:pt x="1469913" y="766653"/>
                </a:cubicBezTo>
                <a:cubicBezTo>
                  <a:pt x="1471973" y="772466"/>
                  <a:pt x="1473002" y="779441"/>
                  <a:pt x="1476089" y="782929"/>
                </a:cubicBezTo>
                <a:cubicBezTo>
                  <a:pt x="1474031" y="788741"/>
                  <a:pt x="1480208" y="805017"/>
                  <a:pt x="1473002" y="803855"/>
                </a:cubicBezTo>
                <a:cubicBezTo>
                  <a:pt x="1491532" y="822455"/>
                  <a:pt x="1481238" y="856168"/>
                  <a:pt x="1484326" y="882907"/>
                </a:cubicBezTo>
                <a:cubicBezTo>
                  <a:pt x="1486386" y="896857"/>
                  <a:pt x="1492562" y="909645"/>
                  <a:pt x="1494621" y="924758"/>
                </a:cubicBezTo>
                <a:cubicBezTo>
                  <a:pt x="1495651" y="931733"/>
                  <a:pt x="1494621" y="944521"/>
                  <a:pt x="1495651" y="953821"/>
                </a:cubicBezTo>
                <a:cubicBezTo>
                  <a:pt x="1496681" y="961959"/>
                  <a:pt x="1498739" y="965446"/>
                  <a:pt x="1498739" y="970096"/>
                </a:cubicBezTo>
                <a:cubicBezTo>
                  <a:pt x="1498739" y="978235"/>
                  <a:pt x="1495651" y="981721"/>
                  <a:pt x="1495651" y="986373"/>
                </a:cubicBezTo>
                <a:cubicBezTo>
                  <a:pt x="1497711" y="1001485"/>
                  <a:pt x="1502858" y="1023572"/>
                  <a:pt x="1506975" y="1044499"/>
                </a:cubicBezTo>
                <a:cubicBezTo>
                  <a:pt x="1508005" y="1053799"/>
                  <a:pt x="1510064" y="1064263"/>
                  <a:pt x="1511094" y="1073561"/>
                </a:cubicBezTo>
                <a:cubicBezTo>
                  <a:pt x="1512123" y="1081699"/>
                  <a:pt x="1516242" y="1091000"/>
                  <a:pt x="1512123" y="1099137"/>
                </a:cubicBezTo>
                <a:cubicBezTo>
                  <a:pt x="1500799" y="1100300"/>
                  <a:pt x="1503888" y="1078212"/>
                  <a:pt x="1495651" y="1074724"/>
                </a:cubicBezTo>
                <a:cubicBezTo>
                  <a:pt x="1500799" y="1053799"/>
                  <a:pt x="1494621" y="1039847"/>
                  <a:pt x="1491532" y="1016597"/>
                </a:cubicBezTo>
                <a:cubicBezTo>
                  <a:pt x="1489473" y="1004973"/>
                  <a:pt x="1489473" y="989860"/>
                  <a:pt x="1487415" y="979397"/>
                </a:cubicBezTo>
                <a:cubicBezTo>
                  <a:pt x="1486386" y="973583"/>
                  <a:pt x="1481238" y="965446"/>
                  <a:pt x="1480208" y="958472"/>
                </a:cubicBezTo>
                <a:cubicBezTo>
                  <a:pt x="1479179" y="949171"/>
                  <a:pt x="1477120" y="935221"/>
                  <a:pt x="1476089" y="924758"/>
                </a:cubicBezTo>
                <a:cubicBezTo>
                  <a:pt x="1475061" y="916620"/>
                  <a:pt x="1476089" y="916620"/>
                  <a:pt x="1473002" y="911970"/>
                </a:cubicBezTo>
                <a:cubicBezTo>
                  <a:pt x="1473002" y="911970"/>
                  <a:pt x="1476089" y="904996"/>
                  <a:pt x="1476089" y="903832"/>
                </a:cubicBezTo>
                <a:cubicBezTo>
                  <a:pt x="1476089" y="901507"/>
                  <a:pt x="1476089" y="898019"/>
                  <a:pt x="1476089" y="895695"/>
                </a:cubicBezTo>
                <a:cubicBezTo>
                  <a:pt x="1475061" y="888719"/>
                  <a:pt x="1470943" y="886395"/>
                  <a:pt x="1469913" y="879420"/>
                </a:cubicBezTo>
                <a:cubicBezTo>
                  <a:pt x="1467855" y="870120"/>
                  <a:pt x="1469913" y="860819"/>
                  <a:pt x="1468883" y="850356"/>
                </a:cubicBezTo>
                <a:cubicBezTo>
                  <a:pt x="1465795" y="823617"/>
                  <a:pt x="1454471" y="794554"/>
                  <a:pt x="1453441" y="766653"/>
                </a:cubicBezTo>
                <a:cubicBezTo>
                  <a:pt x="1456530" y="768979"/>
                  <a:pt x="1458588" y="771303"/>
                  <a:pt x="1462706" y="770142"/>
                </a:cubicBezTo>
                <a:cubicBezTo>
                  <a:pt x="1459618" y="751541"/>
                  <a:pt x="1451382" y="739915"/>
                  <a:pt x="1446235" y="724802"/>
                </a:cubicBezTo>
                <a:cubicBezTo>
                  <a:pt x="1446235" y="713176"/>
                  <a:pt x="1445205" y="702715"/>
                  <a:pt x="1445205" y="691089"/>
                </a:cubicBezTo>
                <a:cubicBezTo>
                  <a:pt x="1446235" y="678301"/>
                  <a:pt x="1436969" y="680626"/>
                  <a:pt x="1434910" y="670163"/>
                </a:cubicBezTo>
                <a:cubicBezTo>
                  <a:pt x="1430792" y="653887"/>
                  <a:pt x="1435939" y="652726"/>
                  <a:pt x="1430792" y="641101"/>
                </a:cubicBezTo>
                <a:cubicBezTo>
                  <a:pt x="1431821" y="631801"/>
                  <a:pt x="1428732" y="630637"/>
                  <a:pt x="1427703" y="624825"/>
                </a:cubicBezTo>
                <a:cubicBezTo>
                  <a:pt x="1427188" y="621338"/>
                  <a:pt x="1427961" y="619303"/>
                  <a:pt x="1428862" y="618577"/>
                </a:cubicBezTo>
                <a:close/>
                <a:moveTo>
                  <a:pt x="1624340" y="613199"/>
                </a:moveTo>
                <a:cubicBezTo>
                  <a:pt x="1624340" y="623662"/>
                  <a:pt x="1626400" y="630637"/>
                  <a:pt x="1631547" y="634125"/>
                </a:cubicBezTo>
                <a:cubicBezTo>
                  <a:pt x="1631547" y="623662"/>
                  <a:pt x="1631547" y="613199"/>
                  <a:pt x="1624340" y="613199"/>
                </a:cubicBezTo>
                <a:close/>
                <a:moveTo>
                  <a:pt x="1515212" y="610875"/>
                </a:moveTo>
                <a:cubicBezTo>
                  <a:pt x="1515212" y="617850"/>
                  <a:pt x="1517271" y="621337"/>
                  <a:pt x="1521388" y="623662"/>
                </a:cubicBezTo>
                <a:cubicBezTo>
                  <a:pt x="1521388" y="616688"/>
                  <a:pt x="1521388" y="609713"/>
                  <a:pt x="1515212" y="610875"/>
                </a:cubicBezTo>
                <a:close/>
                <a:moveTo>
                  <a:pt x="1702325" y="574255"/>
                </a:moveTo>
                <a:cubicBezTo>
                  <a:pt x="1701811" y="574836"/>
                  <a:pt x="1702582" y="577161"/>
                  <a:pt x="1704642" y="581812"/>
                </a:cubicBezTo>
                <a:cubicBezTo>
                  <a:pt x="1704642" y="601575"/>
                  <a:pt x="1710819" y="592274"/>
                  <a:pt x="1707730" y="577161"/>
                </a:cubicBezTo>
                <a:cubicBezTo>
                  <a:pt x="1704642" y="574836"/>
                  <a:pt x="1702840" y="573674"/>
                  <a:pt x="1702325" y="574255"/>
                </a:cubicBezTo>
                <a:close/>
                <a:moveTo>
                  <a:pt x="1586248" y="571348"/>
                </a:moveTo>
                <a:cubicBezTo>
                  <a:pt x="1587277" y="599249"/>
                  <a:pt x="1587277" y="628313"/>
                  <a:pt x="1597572" y="642263"/>
                </a:cubicBezTo>
                <a:cubicBezTo>
                  <a:pt x="1595514" y="629475"/>
                  <a:pt x="1595514" y="617850"/>
                  <a:pt x="1593455" y="608550"/>
                </a:cubicBezTo>
                <a:cubicBezTo>
                  <a:pt x="1593455" y="607387"/>
                  <a:pt x="1590367" y="602737"/>
                  <a:pt x="1590367" y="603899"/>
                </a:cubicBezTo>
                <a:cubicBezTo>
                  <a:pt x="1590367" y="598087"/>
                  <a:pt x="1594485" y="598087"/>
                  <a:pt x="1593455" y="591112"/>
                </a:cubicBezTo>
                <a:cubicBezTo>
                  <a:pt x="1592425" y="587623"/>
                  <a:pt x="1588307" y="572511"/>
                  <a:pt x="1586248" y="571348"/>
                </a:cubicBezTo>
                <a:close/>
                <a:moveTo>
                  <a:pt x="1686111" y="552748"/>
                </a:moveTo>
                <a:cubicBezTo>
                  <a:pt x="1678904" y="559724"/>
                  <a:pt x="1690229" y="563211"/>
                  <a:pt x="1683023" y="565536"/>
                </a:cubicBezTo>
                <a:cubicBezTo>
                  <a:pt x="1681993" y="562048"/>
                  <a:pt x="1679933" y="560886"/>
                  <a:pt x="1676845" y="562048"/>
                </a:cubicBezTo>
                <a:cubicBezTo>
                  <a:pt x="1680963" y="580648"/>
                  <a:pt x="1690229" y="593437"/>
                  <a:pt x="1688169" y="620175"/>
                </a:cubicBezTo>
                <a:cubicBezTo>
                  <a:pt x="1692287" y="623662"/>
                  <a:pt x="1694347" y="630637"/>
                  <a:pt x="1698465" y="636451"/>
                </a:cubicBezTo>
                <a:cubicBezTo>
                  <a:pt x="1697436" y="652726"/>
                  <a:pt x="1704642" y="659702"/>
                  <a:pt x="1702582" y="678301"/>
                </a:cubicBezTo>
                <a:cubicBezTo>
                  <a:pt x="1710819" y="679464"/>
                  <a:pt x="1706701" y="696901"/>
                  <a:pt x="1709789" y="702715"/>
                </a:cubicBezTo>
                <a:cubicBezTo>
                  <a:pt x="1710819" y="705039"/>
                  <a:pt x="1719055" y="702715"/>
                  <a:pt x="1715967" y="710853"/>
                </a:cubicBezTo>
                <a:cubicBezTo>
                  <a:pt x="1714937" y="717828"/>
                  <a:pt x="1706701" y="714340"/>
                  <a:pt x="1709789" y="728290"/>
                </a:cubicBezTo>
                <a:cubicBezTo>
                  <a:pt x="1713908" y="729453"/>
                  <a:pt x="1714937" y="732941"/>
                  <a:pt x="1719055" y="728290"/>
                </a:cubicBezTo>
                <a:cubicBezTo>
                  <a:pt x="1720085" y="731777"/>
                  <a:pt x="1719055" y="736428"/>
                  <a:pt x="1722143" y="736428"/>
                </a:cubicBezTo>
                <a:cubicBezTo>
                  <a:pt x="1722143" y="695739"/>
                  <a:pt x="1707730" y="675977"/>
                  <a:pt x="1706701" y="636451"/>
                </a:cubicBezTo>
                <a:cubicBezTo>
                  <a:pt x="1703612" y="635288"/>
                  <a:pt x="1702582" y="630637"/>
                  <a:pt x="1700524" y="628313"/>
                </a:cubicBezTo>
                <a:cubicBezTo>
                  <a:pt x="1697436" y="624825"/>
                  <a:pt x="1693318" y="624825"/>
                  <a:pt x="1694347" y="615524"/>
                </a:cubicBezTo>
                <a:cubicBezTo>
                  <a:pt x="1701554" y="591112"/>
                  <a:pt x="1697436" y="570186"/>
                  <a:pt x="1686111" y="552748"/>
                </a:cubicBezTo>
                <a:close/>
                <a:moveTo>
                  <a:pt x="1372110" y="536472"/>
                </a:moveTo>
                <a:cubicBezTo>
                  <a:pt x="1382406" y="536472"/>
                  <a:pt x="1379317" y="552748"/>
                  <a:pt x="1382406" y="565536"/>
                </a:cubicBezTo>
                <a:cubicBezTo>
                  <a:pt x="1382406" y="566699"/>
                  <a:pt x="1385493" y="565536"/>
                  <a:pt x="1385493" y="570186"/>
                </a:cubicBezTo>
                <a:cubicBezTo>
                  <a:pt x="1386523" y="586461"/>
                  <a:pt x="1391670" y="606224"/>
                  <a:pt x="1395789" y="624825"/>
                </a:cubicBezTo>
                <a:cubicBezTo>
                  <a:pt x="1397847" y="635288"/>
                  <a:pt x="1400936" y="644589"/>
                  <a:pt x="1402995" y="653887"/>
                </a:cubicBezTo>
                <a:cubicBezTo>
                  <a:pt x="1405055" y="669001"/>
                  <a:pt x="1398876" y="667839"/>
                  <a:pt x="1404024" y="682952"/>
                </a:cubicBezTo>
                <a:cubicBezTo>
                  <a:pt x="1405055" y="686440"/>
                  <a:pt x="1407113" y="687601"/>
                  <a:pt x="1407113" y="691089"/>
                </a:cubicBezTo>
                <a:cubicBezTo>
                  <a:pt x="1410202" y="705039"/>
                  <a:pt x="1398876" y="700389"/>
                  <a:pt x="1397847" y="708527"/>
                </a:cubicBezTo>
                <a:cubicBezTo>
                  <a:pt x="1400936" y="713176"/>
                  <a:pt x="1401965" y="720153"/>
                  <a:pt x="1401965" y="729453"/>
                </a:cubicBezTo>
                <a:cubicBezTo>
                  <a:pt x="1393730" y="728290"/>
                  <a:pt x="1397847" y="712014"/>
                  <a:pt x="1395789" y="709690"/>
                </a:cubicBezTo>
                <a:cubicBezTo>
                  <a:pt x="1395789" y="709690"/>
                  <a:pt x="1392700" y="709690"/>
                  <a:pt x="1392700" y="709690"/>
                </a:cubicBezTo>
                <a:cubicBezTo>
                  <a:pt x="1391670" y="701553"/>
                  <a:pt x="1395789" y="698065"/>
                  <a:pt x="1395789" y="693414"/>
                </a:cubicBezTo>
                <a:cubicBezTo>
                  <a:pt x="1394759" y="688764"/>
                  <a:pt x="1389612" y="682952"/>
                  <a:pt x="1389612" y="677139"/>
                </a:cubicBezTo>
                <a:cubicBezTo>
                  <a:pt x="1387552" y="660864"/>
                  <a:pt x="1389612" y="644589"/>
                  <a:pt x="1385493" y="630637"/>
                </a:cubicBezTo>
                <a:cubicBezTo>
                  <a:pt x="1385493" y="629475"/>
                  <a:pt x="1386523" y="623662"/>
                  <a:pt x="1385493" y="622499"/>
                </a:cubicBezTo>
                <a:cubicBezTo>
                  <a:pt x="1381374" y="617850"/>
                  <a:pt x="1383433" y="614362"/>
                  <a:pt x="1382406" y="606224"/>
                </a:cubicBezTo>
                <a:cubicBezTo>
                  <a:pt x="1381374" y="602737"/>
                  <a:pt x="1379317" y="601575"/>
                  <a:pt x="1379317" y="598087"/>
                </a:cubicBezTo>
                <a:cubicBezTo>
                  <a:pt x="1378287" y="592274"/>
                  <a:pt x="1379317" y="586461"/>
                  <a:pt x="1379317" y="581812"/>
                </a:cubicBezTo>
                <a:cubicBezTo>
                  <a:pt x="1376227" y="565536"/>
                  <a:pt x="1370050" y="551586"/>
                  <a:pt x="1372110" y="536472"/>
                </a:cubicBezTo>
                <a:close/>
                <a:moveTo>
                  <a:pt x="1516242" y="519036"/>
                </a:moveTo>
                <a:cubicBezTo>
                  <a:pt x="1522418" y="528335"/>
                  <a:pt x="1515212" y="557398"/>
                  <a:pt x="1526537" y="560886"/>
                </a:cubicBezTo>
                <a:cubicBezTo>
                  <a:pt x="1525506" y="543449"/>
                  <a:pt x="1525506" y="524848"/>
                  <a:pt x="1516242" y="519036"/>
                </a:cubicBezTo>
                <a:close/>
                <a:moveTo>
                  <a:pt x="1496681" y="489971"/>
                </a:moveTo>
                <a:cubicBezTo>
                  <a:pt x="1501829" y="516710"/>
                  <a:pt x="1497711" y="555073"/>
                  <a:pt x="1508005" y="565536"/>
                </a:cubicBezTo>
                <a:cubicBezTo>
                  <a:pt x="1509035" y="566699"/>
                  <a:pt x="1508005" y="572511"/>
                  <a:pt x="1508005" y="573674"/>
                </a:cubicBezTo>
                <a:cubicBezTo>
                  <a:pt x="1508005" y="573674"/>
                  <a:pt x="1511094" y="573674"/>
                  <a:pt x="1511094" y="573674"/>
                </a:cubicBezTo>
                <a:cubicBezTo>
                  <a:pt x="1516242" y="579486"/>
                  <a:pt x="1511094" y="605062"/>
                  <a:pt x="1518301" y="602737"/>
                </a:cubicBezTo>
                <a:cubicBezTo>
                  <a:pt x="1519329" y="581812"/>
                  <a:pt x="1511094" y="560886"/>
                  <a:pt x="1506975" y="539960"/>
                </a:cubicBezTo>
                <a:cubicBezTo>
                  <a:pt x="1503888" y="522522"/>
                  <a:pt x="1509035" y="499272"/>
                  <a:pt x="1496681" y="489971"/>
                </a:cubicBezTo>
                <a:close/>
                <a:moveTo>
                  <a:pt x="1512123" y="473696"/>
                </a:moveTo>
                <a:cubicBezTo>
                  <a:pt x="1513153" y="486483"/>
                  <a:pt x="1508005" y="509735"/>
                  <a:pt x="1519329" y="510896"/>
                </a:cubicBezTo>
                <a:cubicBezTo>
                  <a:pt x="1517271" y="498109"/>
                  <a:pt x="1517271" y="478346"/>
                  <a:pt x="1512123" y="473696"/>
                </a:cubicBezTo>
                <a:close/>
                <a:moveTo>
                  <a:pt x="1354720" y="468574"/>
                </a:moveTo>
                <a:cubicBezTo>
                  <a:pt x="1356796" y="469337"/>
                  <a:pt x="1358726" y="481544"/>
                  <a:pt x="1361814" y="480671"/>
                </a:cubicBezTo>
                <a:cubicBezTo>
                  <a:pt x="1361814" y="487647"/>
                  <a:pt x="1361814" y="494621"/>
                  <a:pt x="1362844" y="501597"/>
                </a:cubicBezTo>
                <a:cubicBezTo>
                  <a:pt x="1356667" y="510896"/>
                  <a:pt x="1359756" y="472534"/>
                  <a:pt x="1352548" y="472534"/>
                </a:cubicBezTo>
                <a:cubicBezTo>
                  <a:pt x="1353321" y="469337"/>
                  <a:pt x="1354029" y="468320"/>
                  <a:pt x="1354720" y="468574"/>
                </a:cubicBezTo>
                <a:close/>
                <a:moveTo>
                  <a:pt x="1682653" y="465486"/>
                </a:moveTo>
                <a:cubicBezTo>
                  <a:pt x="1681863" y="465413"/>
                  <a:pt x="1681221" y="466430"/>
                  <a:pt x="1680963" y="469045"/>
                </a:cubicBezTo>
                <a:cubicBezTo>
                  <a:pt x="1686111" y="469045"/>
                  <a:pt x="1683023" y="480671"/>
                  <a:pt x="1687140" y="481834"/>
                </a:cubicBezTo>
                <a:cubicBezTo>
                  <a:pt x="1688685" y="475730"/>
                  <a:pt x="1685016" y="465704"/>
                  <a:pt x="1682653" y="465486"/>
                </a:cubicBezTo>
                <a:close/>
                <a:moveTo>
                  <a:pt x="1561539" y="459746"/>
                </a:moveTo>
                <a:cubicBezTo>
                  <a:pt x="1560511" y="469045"/>
                  <a:pt x="1562570" y="474858"/>
                  <a:pt x="1567717" y="476022"/>
                </a:cubicBezTo>
                <a:cubicBezTo>
                  <a:pt x="1566687" y="469045"/>
                  <a:pt x="1570805" y="455095"/>
                  <a:pt x="1561539" y="459746"/>
                </a:cubicBezTo>
                <a:close/>
                <a:moveTo>
                  <a:pt x="1504916" y="451608"/>
                </a:moveTo>
                <a:cubicBezTo>
                  <a:pt x="1504916" y="458583"/>
                  <a:pt x="1508005" y="462070"/>
                  <a:pt x="1511094" y="464396"/>
                </a:cubicBezTo>
                <a:cubicBezTo>
                  <a:pt x="1511094" y="458583"/>
                  <a:pt x="1511094" y="450446"/>
                  <a:pt x="1504916" y="451608"/>
                </a:cubicBezTo>
                <a:close/>
                <a:moveTo>
                  <a:pt x="1489473" y="448120"/>
                </a:moveTo>
                <a:cubicBezTo>
                  <a:pt x="1485356" y="452770"/>
                  <a:pt x="1494621" y="476022"/>
                  <a:pt x="1495651" y="460908"/>
                </a:cubicBezTo>
                <a:cubicBezTo>
                  <a:pt x="1495651" y="460908"/>
                  <a:pt x="1492562" y="460908"/>
                  <a:pt x="1492562" y="460908"/>
                </a:cubicBezTo>
                <a:cubicBezTo>
                  <a:pt x="1492562" y="458583"/>
                  <a:pt x="1491532" y="444632"/>
                  <a:pt x="1489473" y="448120"/>
                </a:cubicBezTo>
                <a:close/>
                <a:moveTo>
                  <a:pt x="1278424" y="431845"/>
                </a:moveTo>
                <a:cubicBezTo>
                  <a:pt x="1291807" y="451608"/>
                  <a:pt x="1292837" y="482996"/>
                  <a:pt x="1296956" y="510896"/>
                </a:cubicBezTo>
                <a:cubicBezTo>
                  <a:pt x="1299014" y="514384"/>
                  <a:pt x="1303132" y="516710"/>
                  <a:pt x="1306220" y="519036"/>
                </a:cubicBezTo>
                <a:cubicBezTo>
                  <a:pt x="1305192" y="535311"/>
                  <a:pt x="1312398" y="538798"/>
                  <a:pt x="1310339" y="556235"/>
                </a:cubicBezTo>
                <a:cubicBezTo>
                  <a:pt x="1316516" y="565536"/>
                  <a:pt x="1315487" y="584136"/>
                  <a:pt x="1326811" y="585300"/>
                </a:cubicBezTo>
                <a:cubicBezTo>
                  <a:pt x="1324751" y="600413"/>
                  <a:pt x="1337106" y="616688"/>
                  <a:pt x="1327840" y="627150"/>
                </a:cubicBezTo>
                <a:cubicBezTo>
                  <a:pt x="1327840" y="635288"/>
                  <a:pt x="1337106" y="638775"/>
                  <a:pt x="1338136" y="648076"/>
                </a:cubicBezTo>
                <a:cubicBezTo>
                  <a:pt x="1338136" y="649238"/>
                  <a:pt x="1338136" y="651564"/>
                  <a:pt x="1338136" y="652726"/>
                </a:cubicBezTo>
                <a:cubicBezTo>
                  <a:pt x="1340194" y="657376"/>
                  <a:pt x="1339164" y="664351"/>
                  <a:pt x="1342254" y="678301"/>
                </a:cubicBezTo>
                <a:cubicBezTo>
                  <a:pt x="1343283" y="685277"/>
                  <a:pt x="1351520" y="689927"/>
                  <a:pt x="1349461" y="702715"/>
                </a:cubicBezTo>
                <a:cubicBezTo>
                  <a:pt x="1348431" y="709690"/>
                  <a:pt x="1346372" y="707365"/>
                  <a:pt x="1349461" y="718990"/>
                </a:cubicBezTo>
                <a:cubicBezTo>
                  <a:pt x="1349461" y="720153"/>
                  <a:pt x="1351520" y="720153"/>
                  <a:pt x="1352548" y="723640"/>
                </a:cubicBezTo>
                <a:cubicBezTo>
                  <a:pt x="1355637" y="736428"/>
                  <a:pt x="1353579" y="764329"/>
                  <a:pt x="1362844" y="773629"/>
                </a:cubicBezTo>
                <a:cubicBezTo>
                  <a:pt x="1354607" y="803855"/>
                  <a:pt x="1377257" y="813154"/>
                  <a:pt x="1380346" y="839893"/>
                </a:cubicBezTo>
                <a:cubicBezTo>
                  <a:pt x="1381374" y="843381"/>
                  <a:pt x="1383433" y="846868"/>
                  <a:pt x="1386523" y="848030"/>
                </a:cubicBezTo>
                <a:cubicBezTo>
                  <a:pt x="1389612" y="849193"/>
                  <a:pt x="1388581" y="856168"/>
                  <a:pt x="1392700" y="856168"/>
                </a:cubicBezTo>
                <a:cubicBezTo>
                  <a:pt x="1390641" y="859656"/>
                  <a:pt x="1387552" y="863143"/>
                  <a:pt x="1383433" y="864306"/>
                </a:cubicBezTo>
                <a:cubicBezTo>
                  <a:pt x="1383433" y="871281"/>
                  <a:pt x="1383433" y="878257"/>
                  <a:pt x="1384463" y="885232"/>
                </a:cubicBezTo>
                <a:cubicBezTo>
                  <a:pt x="1386523" y="898019"/>
                  <a:pt x="1390641" y="888719"/>
                  <a:pt x="1393730" y="888719"/>
                </a:cubicBezTo>
                <a:cubicBezTo>
                  <a:pt x="1392700" y="888719"/>
                  <a:pt x="1394759" y="881744"/>
                  <a:pt x="1396817" y="884069"/>
                </a:cubicBezTo>
                <a:cubicBezTo>
                  <a:pt x="1398876" y="887557"/>
                  <a:pt x="1398876" y="892206"/>
                  <a:pt x="1402995" y="892206"/>
                </a:cubicBezTo>
                <a:cubicBezTo>
                  <a:pt x="1401965" y="901507"/>
                  <a:pt x="1404024" y="908483"/>
                  <a:pt x="1407113" y="913133"/>
                </a:cubicBezTo>
                <a:cubicBezTo>
                  <a:pt x="1409173" y="925920"/>
                  <a:pt x="1398876" y="924758"/>
                  <a:pt x="1397847" y="934058"/>
                </a:cubicBezTo>
                <a:cubicBezTo>
                  <a:pt x="1397847" y="948008"/>
                  <a:pt x="1398876" y="961959"/>
                  <a:pt x="1398876" y="975909"/>
                </a:cubicBezTo>
                <a:cubicBezTo>
                  <a:pt x="1399906" y="991022"/>
                  <a:pt x="1411231" y="975909"/>
                  <a:pt x="1411231" y="984047"/>
                </a:cubicBezTo>
                <a:cubicBezTo>
                  <a:pt x="1411231" y="993347"/>
                  <a:pt x="1411231" y="1003810"/>
                  <a:pt x="1412260" y="1013110"/>
                </a:cubicBezTo>
                <a:cubicBezTo>
                  <a:pt x="1414319" y="1029386"/>
                  <a:pt x="1426674" y="1047986"/>
                  <a:pt x="1419467" y="1063099"/>
                </a:cubicBezTo>
                <a:cubicBezTo>
                  <a:pt x="1426674" y="1071238"/>
                  <a:pt x="1427703" y="1079375"/>
                  <a:pt x="1429762" y="1100300"/>
                </a:cubicBezTo>
                <a:cubicBezTo>
                  <a:pt x="1430792" y="1108437"/>
                  <a:pt x="1430792" y="1115413"/>
                  <a:pt x="1433880" y="1129363"/>
                </a:cubicBezTo>
                <a:cubicBezTo>
                  <a:pt x="1434910" y="1136338"/>
                  <a:pt x="1440057" y="1163077"/>
                  <a:pt x="1437999" y="1184001"/>
                </a:cubicBezTo>
                <a:cubicBezTo>
                  <a:pt x="1437999" y="1194465"/>
                  <a:pt x="1443145" y="1196791"/>
                  <a:pt x="1448293" y="1200277"/>
                </a:cubicBezTo>
                <a:cubicBezTo>
                  <a:pt x="1446235" y="1203766"/>
                  <a:pt x="1444175" y="1211904"/>
                  <a:pt x="1448293" y="1213066"/>
                </a:cubicBezTo>
                <a:cubicBezTo>
                  <a:pt x="1451382" y="1225853"/>
                  <a:pt x="1445205" y="1228178"/>
                  <a:pt x="1446235" y="1238642"/>
                </a:cubicBezTo>
                <a:cubicBezTo>
                  <a:pt x="1456530" y="1252591"/>
                  <a:pt x="1447263" y="1267704"/>
                  <a:pt x="1450352" y="1293280"/>
                </a:cubicBezTo>
                <a:cubicBezTo>
                  <a:pt x="1440057" y="1296767"/>
                  <a:pt x="1445205" y="1278167"/>
                  <a:pt x="1436969" y="1277004"/>
                </a:cubicBezTo>
                <a:cubicBezTo>
                  <a:pt x="1434910" y="1257241"/>
                  <a:pt x="1437999" y="1237478"/>
                  <a:pt x="1434910" y="1214228"/>
                </a:cubicBezTo>
                <a:cubicBezTo>
                  <a:pt x="1433880" y="1206090"/>
                  <a:pt x="1429762" y="1197953"/>
                  <a:pt x="1427703" y="1189815"/>
                </a:cubicBezTo>
                <a:cubicBezTo>
                  <a:pt x="1426674" y="1185165"/>
                  <a:pt x="1425645" y="1158426"/>
                  <a:pt x="1423586" y="1156102"/>
                </a:cubicBezTo>
                <a:cubicBezTo>
                  <a:pt x="1420496" y="1153777"/>
                  <a:pt x="1417407" y="1153777"/>
                  <a:pt x="1417407" y="1147964"/>
                </a:cubicBezTo>
                <a:cubicBezTo>
                  <a:pt x="1416379" y="1140988"/>
                  <a:pt x="1420496" y="1140988"/>
                  <a:pt x="1420496" y="1135176"/>
                </a:cubicBezTo>
                <a:cubicBezTo>
                  <a:pt x="1420496" y="1128201"/>
                  <a:pt x="1417407" y="1128201"/>
                  <a:pt x="1417407" y="1122389"/>
                </a:cubicBezTo>
                <a:cubicBezTo>
                  <a:pt x="1415349" y="1107275"/>
                  <a:pt x="1414319" y="1086349"/>
                  <a:pt x="1410202" y="1072400"/>
                </a:cubicBezTo>
                <a:cubicBezTo>
                  <a:pt x="1410202" y="1071238"/>
                  <a:pt x="1411231" y="1065424"/>
                  <a:pt x="1410202" y="1064263"/>
                </a:cubicBezTo>
                <a:cubicBezTo>
                  <a:pt x="1410202" y="1064263"/>
                  <a:pt x="1407113" y="1064263"/>
                  <a:pt x="1407113" y="1064263"/>
                </a:cubicBezTo>
                <a:cubicBezTo>
                  <a:pt x="1406083" y="1060774"/>
                  <a:pt x="1411231" y="1052637"/>
                  <a:pt x="1410202" y="1051473"/>
                </a:cubicBezTo>
                <a:cubicBezTo>
                  <a:pt x="1410202" y="1051473"/>
                  <a:pt x="1407113" y="1051473"/>
                  <a:pt x="1407113" y="1051473"/>
                </a:cubicBezTo>
                <a:cubicBezTo>
                  <a:pt x="1405055" y="1039847"/>
                  <a:pt x="1401965" y="1020085"/>
                  <a:pt x="1399906" y="1006135"/>
                </a:cubicBezTo>
                <a:cubicBezTo>
                  <a:pt x="1398876" y="1002648"/>
                  <a:pt x="1400936" y="996835"/>
                  <a:pt x="1399906" y="993347"/>
                </a:cubicBezTo>
                <a:cubicBezTo>
                  <a:pt x="1399906" y="992184"/>
                  <a:pt x="1396817" y="993347"/>
                  <a:pt x="1396817" y="988697"/>
                </a:cubicBezTo>
                <a:cubicBezTo>
                  <a:pt x="1396817" y="987535"/>
                  <a:pt x="1396817" y="985209"/>
                  <a:pt x="1396817" y="984047"/>
                </a:cubicBezTo>
                <a:cubicBezTo>
                  <a:pt x="1394759" y="979397"/>
                  <a:pt x="1392700" y="961959"/>
                  <a:pt x="1389612" y="946846"/>
                </a:cubicBezTo>
                <a:cubicBezTo>
                  <a:pt x="1387552" y="938707"/>
                  <a:pt x="1384463" y="929408"/>
                  <a:pt x="1382406" y="922432"/>
                </a:cubicBezTo>
                <a:cubicBezTo>
                  <a:pt x="1380346" y="910807"/>
                  <a:pt x="1381374" y="898019"/>
                  <a:pt x="1378287" y="885232"/>
                </a:cubicBezTo>
                <a:cubicBezTo>
                  <a:pt x="1375198" y="872443"/>
                  <a:pt x="1375198" y="864306"/>
                  <a:pt x="1371080" y="851519"/>
                </a:cubicBezTo>
                <a:cubicBezTo>
                  <a:pt x="1370050" y="849193"/>
                  <a:pt x="1367991" y="851519"/>
                  <a:pt x="1367991" y="846868"/>
                </a:cubicBezTo>
                <a:cubicBezTo>
                  <a:pt x="1367991" y="845707"/>
                  <a:pt x="1367991" y="843381"/>
                  <a:pt x="1367991" y="842219"/>
                </a:cubicBezTo>
                <a:cubicBezTo>
                  <a:pt x="1366963" y="839893"/>
                  <a:pt x="1362844" y="836406"/>
                  <a:pt x="1361814" y="834081"/>
                </a:cubicBezTo>
                <a:cubicBezTo>
                  <a:pt x="1360785" y="832917"/>
                  <a:pt x="1362844" y="827106"/>
                  <a:pt x="1361814" y="825942"/>
                </a:cubicBezTo>
                <a:cubicBezTo>
                  <a:pt x="1357696" y="821292"/>
                  <a:pt x="1359756" y="818968"/>
                  <a:pt x="1357696" y="805017"/>
                </a:cubicBezTo>
                <a:cubicBezTo>
                  <a:pt x="1356667" y="796879"/>
                  <a:pt x="1351520" y="791067"/>
                  <a:pt x="1350490" y="784092"/>
                </a:cubicBezTo>
                <a:cubicBezTo>
                  <a:pt x="1349461" y="778279"/>
                  <a:pt x="1350490" y="772466"/>
                  <a:pt x="1350490" y="767816"/>
                </a:cubicBezTo>
                <a:cubicBezTo>
                  <a:pt x="1348431" y="752704"/>
                  <a:pt x="1342254" y="741078"/>
                  <a:pt x="1343283" y="725966"/>
                </a:cubicBezTo>
                <a:cubicBezTo>
                  <a:pt x="1341224" y="716665"/>
                  <a:pt x="1332989" y="715502"/>
                  <a:pt x="1329900" y="705039"/>
                </a:cubicBezTo>
                <a:cubicBezTo>
                  <a:pt x="1331958" y="698065"/>
                  <a:pt x="1325781" y="680626"/>
                  <a:pt x="1331958" y="679464"/>
                </a:cubicBezTo>
                <a:cubicBezTo>
                  <a:pt x="1332989" y="670163"/>
                  <a:pt x="1322693" y="674814"/>
                  <a:pt x="1322693" y="666676"/>
                </a:cubicBezTo>
                <a:cubicBezTo>
                  <a:pt x="1323723" y="657376"/>
                  <a:pt x="1322693" y="651564"/>
                  <a:pt x="1318575" y="645750"/>
                </a:cubicBezTo>
                <a:cubicBezTo>
                  <a:pt x="1316516" y="642263"/>
                  <a:pt x="1316516" y="638775"/>
                  <a:pt x="1315487" y="632963"/>
                </a:cubicBezTo>
                <a:cubicBezTo>
                  <a:pt x="1315487" y="632963"/>
                  <a:pt x="1312398" y="621337"/>
                  <a:pt x="1312398" y="620175"/>
                </a:cubicBezTo>
                <a:cubicBezTo>
                  <a:pt x="1308280" y="615524"/>
                  <a:pt x="1310339" y="612036"/>
                  <a:pt x="1309308" y="603899"/>
                </a:cubicBezTo>
                <a:cubicBezTo>
                  <a:pt x="1308280" y="598087"/>
                  <a:pt x="1304162" y="596924"/>
                  <a:pt x="1303132" y="591112"/>
                </a:cubicBezTo>
                <a:cubicBezTo>
                  <a:pt x="1301074" y="582974"/>
                  <a:pt x="1305192" y="573674"/>
                  <a:pt x="1299014" y="565536"/>
                </a:cubicBezTo>
                <a:cubicBezTo>
                  <a:pt x="1295925" y="548098"/>
                  <a:pt x="1308280" y="550424"/>
                  <a:pt x="1304162" y="531823"/>
                </a:cubicBezTo>
                <a:cubicBezTo>
                  <a:pt x="1302103" y="519036"/>
                  <a:pt x="1292837" y="515548"/>
                  <a:pt x="1281513" y="515548"/>
                </a:cubicBezTo>
                <a:cubicBezTo>
                  <a:pt x="1281513" y="487647"/>
                  <a:pt x="1270188" y="476022"/>
                  <a:pt x="1270188" y="449283"/>
                </a:cubicBezTo>
                <a:cubicBezTo>
                  <a:pt x="1275335" y="448120"/>
                  <a:pt x="1276364" y="452770"/>
                  <a:pt x="1276364" y="457421"/>
                </a:cubicBezTo>
                <a:cubicBezTo>
                  <a:pt x="1283571" y="456258"/>
                  <a:pt x="1277394" y="439982"/>
                  <a:pt x="1278424" y="431845"/>
                </a:cubicBezTo>
                <a:close/>
                <a:moveTo>
                  <a:pt x="1264011" y="431845"/>
                </a:moveTo>
                <a:cubicBezTo>
                  <a:pt x="1270188" y="429520"/>
                  <a:pt x="1269158" y="437658"/>
                  <a:pt x="1270188" y="444632"/>
                </a:cubicBezTo>
                <a:cubicBezTo>
                  <a:pt x="1266070" y="442308"/>
                  <a:pt x="1264011" y="439982"/>
                  <a:pt x="1264011" y="431845"/>
                </a:cubicBezTo>
                <a:close/>
                <a:moveTo>
                  <a:pt x="1594211" y="429283"/>
                </a:moveTo>
                <a:cubicBezTo>
                  <a:pt x="1592039" y="428576"/>
                  <a:pt x="1588564" y="446668"/>
                  <a:pt x="1595514" y="445795"/>
                </a:cubicBezTo>
                <a:cubicBezTo>
                  <a:pt x="1595514" y="443471"/>
                  <a:pt x="1595514" y="439982"/>
                  <a:pt x="1595514" y="437658"/>
                </a:cubicBezTo>
                <a:cubicBezTo>
                  <a:pt x="1595514" y="431845"/>
                  <a:pt x="1594935" y="429520"/>
                  <a:pt x="1594211" y="429283"/>
                </a:cubicBezTo>
                <a:close/>
                <a:moveTo>
                  <a:pt x="1541979" y="422545"/>
                </a:moveTo>
                <a:cubicBezTo>
                  <a:pt x="1545068" y="429520"/>
                  <a:pt x="1544038" y="443471"/>
                  <a:pt x="1549187" y="446958"/>
                </a:cubicBezTo>
                <a:cubicBezTo>
                  <a:pt x="1552274" y="441146"/>
                  <a:pt x="1551244" y="421382"/>
                  <a:pt x="1541979" y="422545"/>
                </a:cubicBezTo>
                <a:close/>
                <a:moveTo>
                  <a:pt x="1482268" y="409758"/>
                </a:moveTo>
                <a:cubicBezTo>
                  <a:pt x="1483297" y="424870"/>
                  <a:pt x="1478149" y="446958"/>
                  <a:pt x="1492562" y="443471"/>
                </a:cubicBezTo>
                <a:cubicBezTo>
                  <a:pt x="1491532" y="429520"/>
                  <a:pt x="1488445" y="416732"/>
                  <a:pt x="1482268" y="409758"/>
                </a:cubicBezTo>
                <a:close/>
                <a:moveTo>
                  <a:pt x="1531684" y="393480"/>
                </a:moveTo>
                <a:cubicBezTo>
                  <a:pt x="1531684" y="407432"/>
                  <a:pt x="1535801" y="413244"/>
                  <a:pt x="1545068" y="414407"/>
                </a:cubicBezTo>
                <a:cubicBezTo>
                  <a:pt x="1545068" y="400457"/>
                  <a:pt x="1539920" y="393480"/>
                  <a:pt x="1531684" y="393480"/>
                </a:cubicBezTo>
                <a:close/>
                <a:moveTo>
                  <a:pt x="1261951" y="386506"/>
                </a:moveTo>
                <a:cubicBezTo>
                  <a:pt x="1261951" y="391157"/>
                  <a:pt x="1261951" y="394644"/>
                  <a:pt x="1261951" y="399294"/>
                </a:cubicBezTo>
                <a:cubicBezTo>
                  <a:pt x="1264011" y="399294"/>
                  <a:pt x="1266070" y="399294"/>
                  <a:pt x="1268129" y="399294"/>
                </a:cubicBezTo>
                <a:cubicBezTo>
                  <a:pt x="1268129" y="394644"/>
                  <a:pt x="1268129" y="391157"/>
                  <a:pt x="1268129" y="386506"/>
                </a:cubicBezTo>
                <a:cubicBezTo>
                  <a:pt x="1266070" y="385343"/>
                  <a:pt x="1264011" y="386506"/>
                  <a:pt x="1261951" y="386506"/>
                </a:cubicBezTo>
                <a:close/>
                <a:moveTo>
                  <a:pt x="1547127" y="376044"/>
                </a:moveTo>
                <a:cubicBezTo>
                  <a:pt x="1546098" y="386506"/>
                  <a:pt x="1552274" y="395806"/>
                  <a:pt x="1554333" y="405106"/>
                </a:cubicBezTo>
                <a:cubicBezTo>
                  <a:pt x="1557422" y="422545"/>
                  <a:pt x="1555362" y="441146"/>
                  <a:pt x="1564629" y="450446"/>
                </a:cubicBezTo>
                <a:cubicBezTo>
                  <a:pt x="1560511" y="422545"/>
                  <a:pt x="1558451" y="393480"/>
                  <a:pt x="1547127" y="376044"/>
                </a:cubicBezTo>
                <a:close/>
                <a:moveTo>
                  <a:pt x="1609927" y="374882"/>
                </a:moveTo>
                <a:cubicBezTo>
                  <a:pt x="1609927" y="380694"/>
                  <a:pt x="1608898" y="389994"/>
                  <a:pt x="1613015" y="391157"/>
                </a:cubicBezTo>
                <a:cubicBezTo>
                  <a:pt x="1613015" y="388831"/>
                  <a:pt x="1613015" y="385343"/>
                  <a:pt x="1613015" y="383019"/>
                </a:cubicBezTo>
                <a:cubicBezTo>
                  <a:pt x="1611986" y="379531"/>
                  <a:pt x="1613015" y="374882"/>
                  <a:pt x="1609927" y="374882"/>
                </a:cubicBezTo>
                <a:close/>
                <a:moveTo>
                  <a:pt x="1470943" y="373718"/>
                </a:moveTo>
                <a:cubicBezTo>
                  <a:pt x="1469913" y="387669"/>
                  <a:pt x="1475061" y="394644"/>
                  <a:pt x="1481238" y="398132"/>
                </a:cubicBezTo>
                <a:cubicBezTo>
                  <a:pt x="1481238" y="385343"/>
                  <a:pt x="1478149" y="377205"/>
                  <a:pt x="1470943" y="373718"/>
                </a:cubicBezTo>
                <a:close/>
                <a:moveTo>
                  <a:pt x="1406083" y="366743"/>
                </a:moveTo>
                <a:cubicBezTo>
                  <a:pt x="1411231" y="370230"/>
                  <a:pt x="1413289" y="383019"/>
                  <a:pt x="1416379" y="391157"/>
                </a:cubicBezTo>
                <a:cubicBezTo>
                  <a:pt x="1416379" y="392319"/>
                  <a:pt x="1415349" y="398132"/>
                  <a:pt x="1416379" y="399294"/>
                </a:cubicBezTo>
                <a:cubicBezTo>
                  <a:pt x="1418438" y="401619"/>
                  <a:pt x="1421526" y="410919"/>
                  <a:pt x="1420496" y="424870"/>
                </a:cubicBezTo>
                <a:cubicBezTo>
                  <a:pt x="1416379" y="424870"/>
                  <a:pt x="1417407" y="419057"/>
                  <a:pt x="1416379" y="416732"/>
                </a:cubicBezTo>
                <a:cubicBezTo>
                  <a:pt x="1412260" y="400457"/>
                  <a:pt x="1404024" y="391157"/>
                  <a:pt x="1406083" y="366743"/>
                </a:cubicBezTo>
                <a:close/>
                <a:moveTo>
                  <a:pt x="1578012" y="358606"/>
                </a:moveTo>
                <a:cubicBezTo>
                  <a:pt x="1578012" y="370230"/>
                  <a:pt x="1579042" y="379531"/>
                  <a:pt x="1585219" y="383019"/>
                </a:cubicBezTo>
                <a:cubicBezTo>
                  <a:pt x="1585219" y="376044"/>
                  <a:pt x="1593455" y="380694"/>
                  <a:pt x="1594485" y="374882"/>
                </a:cubicBezTo>
                <a:cubicBezTo>
                  <a:pt x="1584188" y="374882"/>
                  <a:pt x="1587277" y="357443"/>
                  <a:pt x="1578012" y="358606"/>
                </a:cubicBezTo>
                <a:close/>
                <a:moveTo>
                  <a:pt x="1509035" y="356281"/>
                </a:moveTo>
                <a:cubicBezTo>
                  <a:pt x="1506975" y="376044"/>
                  <a:pt x="1513153" y="385343"/>
                  <a:pt x="1513153" y="402781"/>
                </a:cubicBezTo>
                <a:cubicBezTo>
                  <a:pt x="1520359" y="410919"/>
                  <a:pt x="1524477" y="430682"/>
                  <a:pt x="1526537" y="439982"/>
                </a:cubicBezTo>
                <a:cubicBezTo>
                  <a:pt x="1529625" y="453933"/>
                  <a:pt x="1530655" y="467883"/>
                  <a:pt x="1530655" y="481834"/>
                </a:cubicBezTo>
                <a:cubicBezTo>
                  <a:pt x="1533744" y="487647"/>
                  <a:pt x="1533744" y="496947"/>
                  <a:pt x="1537861" y="502758"/>
                </a:cubicBezTo>
                <a:cubicBezTo>
                  <a:pt x="1539920" y="524848"/>
                  <a:pt x="1540949" y="550424"/>
                  <a:pt x="1552274" y="560886"/>
                </a:cubicBezTo>
                <a:cubicBezTo>
                  <a:pt x="1543008" y="496947"/>
                  <a:pt x="1529625" y="439982"/>
                  <a:pt x="1519329" y="377205"/>
                </a:cubicBezTo>
                <a:cubicBezTo>
                  <a:pt x="1511094" y="374882"/>
                  <a:pt x="1515212" y="358606"/>
                  <a:pt x="1509035" y="356281"/>
                </a:cubicBezTo>
                <a:close/>
                <a:moveTo>
                  <a:pt x="1226406" y="351364"/>
                </a:moveTo>
                <a:lnTo>
                  <a:pt x="1226949" y="352793"/>
                </a:lnTo>
                <a:cubicBezTo>
                  <a:pt x="1227978" y="356281"/>
                  <a:pt x="1229008" y="364418"/>
                  <a:pt x="1230038" y="369068"/>
                </a:cubicBezTo>
                <a:cubicBezTo>
                  <a:pt x="1231066" y="371394"/>
                  <a:pt x="1236214" y="376044"/>
                  <a:pt x="1236214" y="377205"/>
                </a:cubicBezTo>
                <a:cubicBezTo>
                  <a:pt x="1237243" y="381856"/>
                  <a:pt x="1238274" y="391157"/>
                  <a:pt x="1240332" y="398132"/>
                </a:cubicBezTo>
                <a:cubicBezTo>
                  <a:pt x="1242392" y="405106"/>
                  <a:pt x="1242392" y="407432"/>
                  <a:pt x="1243421" y="414407"/>
                </a:cubicBezTo>
                <a:cubicBezTo>
                  <a:pt x="1244449" y="420219"/>
                  <a:pt x="1246508" y="433007"/>
                  <a:pt x="1250627" y="438820"/>
                </a:cubicBezTo>
                <a:cubicBezTo>
                  <a:pt x="1253715" y="443471"/>
                  <a:pt x="1252686" y="448120"/>
                  <a:pt x="1253715" y="455095"/>
                </a:cubicBezTo>
                <a:cubicBezTo>
                  <a:pt x="1255775" y="460908"/>
                  <a:pt x="1259892" y="481834"/>
                  <a:pt x="1260924" y="496947"/>
                </a:cubicBezTo>
                <a:cubicBezTo>
                  <a:pt x="1265040" y="502758"/>
                  <a:pt x="1266070" y="508572"/>
                  <a:pt x="1271218" y="517872"/>
                </a:cubicBezTo>
                <a:cubicBezTo>
                  <a:pt x="1272247" y="519036"/>
                  <a:pt x="1274307" y="522522"/>
                  <a:pt x="1274307" y="522522"/>
                </a:cubicBezTo>
                <a:cubicBezTo>
                  <a:pt x="1277394" y="530660"/>
                  <a:pt x="1276364" y="542286"/>
                  <a:pt x="1278424" y="551586"/>
                </a:cubicBezTo>
                <a:cubicBezTo>
                  <a:pt x="1280482" y="559724"/>
                  <a:pt x="1283571" y="569024"/>
                  <a:pt x="1285631" y="575999"/>
                </a:cubicBezTo>
                <a:cubicBezTo>
                  <a:pt x="1290777" y="598087"/>
                  <a:pt x="1293867" y="623662"/>
                  <a:pt x="1300044" y="646912"/>
                </a:cubicBezTo>
                <a:cubicBezTo>
                  <a:pt x="1296956" y="649238"/>
                  <a:pt x="1294896" y="650401"/>
                  <a:pt x="1293867" y="655051"/>
                </a:cubicBezTo>
                <a:cubicBezTo>
                  <a:pt x="1282542" y="652726"/>
                  <a:pt x="1295925" y="628313"/>
                  <a:pt x="1280482" y="625988"/>
                </a:cubicBezTo>
                <a:cubicBezTo>
                  <a:pt x="1280482" y="648076"/>
                  <a:pt x="1289749" y="656213"/>
                  <a:pt x="1290777" y="675977"/>
                </a:cubicBezTo>
                <a:cubicBezTo>
                  <a:pt x="1297985" y="677139"/>
                  <a:pt x="1296956" y="667839"/>
                  <a:pt x="1306220" y="671326"/>
                </a:cubicBezTo>
                <a:cubicBezTo>
                  <a:pt x="1313427" y="685277"/>
                  <a:pt x="1313427" y="702715"/>
                  <a:pt x="1319605" y="721315"/>
                </a:cubicBezTo>
                <a:cubicBezTo>
                  <a:pt x="1320634" y="723640"/>
                  <a:pt x="1322693" y="721315"/>
                  <a:pt x="1322693" y="725966"/>
                </a:cubicBezTo>
                <a:cubicBezTo>
                  <a:pt x="1322693" y="727128"/>
                  <a:pt x="1322693" y="729453"/>
                  <a:pt x="1322693" y="730615"/>
                </a:cubicBezTo>
                <a:cubicBezTo>
                  <a:pt x="1326811" y="742241"/>
                  <a:pt x="1328870" y="770142"/>
                  <a:pt x="1334018" y="788741"/>
                </a:cubicBezTo>
                <a:cubicBezTo>
                  <a:pt x="1334018" y="788741"/>
                  <a:pt x="1337106" y="789904"/>
                  <a:pt x="1337106" y="793392"/>
                </a:cubicBezTo>
                <a:cubicBezTo>
                  <a:pt x="1338136" y="800367"/>
                  <a:pt x="1338136" y="803855"/>
                  <a:pt x="1340194" y="809667"/>
                </a:cubicBezTo>
                <a:cubicBezTo>
                  <a:pt x="1342254" y="814317"/>
                  <a:pt x="1344313" y="820131"/>
                  <a:pt x="1347401" y="830593"/>
                </a:cubicBezTo>
                <a:cubicBezTo>
                  <a:pt x="1349461" y="836406"/>
                  <a:pt x="1348431" y="841055"/>
                  <a:pt x="1350490" y="846868"/>
                </a:cubicBezTo>
                <a:cubicBezTo>
                  <a:pt x="1351520" y="849193"/>
                  <a:pt x="1356667" y="853844"/>
                  <a:pt x="1356667" y="855006"/>
                </a:cubicBezTo>
                <a:cubicBezTo>
                  <a:pt x="1358726" y="860819"/>
                  <a:pt x="1355637" y="870120"/>
                  <a:pt x="1357696" y="875931"/>
                </a:cubicBezTo>
                <a:cubicBezTo>
                  <a:pt x="1357696" y="878257"/>
                  <a:pt x="1363874" y="882907"/>
                  <a:pt x="1363874" y="884069"/>
                </a:cubicBezTo>
                <a:cubicBezTo>
                  <a:pt x="1366963" y="899182"/>
                  <a:pt x="1366963" y="920108"/>
                  <a:pt x="1371080" y="934058"/>
                </a:cubicBezTo>
                <a:cubicBezTo>
                  <a:pt x="1371080" y="935221"/>
                  <a:pt x="1370050" y="941033"/>
                  <a:pt x="1371080" y="942195"/>
                </a:cubicBezTo>
                <a:cubicBezTo>
                  <a:pt x="1376227" y="948008"/>
                  <a:pt x="1375198" y="967771"/>
                  <a:pt x="1378287" y="979397"/>
                </a:cubicBezTo>
                <a:cubicBezTo>
                  <a:pt x="1379317" y="982884"/>
                  <a:pt x="1380346" y="986373"/>
                  <a:pt x="1381374" y="992184"/>
                </a:cubicBezTo>
                <a:cubicBezTo>
                  <a:pt x="1382406" y="995673"/>
                  <a:pt x="1386523" y="1013110"/>
                  <a:pt x="1388581" y="1021249"/>
                </a:cubicBezTo>
                <a:cubicBezTo>
                  <a:pt x="1390641" y="1036361"/>
                  <a:pt x="1390641" y="1052637"/>
                  <a:pt x="1392700" y="1071238"/>
                </a:cubicBezTo>
                <a:cubicBezTo>
                  <a:pt x="1393730" y="1074724"/>
                  <a:pt x="1395789" y="1078212"/>
                  <a:pt x="1395789" y="1084025"/>
                </a:cubicBezTo>
                <a:cubicBezTo>
                  <a:pt x="1396817" y="1095650"/>
                  <a:pt x="1400936" y="1106111"/>
                  <a:pt x="1402995" y="1117737"/>
                </a:cubicBezTo>
                <a:cubicBezTo>
                  <a:pt x="1404024" y="1123550"/>
                  <a:pt x="1401965" y="1129363"/>
                  <a:pt x="1402995" y="1134013"/>
                </a:cubicBezTo>
                <a:cubicBezTo>
                  <a:pt x="1404024" y="1137502"/>
                  <a:pt x="1406083" y="1138664"/>
                  <a:pt x="1406083" y="1142151"/>
                </a:cubicBezTo>
                <a:cubicBezTo>
                  <a:pt x="1407113" y="1149126"/>
                  <a:pt x="1405055" y="1156102"/>
                  <a:pt x="1407113" y="1163077"/>
                </a:cubicBezTo>
                <a:cubicBezTo>
                  <a:pt x="1410202" y="1180515"/>
                  <a:pt x="1414319" y="1193302"/>
                  <a:pt x="1417407" y="1213066"/>
                </a:cubicBezTo>
                <a:cubicBezTo>
                  <a:pt x="1419467" y="1225853"/>
                  <a:pt x="1419467" y="1238642"/>
                  <a:pt x="1421526" y="1259567"/>
                </a:cubicBezTo>
                <a:cubicBezTo>
                  <a:pt x="1422556" y="1271192"/>
                  <a:pt x="1426674" y="1281655"/>
                  <a:pt x="1428732" y="1293280"/>
                </a:cubicBezTo>
                <a:cubicBezTo>
                  <a:pt x="1429762" y="1303743"/>
                  <a:pt x="1428732" y="1311880"/>
                  <a:pt x="1429762" y="1322343"/>
                </a:cubicBezTo>
                <a:cubicBezTo>
                  <a:pt x="1430792" y="1329319"/>
                  <a:pt x="1431821" y="1329319"/>
                  <a:pt x="1432850" y="1335131"/>
                </a:cubicBezTo>
                <a:cubicBezTo>
                  <a:pt x="1435939" y="1351406"/>
                  <a:pt x="1432850" y="1366520"/>
                  <a:pt x="1436969" y="1385119"/>
                </a:cubicBezTo>
                <a:cubicBezTo>
                  <a:pt x="1437999" y="1389770"/>
                  <a:pt x="1439028" y="1393257"/>
                  <a:pt x="1441088" y="1406046"/>
                </a:cubicBezTo>
                <a:cubicBezTo>
                  <a:pt x="1442117" y="1413021"/>
                  <a:pt x="1444175" y="1413021"/>
                  <a:pt x="1444175" y="1418833"/>
                </a:cubicBezTo>
                <a:cubicBezTo>
                  <a:pt x="1447263" y="1440921"/>
                  <a:pt x="1445205" y="1464172"/>
                  <a:pt x="1449323" y="1486260"/>
                </a:cubicBezTo>
                <a:cubicBezTo>
                  <a:pt x="1450352" y="1494397"/>
                  <a:pt x="1455500" y="1503698"/>
                  <a:pt x="1456530" y="1510672"/>
                </a:cubicBezTo>
                <a:cubicBezTo>
                  <a:pt x="1458588" y="1525786"/>
                  <a:pt x="1455500" y="1540899"/>
                  <a:pt x="1457559" y="1557175"/>
                </a:cubicBezTo>
                <a:cubicBezTo>
                  <a:pt x="1458588" y="1567638"/>
                  <a:pt x="1466825" y="1574613"/>
                  <a:pt x="1464766" y="1590888"/>
                </a:cubicBezTo>
                <a:cubicBezTo>
                  <a:pt x="1464766" y="1594375"/>
                  <a:pt x="1461677" y="1595537"/>
                  <a:pt x="1461677" y="1599026"/>
                </a:cubicBezTo>
                <a:cubicBezTo>
                  <a:pt x="1461677" y="1597863"/>
                  <a:pt x="1464766" y="1601351"/>
                  <a:pt x="1464766" y="1603675"/>
                </a:cubicBezTo>
                <a:cubicBezTo>
                  <a:pt x="1465795" y="1619950"/>
                  <a:pt x="1468883" y="1638551"/>
                  <a:pt x="1468883" y="1658315"/>
                </a:cubicBezTo>
                <a:cubicBezTo>
                  <a:pt x="1468883" y="1655990"/>
                  <a:pt x="1462706" y="1655990"/>
                  <a:pt x="1462706" y="1654826"/>
                </a:cubicBezTo>
                <a:cubicBezTo>
                  <a:pt x="1460648" y="1649015"/>
                  <a:pt x="1465795" y="1647852"/>
                  <a:pt x="1465795" y="1646689"/>
                </a:cubicBezTo>
                <a:cubicBezTo>
                  <a:pt x="1465795" y="1643202"/>
                  <a:pt x="1462706" y="1642039"/>
                  <a:pt x="1462706" y="1638551"/>
                </a:cubicBezTo>
                <a:cubicBezTo>
                  <a:pt x="1461677" y="1635064"/>
                  <a:pt x="1462706" y="1630414"/>
                  <a:pt x="1462706" y="1625764"/>
                </a:cubicBezTo>
                <a:cubicBezTo>
                  <a:pt x="1460648" y="1614138"/>
                  <a:pt x="1454471" y="1601351"/>
                  <a:pt x="1452412" y="1588562"/>
                </a:cubicBezTo>
                <a:cubicBezTo>
                  <a:pt x="1449323" y="1574613"/>
                  <a:pt x="1453441" y="1557175"/>
                  <a:pt x="1445205" y="1546712"/>
                </a:cubicBezTo>
                <a:cubicBezTo>
                  <a:pt x="1436969" y="1556012"/>
                  <a:pt x="1445205" y="1569962"/>
                  <a:pt x="1446235" y="1580425"/>
                </a:cubicBezTo>
                <a:cubicBezTo>
                  <a:pt x="1447263" y="1596700"/>
                  <a:pt x="1447263" y="1609489"/>
                  <a:pt x="1450352" y="1626927"/>
                </a:cubicBezTo>
                <a:cubicBezTo>
                  <a:pt x="1452412" y="1639715"/>
                  <a:pt x="1451382" y="1652501"/>
                  <a:pt x="1454471" y="1673427"/>
                </a:cubicBezTo>
                <a:cubicBezTo>
                  <a:pt x="1455500" y="1682728"/>
                  <a:pt x="1458588" y="1686215"/>
                  <a:pt x="1458588" y="1702492"/>
                </a:cubicBezTo>
                <a:cubicBezTo>
                  <a:pt x="1458588" y="1702492"/>
                  <a:pt x="1454471" y="1702492"/>
                  <a:pt x="1455500" y="1707141"/>
                </a:cubicBezTo>
                <a:cubicBezTo>
                  <a:pt x="1455500" y="1708303"/>
                  <a:pt x="1458588" y="1708303"/>
                  <a:pt x="1458588" y="1711790"/>
                </a:cubicBezTo>
                <a:cubicBezTo>
                  <a:pt x="1458588" y="1717603"/>
                  <a:pt x="1458588" y="1723416"/>
                  <a:pt x="1458588" y="1728066"/>
                </a:cubicBezTo>
                <a:cubicBezTo>
                  <a:pt x="1459618" y="1733880"/>
                  <a:pt x="1461677" y="1736204"/>
                  <a:pt x="1461677" y="1740855"/>
                </a:cubicBezTo>
                <a:cubicBezTo>
                  <a:pt x="1461677" y="1747829"/>
                  <a:pt x="1459618" y="1750155"/>
                  <a:pt x="1458588" y="1757130"/>
                </a:cubicBezTo>
                <a:cubicBezTo>
                  <a:pt x="1457559" y="1776894"/>
                  <a:pt x="1463736" y="1797818"/>
                  <a:pt x="1459618" y="1815256"/>
                </a:cubicBezTo>
                <a:cubicBezTo>
                  <a:pt x="1449323" y="1814093"/>
                  <a:pt x="1456530" y="1797818"/>
                  <a:pt x="1455500" y="1789680"/>
                </a:cubicBezTo>
                <a:cubicBezTo>
                  <a:pt x="1455500" y="1790843"/>
                  <a:pt x="1452412" y="1787354"/>
                  <a:pt x="1452412" y="1785031"/>
                </a:cubicBezTo>
                <a:cubicBezTo>
                  <a:pt x="1451382" y="1780380"/>
                  <a:pt x="1452412" y="1769918"/>
                  <a:pt x="1451382" y="1759455"/>
                </a:cubicBezTo>
                <a:cubicBezTo>
                  <a:pt x="1450352" y="1751317"/>
                  <a:pt x="1448293" y="1747829"/>
                  <a:pt x="1448293" y="1743180"/>
                </a:cubicBezTo>
                <a:cubicBezTo>
                  <a:pt x="1448293" y="1735042"/>
                  <a:pt x="1451382" y="1726904"/>
                  <a:pt x="1450352" y="1717603"/>
                </a:cubicBezTo>
                <a:cubicBezTo>
                  <a:pt x="1450352" y="1710629"/>
                  <a:pt x="1447263" y="1702492"/>
                  <a:pt x="1446235" y="1696678"/>
                </a:cubicBezTo>
                <a:cubicBezTo>
                  <a:pt x="1442117" y="1653664"/>
                  <a:pt x="1447263" y="1604838"/>
                  <a:pt x="1430792" y="1579262"/>
                </a:cubicBezTo>
                <a:cubicBezTo>
                  <a:pt x="1427703" y="1567638"/>
                  <a:pt x="1433880" y="1560661"/>
                  <a:pt x="1432850" y="1550200"/>
                </a:cubicBezTo>
                <a:cubicBezTo>
                  <a:pt x="1432850" y="1542062"/>
                  <a:pt x="1427703" y="1537411"/>
                  <a:pt x="1425645" y="1529273"/>
                </a:cubicBezTo>
                <a:cubicBezTo>
                  <a:pt x="1423586" y="1521136"/>
                  <a:pt x="1424614" y="1510672"/>
                  <a:pt x="1421526" y="1500211"/>
                </a:cubicBezTo>
                <a:cubicBezTo>
                  <a:pt x="1417407" y="1483935"/>
                  <a:pt x="1409173" y="1466497"/>
                  <a:pt x="1417407" y="1442085"/>
                </a:cubicBezTo>
                <a:cubicBezTo>
                  <a:pt x="1421526" y="1443246"/>
                  <a:pt x="1422556" y="1460683"/>
                  <a:pt x="1424614" y="1466497"/>
                </a:cubicBezTo>
                <a:cubicBezTo>
                  <a:pt x="1425645" y="1471147"/>
                  <a:pt x="1430792" y="1489748"/>
                  <a:pt x="1431821" y="1503698"/>
                </a:cubicBezTo>
                <a:cubicBezTo>
                  <a:pt x="1435939" y="1502535"/>
                  <a:pt x="1433880" y="1495561"/>
                  <a:pt x="1434910" y="1490910"/>
                </a:cubicBezTo>
                <a:cubicBezTo>
                  <a:pt x="1436969" y="1479285"/>
                  <a:pt x="1434910" y="1451383"/>
                  <a:pt x="1429762" y="1428133"/>
                </a:cubicBezTo>
                <a:cubicBezTo>
                  <a:pt x="1428732" y="1424646"/>
                  <a:pt x="1426674" y="1424646"/>
                  <a:pt x="1426674" y="1423484"/>
                </a:cubicBezTo>
                <a:cubicBezTo>
                  <a:pt x="1424614" y="1415346"/>
                  <a:pt x="1428732" y="1399071"/>
                  <a:pt x="1419467" y="1399071"/>
                </a:cubicBezTo>
                <a:cubicBezTo>
                  <a:pt x="1426674" y="1378144"/>
                  <a:pt x="1418438" y="1346756"/>
                  <a:pt x="1408143" y="1336294"/>
                </a:cubicBezTo>
                <a:cubicBezTo>
                  <a:pt x="1415349" y="1321181"/>
                  <a:pt x="1404024" y="1314206"/>
                  <a:pt x="1407113" y="1294443"/>
                </a:cubicBezTo>
                <a:cubicBezTo>
                  <a:pt x="1407113" y="1290956"/>
                  <a:pt x="1410202" y="1289793"/>
                  <a:pt x="1410202" y="1286305"/>
                </a:cubicBezTo>
                <a:cubicBezTo>
                  <a:pt x="1410202" y="1279330"/>
                  <a:pt x="1407113" y="1279330"/>
                  <a:pt x="1407113" y="1273517"/>
                </a:cubicBezTo>
                <a:cubicBezTo>
                  <a:pt x="1407113" y="1270029"/>
                  <a:pt x="1410202" y="1268867"/>
                  <a:pt x="1410202" y="1265379"/>
                </a:cubicBezTo>
                <a:cubicBezTo>
                  <a:pt x="1409173" y="1253754"/>
                  <a:pt x="1400936" y="1239804"/>
                  <a:pt x="1402995" y="1223529"/>
                </a:cubicBezTo>
                <a:cubicBezTo>
                  <a:pt x="1391670" y="1218877"/>
                  <a:pt x="1398876" y="1239804"/>
                  <a:pt x="1387552" y="1236316"/>
                </a:cubicBezTo>
                <a:cubicBezTo>
                  <a:pt x="1387552" y="1229341"/>
                  <a:pt x="1387552" y="1222366"/>
                  <a:pt x="1386523" y="1215391"/>
                </a:cubicBezTo>
                <a:cubicBezTo>
                  <a:pt x="1386523" y="1204928"/>
                  <a:pt x="1388581" y="1210740"/>
                  <a:pt x="1392700" y="1210740"/>
                </a:cubicBezTo>
                <a:cubicBezTo>
                  <a:pt x="1393730" y="1216553"/>
                  <a:pt x="1395789" y="1210740"/>
                  <a:pt x="1398876" y="1210740"/>
                </a:cubicBezTo>
                <a:lnTo>
                  <a:pt x="1394292" y="1178386"/>
                </a:lnTo>
                <a:lnTo>
                  <a:pt x="1394888" y="1172377"/>
                </a:lnTo>
                <a:lnTo>
                  <a:pt x="1392160" y="1163336"/>
                </a:lnTo>
                <a:lnTo>
                  <a:pt x="1390641" y="1152613"/>
                </a:lnTo>
                <a:cubicBezTo>
                  <a:pt x="1388581" y="1140988"/>
                  <a:pt x="1389612" y="1132850"/>
                  <a:pt x="1386523" y="1115413"/>
                </a:cubicBezTo>
                <a:cubicBezTo>
                  <a:pt x="1384463" y="1104950"/>
                  <a:pt x="1381374" y="1096813"/>
                  <a:pt x="1379317" y="1086349"/>
                </a:cubicBezTo>
                <a:lnTo>
                  <a:pt x="1376886" y="1061655"/>
                </a:lnTo>
                <a:lnTo>
                  <a:pt x="1377257" y="1061937"/>
                </a:lnTo>
                <a:lnTo>
                  <a:pt x="1376777" y="1060542"/>
                </a:lnTo>
                <a:lnTo>
                  <a:pt x="1375198" y="1044499"/>
                </a:lnTo>
                <a:cubicBezTo>
                  <a:pt x="1375198" y="1043336"/>
                  <a:pt x="1372110" y="1044499"/>
                  <a:pt x="1372110" y="1039847"/>
                </a:cubicBezTo>
                <a:cubicBezTo>
                  <a:pt x="1372110" y="1038686"/>
                  <a:pt x="1372110" y="1028223"/>
                  <a:pt x="1372110" y="1027060"/>
                </a:cubicBezTo>
                <a:cubicBezTo>
                  <a:pt x="1366963" y="1022410"/>
                  <a:pt x="1370050" y="1003810"/>
                  <a:pt x="1364903" y="993347"/>
                </a:cubicBezTo>
                <a:cubicBezTo>
                  <a:pt x="1363874" y="991022"/>
                  <a:pt x="1358726" y="986373"/>
                  <a:pt x="1358726" y="985209"/>
                </a:cubicBezTo>
                <a:cubicBezTo>
                  <a:pt x="1357696" y="980560"/>
                  <a:pt x="1358726" y="973583"/>
                  <a:pt x="1358726" y="968934"/>
                </a:cubicBezTo>
                <a:cubicBezTo>
                  <a:pt x="1357696" y="960796"/>
                  <a:pt x="1355637" y="959634"/>
                  <a:pt x="1352548" y="952659"/>
                </a:cubicBezTo>
                <a:cubicBezTo>
                  <a:pt x="1353579" y="944521"/>
                  <a:pt x="1350490" y="937546"/>
                  <a:pt x="1351520" y="927083"/>
                </a:cubicBezTo>
                <a:cubicBezTo>
                  <a:pt x="1352548" y="918945"/>
                  <a:pt x="1352548" y="922432"/>
                  <a:pt x="1351520" y="914294"/>
                </a:cubicBezTo>
                <a:cubicBezTo>
                  <a:pt x="1349461" y="906157"/>
                  <a:pt x="1345342" y="899182"/>
                  <a:pt x="1341224" y="889882"/>
                </a:cubicBezTo>
                <a:cubicBezTo>
                  <a:pt x="1340194" y="881744"/>
                  <a:pt x="1337106" y="892206"/>
                  <a:pt x="1335048" y="889882"/>
                </a:cubicBezTo>
                <a:cubicBezTo>
                  <a:pt x="1332989" y="888719"/>
                  <a:pt x="1332989" y="879420"/>
                  <a:pt x="1331958" y="877095"/>
                </a:cubicBezTo>
                <a:cubicBezTo>
                  <a:pt x="1327840" y="871281"/>
                  <a:pt x="1323723" y="867794"/>
                  <a:pt x="1319605" y="864306"/>
                </a:cubicBezTo>
                <a:cubicBezTo>
                  <a:pt x="1320634" y="855006"/>
                  <a:pt x="1323723" y="848030"/>
                  <a:pt x="1321663" y="835243"/>
                </a:cubicBezTo>
                <a:cubicBezTo>
                  <a:pt x="1332989" y="843381"/>
                  <a:pt x="1330930" y="867794"/>
                  <a:pt x="1338136" y="880581"/>
                </a:cubicBezTo>
                <a:cubicBezTo>
                  <a:pt x="1349461" y="875931"/>
                  <a:pt x="1341224" y="865469"/>
                  <a:pt x="1340194" y="855006"/>
                </a:cubicBezTo>
                <a:cubicBezTo>
                  <a:pt x="1340194" y="849193"/>
                  <a:pt x="1340194" y="842219"/>
                  <a:pt x="1336077" y="834081"/>
                </a:cubicBezTo>
                <a:cubicBezTo>
                  <a:pt x="1335048" y="831755"/>
                  <a:pt x="1329900" y="827106"/>
                  <a:pt x="1329900" y="825942"/>
                </a:cubicBezTo>
                <a:cubicBezTo>
                  <a:pt x="1325781" y="813154"/>
                  <a:pt x="1327840" y="800367"/>
                  <a:pt x="1325781" y="788741"/>
                </a:cubicBezTo>
                <a:cubicBezTo>
                  <a:pt x="1326811" y="784092"/>
                  <a:pt x="1319605" y="782929"/>
                  <a:pt x="1319605" y="780604"/>
                </a:cubicBezTo>
                <a:cubicBezTo>
                  <a:pt x="1318575" y="777117"/>
                  <a:pt x="1320634" y="771303"/>
                  <a:pt x="1319605" y="767816"/>
                </a:cubicBezTo>
                <a:cubicBezTo>
                  <a:pt x="1318575" y="765491"/>
                  <a:pt x="1311368" y="758516"/>
                  <a:pt x="1310339" y="755028"/>
                </a:cubicBezTo>
                <a:cubicBezTo>
                  <a:pt x="1308280" y="749216"/>
                  <a:pt x="1312398" y="734103"/>
                  <a:pt x="1303132" y="734103"/>
                </a:cubicBezTo>
                <a:cubicBezTo>
                  <a:pt x="1306220" y="722477"/>
                  <a:pt x="1306220" y="716665"/>
                  <a:pt x="1302103" y="705039"/>
                </a:cubicBezTo>
                <a:cubicBezTo>
                  <a:pt x="1291807" y="708527"/>
                  <a:pt x="1291807" y="722477"/>
                  <a:pt x="1296956" y="734103"/>
                </a:cubicBezTo>
                <a:cubicBezTo>
                  <a:pt x="1297985" y="742241"/>
                  <a:pt x="1299014" y="748053"/>
                  <a:pt x="1303132" y="750378"/>
                </a:cubicBezTo>
                <a:cubicBezTo>
                  <a:pt x="1308280" y="751541"/>
                  <a:pt x="1302103" y="756190"/>
                  <a:pt x="1303132" y="763165"/>
                </a:cubicBezTo>
                <a:cubicBezTo>
                  <a:pt x="1292837" y="762004"/>
                  <a:pt x="1292837" y="745728"/>
                  <a:pt x="1289749" y="734103"/>
                </a:cubicBezTo>
                <a:cubicBezTo>
                  <a:pt x="1286661" y="722477"/>
                  <a:pt x="1284601" y="710853"/>
                  <a:pt x="1282542" y="700389"/>
                </a:cubicBezTo>
                <a:cubicBezTo>
                  <a:pt x="1280482" y="680626"/>
                  <a:pt x="1301074" y="708527"/>
                  <a:pt x="1297985" y="682952"/>
                </a:cubicBezTo>
                <a:cubicBezTo>
                  <a:pt x="1297985" y="679464"/>
                  <a:pt x="1293867" y="679464"/>
                  <a:pt x="1291807" y="679464"/>
                </a:cubicBezTo>
                <a:cubicBezTo>
                  <a:pt x="1288719" y="679464"/>
                  <a:pt x="1289749" y="684114"/>
                  <a:pt x="1288719" y="687601"/>
                </a:cubicBezTo>
                <a:cubicBezTo>
                  <a:pt x="1276364" y="680626"/>
                  <a:pt x="1276364" y="659702"/>
                  <a:pt x="1266070" y="650401"/>
                </a:cubicBezTo>
                <a:cubicBezTo>
                  <a:pt x="1274307" y="628313"/>
                  <a:pt x="1258864" y="619013"/>
                  <a:pt x="1261951" y="592274"/>
                </a:cubicBezTo>
                <a:cubicBezTo>
                  <a:pt x="1266070" y="594600"/>
                  <a:pt x="1268129" y="598087"/>
                  <a:pt x="1268129" y="605062"/>
                </a:cubicBezTo>
                <a:cubicBezTo>
                  <a:pt x="1276364" y="600413"/>
                  <a:pt x="1267099" y="582974"/>
                  <a:pt x="1267099" y="575999"/>
                </a:cubicBezTo>
                <a:cubicBezTo>
                  <a:pt x="1264011" y="570187"/>
                  <a:pt x="1260150" y="566409"/>
                  <a:pt x="1256161" y="562339"/>
                </a:cubicBezTo>
                <a:lnTo>
                  <a:pt x="1249786" y="553954"/>
                </a:lnTo>
                <a:lnTo>
                  <a:pt x="1248825" y="547369"/>
                </a:lnTo>
                <a:cubicBezTo>
                  <a:pt x="1248312" y="542865"/>
                  <a:pt x="1248054" y="538797"/>
                  <a:pt x="1248568" y="537633"/>
                </a:cubicBezTo>
                <a:cubicBezTo>
                  <a:pt x="1249598" y="529496"/>
                  <a:pt x="1244451" y="532983"/>
                  <a:pt x="1243421" y="529496"/>
                </a:cubicBezTo>
                <a:cubicBezTo>
                  <a:pt x="1240333" y="514382"/>
                  <a:pt x="1242392" y="494620"/>
                  <a:pt x="1239302" y="478344"/>
                </a:cubicBezTo>
                <a:cubicBezTo>
                  <a:pt x="1239302" y="477182"/>
                  <a:pt x="1234155" y="477182"/>
                  <a:pt x="1233126" y="477182"/>
                </a:cubicBezTo>
                <a:cubicBezTo>
                  <a:pt x="1232095" y="474856"/>
                  <a:pt x="1236214" y="465556"/>
                  <a:pt x="1235184" y="463230"/>
                </a:cubicBezTo>
                <a:lnTo>
                  <a:pt x="1233598" y="434565"/>
                </a:lnTo>
                <a:lnTo>
                  <a:pt x="1235184" y="436494"/>
                </a:lnTo>
                <a:lnTo>
                  <a:pt x="1233336" y="426061"/>
                </a:lnTo>
                <a:lnTo>
                  <a:pt x="1233126" y="405104"/>
                </a:lnTo>
                <a:cubicBezTo>
                  <a:pt x="1233126" y="402780"/>
                  <a:pt x="1234155" y="400455"/>
                  <a:pt x="1234155" y="398130"/>
                </a:cubicBezTo>
                <a:cubicBezTo>
                  <a:pt x="1235184" y="391155"/>
                  <a:pt x="1230038" y="393479"/>
                  <a:pt x="1229008" y="389991"/>
                </a:cubicBezTo>
                <a:cubicBezTo>
                  <a:pt x="1226949" y="378366"/>
                  <a:pt x="1229008" y="372553"/>
                  <a:pt x="1227978" y="360929"/>
                </a:cubicBezTo>
                <a:close/>
                <a:moveTo>
                  <a:pt x="1522708" y="347144"/>
                </a:moveTo>
                <a:cubicBezTo>
                  <a:pt x="1521132" y="347126"/>
                  <a:pt x="1519587" y="348433"/>
                  <a:pt x="1518301" y="351630"/>
                </a:cubicBezTo>
                <a:cubicBezTo>
                  <a:pt x="1523448" y="356281"/>
                  <a:pt x="1526537" y="363256"/>
                  <a:pt x="1531684" y="367907"/>
                </a:cubicBezTo>
                <a:cubicBezTo>
                  <a:pt x="1532456" y="359188"/>
                  <a:pt x="1527438" y="347198"/>
                  <a:pt x="1522708" y="347144"/>
                </a:cubicBezTo>
                <a:close/>
                <a:moveTo>
                  <a:pt x="1262472" y="339052"/>
                </a:moveTo>
                <a:lnTo>
                  <a:pt x="1262981" y="341168"/>
                </a:lnTo>
                <a:lnTo>
                  <a:pt x="1262527" y="341031"/>
                </a:lnTo>
                <a:close/>
                <a:moveTo>
                  <a:pt x="1248568" y="336517"/>
                </a:moveTo>
                <a:lnTo>
                  <a:pt x="1251069" y="342432"/>
                </a:lnTo>
                <a:lnTo>
                  <a:pt x="1251142" y="343218"/>
                </a:lnTo>
                <a:lnTo>
                  <a:pt x="1248568" y="349306"/>
                </a:lnTo>
                <a:cubicBezTo>
                  <a:pt x="1242392" y="352793"/>
                  <a:pt x="1241362" y="333030"/>
                  <a:pt x="1248568" y="336517"/>
                </a:cubicBezTo>
                <a:close/>
                <a:moveTo>
                  <a:pt x="1261951" y="320242"/>
                </a:moveTo>
                <a:lnTo>
                  <a:pt x="1262472" y="339052"/>
                </a:lnTo>
                <a:lnTo>
                  <a:pt x="1260150" y="329397"/>
                </a:lnTo>
                <a:cubicBezTo>
                  <a:pt x="1258606" y="325474"/>
                  <a:pt x="1257834" y="321986"/>
                  <a:pt x="1261951" y="320242"/>
                </a:cubicBezTo>
                <a:close/>
                <a:moveTo>
                  <a:pt x="1460648" y="319079"/>
                </a:moveTo>
                <a:cubicBezTo>
                  <a:pt x="1463736" y="344655"/>
                  <a:pt x="1460648" y="352793"/>
                  <a:pt x="1470943" y="364418"/>
                </a:cubicBezTo>
                <a:cubicBezTo>
                  <a:pt x="1474031" y="355118"/>
                  <a:pt x="1466825" y="328380"/>
                  <a:pt x="1460648" y="319079"/>
                </a:cubicBezTo>
                <a:close/>
                <a:moveTo>
                  <a:pt x="1238274" y="306292"/>
                </a:moveTo>
                <a:cubicBezTo>
                  <a:pt x="1244449" y="305130"/>
                  <a:pt x="1243421" y="326055"/>
                  <a:pt x="1235184" y="319079"/>
                </a:cubicBezTo>
                <a:cubicBezTo>
                  <a:pt x="1235184" y="316755"/>
                  <a:pt x="1235184" y="313267"/>
                  <a:pt x="1235184" y="310941"/>
                </a:cubicBezTo>
                <a:cubicBezTo>
                  <a:pt x="1238274" y="312104"/>
                  <a:pt x="1238274" y="309779"/>
                  <a:pt x="1238274" y="306292"/>
                </a:cubicBezTo>
                <a:close/>
                <a:moveTo>
                  <a:pt x="1385301" y="305766"/>
                </a:moveTo>
                <a:cubicBezTo>
                  <a:pt x="1384206" y="305274"/>
                  <a:pt x="1382919" y="306002"/>
                  <a:pt x="1381374" y="308618"/>
                </a:cubicBezTo>
                <a:cubicBezTo>
                  <a:pt x="1390641" y="319079"/>
                  <a:pt x="1384463" y="351630"/>
                  <a:pt x="1398876" y="353955"/>
                </a:cubicBezTo>
                <a:cubicBezTo>
                  <a:pt x="1397847" y="346980"/>
                  <a:pt x="1395789" y="335354"/>
                  <a:pt x="1391670" y="324893"/>
                </a:cubicBezTo>
                <a:cubicBezTo>
                  <a:pt x="1390127" y="319660"/>
                  <a:pt x="1388582" y="307237"/>
                  <a:pt x="1385301" y="305766"/>
                </a:cubicBezTo>
                <a:close/>
                <a:moveTo>
                  <a:pt x="1528595" y="305130"/>
                </a:moveTo>
                <a:cubicBezTo>
                  <a:pt x="1528595" y="315592"/>
                  <a:pt x="1529625" y="324893"/>
                  <a:pt x="1535801" y="326055"/>
                </a:cubicBezTo>
                <a:cubicBezTo>
                  <a:pt x="1535801" y="315592"/>
                  <a:pt x="1533744" y="308618"/>
                  <a:pt x="1528595" y="305130"/>
                </a:cubicBezTo>
                <a:close/>
                <a:moveTo>
                  <a:pt x="1473002" y="301641"/>
                </a:moveTo>
                <a:cubicBezTo>
                  <a:pt x="1473002" y="312104"/>
                  <a:pt x="1473002" y="321405"/>
                  <a:pt x="1480208" y="322567"/>
                </a:cubicBezTo>
                <a:cubicBezTo>
                  <a:pt x="1480208" y="312104"/>
                  <a:pt x="1480208" y="302804"/>
                  <a:pt x="1473002" y="301641"/>
                </a:cubicBezTo>
                <a:close/>
                <a:moveTo>
                  <a:pt x="1644930" y="290017"/>
                </a:moveTo>
                <a:cubicBezTo>
                  <a:pt x="1642870" y="293504"/>
                  <a:pt x="1648019" y="301641"/>
                  <a:pt x="1648019" y="302804"/>
                </a:cubicBezTo>
                <a:cubicBezTo>
                  <a:pt x="1646989" y="317916"/>
                  <a:pt x="1654196" y="308618"/>
                  <a:pt x="1651107" y="298154"/>
                </a:cubicBezTo>
                <a:cubicBezTo>
                  <a:pt x="1649048" y="300479"/>
                  <a:pt x="1645960" y="287691"/>
                  <a:pt x="1644930" y="290017"/>
                </a:cubicBezTo>
                <a:close/>
                <a:moveTo>
                  <a:pt x="1511995" y="276320"/>
                </a:moveTo>
                <a:cubicBezTo>
                  <a:pt x="1510064" y="275775"/>
                  <a:pt x="1506975" y="293214"/>
                  <a:pt x="1513153" y="292342"/>
                </a:cubicBezTo>
                <a:cubicBezTo>
                  <a:pt x="1513153" y="290017"/>
                  <a:pt x="1513153" y="286529"/>
                  <a:pt x="1513153" y="284203"/>
                </a:cubicBezTo>
                <a:cubicBezTo>
                  <a:pt x="1513153" y="278681"/>
                  <a:pt x="1512638" y="276501"/>
                  <a:pt x="1511995" y="276320"/>
                </a:cubicBezTo>
                <a:close/>
                <a:moveTo>
                  <a:pt x="1274307" y="269090"/>
                </a:moveTo>
                <a:cubicBezTo>
                  <a:pt x="1274307" y="283042"/>
                  <a:pt x="1277394" y="293504"/>
                  <a:pt x="1284601" y="298154"/>
                </a:cubicBezTo>
                <a:cubicBezTo>
                  <a:pt x="1283571" y="285366"/>
                  <a:pt x="1282542" y="272578"/>
                  <a:pt x="1274307" y="269090"/>
                </a:cubicBezTo>
                <a:close/>
                <a:moveTo>
                  <a:pt x="1311368" y="259790"/>
                </a:moveTo>
                <a:cubicBezTo>
                  <a:pt x="1317546" y="256303"/>
                  <a:pt x="1321663" y="272578"/>
                  <a:pt x="1324751" y="280716"/>
                </a:cubicBezTo>
                <a:cubicBezTo>
                  <a:pt x="1324751" y="281879"/>
                  <a:pt x="1323723" y="287691"/>
                  <a:pt x="1324751" y="288853"/>
                </a:cubicBezTo>
                <a:cubicBezTo>
                  <a:pt x="1328870" y="293504"/>
                  <a:pt x="1331958" y="316755"/>
                  <a:pt x="1335048" y="330705"/>
                </a:cubicBezTo>
                <a:cubicBezTo>
                  <a:pt x="1337106" y="342330"/>
                  <a:pt x="1346372" y="350468"/>
                  <a:pt x="1339164" y="359768"/>
                </a:cubicBezTo>
                <a:cubicBezTo>
                  <a:pt x="1326811" y="352793"/>
                  <a:pt x="1331958" y="329542"/>
                  <a:pt x="1325781" y="317916"/>
                </a:cubicBezTo>
                <a:cubicBezTo>
                  <a:pt x="1323723" y="313267"/>
                  <a:pt x="1321663" y="296992"/>
                  <a:pt x="1318575" y="284203"/>
                </a:cubicBezTo>
                <a:cubicBezTo>
                  <a:pt x="1316516" y="274904"/>
                  <a:pt x="1309308" y="269090"/>
                  <a:pt x="1311368" y="259790"/>
                </a:cubicBezTo>
                <a:close/>
                <a:moveTo>
                  <a:pt x="1227593" y="257320"/>
                </a:moveTo>
                <a:cubicBezTo>
                  <a:pt x="1231324" y="257174"/>
                  <a:pt x="1235184" y="260952"/>
                  <a:pt x="1234155" y="269090"/>
                </a:cubicBezTo>
                <a:cubicBezTo>
                  <a:pt x="1230038" y="269090"/>
                  <a:pt x="1225919" y="269090"/>
                  <a:pt x="1221801" y="269090"/>
                </a:cubicBezTo>
                <a:cubicBezTo>
                  <a:pt x="1220257" y="261533"/>
                  <a:pt x="1223860" y="257465"/>
                  <a:pt x="1227593" y="257320"/>
                </a:cubicBezTo>
                <a:close/>
                <a:moveTo>
                  <a:pt x="1482268" y="256303"/>
                </a:moveTo>
                <a:cubicBezTo>
                  <a:pt x="1484326" y="263278"/>
                  <a:pt x="1484326" y="270253"/>
                  <a:pt x="1484326" y="277228"/>
                </a:cubicBezTo>
                <a:cubicBezTo>
                  <a:pt x="1489473" y="285366"/>
                  <a:pt x="1493592" y="310941"/>
                  <a:pt x="1497711" y="314430"/>
                </a:cubicBezTo>
                <a:cubicBezTo>
                  <a:pt x="1498739" y="315592"/>
                  <a:pt x="1497711" y="321405"/>
                  <a:pt x="1497711" y="322567"/>
                </a:cubicBezTo>
                <a:cubicBezTo>
                  <a:pt x="1498739" y="326055"/>
                  <a:pt x="1506975" y="357443"/>
                  <a:pt x="1506975" y="335354"/>
                </a:cubicBezTo>
                <a:cubicBezTo>
                  <a:pt x="1497711" y="322567"/>
                  <a:pt x="1501829" y="291179"/>
                  <a:pt x="1489473" y="280716"/>
                </a:cubicBezTo>
                <a:cubicBezTo>
                  <a:pt x="1488445" y="270253"/>
                  <a:pt x="1487415" y="260952"/>
                  <a:pt x="1482268" y="256303"/>
                </a:cubicBezTo>
                <a:close/>
                <a:moveTo>
                  <a:pt x="1265040" y="243515"/>
                </a:moveTo>
                <a:cubicBezTo>
                  <a:pt x="1266070" y="252815"/>
                  <a:pt x="1268129" y="262116"/>
                  <a:pt x="1275335" y="264440"/>
                </a:cubicBezTo>
                <a:cubicBezTo>
                  <a:pt x="1274307" y="255140"/>
                  <a:pt x="1271218" y="247003"/>
                  <a:pt x="1265040" y="243515"/>
                </a:cubicBezTo>
                <a:close/>
                <a:moveTo>
                  <a:pt x="1512123" y="234214"/>
                </a:moveTo>
                <a:cubicBezTo>
                  <a:pt x="1514182" y="241190"/>
                  <a:pt x="1514182" y="251652"/>
                  <a:pt x="1519329" y="255140"/>
                </a:cubicBezTo>
                <a:cubicBezTo>
                  <a:pt x="1519329" y="244677"/>
                  <a:pt x="1518301" y="235377"/>
                  <a:pt x="1512123" y="234214"/>
                </a:cubicBezTo>
                <a:close/>
                <a:moveTo>
                  <a:pt x="1557069" y="230146"/>
                </a:moveTo>
                <a:cubicBezTo>
                  <a:pt x="1556586" y="232761"/>
                  <a:pt x="1561025" y="248457"/>
                  <a:pt x="1562570" y="245839"/>
                </a:cubicBezTo>
                <a:cubicBezTo>
                  <a:pt x="1565657" y="242352"/>
                  <a:pt x="1559481" y="234214"/>
                  <a:pt x="1559481" y="233053"/>
                </a:cubicBezTo>
                <a:cubicBezTo>
                  <a:pt x="1557936" y="229856"/>
                  <a:pt x="1557228" y="229274"/>
                  <a:pt x="1557069" y="230146"/>
                </a:cubicBezTo>
                <a:close/>
                <a:moveTo>
                  <a:pt x="1543008" y="221427"/>
                </a:moveTo>
                <a:cubicBezTo>
                  <a:pt x="1541979" y="242352"/>
                  <a:pt x="1552274" y="247003"/>
                  <a:pt x="1550214" y="266765"/>
                </a:cubicBezTo>
                <a:cubicBezTo>
                  <a:pt x="1557422" y="264440"/>
                  <a:pt x="1549187" y="285366"/>
                  <a:pt x="1559481" y="279553"/>
                </a:cubicBezTo>
                <a:cubicBezTo>
                  <a:pt x="1557422" y="266765"/>
                  <a:pt x="1552274" y="253978"/>
                  <a:pt x="1549187" y="242352"/>
                </a:cubicBezTo>
                <a:cubicBezTo>
                  <a:pt x="1547127" y="234214"/>
                  <a:pt x="1551244" y="221427"/>
                  <a:pt x="1543008" y="221427"/>
                </a:cubicBezTo>
                <a:close/>
                <a:moveTo>
                  <a:pt x="1208417" y="210963"/>
                </a:moveTo>
                <a:cubicBezTo>
                  <a:pt x="1212536" y="209801"/>
                  <a:pt x="1213565" y="215615"/>
                  <a:pt x="1217682" y="215615"/>
                </a:cubicBezTo>
                <a:cubicBezTo>
                  <a:pt x="1217682" y="217939"/>
                  <a:pt x="1217682" y="221427"/>
                  <a:pt x="1217682" y="223753"/>
                </a:cubicBezTo>
                <a:cubicBezTo>
                  <a:pt x="1214595" y="223753"/>
                  <a:pt x="1211506" y="223753"/>
                  <a:pt x="1208417" y="223753"/>
                </a:cubicBezTo>
                <a:cubicBezTo>
                  <a:pt x="1208417" y="219102"/>
                  <a:pt x="1208417" y="215615"/>
                  <a:pt x="1208417" y="210963"/>
                </a:cubicBezTo>
                <a:close/>
                <a:moveTo>
                  <a:pt x="1267099" y="209801"/>
                </a:moveTo>
                <a:cubicBezTo>
                  <a:pt x="1267099" y="216776"/>
                  <a:pt x="1270188" y="220264"/>
                  <a:pt x="1273276" y="222589"/>
                </a:cubicBezTo>
                <a:cubicBezTo>
                  <a:pt x="1273276" y="215615"/>
                  <a:pt x="1274307" y="207476"/>
                  <a:pt x="1267099" y="209801"/>
                </a:cubicBezTo>
                <a:close/>
                <a:moveTo>
                  <a:pt x="1488445" y="197014"/>
                </a:moveTo>
                <a:cubicBezTo>
                  <a:pt x="1489473" y="212127"/>
                  <a:pt x="1487415" y="230727"/>
                  <a:pt x="1498739" y="230727"/>
                </a:cubicBezTo>
                <a:cubicBezTo>
                  <a:pt x="1497711" y="216776"/>
                  <a:pt x="1494621" y="203989"/>
                  <a:pt x="1488445" y="197014"/>
                </a:cubicBezTo>
                <a:close/>
                <a:moveTo>
                  <a:pt x="1444047" y="169839"/>
                </a:moveTo>
                <a:cubicBezTo>
                  <a:pt x="1443404" y="168532"/>
                  <a:pt x="1442631" y="168532"/>
                  <a:pt x="1442117" y="171438"/>
                </a:cubicBezTo>
                <a:cubicBezTo>
                  <a:pt x="1445205" y="178413"/>
                  <a:pt x="1444175" y="188876"/>
                  <a:pt x="1446235" y="197014"/>
                </a:cubicBezTo>
                <a:cubicBezTo>
                  <a:pt x="1446235" y="197014"/>
                  <a:pt x="1449323" y="197014"/>
                  <a:pt x="1449323" y="197014"/>
                </a:cubicBezTo>
                <a:cubicBezTo>
                  <a:pt x="1449323" y="199339"/>
                  <a:pt x="1448293" y="205152"/>
                  <a:pt x="1448293" y="206314"/>
                </a:cubicBezTo>
                <a:cubicBezTo>
                  <a:pt x="1451382" y="214452"/>
                  <a:pt x="1451382" y="229564"/>
                  <a:pt x="1458588" y="230727"/>
                </a:cubicBezTo>
                <a:cubicBezTo>
                  <a:pt x="1456530" y="208639"/>
                  <a:pt x="1452412" y="191200"/>
                  <a:pt x="1445205" y="176087"/>
                </a:cubicBezTo>
                <a:cubicBezTo>
                  <a:pt x="1445205" y="173764"/>
                  <a:pt x="1444690" y="171148"/>
                  <a:pt x="1444047" y="169839"/>
                </a:cubicBezTo>
                <a:close/>
                <a:moveTo>
                  <a:pt x="1526041" y="160401"/>
                </a:moveTo>
                <a:lnTo>
                  <a:pt x="1526725" y="160660"/>
                </a:lnTo>
                <a:lnTo>
                  <a:pt x="1527425" y="161810"/>
                </a:lnTo>
                <a:lnTo>
                  <a:pt x="1527084" y="163816"/>
                </a:lnTo>
                <a:close/>
                <a:moveTo>
                  <a:pt x="1518301" y="157489"/>
                </a:moveTo>
                <a:cubicBezTo>
                  <a:pt x="1515212" y="169113"/>
                  <a:pt x="1517271" y="181901"/>
                  <a:pt x="1519329" y="191200"/>
                </a:cubicBezTo>
                <a:cubicBezTo>
                  <a:pt x="1520359" y="197014"/>
                  <a:pt x="1524477" y="195852"/>
                  <a:pt x="1525506" y="199339"/>
                </a:cubicBezTo>
                <a:cubicBezTo>
                  <a:pt x="1526537" y="201663"/>
                  <a:pt x="1525506" y="205152"/>
                  <a:pt x="1525506" y="207476"/>
                </a:cubicBezTo>
                <a:cubicBezTo>
                  <a:pt x="1526537" y="214452"/>
                  <a:pt x="1529625" y="220264"/>
                  <a:pt x="1531684" y="223753"/>
                </a:cubicBezTo>
                <a:cubicBezTo>
                  <a:pt x="1531684" y="223753"/>
                  <a:pt x="1534772" y="227240"/>
                  <a:pt x="1534772" y="228402"/>
                </a:cubicBezTo>
                <a:cubicBezTo>
                  <a:pt x="1538891" y="234214"/>
                  <a:pt x="1538891" y="241190"/>
                  <a:pt x="1538891" y="249328"/>
                </a:cubicBezTo>
                <a:cubicBezTo>
                  <a:pt x="1538891" y="252815"/>
                  <a:pt x="1535801" y="252815"/>
                  <a:pt x="1535801" y="253978"/>
                </a:cubicBezTo>
                <a:cubicBezTo>
                  <a:pt x="1534772" y="262116"/>
                  <a:pt x="1543008" y="259790"/>
                  <a:pt x="1541979" y="270253"/>
                </a:cubicBezTo>
                <a:cubicBezTo>
                  <a:pt x="1541979" y="269090"/>
                  <a:pt x="1538891" y="272578"/>
                  <a:pt x="1538891" y="274904"/>
                </a:cubicBezTo>
                <a:cubicBezTo>
                  <a:pt x="1537861" y="279553"/>
                  <a:pt x="1540949" y="281879"/>
                  <a:pt x="1541979" y="283042"/>
                </a:cubicBezTo>
                <a:cubicBezTo>
                  <a:pt x="1543008" y="284203"/>
                  <a:pt x="1541979" y="290017"/>
                  <a:pt x="1541979" y="291179"/>
                </a:cubicBezTo>
                <a:cubicBezTo>
                  <a:pt x="1541979" y="291179"/>
                  <a:pt x="1545068" y="291179"/>
                  <a:pt x="1545068" y="291179"/>
                </a:cubicBezTo>
                <a:cubicBezTo>
                  <a:pt x="1547127" y="293504"/>
                  <a:pt x="1548156" y="319079"/>
                  <a:pt x="1549187" y="320242"/>
                </a:cubicBezTo>
                <a:cubicBezTo>
                  <a:pt x="1552274" y="328380"/>
                  <a:pt x="1559481" y="330705"/>
                  <a:pt x="1559481" y="341168"/>
                </a:cubicBezTo>
                <a:cubicBezTo>
                  <a:pt x="1559481" y="350468"/>
                  <a:pt x="1559481" y="360930"/>
                  <a:pt x="1560511" y="370230"/>
                </a:cubicBezTo>
                <a:cubicBezTo>
                  <a:pt x="1568746" y="372556"/>
                  <a:pt x="1564629" y="381856"/>
                  <a:pt x="1569776" y="383019"/>
                </a:cubicBezTo>
                <a:cubicBezTo>
                  <a:pt x="1573894" y="383019"/>
                  <a:pt x="1573894" y="392319"/>
                  <a:pt x="1575954" y="395806"/>
                </a:cubicBezTo>
                <a:cubicBezTo>
                  <a:pt x="1572864" y="406270"/>
                  <a:pt x="1580071" y="414407"/>
                  <a:pt x="1580071" y="424870"/>
                </a:cubicBezTo>
                <a:cubicBezTo>
                  <a:pt x="1580071" y="430682"/>
                  <a:pt x="1575954" y="431845"/>
                  <a:pt x="1576982" y="441146"/>
                </a:cubicBezTo>
                <a:cubicBezTo>
                  <a:pt x="1578012" y="445795"/>
                  <a:pt x="1580071" y="446958"/>
                  <a:pt x="1580071" y="453933"/>
                </a:cubicBezTo>
                <a:cubicBezTo>
                  <a:pt x="1581100" y="466721"/>
                  <a:pt x="1583160" y="470208"/>
                  <a:pt x="1584188" y="474858"/>
                </a:cubicBezTo>
                <a:cubicBezTo>
                  <a:pt x="1585219" y="480671"/>
                  <a:pt x="1586248" y="482996"/>
                  <a:pt x="1587277" y="487647"/>
                </a:cubicBezTo>
                <a:cubicBezTo>
                  <a:pt x="1589337" y="493460"/>
                  <a:pt x="1589337" y="498109"/>
                  <a:pt x="1590367" y="503922"/>
                </a:cubicBezTo>
                <a:cubicBezTo>
                  <a:pt x="1591395" y="507410"/>
                  <a:pt x="1593455" y="507410"/>
                  <a:pt x="1593455" y="508572"/>
                </a:cubicBezTo>
                <a:cubicBezTo>
                  <a:pt x="1597572" y="522522"/>
                  <a:pt x="1592425" y="541123"/>
                  <a:pt x="1597572" y="545772"/>
                </a:cubicBezTo>
                <a:cubicBezTo>
                  <a:pt x="1602720" y="551586"/>
                  <a:pt x="1595514" y="565536"/>
                  <a:pt x="1601691" y="571348"/>
                </a:cubicBezTo>
                <a:cubicBezTo>
                  <a:pt x="1602720" y="572511"/>
                  <a:pt x="1601691" y="578323"/>
                  <a:pt x="1601691" y="579486"/>
                </a:cubicBezTo>
                <a:cubicBezTo>
                  <a:pt x="1601691" y="579486"/>
                  <a:pt x="1604780" y="579486"/>
                  <a:pt x="1604780" y="579486"/>
                </a:cubicBezTo>
                <a:cubicBezTo>
                  <a:pt x="1605809" y="580648"/>
                  <a:pt x="1604780" y="586461"/>
                  <a:pt x="1604780" y="587623"/>
                </a:cubicBezTo>
                <a:cubicBezTo>
                  <a:pt x="1604780" y="587623"/>
                  <a:pt x="1607868" y="587623"/>
                  <a:pt x="1607868" y="587623"/>
                </a:cubicBezTo>
                <a:cubicBezTo>
                  <a:pt x="1608898" y="588787"/>
                  <a:pt x="1607868" y="594600"/>
                  <a:pt x="1607868" y="595761"/>
                </a:cubicBezTo>
                <a:cubicBezTo>
                  <a:pt x="1608898" y="599249"/>
                  <a:pt x="1609927" y="601575"/>
                  <a:pt x="1610957" y="603899"/>
                </a:cubicBezTo>
                <a:cubicBezTo>
                  <a:pt x="1613015" y="609713"/>
                  <a:pt x="1607868" y="617850"/>
                  <a:pt x="1607868" y="624825"/>
                </a:cubicBezTo>
                <a:cubicBezTo>
                  <a:pt x="1607868" y="624825"/>
                  <a:pt x="1610957" y="624825"/>
                  <a:pt x="1610957" y="624825"/>
                </a:cubicBezTo>
                <a:cubicBezTo>
                  <a:pt x="1613015" y="627150"/>
                  <a:pt x="1610957" y="638775"/>
                  <a:pt x="1610957" y="641101"/>
                </a:cubicBezTo>
                <a:cubicBezTo>
                  <a:pt x="1614044" y="658538"/>
                  <a:pt x="1622281" y="685277"/>
                  <a:pt x="1624340" y="695739"/>
                </a:cubicBezTo>
                <a:cubicBezTo>
                  <a:pt x="1626400" y="702715"/>
                  <a:pt x="1626400" y="707365"/>
                  <a:pt x="1627428" y="712014"/>
                </a:cubicBezTo>
                <a:cubicBezTo>
                  <a:pt x="1630517" y="720153"/>
                  <a:pt x="1630517" y="723640"/>
                  <a:pt x="1631547" y="732941"/>
                </a:cubicBezTo>
                <a:cubicBezTo>
                  <a:pt x="1631547" y="736428"/>
                  <a:pt x="1634636" y="736428"/>
                  <a:pt x="1634636" y="737590"/>
                </a:cubicBezTo>
                <a:cubicBezTo>
                  <a:pt x="1637724" y="751541"/>
                  <a:pt x="1633605" y="753865"/>
                  <a:pt x="1638754" y="758516"/>
                </a:cubicBezTo>
                <a:cubicBezTo>
                  <a:pt x="1639783" y="759678"/>
                  <a:pt x="1638754" y="765491"/>
                  <a:pt x="1638754" y="766653"/>
                </a:cubicBezTo>
                <a:cubicBezTo>
                  <a:pt x="1641843" y="774791"/>
                  <a:pt x="1641843" y="778279"/>
                  <a:pt x="1642870" y="787579"/>
                </a:cubicBezTo>
                <a:cubicBezTo>
                  <a:pt x="1643900" y="793392"/>
                  <a:pt x="1645960" y="795717"/>
                  <a:pt x="1645960" y="800367"/>
                </a:cubicBezTo>
                <a:cubicBezTo>
                  <a:pt x="1649048" y="820131"/>
                  <a:pt x="1652137" y="853844"/>
                  <a:pt x="1654196" y="866631"/>
                </a:cubicBezTo>
                <a:cubicBezTo>
                  <a:pt x="1655226" y="872443"/>
                  <a:pt x="1653167" y="878257"/>
                  <a:pt x="1654196" y="882907"/>
                </a:cubicBezTo>
                <a:cubicBezTo>
                  <a:pt x="1655226" y="888719"/>
                  <a:pt x="1660373" y="893370"/>
                  <a:pt x="1660373" y="899182"/>
                </a:cubicBezTo>
                <a:cubicBezTo>
                  <a:pt x="1660373" y="903832"/>
                  <a:pt x="1657286" y="903832"/>
                  <a:pt x="1657286" y="907319"/>
                </a:cubicBezTo>
                <a:cubicBezTo>
                  <a:pt x="1657286" y="911970"/>
                  <a:pt x="1660373" y="913133"/>
                  <a:pt x="1660373" y="920108"/>
                </a:cubicBezTo>
                <a:cubicBezTo>
                  <a:pt x="1661402" y="941033"/>
                  <a:pt x="1663461" y="959634"/>
                  <a:pt x="1664491" y="970096"/>
                </a:cubicBezTo>
                <a:cubicBezTo>
                  <a:pt x="1665520" y="977071"/>
                  <a:pt x="1664491" y="984047"/>
                  <a:pt x="1665520" y="991022"/>
                </a:cubicBezTo>
                <a:cubicBezTo>
                  <a:pt x="1666550" y="997997"/>
                  <a:pt x="1670669" y="1003810"/>
                  <a:pt x="1672726" y="1011948"/>
                </a:cubicBezTo>
                <a:cubicBezTo>
                  <a:pt x="1676845" y="1032873"/>
                  <a:pt x="1674786" y="1053799"/>
                  <a:pt x="1677875" y="1074724"/>
                </a:cubicBezTo>
                <a:cubicBezTo>
                  <a:pt x="1677875" y="1079375"/>
                  <a:pt x="1680963" y="1079375"/>
                  <a:pt x="1680963" y="1082861"/>
                </a:cubicBezTo>
                <a:cubicBezTo>
                  <a:pt x="1681993" y="1088675"/>
                  <a:pt x="1680963" y="1094487"/>
                  <a:pt x="1680963" y="1099137"/>
                </a:cubicBezTo>
                <a:cubicBezTo>
                  <a:pt x="1681993" y="1103788"/>
                  <a:pt x="1684052" y="1103788"/>
                  <a:pt x="1684052" y="1107275"/>
                </a:cubicBezTo>
                <a:cubicBezTo>
                  <a:pt x="1685081" y="1111925"/>
                  <a:pt x="1683023" y="1118901"/>
                  <a:pt x="1684052" y="1123550"/>
                </a:cubicBezTo>
                <a:cubicBezTo>
                  <a:pt x="1686111" y="1130527"/>
                  <a:pt x="1690229" y="1134013"/>
                  <a:pt x="1690229" y="1139826"/>
                </a:cubicBezTo>
                <a:cubicBezTo>
                  <a:pt x="1691258" y="1145639"/>
                  <a:pt x="1687140" y="1149126"/>
                  <a:pt x="1687140" y="1152613"/>
                </a:cubicBezTo>
                <a:cubicBezTo>
                  <a:pt x="1687140" y="1154939"/>
                  <a:pt x="1690229" y="1157264"/>
                  <a:pt x="1690229" y="1157264"/>
                </a:cubicBezTo>
                <a:cubicBezTo>
                  <a:pt x="1690229" y="1166564"/>
                  <a:pt x="1690229" y="1174701"/>
                  <a:pt x="1691258" y="1182839"/>
                </a:cubicBezTo>
                <a:cubicBezTo>
                  <a:pt x="1692287" y="1192140"/>
                  <a:pt x="1696406" y="1199114"/>
                  <a:pt x="1698465" y="1207253"/>
                </a:cubicBezTo>
                <a:cubicBezTo>
                  <a:pt x="1701554" y="1228178"/>
                  <a:pt x="1700524" y="1239804"/>
                  <a:pt x="1699495" y="1249103"/>
                </a:cubicBezTo>
                <a:cubicBezTo>
                  <a:pt x="1698465" y="1252591"/>
                  <a:pt x="1700524" y="1257241"/>
                  <a:pt x="1699495" y="1261891"/>
                </a:cubicBezTo>
                <a:cubicBezTo>
                  <a:pt x="1698465" y="1275842"/>
                  <a:pt x="1697436" y="1279330"/>
                  <a:pt x="1700524" y="1282818"/>
                </a:cubicBezTo>
                <a:cubicBezTo>
                  <a:pt x="1702582" y="1285142"/>
                  <a:pt x="1700524" y="1296767"/>
                  <a:pt x="1700524" y="1299093"/>
                </a:cubicBezTo>
                <a:cubicBezTo>
                  <a:pt x="1702582" y="1315368"/>
                  <a:pt x="1703612" y="1330481"/>
                  <a:pt x="1704642" y="1349082"/>
                </a:cubicBezTo>
                <a:cubicBezTo>
                  <a:pt x="1704642" y="1354894"/>
                  <a:pt x="1707730" y="1354894"/>
                  <a:pt x="1707730" y="1361869"/>
                </a:cubicBezTo>
                <a:cubicBezTo>
                  <a:pt x="1707730" y="1367682"/>
                  <a:pt x="1704642" y="1367682"/>
                  <a:pt x="1704642" y="1374657"/>
                </a:cubicBezTo>
                <a:cubicBezTo>
                  <a:pt x="1704642" y="1373495"/>
                  <a:pt x="1707730" y="1376982"/>
                  <a:pt x="1707730" y="1379308"/>
                </a:cubicBezTo>
                <a:cubicBezTo>
                  <a:pt x="1709789" y="1388608"/>
                  <a:pt x="1707730" y="1396745"/>
                  <a:pt x="1708760" y="1404883"/>
                </a:cubicBezTo>
                <a:cubicBezTo>
                  <a:pt x="1708760" y="1410696"/>
                  <a:pt x="1711849" y="1414184"/>
                  <a:pt x="1711849" y="1417671"/>
                </a:cubicBezTo>
                <a:cubicBezTo>
                  <a:pt x="1711849" y="1423484"/>
                  <a:pt x="1708760" y="1425808"/>
                  <a:pt x="1708760" y="1433947"/>
                </a:cubicBezTo>
                <a:cubicBezTo>
                  <a:pt x="1709789" y="1439759"/>
                  <a:pt x="1711849" y="1442085"/>
                  <a:pt x="1711849" y="1450222"/>
                </a:cubicBezTo>
                <a:cubicBezTo>
                  <a:pt x="1712879" y="1469985"/>
                  <a:pt x="1712879" y="1492074"/>
                  <a:pt x="1713908" y="1512998"/>
                </a:cubicBezTo>
                <a:cubicBezTo>
                  <a:pt x="1718025" y="1523462"/>
                  <a:pt x="1726262" y="1526949"/>
                  <a:pt x="1727292" y="1542062"/>
                </a:cubicBezTo>
                <a:cubicBezTo>
                  <a:pt x="1730380" y="1559499"/>
                  <a:pt x="1723173" y="1592050"/>
                  <a:pt x="1734498" y="1596700"/>
                </a:cubicBezTo>
                <a:cubicBezTo>
                  <a:pt x="1730380" y="1568799"/>
                  <a:pt x="1732439" y="1537411"/>
                  <a:pt x="1729351" y="1508349"/>
                </a:cubicBezTo>
                <a:cubicBezTo>
                  <a:pt x="1728320" y="1500211"/>
                  <a:pt x="1726262" y="1494397"/>
                  <a:pt x="1725232" y="1487422"/>
                </a:cubicBezTo>
                <a:cubicBezTo>
                  <a:pt x="1724203" y="1469985"/>
                  <a:pt x="1725232" y="1450222"/>
                  <a:pt x="1724203" y="1432784"/>
                </a:cubicBezTo>
                <a:cubicBezTo>
                  <a:pt x="1723173" y="1414184"/>
                  <a:pt x="1718025" y="1396745"/>
                  <a:pt x="1716996" y="1378144"/>
                </a:cubicBezTo>
                <a:cubicBezTo>
                  <a:pt x="1718025" y="1361869"/>
                  <a:pt x="1719055" y="1346756"/>
                  <a:pt x="1718025" y="1330481"/>
                </a:cubicBezTo>
                <a:cubicBezTo>
                  <a:pt x="1715967" y="1301418"/>
                  <a:pt x="1708760" y="1272355"/>
                  <a:pt x="1706701" y="1243291"/>
                </a:cubicBezTo>
                <a:cubicBezTo>
                  <a:pt x="1705671" y="1227016"/>
                  <a:pt x="1710819" y="1227016"/>
                  <a:pt x="1705671" y="1222366"/>
                </a:cubicBezTo>
                <a:cubicBezTo>
                  <a:pt x="1701554" y="1217715"/>
                  <a:pt x="1704642" y="1182839"/>
                  <a:pt x="1704642" y="1175864"/>
                </a:cubicBezTo>
                <a:cubicBezTo>
                  <a:pt x="1703612" y="1166564"/>
                  <a:pt x="1698465" y="1159589"/>
                  <a:pt x="1697436" y="1151451"/>
                </a:cubicBezTo>
                <a:cubicBezTo>
                  <a:pt x="1697436" y="1153777"/>
                  <a:pt x="1700524" y="1147964"/>
                  <a:pt x="1700524" y="1146802"/>
                </a:cubicBezTo>
                <a:cubicBezTo>
                  <a:pt x="1703612" y="1134013"/>
                  <a:pt x="1697436" y="1129363"/>
                  <a:pt x="1696406" y="1121226"/>
                </a:cubicBezTo>
                <a:cubicBezTo>
                  <a:pt x="1694347" y="1101462"/>
                  <a:pt x="1692287" y="1091000"/>
                  <a:pt x="1692287" y="1074724"/>
                </a:cubicBezTo>
                <a:cubicBezTo>
                  <a:pt x="1693318" y="1067749"/>
                  <a:pt x="1696406" y="1075887"/>
                  <a:pt x="1701554" y="1074724"/>
                </a:cubicBezTo>
                <a:cubicBezTo>
                  <a:pt x="1699495" y="1063099"/>
                  <a:pt x="1694347" y="1054961"/>
                  <a:pt x="1688169" y="1050311"/>
                </a:cubicBezTo>
                <a:cubicBezTo>
                  <a:pt x="1684052" y="1045661"/>
                  <a:pt x="1680963" y="1017760"/>
                  <a:pt x="1687140" y="1013110"/>
                </a:cubicBezTo>
                <a:cubicBezTo>
                  <a:pt x="1687140" y="1025898"/>
                  <a:pt x="1687140" y="1038686"/>
                  <a:pt x="1697436" y="1037524"/>
                </a:cubicBezTo>
                <a:cubicBezTo>
                  <a:pt x="1699495" y="1018923"/>
                  <a:pt x="1692287" y="1011948"/>
                  <a:pt x="1693318" y="995673"/>
                </a:cubicBezTo>
                <a:cubicBezTo>
                  <a:pt x="1680963" y="989860"/>
                  <a:pt x="1693318" y="1014272"/>
                  <a:pt x="1680963" y="1008459"/>
                </a:cubicBezTo>
                <a:cubicBezTo>
                  <a:pt x="1676845" y="979397"/>
                  <a:pt x="1666550" y="944521"/>
                  <a:pt x="1672726" y="916620"/>
                </a:cubicBezTo>
                <a:cubicBezTo>
                  <a:pt x="1663461" y="913133"/>
                  <a:pt x="1667580" y="895695"/>
                  <a:pt x="1665520" y="882907"/>
                </a:cubicBezTo>
                <a:cubicBezTo>
                  <a:pt x="1665520" y="882907"/>
                  <a:pt x="1662432" y="882907"/>
                  <a:pt x="1662432" y="882907"/>
                </a:cubicBezTo>
                <a:cubicBezTo>
                  <a:pt x="1660373" y="880581"/>
                  <a:pt x="1662432" y="868956"/>
                  <a:pt x="1662432" y="866631"/>
                </a:cubicBezTo>
                <a:cubicBezTo>
                  <a:pt x="1660373" y="851519"/>
                  <a:pt x="1658313" y="831755"/>
                  <a:pt x="1658313" y="816642"/>
                </a:cubicBezTo>
                <a:cubicBezTo>
                  <a:pt x="1658313" y="809667"/>
                  <a:pt x="1650078" y="795717"/>
                  <a:pt x="1661402" y="795717"/>
                </a:cubicBezTo>
                <a:cubicBezTo>
                  <a:pt x="1662432" y="800367"/>
                  <a:pt x="1661402" y="807342"/>
                  <a:pt x="1664491" y="808505"/>
                </a:cubicBezTo>
                <a:cubicBezTo>
                  <a:pt x="1664491" y="803855"/>
                  <a:pt x="1664491" y="800367"/>
                  <a:pt x="1664491" y="795717"/>
                </a:cubicBezTo>
                <a:cubicBezTo>
                  <a:pt x="1668610" y="794554"/>
                  <a:pt x="1666550" y="791067"/>
                  <a:pt x="1664491" y="787579"/>
                </a:cubicBezTo>
                <a:cubicBezTo>
                  <a:pt x="1660373" y="773629"/>
                  <a:pt x="1663461" y="799205"/>
                  <a:pt x="1655226" y="792230"/>
                </a:cubicBezTo>
                <a:cubicBezTo>
                  <a:pt x="1650078" y="777117"/>
                  <a:pt x="1650078" y="766653"/>
                  <a:pt x="1648019" y="755028"/>
                </a:cubicBezTo>
                <a:cubicBezTo>
                  <a:pt x="1646989" y="752704"/>
                  <a:pt x="1644930" y="751541"/>
                  <a:pt x="1644930" y="750378"/>
                </a:cubicBezTo>
                <a:cubicBezTo>
                  <a:pt x="1641843" y="735266"/>
                  <a:pt x="1639783" y="720153"/>
                  <a:pt x="1637724" y="708527"/>
                </a:cubicBezTo>
                <a:cubicBezTo>
                  <a:pt x="1635664" y="698065"/>
                  <a:pt x="1628457" y="677139"/>
                  <a:pt x="1627428" y="671326"/>
                </a:cubicBezTo>
                <a:cubicBezTo>
                  <a:pt x="1626400" y="665513"/>
                  <a:pt x="1628457" y="659702"/>
                  <a:pt x="1627428" y="655051"/>
                </a:cubicBezTo>
                <a:cubicBezTo>
                  <a:pt x="1624340" y="639938"/>
                  <a:pt x="1619193" y="624825"/>
                  <a:pt x="1617133" y="609713"/>
                </a:cubicBezTo>
                <a:cubicBezTo>
                  <a:pt x="1616104" y="601575"/>
                  <a:pt x="1620222" y="600413"/>
                  <a:pt x="1620222" y="593437"/>
                </a:cubicBezTo>
                <a:cubicBezTo>
                  <a:pt x="1620222" y="593437"/>
                  <a:pt x="1614044" y="586461"/>
                  <a:pt x="1614044" y="585300"/>
                </a:cubicBezTo>
                <a:cubicBezTo>
                  <a:pt x="1613015" y="579486"/>
                  <a:pt x="1618163" y="577161"/>
                  <a:pt x="1617133" y="569024"/>
                </a:cubicBezTo>
                <a:cubicBezTo>
                  <a:pt x="1617133" y="567861"/>
                  <a:pt x="1610957" y="562048"/>
                  <a:pt x="1610957" y="560886"/>
                </a:cubicBezTo>
                <a:cubicBezTo>
                  <a:pt x="1608898" y="556235"/>
                  <a:pt x="1607868" y="546935"/>
                  <a:pt x="1607868" y="544610"/>
                </a:cubicBezTo>
                <a:cubicBezTo>
                  <a:pt x="1605809" y="537635"/>
                  <a:pt x="1605809" y="528335"/>
                  <a:pt x="1603750" y="519036"/>
                </a:cubicBezTo>
                <a:cubicBezTo>
                  <a:pt x="1599631" y="501597"/>
                  <a:pt x="1596543" y="485322"/>
                  <a:pt x="1593455" y="469045"/>
                </a:cubicBezTo>
                <a:cubicBezTo>
                  <a:pt x="1590367" y="456258"/>
                  <a:pt x="1587277" y="443471"/>
                  <a:pt x="1586248" y="431845"/>
                </a:cubicBezTo>
                <a:cubicBezTo>
                  <a:pt x="1585219" y="414407"/>
                  <a:pt x="1582130" y="405106"/>
                  <a:pt x="1579042" y="389994"/>
                </a:cubicBezTo>
                <a:cubicBezTo>
                  <a:pt x="1575954" y="376044"/>
                  <a:pt x="1570805" y="345817"/>
                  <a:pt x="1565657" y="340006"/>
                </a:cubicBezTo>
                <a:cubicBezTo>
                  <a:pt x="1564629" y="338842"/>
                  <a:pt x="1565657" y="333030"/>
                  <a:pt x="1565657" y="331867"/>
                </a:cubicBezTo>
                <a:cubicBezTo>
                  <a:pt x="1555362" y="298154"/>
                  <a:pt x="1546098" y="252815"/>
                  <a:pt x="1537861" y="223753"/>
                </a:cubicBezTo>
                <a:cubicBezTo>
                  <a:pt x="1536831" y="221427"/>
                  <a:pt x="1537861" y="217939"/>
                  <a:pt x="1537861" y="215615"/>
                </a:cubicBezTo>
                <a:cubicBezTo>
                  <a:pt x="1536831" y="212127"/>
                  <a:pt x="1534772" y="213289"/>
                  <a:pt x="1534772" y="210963"/>
                </a:cubicBezTo>
                <a:cubicBezTo>
                  <a:pt x="1531684" y="201663"/>
                  <a:pt x="1532714" y="197014"/>
                  <a:pt x="1530655" y="190039"/>
                </a:cubicBezTo>
                <a:cubicBezTo>
                  <a:pt x="1528595" y="181901"/>
                  <a:pt x="1525506" y="179576"/>
                  <a:pt x="1524477" y="173764"/>
                </a:cubicBezTo>
                <a:cubicBezTo>
                  <a:pt x="1523963" y="171438"/>
                  <a:pt x="1525249" y="169694"/>
                  <a:pt x="1526408" y="167805"/>
                </a:cubicBezTo>
                <a:lnTo>
                  <a:pt x="1527084" y="163816"/>
                </a:lnTo>
                <a:lnTo>
                  <a:pt x="1535801" y="192363"/>
                </a:lnTo>
                <a:cubicBezTo>
                  <a:pt x="1535287" y="184807"/>
                  <a:pt x="1534772" y="177542"/>
                  <a:pt x="1533356" y="171584"/>
                </a:cubicBezTo>
                <a:lnTo>
                  <a:pt x="1527425" y="161810"/>
                </a:lnTo>
                <a:lnTo>
                  <a:pt x="1527566" y="160976"/>
                </a:lnTo>
                <a:lnTo>
                  <a:pt x="1526725" y="160660"/>
                </a:lnTo>
                <a:lnTo>
                  <a:pt x="1525506" y="158650"/>
                </a:lnTo>
                <a:lnTo>
                  <a:pt x="1526041" y="160401"/>
                </a:lnTo>
                <a:close/>
                <a:moveTo>
                  <a:pt x="1197720" y="147969"/>
                </a:moveTo>
                <a:cubicBezTo>
                  <a:pt x="1201146" y="149931"/>
                  <a:pt x="1198638" y="160393"/>
                  <a:pt x="1200181" y="165626"/>
                </a:cubicBezTo>
                <a:cubicBezTo>
                  <a:pt x="1202240" y="170276"/>
                  <a:pt x="1206358" y="172601"/>
                  <a:pt x="1206358" y="178413"/>
                </a:cubicBezTo>
                <a:cubicBezTo>
                  <a:pt x="1207388" y="185388"/>
                  <a:pt x="1202240" y="193526"/>
                  <a:pt x="1206358" y="194688"/>
                </a:cubicBezTo>
                <a:cubicBezTo>
                  <a:pt x="1199152" y="205152"/>
                  <a:pt x="1199152" y="180739"/>
                  <a:pt x="1196063" y="170276"/>
                </a:cubicBezTo>
                <a:lnTo>
                  <a:pt x="1190990" y="160693"/>
                </a:lnTo>
                <a:lnTo>
                  <a:pt x="1190573" y="153766"/>
                </a:lnTo>
                <a:lnTo>
                  <a:pt x="1191945" y="149350"/>
                </a:lnTo>
                <a:cubicBezTo>
                  <a:pt x="1194776" y="147605"/>
                  <a:pt x="1196578" y="147315"/>
                  <a:pt x="1197720" y="147969"/>
                </a:cubicBezTo>
                <a:close/>
                <a:moveTo>
                  <a:pt x="1265040" y="142375"/>
                </a:moveTo>
                <a:cubicBezTo>
                  <a:pt x="1262981" y="155163"/>
                  <a:pt x="1269158" y="162138"/>
                  <a:pt x="1272247" y="171438"/>
                </a:cubicBezTo>
                <a:cubicBezTo>
                  <a:pt x="1275335" y="180739"/>
                  <a:pt x="1274307" y="194688"/>
                  <a:pt x="1282542" y="197014"/>
                </a:cubicBezTo>
                <a:cubicBezTo>
                  <a:pt x="1278424" y="176087"/>
                  <a:pt x="1277394" y="152838"/>
                  <a:pt x="1265040" y="142375"/>
                </a:cubicBezTo>
                <a:close/>
                <a:moveTo>
                  <a:pt x="1552209" y="123138"/>
                </a:moveTo>
                <a:cubicBezTo>
                  <a:pt x="1554527" y="125809"/>
                  <a:pt x="1557422" y="139759"/>
                  <a:pt x="1557422" y="145863"/>
                </a:cubicBezTo>
                <a:cubicBezTo>
                  <a:pt x="1552274" y="142375"/>
                  <a:pt x="1551244" y="131912"/>
                  <a:pt x="1550214" y="124936"/>
                </a:cubicBezTo>
                <a:cubicBezTo>
                  <a:pt x="1550730" y="122612"/>
                  <a:pt x="1551438" y="122249"/>
                  <a:pt x="1552209" y="123138"/>
                </a:cubicBezTo>
                <a:close/>
                <a:moveTo>
                  <a:pt x="1289749" y="121449"/>
                </a:moveTo>
                <a:cubicBezTo>
                  <a:pt x="1293867" y="127262"/>
                  <a:pt x="1292837" y="140050"/>
                  <a:pt x="1293867" y="150512"/>
                </a:cubicBezTo>
                <a:cubicBezTo>
                  <a:pt x="1289749" y="148188"/>
                  <a:pt x="1279454" y="119124"/>
                  <a:pt x="1289749" y="121449"/>
                </a:cubicBezTo>
                <a:close/>
                <a:moveTo>
                  <a:pt x="1483297" y="109823"/>
                </a:moveTo>
                <a:cubicBezTo>
                  <a:pt x="1484326" y="120287"/>
                  <a:pt x="1482268" y="134237"/>
                  <a:pt x="1490504" y="134237"/>
                </a:cubicBezTo>
                <a:cubicBezTo>
                  <a:pt x="1487415" y="127262"/>
                  <a:pt x="1488445" y="113311"/>
                  <a:pt x="1483297" y="109823"/>
                </a:cubicBezTo>
                <a:close/>
                <a:moveTo>
                  <a:pt x="1254456" y="105047"/>
                </a:moveTo>
                <a:cubicBezTo>
                  <a:pt x="1253588" y="104810"/>
                  <a:pt x="1252687" y="106045"/>
                  <a:pt x="1251657" y="109823"/>
                </a:cubicBezTo>
                <a:cubicBezTo>
                  <a:pt x="1258864" y="116798"/>
                  <a:pt x="1254745" y="137725"/>
                  <a:pt x="1265040" y="138888"/>
                </a:cubicBezTo>
                <a:cubicBezTo>
                  <a:pt x="1265040" y="131912"/>
                  <a:pt x="1265040" y="124936"/>
                  <a:pt x="1264011" y="117962"/>
                </a:cubicBezTo>
                <a:cubicBezTo>
                  <a:pt x="1259378" y="119705"/>
                  <a:pt x="1257061" y="105755"/>
                  <a:pt x="1254456" y="105047"/>
                </a:cubicBezTo>
                <a:close/>
                <a:moveTo>
                  <a:pt x="1179793" y="95766"/>
                </a:moveTo>
                <a:lnTo>
                  <a:pt x="1182680" y="107498"/>
                </a:lnTo>
                <a:cubicBezTo>
                  <a:pt x="1182680" y="109823"/>
                  <a:pt x="1184738" y="114475"/>
                  <a:pt x="1185768" y="115637"/>
                </a:cubicBezTo>
                <a:cubicBezTo>
                  <a:pt x="1187826" y="119124"/>
                  <a:pt x="1191945" y="128424"/>
                  <a:pt x="1186798" y="136562"/>
                </a:cubicBezTo>
                <a:lnTo>
                  <a:pt x="1184815" y="133725"/>
                </a:lnTo>
                <a:lnTo>
                  <a:pt x="1185768" y="127259"/>
                </a:lnTo>
                <a:cubicBezTo>
                  <a:pt x="1186798" y="119122"/>
                  <a:pt x="1181651" y="122610"/>
                  <a:pt x="1180621" y="119122"/>
                </a:cubicBezTo>
                <a:close/>
                <a:moveTo>
                  <a:pt x="1220771" y="90061"/>
                </a:moveTo>
                <a:cubicBezTo>
                  <a:pt x="1224890" y="101686"/>
                  <a:pt x="1225919" y="117962"/>
                  <a:pt x="1234155" y="123775"/>
                </a:cubicBezTo>
                <a:cubicBezTo>
                  <a:pt x="1234155" y="105174"/>
                  <a:pt x="1233125" y="88899"/>
                  <a:pt x="1220771" y="90061"/>
                </a:cubicBezTo>
                <a:close/>
                <a:moveTo>
                  <a:pt x="1460648" y="79599"/>
                </a:moveTo>
                <a:cubicBezTo>
                  <a:pt x="1456530" y="84248"/>
                  <a:pt x="1460648" y="90061"/>
                  <a:pt x="1460648" y="95874"/>
                </a:cubicBezTo>
                <a:cubicBezTo>
                  <a:pt x="1460648" y="104011"/>
                  <a:pt x="1459618" y="113311"/>
                  <a:pt x="1461677" y="121449"/>
                </a:cubicBezTo>
                <a:cubicBezTo>
                  <a:pt x="1462706" y="127262"/>
                  <a:pt x="1466825" y="128424"/>
                  <a:pt x="1467855" y="134237"/>
                </a:cubicBezTo>
                <a:cubicBezTo>
                  <a:pt x="1470943" y="144699"/>
                  <a:pt x="1467855" y="155163"/>
                  <a:pt x="1475061" y="158650"/>
                </a:cubicBezTo>
                <a:cubicBezTo>
                  <a:pt x="1480208" y="152838"/>
                  <a:pt x="1477120" y="135399"/>
                  <a:pt x="1478149" y="121449"/>
                </a:cubicBezTo>
                <a:cubicBezTo>
                  <a:pt x="1475061" y="121449"/>
                  <a:pt x="1471973" y="121449"/>
                  <a:pt x="1468883" y="121449"/>
                </a:cubicBezTo>
                <a:cubicBezTo>
                  <a:pt x="1465795" y="108661"/>
                  <a:pt x="1471973" y="106337"/>
                  <a:pt x="1470943" y="95874"/>
                </a:cubicBezTo>
                <a:cubicBezTo>
                  <a:pt x="1462706" y="98199"/>
                  <a:pt x="1467855" y="80761"/>
                  <a:pt x="1460648" y="79599"/>
                </a:cubicBezTo>
                <a:close/>
                <a:moveTo>
                  <a:pt x="1476089" y="76111"/>
                </a:moveTo>
                <a:cubicBezTo>
                  <a:pt x="1476089" y="86573"/>
                  <a:pt x="1476089" y="95874"/>
                  <a:pt x="1483297" y="97036"/>
                </a:cubicBezTo>
                <a:cubicBezTo>
                  <a:pt x="1481238" y="90061"/>
                  <a:pt x="1481238" y="79599"/>
                  <a:pt x="1476089" y="76111"/>
                </a:cubicBezTo>
                <a:close/>
                <a:moveTo>
                  <a:pt x="1219742" y="69135"/>
                </a:moveTo>
                <a:cubicBezTo>
                  <a:pt x="1217682" y="71461"/>
                  <a:pt x="1220771" y="87736"/>
                  <a:pt x="1222831" y="85410"/>
                </a:cubicBezTo>
                <a:cubicBezTo>
                  <a:pt x="1229008" y="79599"/>
                  <a:pt x="1220771" y="66810"/>
                  <a:pt x="1219742" y="69135"/>
                </a:cubicBezTo>
                <a:close/>
                <a:moveTo>
                  <a:pt x="1507749" y="49663"/>
                </a:moveTo>
                <a:cubicBezTo>
                  <a:pt x="1504144" y="48792"/>
                  <a:pt x="1500799" y="49373"/>
                  <a:pt x="1500799" y="54022"/>
                </a:cubicBezTo>
                <a:cubicBezTo>
                  <a:pt x="1508005" y="62160"/>
                  <a:pt x="1509035" y="92386"/>
                  <a:pt x="1511094" y="99361"/>
                </a:cubicBezTo>
                <a:cubicBezTo>
                  <a:pt x="1514182" y="107498"/>
                  <a:pt x="1518301" y="122612"/>
                  <a:pt x="1518301" y="128424"/>
                </a:cubicBezTo>
                <a:cubicBezTo>
                  <a:pt x="1518301" y="134237"/>
                  <a:pt x="1513153" y="131912"/>
                  <a:pt x="1512123" y="136562"/>
                </a:cubicBezTo>
                <a:cubicBezTo>
                  <a:pt x="1520359" y="136562"/>
                  <a:pt x="1519329" y="149350"/>
                  <a:pt x="1527566" y="149350"/>
                </a:cubicBezTo>
                <a:cubicBezTo>
                  <a:pt x="1520359" y="126099"/>
                  <a:pt x="1516242" y="98199"/>
                  <a:pt x="1510064" y="73785"/>
                </a:cubicBezTo>
                <a:cubicBezTo>
                  <a:pt x="1512123" y="66810"/>
                  <a:pt x="1517271" y="64486"/>
                  <a:pt x="1516242" y="54022"/>
                </a:cubicBezTo>
                <a:cubicBezTo>
                  <a:pt x="1515212" y="52860"/>
                  <a:pt x="1511351" y="50534"/>
                  <a:pt x="1507749" y="49663"/>
                </a:cubicBezTo>
                <a:close/>
                <a:moveTo>
                  <a:pt x="1396817" y="31933"/>
                </a:moveTo>
                <a:lnTo>
                  <a:pt x="1396817" y="42397"/>
                </a:lnTo>
                <a:cubicBezTo>
                  <a:pt x="1398876" y="51698"/>
                  <a:pt x="1405055" y="48211"/>
                  <a:pt x="1402995" y="58672"/>
                </a:cubicBezTo>
                <a:cubicBezTo>
                  <a:pt x="1402995" y="59835"/>
                  <a:pt x="1396817" y="65647"/>
                  <a:pt x="1396817" y="66810"/>
                </a:cubicBezTo>
                <a:cubicBezTo>
                  <a:pt x="1381374" y="62160"/>
                  <a:pt x="1382406" y="24959"/>
                  <a:pt x="1375198" y="36585"/>
                </a:cubicBezTo>
                <a:cubicBezTo>
                  <a:pt x="1379317" y="37747"/>
                  <a:pt x="1378287" y="43559"/>
                  <a:pt x="1378287" y="49372"/>
                </a:cubicBezTo>
                <a:cubicBezTo>
                  <a:pt x="1378287" y="54022"/>
                  <a:pt x="1381374" y="51698"/>
                  <a:pt x="1381374" y="54022"/>
                </a:cubicBezTo>
                <a:cubicBezTo>
                  <a:pt x="1383433" y="60998"/>
                  <a:pt x="1383433" y="67973"/>
                  <a:pt x="1385493" y="74947"/>
                </a:cubicBezTo>
                <a:cubicBezTo>
                  <a:pt x="1387552" y="80761"/>
                  <a:pt x="1390641" y="85410"/>
                  <a:pt x="1391670" y="91223"/>
                </a:cubicBezTo>
                <a:cubicBezTo>
                  <a:pt x="1393730" y="99361"/>
                  <a:pt x="1393730" y="107498"/>
                  <a:pt x="1395789" y="116798"/>
                </a:cubicBezTo>
                <a:cubicBezTo>
                  <a:pt x="1401965" y="143537"/>
                  <a:pt x="1411231" y="171438"/>
                  <a:pt x="1410202" y="203989"/>
                </a:cubicBezTo>
                <a:cubicBezTo>
                  <a:pt x="1418438" y="214452"/>
                  <a:pt x="1422556" y="231890"/>
                  <a:pt x="1423586" y="245839"/>
                </a:cubicBezTo>
                <a:cubicBezTo>
                  <a:pt x="1423586" y="249328"/>
                  <a:pt x="1426674" y="249328"/>
                  <a:pt x="1426674" y="250490"/>
                </a:cubicBezTo>
                <a:cubicBezTo>
                  <a:pt x="1429762" y="266765"/>
                  <a:pt x="1430792" y="279553"/>
                  <a:pt x="1430792" y="296992"/>
                </a:cubicBezTo>
                <a:cubicBezTo>
                  <a:pt x="1437999" y="306292"/>
                  <a:pt x="1437999" y="321405"/>
                  <a:pt x="1441088" y="326055"/>
                </a:cubicBezTo>
                <a:cubicBezTo>
                  <a:pt x="1446235" y="336517"/>
                  <a:pt x="1441088" y="330705"/>
                  <a:pt x="1441088" y="342330"/>
                </a:cubicBezTo>
                <a:cubicBezTo>
                  <a:pt x="1450352" y="351630"/>
                  <a:pt x="1453441" y="373718"/>
                  <a:pt x="1454471" y="387669"/>
                </a:cubicBezTo>
                <a:cubicBezTo>
                  <a:pt x="1454471" y="391157"/>
                  <a:pt x="1457559" y="391157"/>
                  <a:pt x="1457559" y="392319"/>
                </a:cubicBezTo>
                <a:cubicBezTo>
                  <a:pt x="1460648" y="406270"/>
                  <a:pt x="1458588" y="410919"/>
                  <a:pt x="1461677" y="417895"/>
                </a:cubicBezTo>
                <a:cubicBezTo>
                  <a:pt x="1466825" y="428357"/>
                  <a:pt x="1462706" y="438820"/>
                  <a:pt x="1465795" y="451608"/>
                </a:cubicBezTo>
                <a:cubicBezTo>
                  <a:pt x="1465795" y="452770"/>
                  <a:pt x="1471973" y="457421"/>
                  <a:pt x="1471973" y="459746"/>
                </a:cubicBezTo>
                <a:cubicBezTo>
                  <a:pt x="1477120" y="474858"/>
                  <a:pt x="1474031" y="489971"/>
                  <a:pt x="1476089" y="506247"/>
                </a:cubicBezTo>
                <a:cubicBezTo>
                  <a:pt x="1477120" y="513222"/>
                  <a:pt x="1481238" y="520197"/>
                  <a:pt x="1483297" y="527173"/>
                </a:cubicBezTo>
                <a:cubicBezTo>
                  <a:pt x="1488445" y="550424"/>
                  <a:pt x="1485356" y="573674"/>
                  <a:pt x="1488445" y="598087"/>
                </a:cubicBezTo>
                <a:cubicBezTo>
                  <a:pt x="1488445" y="602737"/>
                  <a:pt x="1491532" y="602737"/>
                  <a:pt x="1491532" y="606224"/>
                </a:cubicBezTo>
                <a:cubicBezTo>
                  <a:pt x="1492562" y="612036"/>
                  <a:pt x="1490504" y="617850"/>
                  <a:pt x="1491532" y="622499"/>
                </a:cubicBezTo>
                <a:cubicBezTo>
                  <a:pt x="1492562" y="629475"/>
                  <a:pt x="1496681" y="636451"/>
                  <a:pt x="1498739" y="643426"/>
                </a:cubicBezTo>
                <a:cubicBezTo>
                  <a:pt x="1501829" y="660864"/>
                  <a:pt x="1497711" y="694578"/>
                  <a:pt x="1516242" y="696901"/>
                </a:cubicBezTo>
                <a:cubicBezTo>
                  <a:pt x="1516242" y="665513"/>
                  <a:pt x="1506975" y="638775"/>
                  <a:pt x="1501829" y="609713"/>
                </a:cubicBezTo>
                <a:cubicBezTo>
                  <a:pt x="1498739" y="594600"/>
                  <a:pt x="1496681" y="579486"/>
                  <a:pt x="1494621" y="564373"/>
                </a:cubicBezTo>
                <a:cubicBezTo>
                  <a:pt x="1491532" y="541123"/>
                  <a:pt x="1491532" y="505084"/>
                  <a:pt x="1483297" y="498109"/>
                </a:cubicBezTo>
                <a:cubicBezTo>
                  <a:pt x="1482268" y="496947"/>
                  <a:pt x="1483297" y="491134"/>
                  <a:pt x="1483297" y="489971"/>
                </a:cubicBezTo>
                <a:cubicBezTo>
                  <a:pt x="1482268" y="482996"/>
                  <a:pt x="1482268" y="480671"/>
                  <a:pt x="1480208" y="477184"/>
                </a:cubicBezTo>
                <a:cubicBezTo>
                  <a:pt x="1478149" y="474858"/>
                  <a:pt x="1480208" y="463233"/>
                  <a:pt x="1480208" y="460908"/>
                </a:cubicBezTo>
                <a:cubicBezTo>
                  <a:pt x="1479179" y="455095"/>
                  <a:pt x="1475061" y="450446"/>
                  <a:pt x="1474031" y="444632"/>
                </a:cubicBezTo>
                <a:cubicBezTo>
                  <a:pt x="1470943" y="430682"/>
                  <a:pt x="1475061" y="428357"/>
                  <a:pt x="1469913" y="423707"/>
                </a:cubicBezTo>
                <a:cubicBezTo>
                  <a:pt x="1468883" y="422545"/>
                  <a:pt x="1469913" y="413244"/>
                  <a:pt x="1469913" y="410919"/>
                </a:cubicBezTo>
                <a:cubicBezTo>
                  <a:pt x="1469913" y="407432"/>
                  <a:pt x="1466825" y="407432"/>
                  <a:pt x="1466825" y="406270"/>
                </a:cubicBezTo>
                <a:cubicBezTo>
                  <a:pt x="1464766" y="391157"/>
                  <a:pt x="1463736" y="374882"/>
                  <a:pt x="1462706" y="359768"/>
                </a:cubicBezTo>
                <a:cubicBezTo>
                  <a:pt x="1461677" y="350468"/>
                  <a:pt x="1451382" y="352793"/>
                  <a:pt x="1452412" y="338842"/>
                </a:cubicBezTo>
                <a:cubicBezTo>
                  <a:pt x="1446235" y="330705"/>
                  <a:pt x="1451382" y="328380"/>
                  <a:pt x="1451382" y="317916"/>
                </a:cubicBezTo>
                <a:cubicBezTo>
                  <a:pt x="1443145" y="314430"/>
                  <a:pt x="1443145" y="296992"/>
                  <a:pt x="1441088" y="288853"/>
                </a:cubicBezTo>
                <a:cubicBezTo>
                  <a:pt x="1439028" y="280716"/>
                  <a:pt x="1435939" y="278391"/>
                  <a:pt x="1434910" y="272578"/>
                </a:cubicBezTo>
                <a:cubicBezTo>
                  <a:pt x="1432850" y="260952"/>
                  <a:pt x="1433880" y="247003"/>
                  <a:pt x="1430792" y="235377"/>
                </a:cubicBezTo>
                <a:cubicBezTo>
                  <a:pt x="1430792" y="234214"/>
                  <a:pt x="1424614" y="229564"/>
                  <a:pt x="1424614" y="227240"/>
                </a:cubicBezTo>
                <a:cubicBezTo>
                  <a:pt x="1422556" y="222589"/>
                  <a:pt x="1421526" y="213289"/>
                  <a:pt x="1421526" y="210963"/>
                </a:cubicBezTo>
                <a:cubicBezTo>
                  <a:pt x="1416379" y="190039"/>
                  <a:pt x="1414319" y="156325"/>
                  <a:pt x="1410202" y="144699"/>
                </a:cubicBezTo>
                <a:cubicBezTo>
                  <a:pt x="1410202" y="143537"/>
                  <a:pt x="1410202" y="141212"/>
                  <a:pt x="1410202" y="140050"/>
                </a:cubicBezTo>
                <a:cubicBezTo>
                  <a:pt x="1410202" y="135399"/>
                  <a:pt x="1407113" y="137725"/>
                  <a:pt x="1407113" y="135399"/>
                </a:cubicBezTo>
                <a:cubicBezTo>
                  <a:pt x="1402995" y="121449"/>
                  <a:pt x="1405055" y="102849"/>
                  <a:pt x="1399906" y="98199"/>
                </a:cubicBezTo>
                <a:cubicBezTo>
                  <a:pt x="1397847" y="95874"/>
                  <a:pt x="1399906" y="79599"/>
                  <a:pt x="1402995" y="81924"/>
                </a:cubicBezTo>
                <a:cubicBezTo>
                  <a:pt x="1405055" y="94711"/>
                  <a:pt x="1409173" y="106337"/>
                  <a:pt x="1410202" y="115637"/>
                </a:cubicBezTo>
                <a:cubicBezTo>
                  <a:pt x="1410202" y="119124"/>
                  <a:pt x="1413289" y="117962"/>
                  <a:pt x="1413289" y="120287"/>
                </a:cubicBezTo>
                <a:cubicBezTo>
                  <a:pt x="1415349" y="127262"/>
                  <a:pt x="1415349" y="134237"/>
                  <a:pt x="1417407" y="141212"/>
                </a:cubicBezTo>
                <a:cubicBezTo>
                  <a:pt x="1419467" y="148188"/>
                  <a:pt x="1422556" y="155163"/>
                  <a:pt x="1424614" y="162138"/>
                </a:cubicBezTo>
                <a:cubicBezTo>
                  <a:pt x="1426674" y="167950"/>
                  <a:pt x="1423586" y="176087"/>
                  <a:pt x="1425645" y="183062"/>
                </a:cubicBezTo>
                <a:cubicBezTo>
                  <a:pt x="1425645" y="184226"/>
                  <a:pt x="1431821" y="190039"/>
                  <a:pt x="1431821" y="191200"/>
                </a:cubicBezTo>
                <a:cubicBezTo>
                  <a:pt x="1436969" y="205152"/>
                  <a:pt x="1432850" y="227240"/>
                  <a:pt x="1439028" y="233053"/>
                </a:cubicBezTo>
                <a:cubicBezTo>
                  <a:pt x="1440057" y="234214"/>
                  <a:pt x="1439028" y="240028"/>
                  <a:pt x="1439028" y="241190"/>
                </a:cubicBezTo>
                <a:cubicBezTo>
                  <a:pt x="1443145" y="252815"/>
                  <a:pt x="1445205" y="270253"/>
                  <a:pt x="1449323" y="274904"/>
                </a:cubicBezTo>
                <a:cubicBezTo>
                  <a:pt x="1450352" y="276065"/>
                  <a:pt x="1449323" y="281879"/>
                  <a:pt x="1449323" y="283042"/>
                </a:cubicBezTo>
                <a:cubicBezTo>
                  <a:pt x="1449323" y="283042"/>
                  <a:pt x="1452412" y="283042"/>
                  <a:pt x="1452412" y="283042"/>
                </a:cubicBezTo>
                <a:cubicBezTo>
                  <a:pt x="1453441" y="284203"/>
                  <a:pt x="1452412" y="290017"/>
                  <a:pt x="1452412" y="291179"/>
                </a:cubicBezTo>
                <a:cubicBezTo>
                  <a:pt x="1454471" y="298154"/>
                  <a:pt x="1456530" y="306292"/>
                  <a:pt x="1462706" y="307454"/>
                </a:cubicBezTo>
                <a:cubicBezTo>
                  <a:pt x="1461677" y="295829"/>
                  <a:pt x="1457559" y="291179"/>
                  <a:pt x="1455500" y="286529"/>
                </a:cubicBezTo>
                <a:cubicBezTo>
                  <a:pt x="1455500" y="285366"/>
                  <a:pt x="1455500" y="283042"/>
                  <a:pt x="1455500" y="281879"/>
                </a:cubicBezTo>
                <a:cubicBezTo>
                  <a:pt x="1455500" y="278391"/>
                  <a:pt x="1452412" y="278391"/>
                  <a:pt x="1452412" y="277228"/>
                </a:cubicBezTo>
                <a:cubicBezTo>
                  <a:pt x="1449323" y="265604"/>
                  <a:pt x="1451382" y="250490"/>
                  <a:pt x="1448293" y="240028"/>
                </a:cubicBezTo>
                <a:cubicBezTo>
                  <a:pt x="1448293" y="238865"/>
                  <a:pt x="1442117" y="234214"/>
                  <a:pt x="1442117" y="231890"/>
                </a:cubicBezTo>
                <a:cubicBezTo>
                  <a:pt x="1440057" y="227240"/>
                  <a:pt x="1439028" y="217939"/>
                  <a:pt x="1439028" y="215615"/>
                </a:cubicBezTo>
                <a:cubicBezTo>
                  <a:pt x="1436969" y="206314"/>
                  <a:pt x="1436969" y="194688"/>
                  <a:pt x="1434910" y="186551"/>
                </a:cubicBezTo>
                <a:cubicBezTo>
                  <a:pt x="1430792" y="166787"/>
                  <a:pt x="1427703" y="151675"/>
                  <a:pt x="1424614" y="131912"/>
                </a:cubicBezTo>
                <a:cubicBezTo>
                  <a:pt x="1420496" y="112149"/>
                  <a:pt x="1414319" y="88899"/>
                  <a:pt x="1410202" y="73785"/>
                </a:cubicBezTo>
                <a:cubicBezTo>
                  <a:pt x="1409173" y="71461"/>
                  <a:pt x="1407113" y="70298"/>
                  <a:pt x="1407113" y="69135"/>
                </a:cubicBezTo>
                <a:cubicBezTo>
                  <a:pt x="1404024" y="56348"/>
                  <a:pt x="1406083" y="50534"/>
                  <a:pt x="1402995" y="40073"/>
                </a:cubicBezTo>
                <a:cubicBezTo>
                  <a:pt x="1402995" y="38910"/>
                  <a:pt x="1396817" y="34259"/>
                  <a:pt x="1396817" y="31933"/>
                </a:cubicBezTo>
                <a:close/>
                <a:moveTo>
                  <a:pt x="1264011" y="22635"/>
                </a:moveTo>
                <a:cubicBezTo>
                  <a:pt x="1268129" y="23796"/>
                  <a:pt x="1269158" y="29610"/>
                  <a:pt x="1273276" y="30772"/>
                </a:cubicBezTo>
                <a:cubicBezTo>
                  <a:pt x="1274307" y="37747"/>
                  <a:pt x="1271218" y="38910"/>
                  <a:pt x="1267099" y="38910"/>
                </a:cubicBezTo>
                <a:cubicBezTo>
                  <a:pt x="1269158" y="54022"/>
                  <a:pt x="1276364" y="60998"/>
                  <a:pt x="1274307" y="80761"/>
                </a:cubicBezTo>
                <a:lnTo>
                  <a:pt x="1268829" y="75728"/>
                </a:lnTo>
                <a:lnTo>
                  <a:pt x="1268714" y="75405"/>
                </a:lnTo>
                <a:lnTo>
                  <a:pt x="1267099" y="67973"/>
                </a:lnTo>
                <a:lnTo>
                  <a:pt x="1264661" y="61547"/>
                </a:lnTo>
                <a:lnTo>
                  <a:pt x="1263678" y="58078"/>
                </a:lnTo>
                <a:lnTo>
                  <a:pt x="1260924" y="43559"/>
                </a:lnTo>
                <a:cubicBezTo>
                  <a:pt x="1259892" y="31933"/>
                  <a:pt x="1256805" y="33097"/>
                  <a:pt x="1264011" y="22635"/>
                </a:cubicBezTo>
                <a:close/>
                <a:moveTo>
                  <a:pt x="1351520" y="1403"/>
                </a:moveTo>
                <a:lnTo>
                  <a:pt x="1375634" y="1403"/>
                </a:lnTo>
                <a:lnTo>
                  <a:pt x="1377901" y="11881"/>
                </a:lnTo>
                <a:cubicBezTo>
                  <a:pt x="1379317" y="15659"/>
                  <a:pt x="1380861" y="17403"/>
                  <a:pt x="1381374" y="12171"/>
                </a:cubicBezTo>
                <a:cubicBezTo>
                  <a:pt x="1381374" y="7521"/>
                  <a:pt x="1378287" y="7521"/>
                  <a:pt x="1378287" y="4034"/>
                </a:cubicBezTo>
                <a:lnTo>
                  <a:pt x="1380285" y="1403"/>
                </a:lnTo>
                <a:lnTo>
                  <a:pt x="1386249" y="1403"/>
                </a:lnTo>
                <a:lnTo>
                  <a:pt x="1386394" y="1854"/>
                </a:lnTo>
                <a:cubicBezTo>
                  <a:pt x="1387038" y="3452"/>
                  <a:pt x="1387552" y="5196"/>
                  <a:pt x="1387552" y="8683"/>
                </a:cubicBezTo>
                <a:cubicBezTo>
                  <a:pt x="1387552" y="16822"/>
                  <a:pt x="1393730" y="19146"/>
                  <a:pt x="1393730" y="24959"/>
                </a:cubicBezTo>
                <a:cubicBezTo>
                  <a:pt x="1393730" y="29610"/>
                  <a:pt x="1396817" y="27284"/>
                  <a:pt x="1396817" y="29610"/>
                </a:cubicBezTo>
                <a:lnTo>
                  <a:pt x="1396817" y="15658"/>
                </a:lnTo>
                <a:cubicBezTo>
                  <a:pt x="1396817" y="14497"/>
                  <a:pt x="1390641" y="9846"/>
                  <a:pt x="1390641" y="7521"/>
                </a:cubicBezTo>
                <a:lnTo>
                  <a:pt x="1390641" y="1403"/>
                </a:lnTo>
                <a:lnTo>
                  <a:pt x="1423354" y="1403"/>
                </a:lnTo>
                <a:lnTo>
                  <a:pt x="1423586" y="1709"/>
                </a:lnTo>
                <a:cubicBezTo>
                  <a:pt x="1426674" y="13335"/>
                  <a:pt x="1426674" y="15658"/>
                  <a:pt x="1427703" y="27284"/>
                </a:cubicBezTo>
                <a:cubicBezTo>
                  <a:pt x="1427703" y="30772"/>
                  <a:pt x="1430792" y="29610"/>
                  <a:pt x="1430792" y="31933"/>
                </a:cubicBezTo>
                <a:cubicBezTo>
                  <a:pt x="1432850" y="41234"/>
                  <a:pt x="1432850" y="52860"/>
                  <a:pt x="1434910" y="60998"/>
                </a:cubicBezTo>
                <a:cubicBezTo>
                  <a:pt x="1436969" y="70298"/>
                  <a:pt x="1443145" y="78435"/>
                  <a:pt x="1439028" y="86573"/>
                </a:cubicBezTo>
                <a:cubicBezTo>
                  <a:pt x="1452412" y="101686"/>
                  <a:pt x="1449323" y="126099"/>
                  <a:pt x="1453441" y="149350"/>
                </a:cubicBezTo>
                <a:cubicBezTo>
                  <a:pt x="1453441" y="149350"/>
                  <a:pt x="1456530" y="150512"/>
                  <a:pt x="1456530" y="154000"/>
                </a:cubicBezTo>
                <a:cubicBezTo>
                  <a:pt x="1457559" y="159812"/>
                  <a:pt x="1459618" y="163300"/>
                  <a:pt x="1459618" y="166787"/>
                </a:cubicBezTo>
                <a:cubicBezTo>
                  <a:pt x="1460648" y="169113"/>
                  <a:pt x="1459618" y="172601"/>
                  <a:pt x="1459618" y="174925"/>
                </a:cubicBezTo>
                <a:cubicBezTo>
                  <a:pt x="1461677" y="183062"/>
                  <a:pt x="1465795" y="187713"/>
                  <a:pt x="1465795" y="191200"/>
                </a:cubicBezTo>
                <a:cubicBezTo>
                  <a:pt x="1468883" y="206314"/>
                  <a:pt x="1469913" y="213289"/>
                  <a:pt x="1473002" y="224914"/>
                </a:cubicBezTo>
                <a:cubicBezTo>
                  <a:pt x="1475061" y="230727"/>
                  <a:pt x="1475061" y="247003"/>
                  <a:pt x="1483297" y="245839"/>
                </a:cubicBezTo>
                <a:cubicBezTo>
                  <a:pt x="1479179" y="237702"/>
                  <a:pt x="1481238" y="224914"/>
                  <a:pt x="1479179" y="216776"/>
                </a:cubicBezTo>
                <a:cubicBezTo>
                  <a:pt x="1478149" y="210963"/>
                  <a:pt x="1476089" y="210963"/>
                  <a:pt x="1473002" y="208639"/>
                </a:cubicBezTo>
                <a:cubicBezTo>
                  <a:pt x="1471973" y="207476"/>
                  <a:pt x="1473002" y="201663"/>
                  <a:pt x="1473002" y="200501"/>
                </a:cubicBezTo>
                <a:cubicBezTo>
                  <a:pt x="1468883" y="186551"/>
                  <a:pt x="1464766" y="173764"/>
                  <a:pt x="1462706" y="164464"/>
                </a:cubicBezTo>
                <a:cubicBezTo>
                  <a:pt x="1461677" y="158650"/>
                  <a:pt x="1459618" y="151675"/>
                  <a:pt x="1459618" y="148188"/>
                </a:cubicBezTo>
                <a:cubicBezTo>
                  <a:pt x="1457559" y="136562"/>
                  <a:pt x="1458588" y="119124"/>
                  <a:pt x="1455500" y="106337"/>
                </a:cubicBezTo>
                <a:cubicBezTo>
                  <a:pt x="1455500" y="106337"/>
                  <a:pt x="1452412" y="106337"/>
                  <a:pt x="1452412" y="106337"/>
                </a:cubicBezTo>
                <a:cubicBezTo>
                  <a:pt x="1451382" y="105174"/>
                  <a:pt x="1452412" y="99361"/>
                  <a:pt x="1452412" y="98199"/>
                </a:cubicBezTo>
                <a:cubicBezTo>
                  <a:pt x="1446235" y="80761"/>
                  <a:pt x="1439028" y="64486"/>
                  <a:pt x="1441088" y="40073"/>
                </a:cubicBezTo>
                <a:cubicBezTo>
                  <a:pt x="1434911" y="33097"/>
                  <a:pt x="1432337" y="20600"/>
                  <a:pt x="1429633" y="8248"/>
                </a:cubicBezTo>
                <a:lnTo>
                  <a:pt x="1427849" y="1403"/>
                </a:lnTo>
                <a:lnTo>
                  <a:pt x="1454193" y="1403"/>
                </a:lnTo>
                <a:lnTo>
                  <a:pt x="1456530" y="9846"/>
                </a:lnTo>
                <a:cubicBezTo>
                  <a:pt x="1458588" y="15658"/>
                  <a:pt x="1461677" y="20309"/>
                  <a:pt x="1462706" y="26122"/>
                </a:cubicBezTo>
                <a:cubicBezTo>
                  <a:pt x="1464766" y="33097"/>
                  <a:pt x="1461677" y="43559"/>
                  <a:pt x="1469913" y="47047"/>
                </a:cubicBezTo>
                <a:lnTo>
                  <a:pt x="1459092" y="1403"/>
                </a:lnTo>
                <a:lnTo>
                  <a:pt x="1469047" y="1403"/>
                </a:lnTo>
                <a:lnTo>
                  <a:pt x="1470943" y="8683"/>
                </a:lnTo>
                <a:cubicBezTo>
                  <a:pt x="1470943" y="15658"/>
                  <a:pt x="1479179" y="11009"/>
                  <a:pt x="1480208" y="16822"/>
                </a:cubicBezTo>
                <a:cubicBezTo>
                  <a:pt x="1480208" y="21472"/>
                  <a:pt x="1483297" y="21472"/>
                  <a:pt x="1483297" y="24959"/>
                </a:cubicBezTo>
                <a:cubicBezTo>
                  <a:pt x="1488445" y="36585"/>
                  <a:pt x="1475061" y="45885"/>
                  <a:pt x="1484326" y="50534"/>
                </a:cubicBezTo>
                <a:cubicBezTo>
                  <a:pt x="1484326" y="48211"/>
                  <a:pt x="1486386" y="45885"/>
                  <a:pt x="1487415" y="50534"/>
                </a:cubicBezTo>
                <a:cubicBezTo>
                  <a:pt x="1489473" y="57510"/>
                  <a:pt x="1493592" y="87736"/>
                  <a:pt x="1500799" y="92386"/>
                </a:cubicBezTo>
                <a:cubicBezTo>
                  <a:pt x="1499769" y="74947"/>
                  <a:pt x="1495651" y="57800"/>
                  <a:pt x="1491276" y="42106"/>
                </a:cubicBezTo>
                <a:lnTo>
                  <a:pt x="1480437" y="1403"/>
                </a:lnTo>
                <a:lnTo>
                  <a:pt x="1494073" y="1403"/>
                </a:lnTo>
                <a:lnTo>
                  <a:pt x="1496681" y="21472"/>
                </a:lnTo>
                <a:cubicBezTo>
                  <a:pt x="1501829" y="23796"/>
                  <a:pt x="1502858" y="20600"/>
                  <a:pt x="1502858" y="15804"/>
                </a:cubicBezTo>
                <a:lnTo>
                  <a:pt x="1502858" y="1403"/>
                </a:lnTo>
                <a:lnTo>
                  <a:pt x="1519463" y="1403"/>
                </a:lnTo>
                <a:lnTo>
                  <a:pt x="1522418" y="7521"/>
                </a:lnTo>
                <a:cubicBezTo>
                  <a:pt x="1520359" y="6359"/>
                  <a:pt x="1524477" y="-5266"/>
                  <a:pt x="1525506" y="2871"/>
                </a:cubicBezTo>
                <a:cubicBezTo>
                  <a:pt x="1523448" y="14497"/>
                  <a:pt x="1530655" y="13335"/>
                  <a:pt x="1529625" y="23796"/>
                </a:cubicBezTo>
                <a:cubicBezTo>
                  <a:pt x="1525506" y="22635"/>
                  <a:pt x="1523448" y="17984"/>
                  <a:pt x="1523448" y="28447"/>
                </a:cubicBezTo>
                <a:cubicBezTo>
                  <a:pt x="1525506" y="41234"/>
                  <a:pt x="1529625" y="51698"/>
                  <a:pt x="1533744" y="62160"/>
                </a:cubicBezTo>
                <a:cubicBezTo>
                  <a:pt x="1535801" y="92386"/>
                  <a:pt x="1545068" y="127262"/>
                  <a:pt x="1551244" y="149350"/>
                </a:cubicBezTo>
                <a:cubicBezTo>
                  <a:pt x="1552274" y="154000"/>
                  <a:pt x="1554333" y="155163"/>
                  <a:pt x="1554333" y="162138"/>
                </a:cubicBezTo>
                <a:cubicBezTo>
                  <a:pt x="1554333" y="166787"/>
                  <a:pt x="1557422" y="164464"/>
                  <a:pt x="1557422" y="166787"/>
                </a:cubicBezTo>
                <a:cubicBezTo>
                  <a:pt x="1560511" y="179576"/>
                  <a:pt x="1561539" y="192363"/>
                  <a:pt x="1564629" y="203989"/>
                </a:cubicBezTo>
                <a:cubicBezTo>
                  <a:pt x="1570805" y="228402"/>
                  <a:pt x="1576982" y="251652"/>
                  <a:pt x="1582130" y="274904"/>
                </a:cubicBezTo>
                <a:cubicBezTo>
                  <a:pt x="1585219" y="285366"/>
                  <a:pt x="1588307" y="295829"/>
                  <a:pt x="1589337" y="303966"/>
                </a:cubicBezTo>
                <a:cubicBezTo>
                  <a:pt x="1589337" y="308618"/>
                  <a:pt x="1592425" y="306292"/>
                  <a:pt x="1592425" y="308618"/>
                </a:cubicBezTo>
                <a:cubicBezTo>
                  <a:pt x="1595514" y="320242"/>
                  <a:pt x="1594485" y="334193"/>
                  <a:pt x="1602720" y="342330"/>
                </a:cubicBezTo>
                <a:cubicBezTo>
                  <a:pt x="1602720" y="335354"/>
                  <a:pt x="1601691" y="328380"/>
                  <a:pt x="1608898" y="329542"/>
                </a:cubicBezTo>
                <a:cubicBezTo>
                  <a:pt x="1610957" y="342330"/>
                  <a:pt x="1610957" y="355118"/>
                  <a:pt x="1613015" y="366743"/>
                </a:cubicBezTo>
                <a:cubicBezTo>
                  <a:pt x="1613015" y="366743"/>
                  <a:pt x="1616104" y="366743"/>
                  <a:pt x="1616104" y="366743"/>
                </a:cubicBezTo>
                <a:cubicBezTo>
                  <a:pt x="1616104" y="366743"/>
                  <a:pt x="1619193" y="379531"/>
                  <a:pt x="1619193" y="379531"/>
                </a:cubicBezTo>
                <a:cubicBezTo>
                  <a:pt x="1620222" y="381856"/>
                  <a:pt x="1619193" y="385343"/>
                  <a:pt x="1619193" y="387669"/>
                </a:cubicBezTo>
                <a:cubicBezTo>
                  <a:pt x="1625370" y="413244"/>
                  <a:pt x="1627428" y="436494"/>
                  <a:pt x="1633605" y="463233"/>
                </a:cubicBezTo>
                <a:cubicBezTo>
                  <a:pt x="1626400" y="464396"/>
                  <a:pt x="1629487" y="451608"/>
                  <a:pt x="1624340" y="450446"/>
                </a:cubicBezTo>
                <a:cubicBezTo>
                  <a:pt x="1629487" y="492297"/>
                  <a:pt x="1636694" y="530660"/>
                  <a:pt x="1642870" y="571348"/>
                </a:cubicBezTo>
                <a:cubicBezTo>
                  <a:pt x="1646989" y="569024"/>
                  <a:pt x="1644930" y="578323"/>
                  <a:pt x="1645960" y="579486"/>
                </a:cubicBezTo>
                <a:cubicBezTo>
                  <a:pt x="1648019" y="581812"/>
                  <a:pt x="1651107" y="571348"/>
                  <a:pt x="1652137" y="579486"/>
                </a:cubicBezTo>
                <a:cubicBezTo>
                  <a:pt x="1649048" y="584136"/>
                  <a:pt x="1649048" y="594600"/>
                  <a:pt x="1650078" y="605062"/>
                </a:cubicBezTo>
                <a:cubicBezTo>
                  <a:pt x="1658313" y="620175"/>
                  <a:pt x="1657286" y="659702"/>
                  <a:pt x="1664491" y="667839"/>
                </a:cubicBezTo>
                <a:cubicBezTo>
                  <a:pt x="1665520" y="669001"/>
                  <a:pt x="1664491" y="674814"/>
                  <a:pt x="1664491" y="675977"/>
                </a:cubicBezTo>
                <a:cubicBezTo>
                  <a:pt x="1671697" y="699227"/>
                  <a:pt x="1674786" y="727128"/>
                  <a:pt x="1678904" y="751541"/>
                </a:cubicBezTo>
                <a:cubicBezTo>
                  <a:pt x="1685081" y="752704"/>
                  <a:pt x="1685081" y="745728"/>
                  <a:pt x="1688169" y="743403"/>
                </a:cubicBezTo>
                <a:cubicBezTo>
                  <a:pt x="1690229" y="757353"/>
                  <a:pt x="1694347" y="770142"/>
                  <a:pt x="1695376" y="785254"/>
                </a:cubicBezTo>
                <a:cubicBezTo>
                  <a:pt x="1695376" y="791067"/>
                  <a:pt x="1696406" y="800367"/>
                  <a:pt x="1692287" y="801530"/>
                </a:cubicBezTo>
                <a:cubicBezTo>
                  <a:pt x="1692287" y="794554"/>
                  <a:pt x="1692287" y="787579"/>
                  <a:pt x="1686111" y="788741"/>
                </a:cubicBezTo>
                <a:cubicBezTo>
                  <a:pt x="1691258" y="809667"/>
                  <a:pt x="1690229" y="839893"/>
                  <a:pt x="1706701" y="846868"/>
                </a:cubicBezTo>
                <a:cubicBezTo>
                  <a:pt x="1708760" y="829429"/>
                  <a:pt x="1703612" y="807342"/>
                  <a:pt x="1702582" y="800367"/>
                </a:cubicBezTo>
                <a:cubicBezTo>
                  <a:pt x="1698465" y="779441"/>
                  <a:pt x="1700524" y="763165"/>
                  <a:pt x="1698465" y="745728"/>
                </a:cubicBezTo>
                <a:cubicBezTo>
                  <a:pt x="1697436" y="739915"/>
                  <a:pt x="1693318" y="735266"/>
                  <a:pt x="1692287" y="729453"/>
                </a:cubicBezTo>
                <a:cubicBezTo>
                  <a:pt x="1687140" y="715502"/>
                  <a:pt x="1688169" y="708527"/>
                  <a:pt x="1686111" y="703876"/>
                </a:cubicBezTo>
                <a:cubicBezTo>
                  <a:pt x="1684052" y="698065"/>
                  <a:pt x="1683023" y="693414"/>
                  <a:pt x="1683023" y="687601"/>
                </a:cubicBezTo>
                <a:cubicBezTo>
                  <a:pt x="1681993" y="677139"/>
                  <a:pt x="1679933" y="677139"/>
                  <a:pt x="1678904" y="666676"/>
                </a:cubicBezTo>
                <a:cubicBezTo>
                  <a:pt x="1678904" y="663188"/>
                  <a:pt x="1675816" y="663188"/>
                  <a:pt x="1675816" y="662025"/>
                </a:cubicBezTo>
                <a:cubicBezTo>
                  <a:pt x="1671697" y="643426"/>
                  <a:pt x="1668610" y="589949"/>
                  <a:pt x="1661402" y="582974"/>
                </a:cubicBezTo>
                <a:cubicBezTo>
                  <a:pt x="1660373" y="581812"/>
                  <a:pt x="1661402" y="575999"/>
                  <a:pt x="1661402" y="574836"/>
                </a:cubicBezTo>
                <a:cubicBezTo>
                  <a:pt x="1661402" y="574836"/>
                  <a:pt x="1658313" y="574836"/>
                  <a:pt x="1658313" y="574836"/>
                </a:cubicBezTo>
                <a:cubicBezTo>
                  <a:pt x="1657286" y="573674"/>
                  <a:pt x="1658313" y="567861"/>
                  <a:pt x="1658313" y="566699"/>
                </a:cubicBezTo>
                <a:cubicBezTo>
                  <a:pt x="1651107" y="538798"/>
                  <a:pt x="1648019" y="502758"/>
                  <a:pt x="1643900" y="479508"/>
                </a:cubicBezTo>
                <a:cubicBezTo>
                  <a:pt x="1641843" y="470208"/>
                  <a:pt x="1641843" y="464396"/>
                  <a:pt x="1639783" y="453933"/>
                </a:cubicBezTo>
                <a:cubicBezTo>
                  <a:pt x="1636694" y="437658"/>
                  <a:pt x="1631547" y="423707"/>
                  <a:pt x="1629487" y="412081"/>
                </a:cubicBezTo>
                <a:cubicBezTo>
                  <a:pt x="1627428" y="398132"/>
                  <a:pt x="1630517" y="395806"/>
                  <a:pt x="1625370" y="391157"/>
                </a:cubicBezTo>
                <a:cubicBezTo>
                  <a:pt x="1624340" y="389994"/>
                  <a:pt x="1625370" y="384182"/>
                  <a:pt x="1625370" y="383019"/>
                </a:cubicBezTo>
                <a:cubicBezTo>
                  <a:pt x="1622281" y="372556"/>
                  <a:pt x="1621252" y="362093"/>
                  <a:pt x="1618163" y="349306"/>
                </a:cubicBezTo>
                <a:cubicBezTo>
                  <a:pt x="1614044" y="331867"/>
                  <a:pt x="1608898" y="294666"/>
                  <a:pt x="1600661" y="286529"/>
                </a:cubicBezTo>
                <a:cubicBezTo>
                  <a:pt x="1599631" y="285366"/>
                  <a:pt x="1600661" y="279553"/>
                  <a:pt x="1600661" y="278391"/>
                </a:cubicBezTo>
                <a:cubicBezTo>
                  <a:pt x="1595514" y="258627"/>
                  <a:pt x="1591395" y="238865"/>
                  <a:pt x="1586248" y="220264"/>
                </a:cubicBezTo>
                <a:cubicBezTo>
                  <a:pt x="1584188" y="214452"/>
                  <a:pt x="1581100" y="209801"/>
                  <a:pt x="1580071" y="203989"/>
                </a:cubicBezTo>
                <a:cubicBezTo>
                  <a:pt x="1576982" y="192363"/>
                  <a:pt x="1575954" y="181901"/>
                  <a:pt x="1572864" y="179576"/>
                </a:cubicBezTo>
                <a:cubicBezTo>
                  <a:pt x="1571835" y="178413"/>
                  <a:pt x="1572864" y="172601"/>
                  <a:pt x="1572864" y="171438"/>
                </a:cubicBezTo>
                <a:cubicBezTo>
                  <a:pt x="1569776" y="160976"/>
                  <a:pt x="1568746" y="149350"/>
                  <a:pt x="1565657" y="137725"/>
                </a:cubicBezTo>
                <a:cubicBezTo>
                  <a:pt x="1561539" y="117962"/>
                  <a:pt x="1555362" y="95874"/>
                  <a:pt x="1551244" y="79599"/>
                </a:cubicBezTo>
                <a:cubicBezTo>
                  <a:pt x="1550214" y="76111"/>
                  <a:pt x="1548156" y="77273"/>
                  <a:pt x="1548156" y="74947"/>
                </a:cubicBezTo>
                <a:cubicBezTo>
                  <a:pt x="1544038" y="63322"/>
                  <a:pt x="1540949" y="40073"/>
                  <a:pt x="1537861" y="33097"/>
                </a:cubicBezTo>
                <a:cubicBezTo>
                  <a:pt x="1534773" y="27284"/>
                  <a:pt x="1533744" y="18275"/>
                  <a:pt x="1533100" y="8975"/>
                </a:cubicBezTo>
                <a:lnTo>
                  <a:pt x="1532384" y="1403"/>
                </a:lnTo>
                <a:lnTo>
                  <a:pt x="1550327" y="1403"/>
                </a:lnTo>
                <a:lnTo>
                  <a:pt x="1555362" y="24959"/>
                </a:lnTo>
                <a:cubicBezTo>
                  <a:pt x="1557422" y="31933"/>
                  <a:pt x="1560511" y="35421"/>
                  <a:pt x="1561539" y="41234"/>
                </a:cubicBezTo>
                <a:cubicBezTo>
                  <a:pt x="1565657" y="58672"/>
                  <a:pt x="1566687" y="78435"/>
                  <a:pt x="1568746" y="91223"/>
                </a:cubicBezTo>
                <a:cubicBezTo>
                  <a:pt x="1571835" y="102849"/>
                  <a:pt x="1574924" y="110987"/>
                  <a:pt x="1579042" y="115637"/>
                </a:cubicBezTo>
                <a:cubicBezTo>
                  <a:pt x="1584188" y="124936"/>
                  <a:pt x="1586248" y="136562"/>
                  <a:pt x="1589337" y="144699"/>
                </a:cubicBezTo>
                <a:cubicBezTo>
                  <a:pt x="1589337" y="144699"/>
                  <a:pt x="1592425" y="144699"/>
                  <a:pt x="1592425" y="144699"/>
                </a:cubicBezTo>
                <a:cubicBezTo>
                  <a:pt x="1593455" y="145863"/>
                  <a:pt x="1592425" y="151675"/>
                  <a:pt x="1592425" y="152838"/>
                </a:cubicBezTo>
                <a:cubicBezTo>
                  <a:pt x="1593455" y="156325"/>
                  <a:pt x="1595514" y="158650"/>
                  <a:pt x="1595514" y="160976"/>
                </a:cubicBezTo>
                <a:cubicBezTo>
                  <a:pt x="1597572" y="174925"/>
                  <a:pt x="1597572" y="179576"/>
                  <a:pt x="1596543" y="181901"/>
                </a:cubicBezTo>
                <a:cubicBezTo>
                  <a:pt x="1591395" y="187713"/>
                  <a:pt x="1600661" y="215615"/>
                  <a:pt x="1600661" y="210963"/>
                </a:cubicBezTo>
                <a:cubicBezTo>
                  <a:pt x="1600661" y="215615"/>
                  <a:pt x="1603750" y="213289"/>
                  <a:pt x="1603750" y="215615"/>
                </a:cubicBezTo>
                <a:cubicBezTo>
                  <a:pt x="1605809" y="222589"/>
                  <a:pt x="1605809" y="230727"/>
                  <a:pt x="1607868" y="236540"/>
                </a:cubicBezTo>
                <a:cubicBezTo>
                  <a:pt x="1610957" y="248165"/>
                  <a:pt x="1613015" y="262116"/>
                  <a:pt x="1621252" y="270253"/>
                </a:cubicBezTo>
                <a:cubicBezTo>
                  <a:pt x="1617133" y="279553"/>
                  <a:pt x="1624340" y="293504"/>
                  <a:pt x="1625370" y="299317"/>
                </a:cubicBezTo>
                <a:cubicBezTo>
                  <a:pt x="1626400" y="305130"/>
                  <a:pt x="1624340" y="310941"/>
                  <a:pt x="1625370" y="315592"/>
                </a:cubicBezTo>
                <a:cubicBezTo>
                  <a:pt x="1625370" y="316755"/>
                  <a:pt x="1631547" y="321405"/>
                  <a:pt x="1631547" y="323729"/>
                </a:cubicBezTo>
                <a:cubicBezTo>
                  <a:pt x="1632576" y="328380"/>
                  <a:pt x="1630517" y="335354"/>
                  <a:pt x="1631547" y="340006"/>
                </a:cubicBezTo>
                <a:cubicBezTo>
                  <a:pt x="1635664" y="341168"/>
                  <a:pt x="1635664" y="348143"/>
                  <a:pt x="1637724" y="352793"/>
                </a:cubicBezTo>
                <a:cubicBezTo>
                  <a:pt x="1639783" y="356281"/>
                  <a:pt x="1645960" y="356281"/>
                  <a:pt x="1643900" y="365581"/>
                </a:cubicBezTo>
                <a:cubicBezTo>
                  <a:pt x="1648019" y="377205"/>
                  <a:pt x="1648019" y="387669"/>
                  <a:pt x="1644930" y="399294"/>
                </a:cubicBezTo>
                <a:cubicBezTo>
                  <a:pt x="1651107" y="409758"/>
                  <a:pt x="1653167" y="433007"/>
                  <a:pt x="1655226" y="441146"/>
                </a:cubicBezTo>
                <a:cubicBezTo>
                  <a:pt x="1655226" y="442308"/>
                  <a:pt x="1655226" y="444632"/>
                  <a:pt x="1655226" y="445795"/>
                </a:cubicBezTo>
                <a:cubicBezTo>
                  <a:pt x="1655226" y="450446"/>
                  <a:pt x="1658313" y="448120"/>
                  <a:pt x="1658313" y="450446"/>
                </a:cubicBezTo>
                <a:cubicBezTo>
                  <a:pt x="1661402" y="463233"/>
                  <a:pt x="1658313" y="465559"/>
                  <a:pt x="1662432" y="471370"/>
                </a:cubicBezTo>
                <a:cubicBezTo>
                  <a:pt x="1669638" y="480671"/>
                  <a:pt x="1662432" y="491134"/>
                  <a:pt x="1663461" y="500435"/>
                </a:cubicBezTo>
                <a:cubicBezTo>
                  <a:pt x="1664491" y="508572"/>
                  <a:pt x="1668610" y="498109"/>
                  <a:pt x="1669638" y="503922"/>
                </a:cubicBezTo>
                <a:cubicBezTo>
                  <a:pt x="1672726" y="516710"/>
                  <a:pt x="1664491" y="516710"/>
                  <a:pt x="1667580" y="529497"/>
                </a:cubicBezTo>
                <a:cubicBezTo>
                  <a:pt x="1675816" y="529497"/>
                  <a:pt x="1673756" y="522522"/>
                  <a:pt x="1679933" y="529497"/>
                </a:cubicBezTo>
                <a:cubicBezTo>
                  <a:pt x="1681993" y="524848"/>
                  <a:pt x="1684052" y="517872"/>
                  <a:pt x="1683023" y="508572"/>
                </a:cubicBezTo>
                <a:cubicBezTo>
                  <a:pt x="1679933" y="507410"/>
                  <a:pt x="1679933" y="505084"/>
                  <a:pt x="1679933" y="500435"/>
                </a:cubicBezTo>
                <a:cubicBezTo>
                  <a:pt x="1679933" y="495784"/>
                  <a:pt x="1676845" y="498109"/>
                  <a:pt x="1676845" y="495784"/>
                </a:cubicBezTo>
                <a:cubicBezTo>
                  <a:pt x="1672726" y="480671"/>
                  <a:pt x="1671697" y="453933"/>
                  <a:pt x="1669638" y="445795"/>
                </a:cubicBezTo>
                <a:cubicBezTo>
                  <a:pt x="1669638" y="444632"/>
                  <a:pt x="1669638" y="442308"/>
                  <a:pt x="1669638" y="441146"/>
                </a:cubicBezTo>
                <a:cubicBezTo>
                  <a:pt x="1669638" y="436494"/>
                  <a:pt x="1666550" y="438820"/>
                  <a:pt x="1666550" y="436494"/>
                </a:cubicBezTo>
                <a:cubicBezTo>
                  <a:pt x="1662432" y="423707"/>
                  <a:pt x="1663461" y="414407"/>
                  <a:pt x="1662432" y="402781"/>
                </a:cubicBezTo>
                <a:cubicBezTo>
                  <a:pt x="1662432" y="399294"/>
                  <a:pt x="1659343" y="399294"/>
                  <a:pt x="1659343" y="398132"/>
                </a:cubicBezTo>
                <a:cubicBezTo>
                  <a:pt x="1658313" y="389994"/>
                  <a:pt x="1657286" y="385343"/>
                  <a:pt x="1655226" y="377205"/>
                </a:cubicBezTo>
                <a:cubicBezTo>
                  <a:pt x="1650078" y="355118"/>
                  <a:pt x="1645960" y="331867"/>
                  <a:pt x="1640813" y="310941"/>
                </a:cubicBezTo>
                <a:cubicBezTo>
                  <a:pt x="1638754" y="302804"/>
                  <a:pt x="1636694" y="293504"/>
                  <a:pt x="1633605" y="286529"/>
                </a:cubicBezTo>
                <a:cubicBezTo>
                  <a:pt x="1632576" y="283042"/>
                  <a:pt x="1634636" y="277228"/>
                  <a:pt x="1633605" y="273741"/>
                </a:cubicBezTo>
                <a:cubicBezTo>
                  <a:pt x="1633605" y="272578"/>
                  <a:pt x="1627428" y="267928"/>
                  <a:pt x="1627428" y="265604"/>
                </a:cubicBezTo>
                <a:cubicBezTo>
                  <a:pt x="1625370" y="260952"/>
                  <a:pt x="1626400" y="257465"/>
                  <a:pt x="1624340" y="252815"/>
                </a:cubicBezTo>
                <a:cubicBezTo>
                  <a:pt x="1622281" y="249328"/>
                  <a:pt x="1620222" y="248165"/>
                  <a:pt x="1618163" y="244677"/>
                </a:cubicBezTo>
                <a:cubicBezTo>
                  <a:pt x="1618163" y="221427"/>
                  <a:pt x="1616104" y="201663"/>
                  <a:pt x="1610957" y="190039"/>
                </a:cubicBezTo>
                <a:cubicBezTo>
                  <a:pt x="1607868" y="183062"/>
                  <a:pt x="1605809" y="171438"/>
                  <a:pt x="1603750" y="165626"/>
                </a:cubicBezTo>
                <a:cubicBezTo>
                  <a:pt x="1601691" y="159812"/>
                  <a:pt x="1602720" y="156325"/>
                  <a:pt x="1600661" y="149350"/>
                </a:cubicBezTo>
                <a:cubicBezTo>
                  <a:pt x="1598602" y="143537"/>
                  <a:pt x="1594485" y="137725"/>
                  <a:pt x="1594485" y="133074"/>
                </a:cubicBezTo>
                <a:cubicBezTo>
                  <a:pt x="1593455" y="126099"/>
                  <a:pt x="1595514" y="117962"/>
                  <a:pt x="1593455" y="112149"/>
                </a:cubicBezTo>
                <a:cubicBezTo>
                  <a:pt x="1593455" y="110987"/>
                  <a:pt x="1587277" y="106337"/>
                  <a:pt x="1587277" y="104011"/>
                </a:cubicBezTo>
                <a:cubicBezTo>
                  <a:pt x="1582130" y="91223"/>
                  <a:pt x="1585219" y="72624"/>
                  <a:pt x="1580071" y="66810"/>
                </a:cubicBezTo>
                <a:cubicBezTo>
                  <a:pt x="1579042" y="65647"/>
                  <a:pt x="1580071" y="59835"/>
                  <a:pt x="1580071" y="58672"/>
                </a:cubicBezTo>
                <a:cubicBezTo>
                  <a:pt x="1576982" y="47047"/>
                  <a:pt x="1574924" y="33097"/>
                  <a:pt x="1572864" y="21472"/>
                </a:cubicBezTo>
                <a:lnTo>
                  <a:pt x="1565952" y="1403"/>
                </a:lnTo>
                <a:lnTo>
                  <a:pt x="6781956" y="1403"/>
                </a:lnTo>
                <a:lnTo>
                  <a:pt x="6781956" y="6858000"/>
                </a:lnTo>
                <a:lnTo>
                  <a:pt x="438508" y="6858000"/>
                </a:lnTo>
                <a:lnTo>
                  <a:pt x="482613" y="6795534"/>
                </a:lnTo>
                <a:cubicBezTo>
                  <a:pt x="487760" y="6786234"/>
                  <a:pt x="487760" y="6774610"/>
                  <a:pt x="492908" y="6765309"/>
                </a:cubicBezTo>
                <a:cubicBezTo>
                  <a:pt x="495996" y="6760658"/>
                  <a:pt x="500114" y="6760658"/>
                  <a:pt x="504233" y="6754847"/>
                </a:cubicBezTo>
                <a:cubicBezTo>
                  <a:pt x="515557" y="6737408"/>
                  <a:pt x="517616" y="6731596"/>
                  <a:pt x="526882" y="6721133"/>
                </a:cubicBezTo>
                <a:cubicBezTo>
                  <a:pt x="527911" y="6719970"/>
                  <a:pt x="534088" y="6718808"/>
                  <a:pt x="533059" y="6719970"/>
                </a:cubicBezTo>
                <a:cubicBezTo>
                  <a:pt x="537177" y="6712995"/>
                  <a:pt x="538207" y="6700207"/>
                  <a:pt x="541295" y="6694394"/>
                </a:cubicBezTo>
                <a:cubicBezTo>
                  <a:pt x="548501" y="6682770"/>
                  <a:pt x="575268" y="6674632"/>
                  <a:pt x="561884" y="6653706"/>
                </a:cubicBezTo>
                <a:cubicBezTo>
                  <a:pt x="545414" y="6660682"/>
                  <a:pt x="551590" y="6681607"/>
                  <a:pt x="541295" y="6682770"/>
                </a:cubicBezTo>
                <a:cubicBezTo>
                  <a:pt x="539235" y="6682770"/>
                  <a:pt x="537177" y="6690907"/>
                  <a:pt x="536147" y="6692071"/>
                </a:cubicBezTo>
                <a:cubicBezTo>
                  <a:pt x="535117" y="6693233"/>
                  <a:pt x="533059" y="6689745"/>
                  <a:pt x="532028" y="6689745"/>
                </a:cubicBezTo>
                <a:cubicBezTo>
                  <a:pt x="528941" y="6689745"/>
                  <a:pt x="522764" y="6708346"/>
                  <a:pt x="520704" y="6711833"/>
                </a:cubicBezTo>
                <a:cubicBezTo>
                  <a:pt x="512469" y="6724621"/>
                  <a:pt x="499085" y="6735083"/>
                  <a:pt x="491878" y="6746709"/>
                </a:cubicBezTo>
                <a:cubicBezTo>
                  <a:pt x="488790" y="6751360"/>
                  <a:pt x="492908" y="6756009"/>
                  <a:pt x="488790" y="6762984"/>
                </a:cubicBezTo>
                <a:cubicBezTo>
                  <a:pt x="486731" y="6767635"/>
                  <a:pt x="483643" y="6765309"/>
                  <a:pt x="480554" y="6768797"/>
                </a:cubicBezTo>
                <a:cubicBezTo>
                  <a:pt x="459963" y="6793210"/>
                  <a:pt x="456875" y="6814135"/>
                  <a:pt x="447610" y="6831573"/>
                </a:cubicBezTo>
                <a:cubicBezTo>
                  <a:pt x="440403" y="6833898"/>
                  <a:pt x="432682" y="6841745"/>
                  <a:pt x="427405" y="6851335"/>
                </a:cubicBezTo>
                <a:lnTo>
                  <a:pt x="426185" y="6858000"/>
                </a:lnTo>
                <a:lnTo>
                  <a:pt x="406965" y="6858000"/>
                </a:lnTo>
                <a:lnTo>
                  <a:pt x="428047" y="6825761"/>
                </a:lnTo>
                <a:cubicBezTo>
                  <a:pt x="432166" y="6819948"/>
                  <a:pt x="437314" y="6818785"/>
                  <a:pt x="439372" y="6815298"/>
                </a:cubicBezTo>
                <a:cubicBezTo>
                  <a:pt x="439372" y="6816461"/>
                  <a:pt x="437314" y="6810647"/>
                  <a:pt x="438343" y="6808323"/>
                </a:cubicBezTo>
                <a:cubicBezTo>
                  <a:pt x="439372" y="6803672"/>
                  <a:pt x="443490" y="6802511"/>
                  <a:pt x="446579" y="6802511"/>
                </a:cubicBezTo>
                <a:cubicBezTo>
                  <a:pt x="448639" y="6802511"/>
                  <a:pt x="450697" y="6794373"/>
                  <a:pt x="451727" y="6793210"/>
                </a:cubicBezTo>
                <a:cubicBezTo>
                  <a:pt x="452757" y="6792047"/>
                  <a:pt x="458933" y="6790885"/>
                  <a:pt x="457903" y="6792047"/>
                </a:cubicBezTo>
                <a:cubicBezTo>
                  <a:pt x="460992" y="6789723"/>
                  <a:pt x="457903" y="6783910"/>
                  <a:pt x="456874" y="6785072"/>
                </a:cubicBezTo>
                <a:cubicBezTo>
                  <a:pt x="472316" y="6761822"/>
                  <a:pt x="482613" y="6744384"/>
                  <a:pt x="495996" y="6719970"/>
                </a:cubicBezTo>
                <a:cubicBezTo>
                  <a:pt x="500113" y="6711833"/>
                  <a:pt x="518645" y="6703695"/>
                  <a:pt x="506290" y="6689745"/>
                </a:cubicBezTo>
                <a:cubicBezTo>
                  <a:pt x="490847" y="6724621"/>
                  <a:pt x="464081" y="6746709"/>
                  <a:pt x="445550" y="6775771"/>
                </a:cubicBezTo>
                <a:lnTo>
                  <a:pt x="397345" y="6858000"/>
                </a:lnTo>
                <a:lnTo>
                  <a:pt x="361190" y="6858000"/>
                </a:lnTo>
                <a:lnTo>
                  <a:pt x="364220" y="6842036"/>
                </a:lnTo>
                <a:cubicBezTo>
                  <a:pt x="363704" y="6837096"/>
                  <a:pt x="363190" y="6832155"/>
                  <a:pt x="367307" y="6825761"/>
                </a:cubicBezTo>
                <a:cubicBezTo>
                  <a:pt x="384809" y="6828085"/>
                  <a:pt x="382750" y="6803672"/>
                  <a:pt x="387897" y="6796697"/>
                </a:cubicBezTo>
                <a:cubicBezTo>
                  <a:pt x="388928" y="6795534"/>
                  <a:pt x="397163" y="6795534"/>
                  <a:pt x="400252" y="6793210"/>
                </a:cubicBezTo>
                <a:cubicBezTo>
                  <a:pt x="403340" y="6789723"/>
                  <a:pt x="405399" y="6782747"/>
                  <a:pt x="407459" y="6779259"/>
                </a:cubicBezTo>
                <a:cubicBezTo>
                  <a:pt x="409517" y="6776933"/>
                  <a:pt x="413635" y="6778097"/>
                  <a:pt x="413635" y="6778097"/>
                </a:cubicBezTo>
                <a:cubicBezTo>
                  <a:pt x="418783" y="6772284"/>
                  <a:pt x="421872" y="6758334"/>
                  <a:pt x="428048" y="6751358"/>
                </a:cubicBezTo>
                <a:cubicBezTo>
                  <a:pt x="434226" y="6743221"/>
                  <a:pt x="442461" y="6740895"/>
                  <a:pt x="447610" y="6733921"/>
                </a:cubicBezTo>
                <a:cubicBezTo>
                  <a:pt x="453787" y="6724621"/>
                  <a:pt x="458934" y="6708345"/>
                  <a:pt x="466141" y="6697882"/>
                </a:cubicBezTo>
                <a:lnTo>
                  <a:pt x="472739" y="6689891"/>
                </a:lnTo>
                <a:lnTo>
                  <a:pt x="473863" y="6692216"/>
                </a:lnTo>
                <a:cubicBezTo>
                  <a:pt x="475534" y="6693305"/>
                  <a:pt x="477594" y="6693414"/>
                  <a:pt x="478784" y="6691725"/>
                </a:cubicBezTo>
                <a:lnTo>
                  <a:pt x="478543" y="6682295"/>
                </a:lnTo>
                <a:lnTo>
                  <a:pt x="481584" y="6678119"/>
                </a:lnTo>
                <a:cubicBezTo>
                  <a:pt x="484671" y="6669981"/>
                  <a:pt x="479524" y="6657195"/>
                  <a:pt x="485701" y="6650218"/>
                </a:cubicBezTo>
                <a:cubicBezTo>
                  <a:pt x="501144" y="6645569"/>
                  <a:pt x="495996" y="6640918"/>
                  <a:pt x="506291" y="6621155"/>
                </a:cubicBezTo>
                <a:cubicBezTo>
                  <a:pt x="511439" y="6608368"/>
                  <a:pt x="522764" y="6629293"/>
                  <a:pt x="526882" y="6611855"/>
                </a:cubicBezTo>
                <a:cubicBezTo>
                  <a:pt x="526882" y="6603717"/>
                  <a:pt x="522764" y="6603717"/>
                  <a:pt x="525853" y="6593254"/>
                </a:cubicBezTo>
                <a:cubicBezTo>
                  <a:pt x="528941" y="6583954"/>
                  <a:pt x="535118" y="6586279"/>
                  <a:pt x="539236" y="6578141"/>
                </a:cubicBezTo>
                <a:cubicBezTo>
                  <a:pt x="542325" y="6571166"/>
                  <a:pt x="538207" y="6566515"/>
                  <a:pt x="544384" y="6557215"/>
                </a:cubicBezTo>
                <a:cubicBezTo>
                  <a:pt x="548502" y="6552566"/>
                  <a:pt x="551590" y="6552566"/>
                  <a:pt x="555709" y="6546753"/>
                </a:cubicBezTo>
                <a:cubicBezTo>
                  <a:pt x="567033" y="6530478"/>
                  <a:pt x="569092" y="6526990"/>
                  <a:pt x="576299" y="6517690"/>
                </a:cubicBezTo>
                <a:cubicBezTo>
                  <a:pt x="590710" y="6501415"/>
                  <a:pt x="586594" y="6503740"/>
                  <a:pt x="590710" y="6490951"/>
                </a:cubicBezTo>
                <a:cubicBezTo>
                  <a:pt x="599977" y="6465376"/>
                  <a:pt x="615420" y="6459563"/>
                  <a:pt x="624685" y="6446776"/>
                </a:cubicBezTo>
                <a:cubicBezTo>
                  <a:pt x="631892" y="6435151"/>
                  <a:pt x="640128" y="6420038"/>
                  <a:pt x="645276" y="6406086"/>
                </a:cubicBezTo>
                <a:cubicBezTo>
                  <a:pt x="648365" y="6397949"/>
                  <a:pt x="649394" y="6381675"/>
                  <a:pt x="653512" y="6380511"/>
                </a:cubicBezTo>
                <a:cubicBezTo>
                  <a:pt x="660719" y="6379349"/>
                  <a:pt x="658659" y="6377024"/>
                  <a:pt x="664836" y="6370049"/>
                </a:cubicBezTo>
                <a:cubicBezTo>
                  <a:pt x="677191" y="6356099"/>
                  <a:pt x="681309" y="6339822"/>
                  <a:pt x="688515" y="6324709"/>
                </a:cubicBezTo>
                <a:cubicBezTo>
                  <a:pt x="691603" y="6317734"/>
                  <a:pt x="695722" y="6309597"/>
                  <a:pt x="699840" y="6302623"/>
                </a:cubicBezTo>
                <a:cubicBezTo>
                  <a:pt x="710135" y="6286346"/>
                  <a:pt x="711165" y="6284022"/>
                  <a:pt x="718371" y="6266583"/>
                </a:cubicBezTo>
                <a:cubicBezTo>
                  <a:pt x="725578" y="6250308"/>
                  <a:pt x="733814" y="6234033"/>
                  <a:pt x="742051" y="6221246"/>
                </a:cubicBezTo>
                <a:cubicBezTo>
                  <a:pt x="749257" y="6210782"/>
                  <a:pt x="758521" y="6207294"/>
                  <a:pt x="765728" y="6195670"/>
                </a:cubicBezTo>
                <a:cubicBezTo>
                  <a:pt x="769847" y="6188693"/>
                  <a:pt x="769847" y="6178232"/>
                  <a:pt x="773964" y="6170093"/>
                </a:cubicBezTo>
                <a:cubicBezTo>
                  <a:pt x="782201" y="6153817"/>
                  <a:pt x="790437" y="6150330"/>
                  <a:pt x="788378" y="6143356"/>
                </a:cubicBezTo>
                <a:cubicBezTo>
                  <a:pt x="787349" y="6141030"/>
                  <a:pt x="792496" y="6125917"/>
                  <a:pt x="793525" y="6122430"/>
                </a:cubicBezTo>
                <a:cubicBezTo>
                  <a:pt x="797644" y="6114291"/>
                  <a:pt x="808968" y="6114291"/>
                  <a:pt x="808968" y="6102667"/>
                </a:cubicBezTo>
                <a:cubicBezTo>
                  <a:pt x="808968" y="6091041"/>
                  <a:pt x="815145" y="6078253"/>
                  <a:pt x="817204" y="6065466"/>
                </a:cubicBezTo>
                <a:cubicBezTo>
                  <a:pt x="821322" y="6056165"/>
                  <a:pt x="845001" y="6064304"/>
                  <a:pt x="836765" y="6048027"/>
                </a:cubicBezTo>
                <a:cubicBezTo>
                  <a:pt x="831617" y="6058491"/>
                  <a:pt x="827500" y="6038727"/>
                  <a:pt x="833677" y="6032915"/>
                </a:cubicBezTo>
                <a:cubicBezTo>
                  <a:pt x="840883" y="6024777"/>
                  <a:pt x="843972" y="5996876"/>
                  <a:pt x="855296" y="6010828"/>
                </a:cubicBezTo>
                <a:cubicBezTo>
                  <a:pt x="864563" y="5998038"/>
                  <a:pt x="848090" y="5992227"/>
                  <a:pt x="861473" y="5978276"/>
                </a:cubicBezTo>
                <a:cubicBezTo>
                  <a:pt x="870739" y="5975951"/>
                  <a:pt x="875886" y="5952700"/>
                  <a:pt x="888240" y="5966650"/>
                </a:cubicBezTo>
                <a:cubicBezTo>
                  <a:pt x="884122" y="5978276"/>
                  <a:pt x="883093" y="5988740"/>
                  <a:pt x="882063" y="5999202"/>
                </a:cubicBezTo>
                <a:cubicBezTo>
                  <a:pt x="876916" y="5998038"/>
                  <a:pt x="871768" y="5999202"/>
                  <a:pt x="867650" y="6007339"/>
                </a:cubicBezTo>
                <a:cubicBezTo>
                  <a:pt x="865590" y="6015477"/>
                  <a:pt x="850149" y="6027103"/>
                  <a:pt x="859415" y="6032915"/>
                </a:cubicBezTo>
                <a:cubicBezTo>
                  <a:pt x="863533" y="6028264"/>
                  <a:pt x="865590" y="6020126"/>
                  <a:pt x="870739" y="6022452"/>
                </a:cubicBezTo>
                <a:cubicBezTo>
                  <a:pt x="874857" y="6039890"/>
                  <a:pt x="856326" y="6039890"/>
                  <a:pt x="853237" y="6046866"/>
                </a:cubicBezTo>
                <a:cubicBezTo>
                  <a:pt x="852207" y="6049190"/>
                  <a:pt x="857355" y="6052678"/>
                  <a:pt x="852207" y="6058491"/>
                </a:cubicBezTo>
                <a:cubicBezTo>
                  <a:pt x="848090" y="6064304"/>
                  <a:pt x="834707" y="6061979"/>
                  <a:pt x="832647" y="6075928"/>
                </a:cubicBezTo>
                <a:cubicBezTo>
                  <a:pt x="826470" y="6089879"/>
                  <a:pt x="834707" y="6099179"/>
                  <a:pt x="830588" y="6111968"/>
                </a:cubicBezTo>
                <a:cubicBezTo>
                  <a:pt x="825440" y="6116617"/>
                  <a:pt x="817204" y="6120105"/>
                  <a:pt x="811027" y="6129405"/>
                </a:cubicBezTo>
                <a:cubicBezTo>
                  <a:pt x="807939" y="6134055"/>
                  <a:pt x="812057" y="6134055"/>
                  <a:pt x="812057" y="6136379"/>
                </a:cubicBezTo>
                <a:cubicBezTo>
                  <a:pt x="812057" y="6141030"/>
                  <a:pt x="803821" y="6142192"/>
                  <a:pt x="803821" y="6142192"/>
                </a:cubicBezTo>
                <a:cubicBezTo>
                  <a:pt x="801761" y="6149168"/>
                  <a:pt x="803821" y="6152656"/>
                  <a:pt x="798673" y="6163119"/>
                </a:cubicBezTo>
                <a:cubicBezTo>
                  <a:pt x="790437" y="6179393"/>
                  <a:pt x="781171" y="6199156"/>
                  <a:pt x="774994" y="6208456"/>
                </a:cubicBezTo>
                <a:cubicBezTo>
                  <a:pt x="768817" y="6217757"/>
                  <a:pt x="766758" y="6216594"/>
                  <a:pt x="767788" y="6222407"/>
                </a:cubicBezTo>
                <a:cubicBezTo>
                  <a:pt x="768817" y="6227057"/>
                  <a:pt x="761610" y="6234033"/>
                  <a:pt x="764700" y="6238683"/>
                </a:cubicBezTo>
                <a:cubicBezTo>
                  <a:pt x="755434" y="6241008"/>
                  <a:pt x="749257" y="6249145"/>
                  <a:pt x="745138" y="6256122"/>
                </a:cubicBezTo>
                <a:cubicBezTo>
                  <a:pt x="741021" y="6261934"/>
                  <a:pt x="744108" y="6268909"/>
                  <a:pt x="742051" y="6272396"/>
                </a:cubicBezTo>
                <a:cubicBezTo>
                  <a:pt x="738961" y="6278209"/>
                  <a:pt x="733814" y="6274721"/>
                  <a:pt x="730725" y="6282858"/>
                </a:cubicBezTo>
                <a:cubicBezTo>
                  <a:pt x="728667" y="6289833"/>
                  <a:pt x="730725" y="6294484"/>
                  <a:pt x="725578" y="6303785"/>
                </a:cubicBezTo>
                <a:cubicBezTo>
                  <a:pt x="721459" y="6311923"/>
                  <a:pt x="716312" y="6310760"/>
                  <a:pt x="712195" y="6318898"/>
                </a:cubicBezTo>
                <a:cubicBezTo>
                  <a:pt x="708076" y="6325872"/>
                  <a:pt x="711165" y="6342148"/>
                  <a:pt x="701898" y="6349123"/>
                </a:cubicBezTo>
                <a:cubicBezTo>
                  <a:pt x="710135" y="6357261"/>
                  <a:pt x="710135" y="6347960"/>
                  <a:pt x="716312" y="6340985"/>
                </a:cubicBezTo>
                <a:lnTo>
                  <a:pt x="721005" y="6340101"/>
                </a:lnTo>
                <a:lnTo>
                  <a:pt x="720623" y="6340676"/>
                </a:lnTo>
                <a:cubicBezTo>
                  <a:pt x="713095" y="6358061"/>
                  <a:pt x="709620" y="6383127"/>
                  <a:pt x="704988" y="6383998"/>
                </a:cubicBezTo>
                <a:cubicBezTo>
                  <a:pt x="697782" y="6385162"/>
                  <a:pt x="699839" y="6386324"/>
                  <a:pt x="693663" y="6394462"/>
                </a:cubicBezTo>
                <a:cubicBezTo>
                  <a:pt x="680279" y="6411900"/>
                  <a:pt x="672043" y="6421200"/>
                  <a:pt x="669983" y="6439801"/>
                </a:cubicBezTo>
                <a:cubicBezTo>
                  <a:pt x="662777" y="6435151"/>
                  <a:pt x="661748" y="6450262"/>
                  <a:pt x="656600" y="6454914"/>
                </a:cubicBezTo>
                <a:cubicBezTo>
                  <a:pt x="653512" y="6457239"/>
                  <a:pt x="644246" y="6451426"/>
                  <a:pt x="642187" y="6463052"/>
                </a:cubicBezTo>
                <a:cubicBezTo>
                  <a:pt x="630863" y="6478164"/>
                  <a:pt x="634981" y="6488627"/>
                  <a:pt x="627773" y="6489790"/>
                </a:cubicBezTo>
                <a:cubicBezTo>
                  <a:pt x="622626" y="6489790"/>
                  <a:pt x="614390" y="6514202"/>
                  <a:pt x="613360" y="6516527"/>
                </a:cubicBezTo>
                <a:cubicBezTo>
                  <a:pt x="611301" y="6520015"/>
                  <a:pt x="607183" y="6518852"/>
                  <a:pt x="605125" y="6522341"/>
                </a:cubicBezTo>
                <a:cubicBezTo>
                  <a:pt x="605125" y="6521178"/>
                  <a:pt x="607183" y="6526990"/>
                  <a:pt x="606153" y="6529316"/>
                </a:cubicBezTo>
                <a:cubicBezTo>
                  <a:pt x="605125" y="6532804"/>
                  <a:pt x="602036" y="6536291"/>
                  <a:pt x="601007" y="6538616"/>
                </a:cubicBezTo>
                <a:cubicBezTo>
                  <a:pt x="597918" y="6544428"/>
                  <a:pt x="592770" y="6545591"/>
                  <a:pt x="587623" y="6553728"/>
                </a:cubicBezTo>
                <a:cubicBezTo>
                  <a:pt x="580416" y="6565354"/>
                  <a:pt x="571151" y="6579305"/>
                  <a:pt x="576299" y="6595580"/>
                </a:cubicBezTo>
                <a:cubicBezTo>
                  <a:pt x="578357" y="6580467"/>
                  <a:pt x="592770" y="6574653"/>
                  <a:pt x="602036" y="6564192"/>
                </a:cubicBezTo>
                <a:cubicBezTo>
                  <a:pt x="606153" y="6556054"/>
                  <a:pt x="602036" y="6550241"/>
                  <a:pt x="607183" y="6543265"/>
                </a:cubicBezTo>
                <a:cubicBezTo>
                  <a:pt x="610272" y="6538616"/>
                  <a:pt x="615420" y="6533965"/>
                  <a:pt x="620567" y="6528152"/>
                </a:cubicBezTo>
                <a:cubicBezTo>
                  <a:pt x="625715" y="6522341"/>
                  <a:pt x="627773" y="6522341"/>
                  <a:pt x="633951" y="6513041"/>
                </a:cubicBezTo>
                <a:cubicBezTo>
                  <a:pt x="639098" y="6503740"/>
                  <a:pt x="641157" y="6487464"/>
                  <a:pt x="646305" y="6478164"/>
                </a:cubicBezTo>
                <a:cubicBezTo>
                  <a:pt x="645276" y="6479327"/>
                  <a:pt x="651453" y="6479327"/>
                  <a:pt x="652482" y="6477001"/>
                </a:cubicBezTo>
                <a:cubicBezTo>
                  <a:pt x="663807" y="6463052"/>
                  <a:pt x="668954" y="6447939"/>
                  <a:pt x="679250" y="6435151"/>
                </a:cubicBezTo>
                <a:lnTo>
                  <a:pt x="689948" y="6425611"/>
                </a:lnTo>
                <a:lnTo>
                  <a:pt x="686456" y="6430500"/>
                </a:lnTo>
                <a:cubicBezTo>
                  <a:pt x="672043" y="6444451"/>
                  <a:pt x="659689" y="6470027"/>
                  <a:pt x="649394" y="6490951"/>
                </a:cubicBezTo>
                <a:lnTo>
                  <a:pt x="653315" y="6491836"/>
                </a:lnTo>
                <a:lnTo>
                  <a:pt x="638327" y="6516674"/>
                </a:lnTo>
                <a:cubicBezTo>
                  <a:pt x="626745" y="6534839"/>
                  <a:pt x="615420" y="6551986"/>
                  <a:pt x="608213" y="6563028"/>
                </a:cubicBezTo>
                <a:cubicBezTo>
                  <a:pt x="591740" y="6588605"/>
                  <a:pt x="569091" y="6617668"/>
                  <a:pt x="578357" y="6640918"/>
                </a:cubicBezTo>
                <a:cubicBezTo>
                  <a:pt x="596889" y="6609530"/>
                  <a:pt x="622626" y="6573492"/>
                  <a:pt x="636010" y="6551404"/>
                </a:cubicBezTo>
                <a:cubicBezTo>
                  <a:pt x="654540" y="6522341"/>
                  <a:pt x="671013" y="6495602"/>
                  <a:pt x="678220" y="6470027"/>
                </a:cubicBezTo>
                <a:lnTo>
                  <a:pt x="676999" y="6469166"/>
                </a:lnTo>
                <a:lnTo>
                  <a:pt x="682339" y="6458401"/>
                </a:lnTo>
                <a:cubicBezTo>
                  <a:pt x="686456" y="6453751"/>
                  <a:pt x="690575" y="6456075"/>
                  <a:pt x="693663" y="6447939"/>
                </a:cubicBezTo>
                <a:cubicBezTo>
                  <a:pt x="696752" y="6440962"/>
                  <a:pt x="693663" y="6436313"/>
                  <a:pt x="698809" y="6427012"/>
                </a:cubicBezTo>
                <a:cubicBezTo>
                  <a:pt x="703958" y="6418875"/>
                  <a:pt x="708076" y="6420038"/>
                  <a:pt x="712195" y="6411900"/>
                </a:cubicBezTo>
                <a:cubicBezTo>
                  <a:pt x="716312" y="6403762"/>
                  <a:pt x="716312" y="6394462"/>
                  <a:pt x="720430" y="6386324"/>
                </a:cubicBezTo>
                <a:cubicBezTo>
                  <a:pt x="723519" y="6381675"/>
                  <a:pt x="727636" y="6381675"/>
                  <a:pt x="731754" y="6375861"/>
                </a:cubicBezTo>
                <a:cubicBezTo>
                  <a:pt x="744108" y="6358423"/>
                  <a:pt x="745138" y="6344473"/>
                  <a:pt x="749257" y="6332847"/>
                </a:cubicBezTo>
                <a:cubicBezTo>
                  <a:pt x="757492" y="6311923"/>
                  <a:pt x="769847" y="6288672"/>
                  <a:pt x="772935" y="6287509"/>
                </a:cubicBezTo>
                <a:cubicBezTo>
                  <a:pt x="787349" y="6284022"/>
                  <a:pt x="782201" y="6271234"/>
                  <a:pt x="787349" y="6260771"/>
                </a:cubicBezTo>
                <a:cubicBezTo>
                  <a:pt x="789407" y="6256122"/>
                  <a:pt x="792496" y="6258445"/>
                  <a:pt x="795584" y="6254957"/>
                </a:cubicBezTo>
                <a:cubicBezTo>
                  <a:pt x="806908" y="6239844"/>
                  <a:pt x="803821" y="6227057"/>
                  <a:pt x="809997" y="6215433"/>
                </a:cubicBezTo>
                <a:cubicBezTo>
                  <a:pt x="814116" y="6207294"/>
                  <a:pt x="823382" y="6197995"/>
                  <a:pt x="827500" y="6191019"/>
                </a:cubicBezTo>
                <a:cubicBezTo>
                  <a:pt x="831617" y="6184044"/>
                  <a:pt x="831617" y="6172419"/>
                  <a:pt x="835734" y="6165443"/>
                </a:cubicBezTo>
                <a:cubicBezTo>
                  <a:pt x="838823" y="6160793"/>
                  <a:pt x="842941" y="6160793"/>
                  <a:pt x="847060" y="6154982"/>
                </a:cubicBezTo>
                <a:cubicBezTo>
                  <a:pt x="859415" y="6136379"/>
                  <a:pt x="859415" y="6121267"/>
                  <a:pt x="866620" y="6107316"/>
                </a:cubicBezTo>
                <a:cubicBezTo>
                  <a:pt x="871768" y="6096855"/>
                  <a:pt x="882063" y="6088716"/>
                  <a:pt x="887210" y="6078253"/>
                </a:cubicBezTo>
                <a:cubicBezTo>
                  <a:pt x="893389" y="6066628"/>
                  <a:pt x="893389" y="6050353"/>
                  <a:pt x="899565" y="6043378"/>
                </a:cubicBezTo>
                <a:cubicBezTo>
                  <a:pt x="906772" y="6034078"/>
                  <a:pt x="902653" y="6036403"/>
                  <a:pt x="910890" y="6021290"/>
                </a:cubicBezTo>
                <a:lnTo>
                  <a:pt x="937380" y="5969005"/>
                </a:lnTo>
                <a:lnTo>
                  <a:pt x="942804" y="5960839"/>
                </a:lnTo>
                <a:lnTo>
                  <a:pt x="946776" y="5951079"/>
                </a:lnTo>
                <a:lnTo>
                  <a:pt x="969572" y="5908524"/>
                </a:lnTo>
                <a:cubicBezTo>
                  <a:pt x="970602" y="5907362"/>
                  <a:pt x="976778" y="5906199"/>
                  <a:pt x="975749" y="5907362"/>
                </a:cubicBezTo>
                <a:lnTo>
                  <a:pt x="979679" y="5880730"/>
                </a:lnTo>
                <a:lnTo>
                  <a:pt x="983041" y="5874293"/>
                </a:lnTo>
                <a:lnTo>
                  <a:pt x="989776" y="5863331"/>
                </a:lnTo>
                <a:cubicBezTo>
                  <a:pt x="993250" y="5859698"/>
                  <a:pt x="996339" y="5857373"/>
                  <a:pt x="997369" y="5855048"/>
                </a:cubicBezTo>
                <a:lnTo>
                  <a:pt x="993405" y="5852249"/>
                </a:lnTo>
                <a:lnTo>
                  <a:pt x="1006294" y="5824559"/>
                </a:lnTo>
                <a:lnTo>
                  <a:pt x="1009722" y="5820173"/>
                </a:lnTo>
                <a:cubicBezTo>
                  <a:pt x="1016930" y="5809710"/>
                  <a:pt x="1021821" y="5798374"/>
                  <a:pt x="1025552" y="5788202"/>
                </a:cubicBezTo>
                <a:lnTo>
                  <a:pt x="1034013" y="5764384"/>
                </a:lnTo>
                <a:lnTo>
                  <a:pt x="1035188" y="5761764"/>
                </a:lnTo>
                <a:lnTo>
                  <a:pt x="1050903" y="5731820"/>
                </a:lnTo>
                <a:lnTo>
                  <a:pt x="1052573" y="5723019"/>
                </a:lnTo>
                <a:lnTo>
                  <a:pt x="1065316" y="5694618"/>
                </a:lnTo>
                <a:lnTo>
                  <a:pt x="1065277" y="5694351"/>
                </a:lnTo>
                <a:lnTo>
                  <a:pt x="1076897" y="5672530"/>
                </a:lnTo>
                <a:cubicBezTo>
                  <a:pt x="1084877" y="5658579"/>
                  <a:pt x="1092598" y="5644629"/>
                  <a:pt x="1098260" y="5629517"/>
                </a:cubicBezTo>
                <a:lnTo>
                  <a:pt x="1100549" y="5617459"/>
                </a:lnTo>
                <a:lnTo>
                  <a:pt x="1113703" y="5592315"/>
                </a:lnTo>
                <a:lnTo>
                  <a:pt x="1118190" y="5580802"/>
                </a:lnTo>
                <a:lnTo>
                  <a:pt x="1136353" y="5545814"/>
                </a:lnTo>
                <a:cubicBezTo>
                  <a:pt x="1138413" y="5540003"/>
                  <a:pt x="1136353" y="5536514"/>
                  <a:pt x="1139440" y="5529539"/>
                </a:cubicBezTo>
                <a:cubicBezTo>
                  <a:pt x="1147678" y="5509776"/>
                  <a:pt x="1152826" y="5496989"/>
                  <a:pt x="1156943" y="5486526"/>
                </a:cubicBezTo>
                <a:lnTo>
                  <a:pt x="1163235" y="5470183"/>
                </a:lnTo>
                <a:lnTo>
                  <a:pt x="1171099" y="5452522"/>
                </a:lnTo>
                <a:cubicBezTo>
                  <a:pt x="1178563" y="5435084"/>
                  <a:pt x="1184740" y="5419099"/>
                  <a:pt x="1186799" y="5408636"/>
                </a:cubicBezTo>
                <a:lnTo>
                  <a:pt x="1189078" y="5399368"/>
                </a:lnTo>
                <a:lnTo>
                  <a:pt x="1202241" y="5369110"/>
                </a:lnTo>
                <a:cubicBezTo>
                  <a:pt x="1203785" y="5366784"/>
                  <a:pt x="1203528" y="5365623"/>
                  <a:pt x="1202884" y="5364751"/>
                </a:cubicBezTo>
                <a:lnTo>
                  <a:pt x="1201460" y="5362523"/>
                </a:lnTo>
                <a:lnTo>
                  <a:pt x="1201901" y="5361356"/>
                </a:lnTo>
                <a:lnTo>
                  <a:pt x="1205331" y="5357484"/>
                </a:lnTo>
                <a:cubicBezTo>
                  <a:pt x="1207389" y="5356612"/>
                  <a:pt x="1209448" y="5356322"/>
                  <a:pt x="1209448" y="5356322"/>
                </a:cubicBezTo>
                <a:cubicBezTo>
                  <a:pt x="1211507" y="5349347"/>
                  <a:pt x="1210478" y="5344696"/>
                  <a:pt x="1214596" y="5335396"/>
                </a:cubicBezTo>
                <a:lnTo>
                  <a:pt x="1215094" y="5333874"/>
                </a:lnTo>
                <a:lnTo>
                  <a:pt x="1216654" y="5330747"/>
                </a:lnTo>
                <a:lnTo>
                  <a:pt x="1219203" y="5321329"/>
                </a:lnTo>
                <a:lnTo>
                  <a:pt x="1237131" y="5266594"/>
                </a:lnTo>
                <a:lnTo>
                  <a:pt x="1247539" y="5241231"/>
                </a:lnTo>
                <a:lnTo>
                  <a:pt x="1252087" y="5228222"/>
                </a:lnTo>
                <a:lnTo>
                  <a:pt x="1252559" y="5227136"/>
                </a:lnTo>
                <a:cubicBezTo>
                  <a:pt x="1256290" y="5219143"/>
                  <a:pt x="1259894" y="5211006"/>
                  <a:pt x="1261952" y="5202868"/>
                </a:cubicBezTo>
                <a:lnTo>
                  <a:pt x="1262687" y="5197894"/>
                </a:lnTo>
                <a:lnTo>
                  <a:pt x="1272377" y="5170172"/>
                </a:lnTo>
                <a:lnTo>
                  <a:pt x="1277017" y="5154661"/>
                </a:lnTo>
                <a:lnTo>
                  <a:pt x="1280484" y="5148229"/>
                </a:lnTo>
                <a:lnTo>
                  <a:pt x="1281134" y="5140901"/>
                </a:lnTo>
                <a:lnTo>
                  <a:pt x="1283781" y="5132054"/>
                </a:lnTo>
                <a:lnTo>
                  <a:pt x="1290779" y="5118003"/>
                </a:lnTo>
                <a:lnTo>
                  <a:pt x="1300859" y="5087048"/>
                </a:lnTo>
                <a:lnTo>
                  <a:pt x="1301075" y="5086615"/>
                </a:lnTo>
                <a:lnTo>
                  <a:pt x="1301069" y="5086404"/>
                </a:lnTo>
                <a:lnTo>
                  <a:pt x="1304550" y="5075716"/>
                </a:lnTo>
                <a:lnTo>
                  <a:pt x="1304779" y="5074917"/>
                </a:lnTo>
                <a:lnTo>
                  <a:pt x="1308281" y="5073827"/>
                </a:lnTo>
                <a:cubicBezTo>
                  <a:pt x="1313428" y="5061040"/>
                  <a:pt x="1315488" y="5044764"/>
                  <a:pt x="1319606" y="5031976"/>
                </a:cubicBezTo>
                <a:cubicBezTo>
                  <a:pt x="1330931" y="4997100"/>
                  <a:pt x="1341226" y="4973849"/>
                  <a:pt x="1347403" y="4947111"/>
                </a:cubicBezTo>
                <a:cubicBezTo>
                  <a:pt x="1349462" y="4938973"/>
                  <a:pt x="1352035" y="4927347"/>
                  <a:pt x="1354222" y="4916886"/>
                </a:cubicBezTo>
                <a:lnTo>
                  <a:pt x="1355632" y="4909614"/>
                </a:lnTo>
                <a:lnTo>
                  <a:pt x="1358213" y="4900755"/>
                </a:lnTo>
                <a:lnTo>
                  <a:pt x="1362390" y="4882515"/>
                </a:lnTo>
                <a:lnTo>
                  <a:pt x="1364904" y="4874889"/>
                </a:lnTo>
                <a:cubicBezTo>
                  <a:pt x="1366964" y="4870093"/>
                  <a:pt x="1369023" y="4865734"/>
                  <a:pt x="1371081" y="4858760"/>
                </a:cubicBezTo>
                <a:cubicBezTo>
                  <a:pt x="1377259" y="4840159"/>
                  <a:pt x="1382407" y="4818071"/>
                  <a:pt x="1389613" y="4802957"/>
                </a:cubicBezTo>
                <a:cubicBezTo>
                  <a:pt x="1391671" y="4798307"/>
                  <a:pt x="1387553" y="4797145"/>
                  <a:pt x="1388583" y="4795982"/>
                </a:cubicBezTo>
                <a:cubicBezTo>
                  <a:pt x="1393731" y="4773895"/>
                  <a:pt x="1399909" y="4756456"/>
                  <a:pt x="1407114" y="4740181"/>
                </a:cubicBezTo>
                <a:cubicBezTo>
                  <a:pt x="1409174" y="4735531"/>
                  <a:pt x="1405056" y="4734369"/>
                  <a:pt x="1406084" y="4733206"/>
                </a:cubicBezTo>
                <a:cubicBezTo>
                  <a:pt x="1408658" y="4723906"/>
                  <a:pt x="1412519" y="4714896"/>
                  <a:pt x="1415479" y="4706903"/>
                </a:cubicBezTo>
                <a:lnTo>
                  <a:pt x="1417930" y="4694496"/>
                </a:lnTo>
                <a:lnTo>
                  <a:pt x="1419340" y="4689756"/>
                </a:lnTo>
                <a:lnTo>
                  <a:pt x="1420902" y="4683414"/>
                </a:lnTo>
                <a:lnTo>
                  <a:pt x="1423329" y="4677840"/>
                </a:lnTo>
                <a:cubicBezTo>
                  <a:pt x="1425646" y="4674207"/>
                  <a:pt x="1428219" y="4670429"/>
                  <a:pt x="1428734" y="4668104"/>
                </a:cubicBezTo>
                <a:lnTo>
                  <a:pt x="1425168" y="4666090"/>
                </a:lnTo>
                <a:lnTo>
                  <a:pt x="1426061" y="4662460"/>
                </a:lnTo>
                <a:lnTo>
                  <a:pt x="1428477" y="4656914"/>
                </a:lnTo>
                <a:cubicBezTo>
                  <a:pt x="1430793" y="4653281"/>
                  <a:pt x="1433368" y="4649503"/>
                  <a:pt x="1433882" y="4647178"/>
                </a:cubicBezTo>
                <a:cubicBezTo>
                  <a:pt x="1438000" y="4634391"/>
                  <a:pt x="1441089" y="4618116"/>
                  <a:pt x="1445206" y="4605327"/>
                </a:cubicBezTo>
                <a:cubicBezTo>
                  <a:pt x="1447265" y="4596027"/>
                  <a:pt x="1448294" y="4593701"/>
                  <a:pt x="1450353" y="4584402"/>
                </a:cubicBezTo>
                <a:cubicBezTo>
                  <a:pt x="1452413" y="4576263"/>
                  <a:pt x="1455502" y="4566965"/>
                  <a:pt x="1458590" y="4558827"/>
                </a:cubicBezTo>
                <a:lnTo>
                  <a:pt x="1462402" y="4544071"/>
                </a:lnTo>
                <a:lnTo>
                  <a:pt x="1463737" y="4541389"/>
                </a:lnTo>
                <a:lnTo>
                  <a:pt x="1463503" y="4539804"/>
                </a:lnTo>
                <a:lnTo>
                  <a:pt x="1472709" y="4504164"/>
                </a:lnTo>
                <a:lnTo>
                  <a:pt x="1473518" y="4501716"/>
                </a:lnTo>
                <a:cubicBezTo>
                  <a:pt x="1477120" y="4490817"/>
                  <a:pt x="1480209" y="4481517"/>
                  <a:pt x="1481239" y="4478611"/>
                </a:cubicBezTo>
                <a:cubicBezTo>
                  <a:pt x="1483299" y="4471636"/>
                  <a:pt x="1484327" y="4468148"/>
                  <a:pt x="1484327" y="4462336"/>
                </a:cubicBezTo>
                <a:cubicBezTo>
                  <a:pt x="1484327" y="4450712"/>
                  <a:pt x="1488446" y="4446061"/>
                  <a:pt x="1492564" y="4436760"/>
                </a:cubicBezTo>
                <a:cubicBezTo>
                  <a:pt x="1494622" y="4433273"/>
                  <a:pt x="1491534" y="4430948"/>
                  <a:pt x="1491534" y="4429785"/>
                </a:cubicBezTo>
                <a:cubicBezTo>
                  <a:pt x="1495139" y="4414672"/>
                  <a:pt x="1498227" y="4402175"/>
                  <a:pt x="1501058" y="4390406"/>
                </a:cubicBezTo>
                <a:lnTo>
                  <a:pt x="1503418" y="4380045"/>
                </a:lnTo>
                <a:lnTo>
                  <a:pt x="1505948" y="4375147"/>
                </a:lnTo>
                <a:cubicBezTo>
                  <a:pt x="1506977" y="4372822"/>
                  <a:pt x="1506463" y="4371367"/>
                  <a:pt x="1505819" y="4370351"/>
                </a:cubicBezTo>
                <a:lnTo>
                  <a:pt x="1505694" y="4370050"/>
                </a:lnTo>
                <a:lnTo>
                  <a:pt x="1509036" y="4355383"/>
                </a:lnTo>
                <a:lnTo>
                  <a:pt x="1511468" y="4344395"/>
                </a:lnTo>
                <a:lnTo>
                  <a:pt x="1513926" y="4335475"/>
                </a:lnTo>
                <a:cubicBezTo>
                  <a:pt x="1516757" y="4325739"/>
                  <a:pt x="1519332" y="4316438"/>
                  <a:pt x="1521391" y="4305394"/>
                </a:cubicBezTo>
                <a:lnTo>
                  <a:pt x="1524162" y="4286613"/>
                </a:lnTo>
                <a:lnTo>
                  <a:pt x="1524478" y="4285631"/>
                </a:lnTo>
                <a:lnTo>
                  <a:pt x="1524736" y="4282730"/>
                </a:lnTo>
                <a:lnTo>
                  <a:pt x="1525508" y="4277493"/>
                </a:lnTo>
                <a:cubicBezTo>
                  <a:pt x="1525508" y="4276331"/>
                  <a:pt x="1527568" y="4274005"/>
                  <a:pt x="1527568" y="4272844"/>
                </a:cubicBezTo>
                <a:cubicBezTo>
                  <a:pt x="1529626" y="4268193"/>
                  <a:pt x="1525508" y="4267031"/>
                  <a:pt x="1526538" y="4265869"/>
                </a:cubicBezTo>
                <a:cubicBezTo>
                  <a:pt x="1527568" y="4258892"/>
                  <a:pt x="1530914" y="4251628"/>
                  <a:pt x="1533230" y="4244216"/>
                </a:cubicBezTo>
                <a:lnTo>
                  <a:pt x="1533362" y="4238425"/>
                </a:lnTo>
                <a:lnTo>
                  <a:pt x="1536832" y="4232155"/>
                </a:lnTo>
                <a:lnTo>
                  <a:pt x="1533549" y="4230301"/>
                </a:lnTo>
                <a:lnTo>
                  <a:pt x="1533595" y="4228240"/>
                </a:lnTo>
                <a:lnTo>
                  <a:pt x="1537862" y="4220530"/>
                </a:lnTo>
                <a:cubicBezTo>
                  <a:pt x="1539921" y="4210067"/>
                  <a:pt x="1539921" y="4201929"/>
                  <a:pt x="1541981" y="4192628"/>
                </a:cubicBezTo>
                <a:cubicBezTo>
                  <a:pt x="1547128" y="4169378"/>
                  <a:pt x="1561541" y="4140315"/>
                  <a:pt x="1558452" y="4129852"/>
                </a:cubicBezTo>
                <a:cubicBezTo>
                  <a:pt x="1558452" y="4127528"/>
                  <a:pt x="1563601" y="4122876"/>
                  <a:pt x="1563601" y="4120553"/>
                </a:cubicBezTo>
                <a:cubicBezTo>
                  <a:pt x="1563601" y="4120553"/>
                  <a:pt x="1559482" y="4119390"/>
                  <a:pt x="1559482" y="4118227"/>
                </a:cubicBezTo>
                <a:cubicBezTo>
                  <a:pt x="1559482" y="4115902"/>
                  <a:pt x="1564631" y="4111252"/>
                  <a:pt x="1564631" y="4108927"/>
                </a:cubicBezTo>
                <a:cubicBezTo>
                  <a:pt x="1565659" y="4100789"/>
                  <a:pt x="1565659" y="4092652"/>
                  <a:pt x="1566688" y="4085676"/>
                </a:cubicBezTo>
                <a:cubicBezTo>
                  <a:pt x="1567718" y="4082188"/>
                  <a:pt x="1570807" y="4079864"/>
                  <a:pt x="1571836" y="4076375"/>
                </a:cubicBezTo>
                <a:cubicBezTo>
                  <a:pt x="1572865" y="4072889"/>
                  <a:pt x="1570807" y="4070564"/>
                  <a:pt x="1570807" y="4069401"/>
                </a:cubicBezTo>
                <a:cubicBezTo>
                  <a:pt x="1574925" y="4049638"/>
                  <a:pt x="1586249" y="4029876"/>
                  <a:pt x="1586249" y="4018250"/>
                </a:cubicBezTo>
                <a:cubicBezTo>
                  <a:pt x="1586249" y="4005461"/>
                  <a:pt x="1587278" y="3986861"/>
                  <a:pt x="1591397" y="3978723"/>
                </a:cubicBezTo>
                <a:cubicBezTo>
                  <a:pt x="1594486" y="3974073"/>
                  <a:pt x="1590368" y="3974073"/>
                  <a:pt x="1590368" y="3971748"/>
                </a:cubicBezTo>
                <a:cubicBezTo>
                  <a:pt x="1593457" y="3951986"/>
                  <a:pt x="1602721" y="3934547"/>
                  <a:pt x="1599633" y="3922921"/>
                </a:cubicBezTo>
                <a:cubicBezTo>
                  <a:pt x="1599633" y="3922921"/>
                  <a:pt x="1602721" y="3906646"/>
                  <a:pt x="1602721" y="3906646"/>
                </a:cubicBezTo>
                <a:cubicBezTo>
                  <a:pt x="1603751" y="3903159"/>
                  <a:pt x="1607869" y="3900833"/>
                  <a:pt x="1607869" y="3897345"/>
                </a:cubicBezTo>
                <a:cubicBezTo>
                  <a:pt x="1607869" y="3893859"/>
                  <a:pt x="1604781" y="3885721"/>
                  <a:pt x="1604781" y="3882234"/>
                </a:cubicBezTo>
                <a:cubicBezTo>
                  <a:pt x="1604781" y="3868283"/>
                  <a:pt x="1614046" y="3858983"/>
                  <a:pt x="1610958" y="3849682"/>
                </a:cubicBezTo>
                <a:cubicBezTo>
                  <a:pt x="1610958" y="3847357"/>
                  <a:pt x="1616106" y="3842707"/>
                  <a:pt x="1616106" y="3840382"/>
                </a:cubicBezTo>
                <a:cubicBezTo>
                  <a:pt x="1616106" y="3840382"/>
                  <a:pt x="1611988" y="3839220"/>
                  <a:pt x="1611988" y="3838056"/>
                </a:cubicBezTo>
                <a:cubicBezTo>
                  <a:pt x="1611988" y="3835733"/>
                  <a:pt x="1617134" y="3831081"/>
                  <a:pt x="1617134" y="3828758"/>
                </a:cubicBezTo>
                <a:cubicBezTo>
                  <a:pt x="1617134" y="3828758"/>
                  <a:pt x="1613017" y="3827595"/>
                  <a:pt x="1613017" y="3826432"/>
                </a:cubicBezTo>
                <a:cubicBezTo>
                  <a:pt x="1613017" y="3824107"/>
                  <a:pt x="1618164" y="3819457"/>
                  <a:pt x="1618164" y="3817132"/>
                </a:cubicBezTo>
                <a:cubicBezTo>
                  <a:pt x="1620224" y="3797368"/>
                  <a:pt x="1627431" y="3763655"/>
                  <a:pt x="1624341" y="3753193"/>
                </a:cubicBezTo>
                <a:cubicBezTo>
                  <a:pt x="1623312" y="3752030"/>
                  <a:pt x="1629489" y="3733429"/>
                  <a:pt x="1629489" y="3732267"/>
                </a:cubicBezTo>
                <a:cubicBezTo>
                  <a:pt x="1632577" y="3707854"/>
                  <a:pt x="1637725" y="3683441"/>
                  <a:pt x="1640814" y="3659028"/>
                </a:cubicBezTo>
                <a:cubicBezTo>
                  <a:pt x="1642873" y="3648565"/>
                  <a:pt x="1641844" y="3636939"/>
                  <a:pt x="1644931" y="3631127"/>
                </a:cubicBezTo>
                <a:cubicBezTo>
                  <a:pt x="1648020" y="3626477"/>
                  <a:pt x="1643901" y="3627638"/>
                  <a:pt x="1643901" y="3624151"/>
                </a:cubicBezTo>
                <a:cubicBezTo>
                  <a:pt x="1643901" y="3604388"/>
                  <a:pt x="1651108" y="3583463"/>
                  <a:pt x="1654197" y="3563700"/>
                </a:cubicBezTo>
                <a:cubicBezTo>
                  <a:pt x="1656257" y="3548587"/>
                  <a:pt x="1654197" y="3535799"/>
                  <a:pt x="1659344" y="3524175"/>
                </a:cubicBezTo>
                <a:cubicBezTo>
                  <a:pt x="1662433" y="3519523"/>
                  <a:pt x="1658314" y="3519523"/>
                  <a:pt x="1658314" y="3517199"/>
                </a:cubicBezTo>
                <a:cubicBezTo>
                  <a:pt x="1661403" y="3497436"/>
                  <a:pt x="1672729" y="3474186"/>
                  <a:pt x="1669640" y="3463722"/>
                </a:cubicBezTo>
                <a:cubicBezTo>
                  <a:pt x="1669640" y="3461396"/>
                  <a:pt x="1674787" y="3456747"/>
                  <a:pt x="1674787" y="3454422"/>
                </a:cubicBezTo>
                <a:cubicBezTo>
                  <a:pt x="1674787" y="3448609"/>
                  <a:pt x="1671700" y="3445121"/>
                  <a:pt x="1671700" y="3439309"/>
                </a:cubicBezTo>
                <a:cubicBezTo>
                  <a:pt x="1671700" y="3433497"/>
                  <a:pt x="1674787" y="3430008"/>
                  <a:pt x="1674787" y="3423034"/>
                </a:cubicBezTo>
                <a:cubicBezTo>
                  <a:pt x="1674787" y="3419546"/>
                  <a:pt x="1671700" y="3411409"/>
                  <a:pt x="1671700" y="3407922"/>
                </a:cubicBezTo>
                <a:cubicBezTo>
                  <a:pt x="1671700" y="3399784"/>
                  <a:pt x="1674787" y="3393970"/>
                  <a:pt x="1676846" y="3386995"/>
                </a:cubicBezTo>
                <a:cubicBezTo>
                  <a:pt x="1679934" y="3378857"/>
                  <a:pt x="1678906" y="3370720"/>
                  <a:pt x="1678906" y="3363744"/>
                </a:cubicBezTo>
                <a:cubicBezTo>
                  <a:pt x="1678906" y="3359095"/>
                  <a:pt x="1675817" y="3353282"/>
                  <a:pt x="1675817" y="3348633"/>
                </a:cubicBezTo>
                <a:cubicBezTo>
                  <a:pt x="1675817" y="3343981"/>
                  <a:pt x="1681994" y="3339332"/>
                  <a:pt x="1683024" y="3334681"/>
                </a:cubicBezTo>
                <a:cubicBezTo>
                  <a:pt x="1683024" y="3332356"/>
                  <a:pt x="1679934" y="3321894"/>
                  <a:pt x="1679934" y="3319568"/>
                </a:cubicBezTo>
                <a:cubicBezTo>
                  <a:pt x="1679934" y="3313757"/>
                  <a:pt x="1683024" y="3310268"/>
                  <a:pt x="1683024" y="3303293"/>
                </a:cubicBezTo>
                <a:cubicBezTo>
                  <a:pt x="1683024" y="3299806"/>
                  <a:pt x="1679934" y="3291667"/>
                  <a:pt x="1679934" y="3288180"/>
                </a:cubicBezTo>
                <a:cubicBezTo>
                  <a:pt x="1680964" y="3280043"/>
                  <a:pt x="1684053" y="3269579"/>
                  <a:pt x="1684053" y="3260279"/>
                </a:cubicBezTo>
                <a:cubicBezTo>
                  <a:pt x="1685083" y="3239354"/>
                  <a:pt x="1680964" y="3227728"/>
                  <a:pt x="1693319" y="3211453"/>
                </a:cubicBezTo>
                <a:cubicBezTo>
                  <a:pt x="1683024" y="3197504"/>
                  <a:pt x="1697437" y="3176577"/>
                  <a:pt x="1686113" y="3162627"/>
                </a:cubicBezTo>
                <a:cubicBezTo>
                  <a:pt x="1698466" y="3149840"/>
                  <a:pt x="1686113" y="3142864"/>
                  <a:pt x="1690230" y="3134726"/>
                </a:cubicBezTo>
                <a:cubicBezTo>
                  <a:pt x="1693319" y="3130076"/>
                  <a:pt x="1689200" y="3131240"/>
                  <a:pt x="1689200" y="3127751"/>
                </a:cubicBezTo>
                <a:cubicBezTo>
                  <a:pt x="1689200" y="3119614"/>
                  <a:pt x="1693319" y="3114963"/>
                  <a:pt x="1694348" y="3106826"/>
                </a:cubicBezTo>
                <a:cubicBezTo>
                  <a:pt x="1695377" y="3106826"/>
                  <a:pt x="1693319" y="3102175"/>
                  <a:pt x="1693319" y="3099850"/>
                </a:cubicBezTo>
                <a:cubicBezTo>
                  <a:pt x="1693319" y="3094038"/>
                  <a:pt x="1691259" y="3087062"/>
                  <a:pt x="1692289" y="3081249"/>
                </a:cubicBezTo>
                <a:cubicBezTo>
                  <a:pt x="1693319" y="3073113"/>
                  <a:pt x="1696407" y="3068462"/>
                  <a:pt x="1697437" y="3060325"/>
                </a:cubicBezTo>
                <a:cubicBezTo>
                  <a:pt x="1697437" y="3057999"/>
                  <a:pt x="1692289" y="3052186"/>
                  <a:pt x="1692289" y="3049861"/>
                </a:cubicBezTo>
                <a:cubicBezTo>
                  <a:pt x="1692289" y="3037074"/>
                  <a:pt x="1701556" y="3021962"/>
                  <a:pt x="1691259" y="3011498"/>
                </a:cubicBezTo>
                <a:cubicBezTo>
                  <a:pt x="1688172" y="3019636"/>
                  <a:pt x="1688172" y="3024285"/>
                  <a:pt x="1686113" y="3032423"/>
                </a:cubicBezTo>
                <a:cubicBezTo>
                  <a:pt x="1684053" y="3037074"/>
                  <a:pt x="1687142" y="3037074"/>
                  <a:pt x="1687142" y="3039399"/>
                </a:cubicBezTo>
                <a:cubicBezTo>
                  <a:pt x="1687142" y="3045212"/>
                  <a:pt x="1684053" y="3048699"/>
                  <a:pt x="1684053" y="3055674"/>
                </a:cubicBezTo>
                <a:cubicBezTo>
                  <a:pt x="1683024" y="3070787"/>
                  <a:pt x="1684053" y="3083574"/>
                  <a:pt x="1683024" y="3098687"/>
                </a:cubicBezTo>
                <a:cubicBezTo>
                  <a:pt x="1683024" y="3104501"/>
                  <a:pt x="1679934" y="3107988"/>
                  <a:pt x="1679934" y="3114963"/>
                </a:cubicBezTo>
                <a:cubicBezTo>
                  <a:pt x="1679934" y="3118450"/>
                  <a:pt x="1683024" y="3126588"/>
                  <a:pt x="1683024" y="3130076"/>
                </a:cubicBezTo>
                <a:cubicBezTo>
                  <a:pt x="1680964" y="3149840"/>
                  <a:pt x="1674787" y="3169603"/>
                  <a:pt x="1672729" y="3190528"/>
                </a:cubicBezTo>
                <a:cubicBezTo>
                  <a:pt x="1672729" y="3194015"/>
                  <a:pt x="1675817" y="3200990"/>
                  <a:pt x="1675817" y="3205641"/>
                </a:cubicBezTo>
                <a:cubicBezTo>
                  <a:pt x="1674787" y="3214941"/>
                  <a:pt x="1674787" y="3224242"/>
                  <a:pt x="1673757" y="3228891"/>
                </a:cubicBezTo>
                <a:cubicBezTo>
                  <a:pt x="1671700" y="3235867"/>
                  <a:pt x="1671700" y="3240517"/>
                  <a:pt x="1670670" y="3245167"/>
                </a:cubicBezTo>
                <a:cubicBezTo>
                  <a:pt x="1666551" y="3259117"/>
                  <a:pt x="1668611" y="3257955"/>
                  <a:pt x="1668611" y="3268417"/>
                </a:cubicBezTo>
                <a:cubicBezTo>
                  <a:pt x="1668611" y="3274230"/>
                  <a:pt x="1665522" y="3277717"/>
                  <a:pt x="1665522" y="3284692"/>
                </a:cubicBezTo>
                <a:cubicBezTo>
                  <a:pt x="1665522" y="3288180"/>
                  <a:pt x="1668611" y="3296318"/>
                  <a:pt x="1668611" y="3299806"/>
                </a:cubicBezTo>
                <a:cubicBezTo>
                  <a:pt x="1668611" y="3314919"/>
                  <a:pt x="1662433" y="3320731"/>
                  <a:pt x="1662433" y="3332356"/>
                </a:cubicBezTo>
                <a:cubicBezTo>
                  <a:pt x="1662433" y="3335843"/>
                  <a:pt x="1665522" y="3343981"/>
                  <a:pt x="1665522" y="3347469"/>
                </a:cubicBezTo>
                <a:lnTo>
                  <a:pt x="1664766" y="3351455"/>
                </a:lnTo>
                <a:lnTo>
                  <a:pt x="1659343" y="3334682"/>
                </a:lnTo>
                <a:cubicBezTo>
                  <a:pt x="1650079" y="3342820"/>
                  <a:pt x="1654196" y="3356770"/>
                  <a:pt x="1653167" y="3367233"/>
                </a:cubicBezTo>
                <a:cubicBezTo>
                  <a:pt x="1653167" y="3376534"/>
                  <a:pt x="1643900" y="3395134"/>
                  <a:pt x="1657286" y="3400946"/>
                </a:cubicBezTo>
                <a:lnTo>
                  <a:pt x="1660911" y="3390369"/>
                </a:lnTo>
                <a:lnTo>
                  <a:pt x="1656257" y="3414897"/>
                </a:lnTo>
                <a:cubicBezTo>
                  <a:pt x="1654197" y="3432334"/>
                  <a:pt x="1655227" y="3462560"/>
                  <a:pt x="1652139" y="3474186"/>
                </a:cubicBezTo>
                <a:lnTo>
                  <a:pt x="1649759" y="3486723"/>
                </a:lnTo>
                <a:lnTo>
                  <a:pt x="1646090" y="3470553"/>
                </a:lnTo>
                <a:cubicBezTo>
                  <a:pt x="1646476" y="3464013"/>
                  <a:pt x="1646990" y="3457328"/>
                  <a:pt x="1642873" y="3452098"/>
                </a:cubicBezTo>
                <a:cubicBezTo>
                  <a:pt x="1635665" y="3464885"/>
                  <a:pt x="1641844" y="3473022"/>
                  <a:pt x="1638755" y="3479999"/>
                </a:cubicBezTo>
                <a:cubicBezTo>
                  <a:pt x="1635665" y="3484648"/>
                  <a:pt x="1639784" y="3484648"/>
                  <a:pt x="1639784" y="3486974"/>
                </a:cubicBezTo>
                <a:cubicBezTo>
                  <a:pt x="1637725" y="3498598"/>
                  <a:pt x="1624341" y="3514874"/>
                  <a:pt x="1634637" y="3526499"/>
                </a:cubicBezTo>
                <a:cubicBezTo>
                  <a:pt x="1636180" y="3520686"/>
                  <a:pt x="1637468" y="3514584"/>
                  <a:pt x="1639655" y="3508188"/>
                </a:cubicBezTo>
                <a:lnTo>
                  <a:pt x="1649152" y="3489919"/>
                </a:lnTo>
                <a:lnTo>
                  <a:pt x="1649050" y="3490461"/>
                </a:lnTo>
                <a:cubicBezTo>
                  <a:pt x="1646990" y="3497436"/>
                  <a:pt x="1646990" y="3496273"/>
                  <a:pt x="1648020" y="3502085"/>
                </a:cubicBezTo>
                <a:cubicBezTo>
                  <a:pt x="1649050" y="3509062"/>
                  <a:pt x="1639784" y="3520686"/>
                  <a:pt x="1639784" y="3527662"/>
                </a:cubicBezTo>
                <a:cubicBezTo>
                  <a:pt x="1639784" y="3535799"/>
                  <a:pt x="1639784" y="3546261"/>
                  <a:pt x="1637725" y="3550912"/>
                </a:cubicBezTo>
                <a:cubicBezTo>
                  <a:pt x="1634637" y="3555562"/>
                  <a:pt x="1638755" y="3555562"/>
                  <a:pt x="1638755" y="3557887"/>
                </a:cubicBezTo>
                <a:cubicBezTo>
                  <a:pt x="1638755" y="3566025"/>
                  <a:pt x="1634637" y="3570675"/>
                  <a:pt x="1633607" y="3578813"/>
                </a:cubicBezTo>
                <a:cubicBezTo>
                  <a:pt x="1628458" y="3614851"/>
                  <a:pt x="1625371" y="3650890"/>
                  <a:pt x="1620224" y="3686927"/>
                </a:cubicBezTo>
                <a:cubicBezTo>
                  <a:pt x="1616106" y="3713666"/>
                  <a:pt x="1611988" y="3743893"/>
                  <a:pt x="1607869" y="3771792"/>
                </a:cubicBezTo>
                <a:cubicBezTo>
                  <a:pt x="1602721" y="3799693"/>
                  <a:pt x="1600663" y="3832245"/>
                  <a:pt x="1589338" y="3857820"/>
                </a:cubicBezTo>
                <a:cubicBezTo>
                  <a:pt x="1595515" y="3871770"/>
                  <a:pt x="1592426" y="3886884"/>
                  <a:pt x="1588308" y="3900833"/>
                </a:cubicBezTo>
                <a:cubicBezTo>
                  <a:pt x="1585220" y="3913621"/>
                  <a:pt x="1583161" y="3927572"/>
                  <a:pt x="1580073" y="3938035"/>
                </a:cubicBezTo>
                <a:cubicBezTo>
                  <a:pt x="1576984" y="3947334"/>
                  <a:pt x="1578014" y="3956635"/>
                  <a:pt x="1575955" y="3965935"/>
                </a:cubicBezTo>
                <a:cubicBezTo>
                  <a:pt x="1573895" y="3978723"/>
                  <a:pt x="1575955" y="3998486"/>
                  <a:pt x="1563601" y="4000811"/>
                </a:cubicBezTo>
                <a:cubicBezTo>
                  <a:pt x="1566688" y="3984536"/>
                  <a:pt x="1569777" y="3968261"/>
                  <a:pt x="1572865" y="3951986"/>
                </a:cubicBezTo>
                <a:cubicBezTo>
                  <a:pt x="1574925" y="3934547"/>
                  <a:pt x="1574925" y="3917110"/>
                  <a:pt x="1578014" y="3899671"/>
                </a:cubicBezTo>
                <a:cubicBezTo>
                  <a:pt x="1579043" y="3896183"/>
                  <a:pt x="1582131" y="3893859"/>
                  <a:pt x="1583161" y="3890371"/>
                </a:cubicBezTo>
                <a:cubicBezTo>
                  <a:pt x="1584190" y="3886884"/>
                  <a:pt x="1582131" y="3884558"/>
                  <a:pt x="1582131" y="3883396"/>
                </a:cubicBezTo>
                <a:cubicBezTo>
                  <a:pt x="1583161" y="3874095"/>
                  <a:pt x="1586249" y="3870609"/>
                  <a:pt x="1587278" y="3862471"/>
                </a:cubicBezTo>
                <a:cubicBezTo>
                  <a:pt x="1588308" y="3850846"/>
                  <a:pt x="1588308" y="3836894"/>
                  <a:pt x="1589338" y="3826432"/>
                </a:cubicBezTo>
                <a:cubicBezTo>
                  <a:pt x="1590368" y="3820619"/>
                  <a:pt x="1595515" y="3817132"/>
                  <a:pt x="1596545" y="3812482"/>
                </a:cubicBezTo>
                <a:cubicBezTo>
                  <a:pt x="1596545" y="3808994"/>
                  <a:pt x="1593457" y="3800857"/>
                  <a:pt x="1593457" y="3797368"/>
                </a:cubicBezTo>
                <a:cubicBezTo>
                  <a:pt x="1593457" y="3789231"/>
                  <a:pt x="1597574" y="3784581"/>
                  <a:pt x="1598603" y="3776443"/>
                </a:cubicBezTo>
                <a:cubicBezTo>
                  <a:pt x="1601692" y="3754356"/>
                  <a:pt x="1605810" y="3721803"/>
                  <a:pt x="1607869" y="3707854"/>
                </a:cubicBezTo>
                <a:cubicBezTo>
                  <a:pt x="1607869" y="3706691"/>
                  <a:pt x="1608899" y="3704366"/>
                  <a:pt x="1609928" y="3703203"/>
                </a:cubicBezTo>
                <a:cubicBezTo>
                  <a:pt x="1613017" y="3698553"/>
                  <a:pt x="1608899" y="3698553"/>
                  <a:pt x="1608899" y="3696228"/>
                </a:cubicBezTo>
                <a:cubicBezTo>
                  <a:pt x="1610958" y="3685765"/>
                  <a:pt x="1611988" y="3676466"/>
                  <a:pt x="1610958" y="3672978"/>
                </a:cubicBezTo>
                <a:cubicBezTo>
                  <a:pt x="1608899" y="3666003"/>
                  <a:pt x="1618164" y="3659028"/>
                  <a:pt x="1616106" y="3652052"/>
                </a:cubicBezTo>
                <a:cubicBezTo>
                  <a:pt x="1616106" y="3649728"/>
                  <a:pt x="1621253" y="3645077"/>
                  <a:pt x="1621253" y="3642752"/>
                </a:cubicBezTo>
                <a:cubicBezTo>
                  <a:pt x="1621253" y="3642752"/>
                  <a:pt x="1617134" y="3641590"/>
                  <a:pt x="1617134" y="3640427"/>
                </a:cubicBezTo>
                <a:cubicBezTo>
                  <a:pt x="1617134" y="3638102"/>
                  <a:pt x="1622282" y="3633452"/>
                  <a:pt x="1622282" y="3631127"/>
                </a:cubicBezTo>
                <a:cubicBezTo>
                  <a:pt x="1622282" y="3631127"/>
                  <a:pt x="1618164" y="3629964"/>
                  <a:pt x="1618164" y="3628801"/>
                </a:cubicBezTo>
                <a:cubicBezTo>
                  <a:pt x="1618164" y="3626477"/>
                  <a:pt x="1623312" y="3621827"/>
                  <a:pt x="1623312" y="3619502"/>
                </a:cubicBezTo>
                <a:cubicBezTo>
                  <a:pt x="1624341" y="3607876"/>
                  <a:pt x="1627431" y="3591601"/>
                  <a:pt x="1625371" y="3583463"/>
                </a:cubicBezTo>
                <a:cubicBezTo>
                  <a:pt x="1624341" y="3575326"/>
                  <a:pt x="1619194" y="3573000"/>
                  <a:pt x="1615075" y="3563700"/>
                </a:cubicBezTo>
                <a:cubicBezTo>
                  <a:pt x="1599633" y="3588113"/>
                  <a:pt x="1621253" y="3611363"/>
                  <a:pt x="1598603" y="3626477"/>
                </a:cubicBezTo>
                <a:cubicBezTo>
                  <a:pt x="1607869" y="3646239"/>
                  <a:pt x="1596545" y="3672978"/>
                  <a:pt x="1592426" y="3690415"/>
                </a:cubicBezTo>
                <a:cubicBezTo>
                  <a:pt x="1590368" y="3693904"/>
                  <a:pt x="1593457" y="3696228"/>
                  <a:pt x="1593457" y="3697391"/>
                </a:cubicBezTo>
                <a:cubicBezTo>
                  <a:pt x="1591397" y="3710179"/>
                  <a:pt x="1586249" y="3722967"/>
                  <a:pt x="1585220" y="3734593"/>
                </a:cubicBezTo>
                <a:cubicBezTo>
                  <a:pt x="1585220" y="3738080"/>
                  <a:pt x="1588308" y="3746217"/>
                  <a:pt x="1588308" y="3749705"/>
                </a:cubicBezTo>
                <a:cubicBezTo>
                  <a:pt x="1588308" y="3752030"/>
                  <a:pt x="1582131" y="3756680"/>
                  <a:pt x="1583161" y="3759005"/>
                </a:cubicBezTo>
                <a:cubicBezTo>
                  <a:pt x="1584190" y="3761330"/>
                  <a:pt x="1591397" y="3762492"/>
                  <a:pt x="1591397" y="3764817"/>
                </a:cubicBezTo>
                <a:cubicBezTo>
                  <a:pt x="1592426" y="3770631"/>
                  <a:pt x="1588308" y="3776443"/>
                  <a:pt x="1588308" y="3781093"/>
                </a:cubicBezTo>
                <a:cubicBezTo>
                  <a:pt x="1589338" y="3785744"/>
                  <a:pt x="1596545" y="3791556"/>
                  <a:pt x="1589338" y="3799693"/>
                </a:cubicBezTo>
                <a:cubicBezTo>
                  <a:pt x="1563601" y="3825269"/>
                  <a:pt x="1580073" y="3867121"/>
                  <a:pt x="1555364" y="3905485"/>
                </a:cubicBezTo>
                <a:cubicBezTo>
                  <a:pt x="1555364" y="3913621"/>
                  <a:pt x="1559482" y="3917110"/>
                  <a:pt x="1559482" y="3927572"/>
                </a:cubicBezTo>
                <a:lnTo>
                  <a:pt x="1554614" y="3947359"/>
                </a:lnTo>
                <a:lnTo>
                  <a:pt x="1554334" y="3947334"/>
                </a:lnTo>
                <a:lnTo>
                  <a:pt x="1554385" y="3948289"/>
                </a:lnTo>
                <a:lnTo>
                  <a:pt x="1554334" y="3948498"/>
                </a:lnTo>
                <a:lnTo>
                  <a:pt x="1552623" y="3961384"/>
                </a:lnTo>
                <a:lnTo>
                  <a:pt x="1551570" y="3963492"/>
                </a:lnTo>
                <a:lnTo>
                  <a:pt x="1545069" y="3967098"/>
                </a:lnTo>
                <a:cubicBezTo>
                  <a:pt x="1536832" y="3949660"/>
                  <a:pt x="1550216" y="3928735"/>
                  <a:pt x="1548158" y="3919434"/>
                </a:cubicBezTo>
                <a:cubicBezTo>
                  <a:pt x="1547128" y="3912458"/>
                  <a:pt x="1548158" y="3915946"/>
                  <a:pt x="1549188" y="3907809"/>
                </a:cubicBezTo>
                <a:cubicBezTo>
                  <a:pt x="1556393" y="3868283"/>
                  <a:pt x="1561541" y="3838056"/>
                  <a:pt x="1566688" y="3802019"/>
                </a:cubicBezTo>
                <a:cubicBezTo>
                  <a:pt x="1571836" y="3765981"/>
                  <a:pt x="1578014" y="3718316"/>
                  <a:pt x="1582131" y="3689253"/>
                </a:cubicBezTo>
                <a:cubicBezTo>
                  <a:pt x="1582131" y="3688091"/>
                  <a:pt x="1583161" y="3685765"/>
                  <a:pt x="1584190" y="3684604"/>
                </a:cubicBezTo>
                <a:cubicBezTo>
                  <a:pt x="1587278" y="3679953"/>
                  <a:pt x="1583161" y="3679953"/>
                  <a:pt x="1583161" y="3677628"/>
                </a:cubicBezTo>
                <a:cubicBezTo>
                  <a:pt x="1586249" y="3660191"/>
                  <a:pt x="1594486" y="3633452"/>
                  <a:pt x="1594486" y="3624151"/>
                </a:cubicBezTo>
                <a:cubicBezTo>
                  <a:pt x="1594486" y="3611363"/>
                  <a:pt x="1599633" y="3591601"/>
                  <a:pt x="1599633" y="3584626"/>
                </a:cubicBezTo>
                <a:cubicBezTo>
                  <a:pt x="1598603" y="3576488"/>
                  <a:pt x="1603751" y="3573000"/>
                  <a:pt x="1604781" y="3563700"/>
                </a:cubicBezTo>
                <a:cubicBezTo>
                  <a:pt x="1604781" y="3561374"/>
                  <a:pt x="1599633" y="3555562"/>
                  <a:pt x="1599633" y="3553237"/>
                </a:cubicBezTo>
                <a:lnTo>
                  <a:pt x="1600579" y="3549392"/>
                </a:lnTo>
                <a:lnTo>
                  <a:pt x="1600663" y="3550912"/>
                </a:lnTo>
                <a:cubicBezTo>
                  <a:pt x="1602208" y="3548587"/>
                  <a:pt x="1603751" y="3541612"/>
                  <a:pt x="1604009" y="3536380"/>
                </a:cubicBezTo>
                <a:lnTo>
                  <a:pt x="1603823" y="3536207"/>
                </a:lnTo>
                <a:lnTo>
                  <a:pt x="1604781" y="3532312"/>
                </a:lnTo>
                <a:cubicBezTo>
                  <a:pt x="1605810" y="3519523"/>
                  <a:pt x="1604781" y="3512549"/>
                  <a:pt x="1610958" y="3499761"/>
                </a:cubicBezTo>
                <a:cubicBezTo>
                  <a:pt x="1614046" y="3495110"/>
                  <a:pt x="1609928" y="3495110"/>
                  <a:pt x="1609928" y="3492787"/>
                </a:cubicBezTo>
                <a:cubicBezTo>
                  <a:pt x="1613017" y="3476509"/>
                  <a:pt x="1616106" y="3467210"/>
                  <a:pt x="1616106" y="3460234"/>
                </a:cubicBezTo>
                <a:cubicBezTo>
                  <a:pt x="1616106" y="3447447"/>
                  <a:pt x="1622282" y="3427684"/>
                  <a:pt x="1621253" y="3420709"/>
                </a:cubicBezTo>
                <a:cubicBezTo>
                  <a:pt x="1619194" y="3405596"/>
                  <a:pt x="1625371" y="3393970"/>
                  <a:pt x="1626401" y="3381183"/>
                </a:cubicBezTo>
                <a:cubicBezTo>
                  <a:pt x="1626401" y="3378857"/>
                  <a:pt x="1621253" y="3373045"/>
                  <a:pt x="1621253" y="3370720"/>
                </a:cubicBezTo>
                <a:cubicBezTo>
                  <a:pt x="1621253" y="3362582"/>
                  <a:pt x="1625371" y="3357933"/>
                  <a:pt x="1626401" y="3349795"/>
                </a:cubicBezTo>
                <a:cubicBezTo>
                  <a:pt x="1627431" y="3341657"/>
                  <a:pt x="1626401" y="3332356"/>
                  <a:pt x="1628458" y="3326543"/>
                </a:cubicBezTo>
                <a:cubicBezTo>
                  <a:pt x="1631548" y="3319568"/>
                  <a:pt x="1631548" y="3281205"/>
                  <a:pt x="1631548" y="3278880"/>
                </a:cubicBezTo>
                <a:cubicBezTo>
                  <a:pt x="1629489" y="3273068"/>
                  <a:pt x="1630518" y="3267255"/>
                  <a:pt x="1630518" y="3260279"/>
                </a:cubicBezTo>
                <a:cubicBezTo>
                  <a:pt x="1630518" y="3252142"/>
                  <a:pt x="1630518" y="3241680"/>
                  <a:pt x="1632577" y="3237029"/>
                </a:cubicBezTo>
                <a:cubicBezTo>
                  <a:pt x="1635666" y="3232378"/>
                  <a:pt x="1631548" y="3233541"/>
                  <a:pt x="1631548" y="3230054"/>
                </a:cubicBezTo>
                <a:cubicBezTo>
                  <a:pt x="1631548" y="3221916"/>
                  <a:pt x="1636696" y="3217266"/>
                  <a:pt x="1636696" y="3209128"/>
                </a:cubicBezTo>
                <a:cubicBezTo>
                  <a:pt x="1636696" y="3206803"/>
                  <a:pt x="1632577" y="3199827"/>
                  <a:pt x="1631548" y="3198666"/>
                </a:cubicBezTo>
                <a:cubicBezTo>
                  <a:pt x="1631548" y="3196340"/>
                  <a:pt x="1636696" y="3191690"/>
                  <a:pt x="1636696" y="3189366"/>
                </a:cubicBezTo>
                <a:cubicBezTo>
                  <a:pt x="1636696" y="3176577"/>
                  <a:pt x="1634637" y="3161464"/>
                  <a:pt x="1638755" y="3153327"/>
                </a:cubicBezTo>
                <a:cubicBezTo>
                  <a:pt x="1640299" y="3150421"/>
                  <a:pt x="1639269" y="3147223"/>
                  <a:pt x="1638239" y="3144026"/>
                </a:cubicBezTo>
                <a:lnTo>
                  <a:pt x="1638237" y="3143987"/>
                </a:lnTo>
                <a:lnTo>
                  <a:pt x="1640298" y="3140397"/>
                </a:lnTo>
                <a:cubicBezTo>
                  <a:pt x="1643386" y="3135600"/>
                  <a:pt x="1645960" y="3130079"/>
                  <a:pt x="1645960" y="3120779"/>
                </a:cubicBezTo>
                <a:cubicBezTo>
                  <a:pt x="1640813" y="3112641"/>
                  <a:pt x="1642870" y="3092877"/>
                  <a:pt x="1637724" y="3083576"/>
                </a:cubicBezTo>
                <a:cubicBezTo>
                  <a:pt x="1640298" y="3078346"/>
                  <a:pt x="1643129" y="3069917"/>
                  <a:pt x="1644416" y="3061199"/>
                </a:cubicBezTo>
                <a:lnTo>
                  <a:pt x="1642759" y="3045674"/>
                </a:lnTo>
                <a:lnTo>
                  <a:pt x="1642873" y="3045212"/>
                </a:lnTo>
                <a:lnTo>
                  <a:pt x="1642665" y="3044790"/>
                </a:lnTo>
                <a:lnTo>
                  <a:pt x="1641843" y="3037076"/>
                </a:lnTo>
                <a:lnTo>
                  <a:pt x="1638194" y="3035703"/>
                </a:lnTo>
                <a:lnTo>
                  <a:pt x="1637725" y="3034749"/>
                </a:lnTo>
                <a:cubicBezTo>
                  <a:pt x="1637725" y="3032423"/>
                  <a:pt x="1642873" y="3027774"/>
                  <a:pt x="1642873" y="3025448"/>
                </a:cubicBezTo>
                <a:cubicBezTo>
                  <a:pt x="1642873" y="3023123"/>
                  <a:pt x="1638755" y="3017310"/>
                  <a:pt x="1637725" y="3014986"/>
                </a:cubicBezTo>
                <a:cubicBezTo>
                  <a:pt x="1637725" y="3012661"/>
                  <a:pt x="1642873" y="3008010"/>
                  <a:pt x="1642873" y="3005684"/>
                </a:cubicBezTo>
                <a:cubicBezTo>
                  <a:pt x="1642873" y="3005684"/>
                  <a:pt x="1638755" y="3004523"/>
                  <a:pt x="1638755" y="3003361"/>
                </a:cubicBezTo>
                <a:cubicBezTo>
                  <a:pt x="1638755" y="3001035"/>
                  <a:pt x="1643901" y="2996385"/>
                  <a:pt x="1643901" y="2994060"/>
                </a:cubicBezTo>
                <a:cubicBezTo>
                  <a:pt x="1643901" y="2994060"/>
                  <a:pt x="1639784" y="2992897"/>
                  <a:pt x="1639784" y="2991735"/>
                </a:cubicBezTo>
                <a:cubicBezTo>
                  <a:pt x="1639784" y="2989409"/>
                  <a:pt x="1644931" y="2984760"/>
                  <a:pt x="1644931" y="2982434"/>
                </a:cubicBezTo>
                <a:cubicBezTo>
                  <a:pt x="1644931" y="2978948"/>
                  <a:pt x="1639784" y="2974296"/>
                  <a:pt x="1639784" y="2971973"/>
                </a:cubicBezTo>
                <a:cubicBezTo>
                  <a:pt x="1637725" y="2959185"/>
                  <a:pt x="1640814" y="2948721"/>
                  <a:pt x="1639784" y="2940584"/>
                </a:cubicBezTo>
                <a:cubicBezTo>
                  <a:pt x="1638755" y="2935933"/>
                  <a:pt x="1636696" y="2930120"/>
                  <a:pt x="1636696" y="2925471"/>
                </a:cubicBezTo>
                <a:cubicBezTo>
                  <a:pt x="1633094" y="2940585"/>
                  <a:pt x="1632063" y="2954824"/>
                  <a:pt x="1631677" y="2968485"/>
                </a:cubicBezTo>
                <a:lnTo>
                  <a:pt x="1631620" y="2970396"/>
                </a:lnTo>
                <a:lnTo>
                  <a:pt x="1621252" y="2974299"/>
                </a:lnTo>
                <a:cubicBezTo>
                  <a:pt x="1621767" y="2981274"/>
                  <a:pt x="1622539" y="2988249"/>
                  <a:pt x="1624083" y="2994062"/>
                </a:cubicBezTo>
                <a:lnTo>
                  <a:pt x="1630600" y="3005227"/>
                </a:lnTo>
                <a:lnTo>
                  <a:pt x="1630518" y="3008010"/>
                </a:lnTo>
                <a:cubicBezTo>
                  <a:pt x="1630518" y="3013823"/>
                  <a:pt x="1627431" y="3017310"/>
                  <a:pt x="1627431" y="3024285"/>
                </a:cubicBezTo>
                <a:cubicBezTo>
                  <a:pt x="1627431" y="3027774"/>
                  <a:pt x="1630518" y="3035911"/>
                  <a:pt x="1630518" y="3039399"/>
                </a:cubicBezTo>
                <a:cubicBezTo>
                  <a:pt x="1630518" y="3053349"/>
                  <a:pt x="1629489" y="3066136"/>
                  <a:pt x="1630518" y="3070787"/>
                </a:cubicBezTo>
                <a:cubicBezTo>
                  <a:pt x="1630518" y="3073113"/>
                  <a:pt x="1625371" y="3077762"/>
                  <a:pt x="1625371" y="3080088"/>
                </a:cubicBezTo>
                <a:lnTo>
                  <a:pt x="1626633" y="3086270"/>
                </a:lnTo>
                <a:lnTo>
                  <a:pt x="1625370" y="3090552"/>
                </a:lnTo>
                <a:cubicBezTo>
                  <a:pt x="1624340" y="3092877"/>
                  <a:pt x="1620222" y="3092877"/>
                  <a:pt x="1619193" y="3095202"/>
                </a:cubicBezTo>
                <a:cubicBezTo>
                  <a:pt x="1617133" y="3098689"/>
                  <a:pt x="1621252" y="3107990"/>
                  <a:pt x="1617133" y="3107990"/>
                </a:cubicBezTo>
                <a:cubicBezTo>
                  <a:pt x="1619193" y="3121940"/>
                  <a:pt x="1617133" y="3134729"/>
                  <a:pt x="1615074" y="3137054"/>
                </a:cubicBezTo>
                <a:cubicBezTo>
                  <a:pt x="1615074" y="3137054"/>
                  <a:pt x="1613015" y="3149841"/>
                  <a:pt x="1613015" y="3149841"/>
                </a:cubicBezTo>
                <a:cubicBezTo>
                  <a:pt x="1613015" y="3152167"/>
                  <a:pt x="1614044" y="3155655"/>
                  <a:pt x="1613015" y="3157979"/>
                </a:cubicBezTo>
                <a:cubicBezTo>
                  <a:pt x="1610957" y="3167279"/>
                  <a:pt x="1608898" y="3175417"/>
                  <a:pt x="1607868" y="3183554"/>
                </a:cubicBezTo>
                <a:cubicBezTo>
                  <a:pt x="1606838" y="3191692"/>
                  <a:pt x="1606838" y="3200993"/>
                  <a:pt x="1605809" y="3209131"/>
                </a:cubicBezTo>
                <a:cubicBezTo>
                  <a:pt x="1604780" y="3217268"/>
                  <a:pt x="1601691" y="3226568"/>
                  <a:pt x="1600661" y="3234706"/>
                </a:cubicBezTo>
                <a:cubicBezTo>
                  <a:pt x="1599631" y="3249818"/>
                  <a:pt x="1600661" y="3264931"/>
                  <a:pt x="1599631" y="3281206"/>
                </a:cubicBezTo>
                <a:cubicBezTo>
                  <a:pt x="1598602" y="3288183"/>
                  <a:pt x="1594485" y="3295158"/>
                  <a:pt x="1594485" y="3302133"/>
                </a:cubicBezTo>
                <a:lnTo>
                  <a:pt x="1594854" y="3314255"/>
                </a:lnTo>
                <a:lnTo>
                  <a:pt x="1593119" y="3304928"/>
                </a:lnTo>
                <a:cubicBezTo>
                  <a:pt x="1592491" y="3279970"/>
                  <a:pt x="1600406" y="3252723"/>
                  <a:pt x="1590368" y="3230054"/>
                </a:cubicBezTo>
                <a:cubicBezTo>
                  <a:pt x="1597574" y="3216102"/>
                  <a:pt x="1598603" y="3204479"/>
                  <a:pt x="1592426" y="3194015"/>
                </a:cubicBezTo>
                <a:cubicBezTo>
                  <a:pt x="1576984" y="3210290"/>
                  <a:pt x="1596545" y="3235867"/>
                  <a:pt x="1585220" y="3238191"/>
                </a:cubicBezTo>
                <a:lnTo>
                  <a:pt x="1581099" y="3218543"/>
                </a:lnTo>
                <a:lnTo>
                  <a:pt x="1581615" y="3216397"/>
                </a:lnTo>
                <a:cubicBezTo>
                  <a:pt x="1583932" y="3203027"/>
                  <a:pt x="1584188" y="3189948"/>
                  <a:pt x="1578012" y="3190530"/>
                </a:cubicBezTo>
                <a:lnTo>
                  <a:pt x="1576739" y="3197758"/>
                </a:lnTo>
                <a:lnTo>
                  <a:pt x="1575955" y="3194015"/>
                </a:lnTo>
                <a:cubicBezTo>
                  <a:pt x="1585220" y="3181228"/>
                  <a:pt x="1585220" y="3159139"/>
                  <a:pt x="1584190" y="3156813"/>
                </a:cubicBezTo>
                <a:cubicBezTo>
                  <a:pt x="1584190" y="3154490"/>
                  <a:pt x="1589338" y="3149840"/>
                  <a:pt x="1589338" y="3147515"/>
                </a:cubicBezTo>
                <a:lnTo>
                  <a:pt x="1588749" y="3146317"/>
                </a:lnTo>
                <a:lnTo>
                  <a:pt x="1591105" y="3144337"/>
                </a:lnTo>
                <a:cubicBezTo>
                  <a:pt x="1596414" y="3131532"/>
                  <a:pt x="1594485" y="3104502"/>
                  <a:pt x="1591395" y="3101015"/>
                </a:cubicBezTo>
                <a:cubicBezTo>
                  <a:pt x="1584188" y="3099853"/>
                  <a:pt x="1586248" y="3105665"/>
                  <a:pt x="1585219" y="3113802"/>
                </a:cubicBezTo>
                <a:lnTo>
                  <a:pt x="1584982" y="3115586"/>
                </a:lnTo>
                <a:lnTo>
                  <a:pt x="1582131" y="3110313"/>
                </a:lnTo>
                <a:cubicBezTo>
                  <a:pt x="1573895" y="3123102"/>
                  <a:pt x="1580073" y="3138213"/>
                  <a:pt x="1565659" y="3141701"/>
                </a:cubicBezTo>
                <a:cubicBezTo>
                  <a:pt x="1571836" y="3156813"/>
                  <a:pt x="1563601" y="3175414"/>
                  <a:pt x="1566688" y="3191690"/>
                </a:cubicBezTo>
                <a:cubicBezTo>
                  <a:pt x="1551245" y="3217266"/>
                  <a:pt x="1554334" y="3237029"/>
                  <a:pt x="1560512" y="3255630"/>
                </a:cubicBezTo>
                <a:cubicBezTo>
                  <a:pt x="1549188" y="3266093"/>
                  <a:pt x="1561541" y="3276555"/>
                  <a:pt x="1558452" y="3291667"/>
                </a:cubicBezTo>
                <a:cubicBezTo>
                  <a:pt x="1560512" y="3283531"/>
                  <a:pt x="1549188" y="3306781"/>
                  <a:pt x="1549188" y="3310268"/>
                </a:cubicBezTo>
                <a:cubicBezTo>
                  <a:pt x="1549188" y="3313757"/>
                  <a:pt x="1552275" y="3321894"/>
                  <a:pt x="1552275" y="3325381"/>
                </a:cubicBezTo>
                <a:cubicBezTo>
                  <a:pt x="1552275" y="3334681"/>
                  <a:pt x="1551245" y="3343981"/>
                  <a:pt x="1550216" y="3348633"/>
                </a:cubicBezTo>
                <a:cubicBezTo>
                  <a:pt x="1546099" y="3362582"/>
                  <a:pt x="1550216" y="3361420"/>
                  <a:pt x="1548158" y="3371882"/>
                </a:cubicBezTo>
                <a:cubicBezTo>
                  <a:pt x="1547128" y="3380021"/>
                  <a:pt x="1544040" y="3386995"/>
                  <a:pt x="1543009" y="3392809"/>
                </a:cubicBezTo>
                <a:cubicBezTo>
                  <a:pt x="1541981" y="3399784"/>
                  <a:pt x="1544040" y="3405596"/>
                  <a:pt x="1537862" y="3413733"/>
                </a:cubicBezTo>
                <a:cubicBezTo>
                  <a:pt x="1545069" y="3420709"/>
                  <a:pt x="1543009" y="3434660"/>
                  <a:pt x="1539921" y="3440472"/>
                </a:cubicBezTo>
                <a:cubicBezTo>
                  <a:pt x="1538377" y="3442798"/>
                  <a:pt x="1538634" y="3443669"/>
                  <a:pt x="1539277" y="3444396"/>
                </a:cubicBezTo>
                <a:lnTo>
                  <a:pt x="1539953" y="3445626"/>
                </a:lnTo>
                <a:lnTo>
                  <a:pt x="1538891" y="3452099"/>
                </a:lnTo>
                <a:cubicBezTo>
                  <a:pt x="1534772" y="3467212"/>
                  <a:pt x="1529625" y="3481163"/>
                  <a:pt x="1527566" y="3486975"/>
                </a:cubicBezTo>
                <a:lnTo>
                  <a:pt x="1529377" y="3487998"/>
                </a:lnTo>
                <a:lnTo>
                  <a:pt x="1525508" y="3498598"/>
                </a:lnTo>
                <a:cubicBezTo>
                  <a:pt x="1525508" y="3496273"/>
                  <a:pt x="1526538" y="3506736"/>
                  <a:pt x="1526538" y="3505574"/>
                </a:cubicBezTo>
                <a:lnTo>
                  <a:pt x="1526250" y="3508196"/>
                </a:lnTo>
                <a:lnTo>
                  <a:pt x="1524477" y="3509063"/>
                </a:lnTo>
                <a:lnTo>
                  <a:pt x="1524477" y="3524325"/>
                </a:lnTo>
                <a:lnTo>
                  <a:pt x="1524351" y="3525482"/>
                </a:lnTo>
                <a:cubicBezTo>
                  <a:pt x="1522420" y="3532312"/>
                  <a:pt x="1519846" y="3538705"/>
                  <a:pt x="1518302" y="3542775"/>
                </a:cubicBezTo>
                <a:lnTo>
                  <a:pt x="1519111" y="3544731"/>
                </a:lnTo>
                <a:lnTo>
                  <a:pt x="1514182" y="3545102"/>
                </a:lnTo>
                <a:cubicBezTo>
                  <a:pt x="1514182" y="3552077"/>
                  <a:pt x="1515212" y="3557889"/>
                  <a:pt x="1517271" y="3561377"/>
                </a:cubicBezTo>
                <a:lnTo>
                  <a:pt x="1524452" y="3557660"/>
                </a:lnTo>
                <a:lnTo>
                  <a:pt x="1525508" y="3560213"/>
                </a:lnTo>
                <a:cubicBezTo>
                  <a:pt x="1524478" y="3567769"/>
                  <a:pt x="1521647" y="3574455"/>
                  <a:pt x="1518688" y="3580848"/>
                </a:cubicBezTo>
                <a:lnTo>
                  <a:pt x="1517642" y="3583449"/>
                </a:lnTo>
                <a:lnTo>
                  <a:pt x="1513089" y="3583338"/>
                </a:lnTo>
                <a:cubicBezTo>
                  <a:pt x="1510580" y="3586663"/>
                  <a:pt x="1514440" y="3597997"/>
                  <a:pt x="1509035" y="3596253"/>
                </a:cubicBezTo>
                <a:cubicBezTo>
                  <a:pt x="1511094" y="3607879"/>
                  <a:pt x="1508006" y="3617761"/>
                  <a:pt x="1505689" y="3626624"/>
                </a:cubicBezTo>
                <a:lnTo>
                  <a:pt x="1506341" y="3638937"/>
                </a:lnTo>
                <a:lnTo>
                  <a:pt x="1505948" y="3640427"/>
                </a:lnTo>
                <a:cubicBezTo>
                  <a:pt x="1505948" y="3659028"/>
                  <a:pt x="1499770" y="3682278"/>
                  <a:pt x="1497712" y="3697391"/>
                </a:cubicBezTo>
                <a:cubicBezTo>
                  <a:pt x="1497712" y="3697391"/>
                  <a:pt x="1501830" y="3698553"/>
                  <a:pt x="1501830" y="3699716"/>
                </a:cubicBezTo>
                <a:cubicBezTo>
                  <a:pt x="1501830" y="3702041"/>
                  <a:pt x="1495652" y="3711342"/>
                  <a:pt x="1494622" y="3713666"/>
                </a:cubicBezTo>
                <a:cubicBezTo>
                  <a:pt x="1491534" y="3718316"/>
                  <a:pt x="1495652" y="3718316"/>
                  <a:pt x="1495652" y="3720641"/>
                </a:cubicBezTo>
                <a:cubicBezTo>
                  <a:pt x="1494622" y="3729941"/>
                  <a:pt x="1492564" y="3733429"/>
                  <a:pt x="1490506" y="3741567"/>
                </a:cubicBezTo>
                <a:cubicBezTo>
                  <a:pt x="1487416" y="3757843"/>
                  <a:pt x="1487416" y="3804344"/>
                  <a:pt x="1474033" y="3804344"/>
                </a:cubicBezTo>
                <a:cubicBezTo>
                  <a:pt x="1479180" y="3798531"/>
                  <a:pt x="1480209" y="3790103"/>
                  <a:pt x="1480081" y="3782401"/>
                </a:cubicBezTo>
                <a:lnTo>
                  <a:pt x="1479694" y="3774849"/>
                </a:lnTo>
                <a:lnTo>
                  <a:pt x="1481578" y="3760482"/>
                </a:lnTo>
                <a:lnTo>
                  <a:pt x="1484327" y="3755517"/>
                </a:lnTo>
                <a:cubicBezTo>
                  <a:pt x="1485358" y="3748542"/>
                  <a:pt x="1482269" y="3743893"/>
                  <a:pt x="1483299" y="3736917"/>
                </a:cubicBezTo>
                <a:cubicBezTo>
                  <a:pt x="1484327" y="3733429"/>
                  <a:pt x="1487416" y="3731104"/>
                  <a:pt x="1488446" y="3727617"/>
                </a:cubicBezTo>
                <a:cubicBezTo>
                  <a:pt x="1491534" y="3714829"/>
                  <a:pt x="1490506" y="3682278"/>
                  <a:pt x="1493593" y="3675303"/>
                </a:cubicBezTo>
                <a:cubicBezTo>
                  <a:pt x="1496682" y="3670652"/>
                  <a:pt x="1492564" y="3670652"/>
                  <a:pt x="1492564" y="3668328"/>
                </a:cubicBezTo>
                <a:cubicBezTo>
                  <a:pt x="1494622" y="3647402"/>
                  <a:pt x="1500800" y="3631127"/>
                  <a:pt x="1497712" y="3616014"/>
                </a:cubicBezTo>
                <a:cubicBezTo>
                  <a:pt x="1496682" y="3611363"/>
                  <a:pt x="1506976" y="3602064"/>
                  <a:pt x="1506976" y="3597413"/>
                </a:cubicBezTo>
                <a:cubicBezTo>
                  <a:pt x="1506976" y="3593926"/>
                  <a:pt x="1503889" y="3586950"/>
                  <a:pt x="1503889" y="3582301"/>
                </a:cubicBezTo>
                <a:cubicBezTo>
                  <a:pt x="1503889" y="3574162"/>
                  <a:pt x="1509036" y="3569512"/>
                  <a:pt x="1509036" y="3561374"/>
                </a:cubicBezTo>
                <a:lnTo>
                  <a:pt x="1507193" y="3552359"/>
                </a:lnTo>
                <a:lnTo>
                  <a:pt x="1508264" y="3547570"/>
                </a:lnTo>
                <a:cubicBezTo>
                  <a:pt x="1508393" y="3544882"/>
                  <a:pt x="1508200" y="3542666"/>
                  <a:pt x="1507523" y="3541777"/>
                </a:cubicBezTo>
                <a:lnTo>
                  <a:pt x="1505467" y="3542999"/>
                </a:lnTo>
                <a:lnTo>
                  <a:pt x="1504919" y="3539286"/>
                </a:lnTo>
                <a:cubicBezTo>
                  <a:pt x="1505948" y="3535799"/>
                  <a:pt x="1510065" y="3531149"/>
                  <a:pt x="1505948" y="3527662"/>
                </a:cubicBezTo>
                <a:cubicBezTo>
                  <a:pt x="1492564" y="3540450"/>
                  <a:pt x="1504919" y="3563700"/>
                  <a:pt x="1493593" y="3562537"/>
                </a:cubicBezTo>
                <a:cubicBezTo>
                  <a:pt x="1490506" y="3555562"/>
                  <a:pt x="1494622" y="3546261"/>
                  <a:pt x="1495652" y="3539286"/>
                </a:cubicBezTo>
                <a:cubicBezTo>
                  <a:pt x="1496682" y="3528824"/>
                  <a:pt x="1498741" y="3520686"/>
                  <a:pt x="1499770" y="3511385"/>
                </a:cubicBezTo>
                <a:cubicBezTo>
                  <a:pt x="1500800" y="3503248"/>
                  <a:pt x="1498741" y="3502085"/>
                  <a:pt x="1496682" y="3496273"/>
                </a:cubicBezTo>
                <a:cubicBezTo>
                  <a:pt x="1496682" y="3493948"/>
                  <a:pt x="1501830" y="3489298"/>
                  <a:pt x="1501830" y="3486973"/>
                </a:cubicBezTo>
                <a:cubicBezTo>
                  <a:pt x="1502859" y="3478835"/>
                  <a:pt x="1504919" y="3469535"/>
                  <a:pt x="1505948" y="3459072"/>
                </a:cubicBezTo>
                <a:cubicBezTo>
                  <a:pt x="1515213" y="3468373"/>
                  <a:pt x="1500800" y="3491623"/>
                  <a:pt x="1518302" y="3486973"/>
                </a:cubicBezTo>
                <a:cubicBezTo>
                  <a:pt x="1519332" y="3481161"/>
                  <a:pt x="1524478" y="3477673"/>
                  <a:pt x="1525508" y="3473022"/>
                </a:cubicBezTo>
                <a:cubicBezTo>
                  <a:pt x="1525508" y="3470697"/>
                  <a:pt x="1521391" y="3460234"/>
                  <a:pt x="1522419" y="3457910"/>
                </a:cubicBezTo>
                <a:cubicBezTo>
                  <a:pt x="1524478" y="3443959"/>
                  <a:pt x="1533745" y="3433497"/>
                  <a:pt x="1534775" y="3423034"/>
                </a:cubicBezTo>
                <a:cubicBezTo>
                  <a:pt x="1534775" y="3420709"/>
                  <a:pt x="1531685" y="3411409"/>
                  <a:pt x="1531685" y="3407922"/>
                </a:cubicBezTo>
                <a:cubicBezTo>
                  <a:pt x="1531685" y="3405596"/>
                  <a:pt x="1531685" y="3397458"/>
                  <a:pt x="1532715" y="3396296"/>
                </a:cubicBezTo>
                <a:cubicBezTo>
                  <a:pt x="1535802" y="3391646"/>
                  <a:pt x="1531685" y="3391646"/>
                  <a:pt x="1531685" y="3389321"/>
                </a:cubicBezTo>
                <a:cubicBezTo>
                  <a:pt x="1533745" y="3371882"/>
                  <a:pt x="1541981" y="3354444"/>
                  <a:pt x="1538892" y="3345144"/>
                </a:cubicBezTo>
                <a:cubicBezTo>
                  <a:pt x="1538892" y="3342819"/>
                  <a:pt x="1544040" y="3338169"/>
                  <a:pt x="1544040" y="3335843"/>
                </a:cubicBezTo>
                <a:cubicBezTo>
                  <a:pt x="1544040" y="3330032"/>
                  <a:pt x="1540951" y="3326543"/>
                  <a:pt x="1540951" y="3320731"/>
                </a:cubicBezTo>
                <a:cubicBezTo>
                  <a:pt x="1541981" y="3311431"/>
                  <a:pt x="1541981" y="3302131"/>
                  <a:pt x="1543009" y="3297480"/>
                </a:cubicBezTo>
                <a:cubicBezTo>
                  <a:pt x="1547128" y="3283531"/>
                  <a:pt x="1545069" y="3284692"/>
                  <a:pt x="1545069" y="3274230"/>
                </a:cubicBezTo>
                <a:cubicBezTo>
                  <a:pt x="1545069" y="3261442"/>
                  <a:pt x="1551245" y="3252142"/>
                  <a:pt x="1551245" y="3241680"/>
                </a:cubicBezTo>
                <a:cubicBezTo>
                  <a:pt x="1551245" y="3238191"/>
                  <a:pt x="1548158" y="3230054"/>
                  <a:pt x="1548158" y="3226566"/>
                </a:cubicBezTo>
                <a:cubicBezTo>
                  <a:pt x="1548158" y="3219590"/>
                  <a:pt x="1551245" y="3216102"/>
                  <a:pt x="1551245" y="3210290"/>
                </a:cubicBezTo>
                <a:cubicBezTo>
                  <a:pt x="1551245" y="3205641"/>
                  <a:pt x="1548158" y="3199827"/>
                  <a:pt x="1548158" y="3195178"/>
                </a:cubicBezTo>
                <a:cubicBezTo>
                  <a:pt x="1548158" y="3182391"/>
                  <a:pt x="1554334" y="3174252"/>
                  <a:pt x="1554334" y="3162627"/>
                </a:cubicBezTo>
                <a:cubicBezTo>
                  <a:pt x="1554334" y="3159139"/>
                  <a:pt x="1551245" y="3151002"/>
                  <a:pt x="1551245" y="3147515"/>
                </a:cubicBezTo>
                <a:cubicBezTo>
                  <a:pt x="1551245" y="3142864"/>
                  <a:pt x="1548158" y="3135889"/>
                  <a:pt x="1548158" y="3132402"/>
                </a:cubicBezTo>
                <a:cubicBezTo>
                  <a:pt x="1548158" y="3119614"/>
                  <a:pt x="1563601" y="3107988"/>
                  <a:pt x="1548158" y="3101013"/>
                </a:cubicBezTo>
                <a:cubicBezTo>
                  <a:pt x="1538892" y="3099850"/>
                  <a:pt x="1540951" y="3111476"/>
                  <a:pt x="1538892" y="3119614"/>
                </a:cubicBezTo>
                <a:cubicBezTo>
                  <a:pt x="1536832" y="3123102"/>
                  <a:pt x="1539921" y="3124263"/>
                  <a:pt x="1539921" y="3126588"/>
                </a:cubicBezTo>
                <a:cubicBezTo>
                  <a:pt x="1538892" y="3132402"/>
                  <a:pt x="1537862" y="3135889"/>
                  <a:pt x="1536832" y="3142864"/>
                </a:cubicBezTo>
                <a:cubicBezTo>
                  <a:pt x="1536832" y="3149840"/>
                  <a:pt x="1537862" y="3154490"/>
                  <a:pt x="1537862" y="3161464"/>
                </a:cubicBezTo>
                <a:cubicBezTo>
                  <a:pt x="1536832" y="3184714"/>
                  <a:pt x="1533745" y="3211453"/>
                  <a:pt x="1538892" y="3231216"/>
                </a:cubicBezTo>
                <a:cubicBezTo>
                  <a:pt x="1535802" y="3238191"/>
                  <a:pt x="1532715" y="3244004"/>
                  <a:pt x="1529626" y="3249816"/>
                </a:cubicBezTo>
                <a:cubicBezTo>
                  <a:pt x="1535802" y="3262604"/>
                  <a:pt x="1529626" y="3278880"/>
                  <a:pt x="1528597" y="3292830"/>
                </a:cubicBezTo>
                <a:cubicBezTo>
                  <a:pt x="1528597" y="3292830"/>
                  <a:pt x="1532715" y="3293993"/>
                  <a:pt x="1532715" y="3295156"/>
                </a:cubicBezTo>
                <a:cubicBezTo>
                  <a:pt x="1532715" y="3297480"/>
                  <a:pt x="1527568" y="3302131"/>
                  <a:pt x="1527568" y="3304456"/>
                </a:cubicBezTo>
                <a:cubicBezTo>
                  <a:pt x="1525508" y="3318406"/>
                  <a:pt x="1530656" y="3331194"/>
                  <a:pt x="1525508" y="3340494"/>
                </a:cubicBezTo>
                <a:cubicBezTo>
                  <a:pt x="1519332" y="3330032"/>
                  <a:pt x="1518302" y="3314919"/>
                  <a:pt x="1521391" y="3306781"/>
                </a:cubicBezTo>
                <a:cubicBezTo>
                  <a:pt x="1524478" y="3302131"/>
                  <a:pt x="1520360" y="3303293"/>
                  <a:pt x="1520360" y="3299806"/>
                </a:cubicBezTo>
                <a:cubicBezTo>
                  <a:pt x="1520360" y="3291667"/>
                  <a:pt x="1525508" y="3287018"/>
                  <a:pt x="1525508" y="3278880"/>
                </a:cubicBezTo>
                <a:cubicBezTo>
                  <a:pt x="1525508" y="3270742"/>
                  <a:pt x="1521391" y="3264930"/>
                  <a:pt x="1521391" y="3256792"/>
                </a:cubicBezTo>
                <a:lnTo>
                  <a:pt x="1521735" y="3256171"/>
                </a:lnTo>
                <a:lnTo>
                  <a:pt x="1525506" y="3250981"/>
                </a:lnTo>
                <a:lnTo>
                  <a:pt x="1525918" y="3248612"/>
                </a:lnTo>
                <a:lnTo>
                  <a:pt x="1526538" y="3247492"/>
                </a:lnTo>
                <a:lnTo>
                  <a:pt x="1526349" y="3246134"/>
                </a:lnTo>
                <a:lnTo>
                  <a:pt x="1528000" y="3236649"/>
                </a:lnTo>
                <a:cubicBezTo>
                  <a:pt x="1528868" y="3229639"/>
                  <a:pt x="1528386" y="3226333"/>
                  <a:pt x="1527967" y="3218449"/>
                </a:cubicBezTo>
                <a:lnTo>
                  <a:pt x="1527636" y="3204990"/>
                </a:lnTo>
                <a:lnTo>
                  <a:pt x="1532715" y="3184714"/>
                </a:lnTo>
                <a:lnTo>
                  <a:pt x="1529356" y="3175660"/>
                </a:lnTo>
                <a:lnTo>
                  <a:pt x="1530525" y="3172947"/>
                </a:lnTo>
                <a:cubicBezTo>
                  <a:pt x="1532457" y="3166698"/>
                  <a:pt x="1533744" y="3160304"/>
                  <a:pt x="1533744" y="3155655"/>
                </a:cubicBezTo>
                <a:cubicBezTo>
                  <a:pt x="1533744" y="3153329"/>
                  <a:pt x="1536831" y="3149841"/>
                  <a:pt x="1536831" y="3151004"/>
                </a:cubicBezTo>
                <a:cubicBezTo>
                  <a:pt x="1536831" y="3144029"/>
                  <a:pt x="1532714" y="3137054"/>
                  <a:pt x="1532714" y="3130078"/>
                </a:cubicBezTo>
                <a:cubicBezTo>
                  <a:pt x="1532714" y="3124266"/>
                  <a:pt x="1537861" y="3114966"/>
                  <a:pt x="1538891" y="3109153"/>
                </a:cubicBezTo>
                <a:cubicBezTo>
                  <a:pt x="1539920" y="3102177"/>
                  <a:pt x="1537861" y="3095202"/>
                  <a:pt x="1537861" y="3088227"/>
                </a:cubicBezTo>
                <a:cubicBezTo>
                  <a:pt x="1537861" y="3088227"/>
                  <a:pt x="1539920" y="3087063"/>
                  <a:pt x="1540949" y="3083576"/>
                </a:cubicBezTo>
                <a:cubicBezTo>
                  <a:pt x="1541979" y="3077765"/>
                  <a:pt x="1543008" y="3074276"/>
                  <a:pt x="1544038" y="3070788"/>
                </a:cubicBezTo>
                <a:cubicBezTo>
                  <a:pt x="1546098" y="3056839"/>
                  <a:pt x="1537861" y="3048701"/>
                  <a:pt x="1544038" y="3041726"/>
                </a:cubicBezTo>
                <a:cubicBezTo>
                  <a:pt x="1552274" y="3038238"/>
                  <a:pt x="1552274" y="3047538"/>
                  <a:pt x="1559481" y="3045215"/>
                </a:cubicBezTo>
                <a:cubicBezTo>
                  <a:pt x="1563599" y="3028938"/>
                  <a:pt x="1550214" y="3037076"/>
                  <a:pt x="1552274" y="3024288"/>
                </a:cubicBezTo>
                <a:cubicBezTo>
                  <a:pt x="1550214" y="3019638"/>
                  <a:pt x="1557422" y="3021963"/>
                  <a:pt x="1558451" y="3019638"/>
                </a:cubicBezTo>
                <a:cubicBezTo>
                  <a:pt x="1561539" y="3012662"/>
                  <a:pt x="1554333" y="3008012"/>
                  <a:pt x="1554333" y="2998713"/>
                </a:cubicBezTo>
                <a:cubicBezTo>
                  <a:pt x="1561539" y="2999875"/>
                  <a:pt x="1566687" y="2997549"/>
                  <a:pt x="1569776" y="2994062"/>
                </a:cubicBezTo>
                <a:cubicBezTo>
                  <a:pt x="1574924" y="2976625"/>
                  <a:pt x="1569776" y="2956861"/>
                  <a:pt x="1571835" y="2939422"/>
                </a:cubicBezTo>
                <a:cubicBezTo>
                  <a:pt x="1572864" y="2933611"/>
                  <a:pt x="1576982" y="2925473"/>
                  <a:pt x="1578012" y="2918498"/>
                </a:cubicBezTo>
                <a:cubicBezTo>
                  <a:pt x="1579042" y="2911523"/>
                  <a:pt x="1576982" y="2904547"/>
                  <a:pt x="1576982" y="2897572"/>
                </a:cubicBezTo>
                <a:cubicBezTo>
                  <a:pt x="1576982" y="2897572"/>
                  <a:pt x="1579042" y="2895247"/>
                  <a:pt x="1580071" y="2892922"/>
                </a:cubicBezTo>
                <a:cubicBezTo>
                  <a:pt x="1581100" y="2885948"/>
                  <a:pt x="1579042" y="2883622"/>
                  <a:pt x="1583160" y="2880134"/>
                </a:cubicBezTo>
                <a:cubicBezTo>
                  <a:pt x="1584188" y="2878971"/>
                  <a:pt x="1583160" y="2869672"/>
                  <a:pt x="1583160" y="2867347"/>
                </a:cubicBezTo>
                <a:cubicBezTo>
                  <a:pt x="1583160" y="2863858"/>
                  <a:pt x="1586248" y="2862696"/>
                  <a:pt x="1586248" y="2862696"/>
                </a:cubicBezTo>
                <a:cubicBezTo>
                  <a:pt x="1586248" y="2855721"/>
                  <a:pt x="1582130" y="2845258"/>
                  <a:pt x="1582130" y="2837120"/>
                </a:cubicBezTo>
                <a:cubicBezTo>
                  <a:pt x="1582130" y="2832471"/>
                  <a:pt x="1584188" y="2827820"/>
                  <a:pt x="1585219" y="2820845"/>
                </a:cubicBezTo>
                <a:cubicBezTo>
                  <a:pt x="1586248" y="2808058"/>
                  <a:pt x="1583160" y="2795269"/>
                  <a:pt x="1584188" y="2787131"/>
                </a:cubicBezTo>
                <a:cubicBezTo>
                  <a:pt x="1584188" y="2782482"/>
                  <a:pt x="1586248" y="2784806"/>
                  <a:pt x="1587277" y="2782482"/>
                </a:cubicBezTo>
                <a:cubicBezTo>
                  <a:pt x="1589337" y="2776670"/>
                  <a:pt x="1588307" y="2758069"/>
                  <a:pt x="1592425" y="2756906"/>
                </a:cubicBezTo>
                <a:cubicBezTo>
                  <a:pt x="1604780" y="2752255"/>
                  <a:pt x="1605809" y="2773182"/>
                  <a:pt x="1614044" y="2760394"/>
                </a:cubicBezTo>
                <a:cubicBezTo>
                  <a:pt x="1614044" y="2745281"/>
                  <a:pt x="1607868" y="2740631"/>
                  <a:pt x="1606838" y="2726680"/>
                </a:cubicBezTo>
                <a:cubicBezTo>
                  <a:pt x="1610957" y="2726680"/>
                  <a:pt x="1608898" y="2722030"/>
                  <a:pt x="1609927" y="2718544"/>
                </a:cubicBezTo>
                <a:cubicBezTo>
                  <a:pt x="1616104" y="2695292"/>
                  <a:pt x="1610957" y="2644141"/>
                  <a:pt x="1614044" y="2622053"/>
                </a:cubicBezTo>
                <a:cubicBezTo>
                  <a:pt x="1617133" y="2596477"/>
                  <a:pt x="1615074" y="2554626"/>
                  <a:pt x="1618163" y="2533700"/>
                </a:cubicBezTo>
                <a:cubicBezTo>
                  <a:pt x="1620222" y="2519750"/>
                  <a:pt x="1618163" y="2505800"/>
                  <a:pt x="1620222" y="2491850"/>
                </a:cubicBezTo>
                <a:cubicBezTo>
                  <a:pt x="1621252" y="2486036"/>
                  <a:pt x="1623311" y="2486036"/>
                  <a:pt x="1623311" y="2479061"/>
                </a:cubicBezTo>
                <a:cubicBezTo>
                  <a:pt x="1623311" y="2465112"/>
                  <a:pt x="1621252" y="2453486"/>
                  <a:pt x="1622281" y="2441860"/>
                </a:cubicBezTo>
                <a:cubicBezTo>
                  <a:pt x="1623311" y="2430236"/>
                  <a:pt x="1627428" y="2419772"/>
                  <a:pt x="1627428" y="2408146"/>
                </a:cubicBezTo>
                <a:cubicBezTo>
                  <a:pt x="1629487" y="2358158"/>
                  <a:pt x="1623311" y="2312819"/>
                  <a:pt x="1620222" y="2266317"/>
                </a:cubicBezTo>
                <a:cubicBezTo>
                  <a:pt x="1624340" y="2258180"/>
                  <a:pt x="1625370" y="2246556"/>
                  <a:pt x="1628457" y="2237255"/>
                </a:cubicBezTo>
                <a:cubicBezTo>
                  <a:pt x="1619193" y="2226792"/>
                  <a:pt x="1622281" y="2211679"/>
                  <a:pt x="1630517" y="2203542"/>
                </a:cubicBezTo>
                <a:cubicBezTo>
                  <a:pt x="1626400" y="2190753"/>
                  <a:pt x="1617133" y="2167503"/>
                  <a:pt x="1629487" y="2157039"/>
                </a:cubicBezTo>
                <a:cubicBezTo>
                  <a:pt x="1636694" y="2167503"/>
                  <a:pt x="1640813" y="2180291"/>
                  <a:pt x="1642870" y="2198891"/>
                </a:cubicBezTo>
                <a:cubicBezTo>
                  <a:pt x="1641843" y="2209354"/>
                  <a:pt x="1633605" y="2211679"/>
                  <a:pt x="1634636" y="2224467"/>
                </a:cubicBezTo>
                <a:cubicBezTo>
                  <a:pt x="1639783" y="2237255"/>
                  <a:pt x="1642870" y="2253530"/>
                  <a:pt x="1644930" y="2269805"/>
                </a:cubicBezTo>
                <a:cubicBezTo>
                  <a:pt x="1646989" y="2286082"/>
                  <a:pt x="1643900" y="2302357"/>
                  <a:pt x="1645960" y="2319794"/>
                </a:cubicBezTo>
                <a:cubicBezTo>
                  <a:pt x="1646989" y="2326770"/>
                  <a:pt x="1649048" y="2329095"/>
                  <a:pt x="1649048" y="2336070"/>
                </a:cubicBezTo>
                <a:cubicBezTo>
                  <a:pt x="1649048" y="2340721"/>
                  <a:pt x="1645960" y="2341882"/>
                  <a:pt x="1645960" y="2348859"/>
                </a:cubicBezTo>
                <a:cubicBezTo>
                  <a:pt x="1645960" y="2356996"/>
                  <a:pt x="1650078" y="2358158"/>
                  <a:pt x="1649048" y="2365134"/>
                </a:cubicBezTo>
                <a:cubicBezTo>
                  <a:pt x="1649048" y="2372109"/>
                  <a:pt x="1642870" y="2379084"/>
                  <a:pt x="1645960" y="2386058"/>
                </a:cubicBezTo>
                <a:cubicBezTo>
                  <a:pt x="1653167" y="2387222"/>
                  <a:pt x="1658313" y="2375596"/>
                  <a:pt x="1658313" y="2373272"/>
                </a:cubicBezTo>
                <a:cubicBezTo>
                  <a:pt x="1658313" y="2368621"/>
                  <a:pt x="1660373" y="2370945"/>
                  <a:pt x="1661402" y="2368621"/>
                </a:cubicBezTo>
                <a:cubicBezTo>
                  <a:pt x="1662432" y="2366295"/>
                  <a:pt x="1666550" y="2362808"/>
                  <a:pt x="1667580" y="2360483"/>
                </a:cubicBezTo>
                <a:cubicBezTo>
                  <a:pt x="1667580" y="2351183"/>
                  <a:pt x="1667580" y="2340721"/>
                  <a:pt x="1666550" y="2331420"/>
                </a:cubicBezTo>
                <a:cubicBezTo>
                  <a:pt x="1667580" y="2326770"/>
                  <a:pt x="1664491" y="2329095"/>
                  <a:pt x="1663461" y="2326770"/>
                </a:cubicBezTo>
                <a:cubicBezTo>
                  <a:pt x="1657286" y="2319794"/>
                  <a:pt x="1661402" y="2307007"/>
                  <a:pt x="1659343" y="2297707"/>
                </a:cubicBezTo>
                <a:cubicBezTo>
                  <a:pt x="1657286" y="2288406"/>
                  <a:pt x="1648019" y="2284918"/>
                  <a:pt x="1652137" y="2276781"/>
                </a:cubicBezTo>
                <a:cubicBezTo>
                  <a:pt x="1654196" y="2267481"/>
                  <a:pt x="1657286" y="2257017"/>
                  <a:pt x="1657286" y="2247718"/>
                </a:cubicBezTo>
                <a:cubicBezTo>
                  <a:pt x="1657286" y="2238417"/>
                  <a:pt x="1653167" y="2227955"/>
                  <a:pt x="1653167" y="2218654"/>
                </a:cubicBezTo>
                <a:cubicBezTo>
                  <a:pt x="1653167" y="2215167"/>
                  <a:pt x="1655226" y="2210517"/>
                  <a:pt x="1656254" y="2205867"/>
                </a:cubicBezTo>
                <a:cubicBezTo>
                  <a:pt x="1659343" y="2193079"/>
                  <a:pt x="1657286" y="2196567"/>
                  <a:pt x="1656254" y="2189592"/>
                </a:cubicBezTo>
                <a:cubicBezTo>
                  <a:pt x="1652137" y="2170991"/>
                  <a:pt x="1658313" y="2157039"/>
                  <a:pt x="1658313" y="2147741"/>
                </a:cubicBezTo>
                <a:cubicBezTo>
                  <a:pt x="1658313" y="2131466"/>
                  <a:pt x="1656254" y="2115189"/>
                  <a:pt x="1657286" y="2097750"/>
                </a:cubicBezTo>
                <a:cubicBezTo>
                  <a:pt x="1657286" y="2091939"/>
                  <a:pt x="1660373" y="2091939"/>
                  <a:pt x="1660373" y="2084963"/>
                </a:cubicBezTo>
                <a:cubicBezTo>
                  <a:pt x="1660373" y="2073338"/>
                  <a:pt x="1658313" y="2058225"/>
                  <a:pt x="1659343" y="2047761"/>
                </a:cubicBezTo>
                <a:cubicBezTo>
                  <a:pt x="1660373" y="2033812"/>
                  <a:pt x="1663461" y="2025674"/>
                  <a:pt x="1661402" y="2014049"/>
                </a:cubicBezTo>
                <a:cubicBezTo>
                  <a:pt x="1659343" y="2002424"/>
                  <a:pt x="1659343" y="2007073"/>
                  <a:pt x="1661402" y="1997774"/>
                </a:cubicBezTo>
                <a:cubicBezTo>
                  <a:pt x="1663461" y="1983823"/>
                  <a:pt x="1658313" y="1979174"/>
                  <a:pt x="1657286" y="1968710"/>
                </a:cubicBezTo>
                <a:cubicBezTo>
                  <a:pt x="1656254" y="1960573"/>
                  <a:pt x="1657286" y="1952435"/>
                  <a:pt x="1656254" y="1943134"/>
                </a:cubicBezTo>
                <a:cubicBezTo>
                  <a:pt x="1655226" y="1928022"/>
                  <a:pt x="1654196" y="1924534"/>
                  <a:pt x="1655226" y="1917559"/>
                </a:cubicBezTo>
                <a:cubicBezTo>
                  <a:pt x="1658313" y="1903609"/>
                  <a:pt x="1652137" y="1890821"/>
                  <a:pt x="1654196" y="1880357"/>
                </a:cubicBezTo>
                <a:cubicBezTo>
                  <a:pt x="1643900" y="1878034"/>
                  <a:pt x="1641843" y="1890821"/>
                  <a:pt x="1638754" y="1876870"/>
                </a:cubicBezTo>
                <a:cubicBezTo>
                  <a:pt x="1636694" y="1817581"/>
                  <a:pt x="1634636" y="1748992"/>
                  <a:pt x="1637724" y="1709466"/>
                </a:cubicBezTo>
                <a:cubicBezTo>
                  <a:pt x="1638754" y="1693191"/>
                  <a:pt x="1635664" y="1683891"/>
                  <a:pt x="1633605" y="1675753"/>
                </a:cubicBezTo>
                <a:cubicBezTo>
                  <a:pt x="1629487" y="1662965"/>
                  <a:pt x="1631547" y="1659478"/>
                  <a:pt x="1632576" y="1650177"/>
                </a:cubicBezTo>
                <a:cubicBezTo>
                  <a:pt x="1634636" y="1632740"/>
                  <a:pt x="1626400" y="1623439"/>
                  <a:pt x="1628457" y="1612976"/>
                </a:cubicBezTo>
                <a:cubicBezTo>
                  <a:pt x="1625370" y="1611813"/>
                  <a:pt x="1624340" y="1607163"/>
                  <a:pt x="1622281" y="1604838"/>
                </a:cubicBezTo>
                <a:cubicBezTo>
                  <a:pt x="1619193" y="1601351"/>
                  <a:pt x="1616104" y="1600188"/>
                  <a:pt x="1616104" y="1592050"/>
                </a:cubicBezTo>
                <a:cubicBezTo>
                  <a:pt x="1619193" y="1585076"/>
                  <a:pt x="1616104" y="1575775"/>
                  <a:pt x="1615074" y="1566476"/>
                </a:cubicBezTo>
                <a:cubicBezTo>
                  <a:pt x="1615074" y="1556012"/>
                  <a:pt x="1615074" y="1544386"/>
                  <a:pt x="1614044" y="1532762"/>
                </a:cubicBezTo>
                <a:cubicBezTo>
                  <a:pt x="1613015" y="1524624"/>
                  <a:pt x="1607868" y="1515323"/>
                  <a:pt x="1606838" y="1508349"/>
                </a:cubicBezTo>
                <a:cubicBezTo>
                  <a:pt x="1605809" y="1497885"/>
                  <a:pt x="1605809" y="1483935"/>
                  <a:pt x="1605809" y="1474635"/>
                </a:cubicBezTo>
                <a:cubicBezTo>
                  <a:pt x="1605809" y="1466497"/>
                  <a:pt x="1600661" y="1447896"/>
                  <a:pt x="1610957" y="1449060"/>
                </a:cubicBezTo>
                <a:cubicBezTo>
                  <a:pt x="1610957" y="1475796"/>
                  <a:pt x="1610957" y="1503698"/>
                  <a:pt x="1622281" y="1515323"/>
                </a:cubicBezTo>
                <a:cubicBezTo>
                  <a:pt x="1630517" y="1481610"/>
                  <a:pt x="1618163" y="1445572"/>
                  <a:pt x="1616104" y="1410696"/>
                </a:cubicBezTo>
                <a:cubicBezTo>
                  <a:pt x="1611986" y="1411858"/>
                  <a:pt x="1614044" y="1404883"/>
                  <a:pt x="1613015" y="1402558"/>
                </a:cubicBezTo>
                <a:cubicBezTo>
                  <a:pt x="1610957" y="1400232"/>
                  <a:pt x="1603750" y="1403720"/>
                  <a:pt x="1606838" y="1394420"/>
                </a:cubicBezTo>
                <a:cubicBezTo>
                  <a:pt x="1603750" y="1380470"/>
                  <a:pt x="1619193" y="1388608"/>
                  <a:pt x="1616104" y="1373495"/>
                </a:cubicBezTo>
                <a:cubicBezTo>
                  <a:pt x="1618163" y="1359543"/>
                  <a:pt x="1613015" y="1345594"/>
                  <a:pt x="1611986" y="1331644"/>
                </a:cubicBezTo>
                <a:cubicBezTo>
                  <a:pt x="1611986" y="1323506"/>
                  <a:pt x="1615074" y="1322343"/>
                  <a:pt x="1615074" y="1315368"/>
                </a:cubicBezTo>
                <a:cubicBezTo>
                  <a:pt x="1615074" y="1310718"/>
                  <a:pt x="1611986" y="1306068"/>
                  <a:pt x="1611986" y="1299093"/>
                </a:cubicBezTo>
                <a:cubicBezTo>
                  <a:pt x="1609927" y="1278167"/>
                  <a:pt x="1609927" y="1265379"/>
                  <a:pt x="1607868" y="1252591"/>
                </a:cubicBezTo>
                <a:cubicBezTo>
                  <a:pt x="1606838" y="1246779"/>
                  <a:pt x="1608898" y="1237478"/>
                  <a:pt x="1604780" y="1236316"/>
                </a:cubicBezTo>
                <a:cubicBezTo>
                  <a:pt x="1600661" y="1260729"/>
                  <a:pt x="1604780" y="1294443"/>
                  <a:pt x="1606838" y="1320018"/>
                </a:cubicBezTo>
                <a:cubicBezTo>
                  <a:pt x="1607868" y="1335131"/>
                  <a:pt x="1608898" y="1337456"/>
                  <a:pt x="1607868" y="1345594"/>
                </a:cubicBezTo>
                <a:cubicBezTo>
                  <a:pt x="1606838" y="1353731"/>
                  <a:pt x="1611986" y="1367682"/>
                  <a:pt x="1604780" y="1366520"/>
                </a:cubicBezTo>
                <a:cubicBezTo>
                  <a:pt x="1604780" y="1353731"/>
                  <a:pt x="1604780" y="1340945"/>
                  <a:pt x="1594485" y="1342106"/>
                </a:cubicBezTo>
                <a:cubicBezTo>
                  <a:pt x="1592425" y="1352569"/>
                  <a:pt x="1599631" y="1372332"/>
                  <a:pt x="1592425" y="1375819"/>
                </a:cubicBezTo>
                <a:cubicBezTo>
                  <a:pt x="1590367" y="1360707"/>
                  <a:pt x="1585219" y="1344431"/>
                  <a:pt x="1582130" y="1338619"/>
                </a:cubicBezTo>
                <a:cubicBezTo>
                  <a:pt x="1576982" y="1328156"/>
                  <a:pt x="1582130" y="1331644"/>
                  <a:pt x="1585219" y="1325831"/>
                </a:cubicBezTo>
                <a:cubicBezTo>
                  <a:pt x="1586248" y="1323506"/>
                  <a:pt x="1584188" y="1316529"/>
                  <a:pt x="1588307" y="1317693"/>
                </a:cubicBezTo>
                <a:cubicBezTo>
                  <a:pt x="1594485" y="1318855"/>
                  <a:pt x="1589337" y="1336294"/>
                  <a:pt x="1598602" y="1333968"/>
                </a:cubicBezTo>
                <a:cubicBezTo>
                  <a:pt x="1604780" y="1302580"/>
                  <a:pt x="1587277" y="1236316"/>
                  <a:pt x="1592425" y="1195627"/>
                </a:cubicBezTo>
                <a:cubicBezTo>
                  <a:pt x="1600661" y="1192140"/>
                  <a:pt x="1598602" y="1203766"/>
                  <a:pt x="1604780" y="1203766"/>
                </a:cubicBezTo>
                <a:cubicBezTo>
                  <a:pt x="1604780" y="1193302"/>
                  <a:pt x="1602720" y="1186327"/>
                  <a:pt x="1597572" y="1182839"/>
                </a:cubicBezTo>
                <a:cubicBezTo>
                  <a:pt x="1599631" y="1180515"/>
                  <a:pt x="1604780" y="1163077"/>
                  <a:pt x="1596543" y="1161914"/>
                </a:cubicBezTo>
                <a:cubicBezTo>
                  <a:pt x="1593455" y="1168890"/>
                  <a:pt x="1590367" y="1178190"/>
                  <a:pt x="1584188" y="1170052"/>
                </a:cubicBezTo>
                <a:cubicBezTo>
                  <a:pt x="1580071" y="1152613"/>
                  <a:pt x="1583160" y="1125875"/>
                  <a:pt x="1573894" y="1115413"/>
                </a:cubicBezTo>
                <a:cubicBezTo>
                  <a:pt x="1566687" y="1136338"/>
                  <a:pt x="1578012" y="1153777"/>
                  <a:pt x="1571835" y="1173539"/>
                </a:cubicBezTo>
                <a:cubicBezTo>
                  <a:pt x="1578012" y="1172377"/>
                  <a:pt x="1575954" y="1175864"/>
                  <a:pt x="1578012" y="1181677"/>
                </a:cubicBezTo>
                <a:cubicBezTo>
                  <a:pt x="1583160" y="1195627"/>
                  <a:pt x="1586248" y="1249103"/>
                  <a:pt x="1576982" y="1252591"/>
                </a:cubicBezTo>
                <a:cubicBezTo>
                  <a:pt x="1580071" y="1238642"/>
                  <a:pt x="1571835" y="1228178"/>
                  <a:pt x="1569776" y="1215391"/>
                </a:cubicBezTo>
                <a:cubicBezTo>
                  <a:pt x="1568746" y="1207253"/>
                  <a:pt x="1569776" y="1199114"/>
                  <a:pt x="1568746" y="1189815"/>
                </a:cubicBezTo>
                <a:cubicBezTo>
                  <a:pt x="1567717" y="1184001"/>
                  <a:pt x="1565657" y="1184001"/>
                  <a:pt x="1565657" y="1177027"/>
                </a:cubicBezTo>
                <a:cubicBezTo>
                  <a:pt x="1563599" y="1164239"/>
                  <a:pt x="1562570" y="1160752"/>
                  <a:pt x="1561539" y="1156102"/>
                </a:cubicBezTo>
                <a:cubicBezTo>
                  <a:pt x="1557422" y="1135176"/>
                  <a:pt x="1556392" y="1109600"/>
                  <a:pt x="1553304" y="1093324"/>
                </a:cubicBezTo>
                <a:cubicBezTo>
                  <a:pt x="1551244" y="1079375"/>
                  <a:pt x="1551244" y="1065424"/>
                  <a:pt x="1549187" y="1051473"/>
                </a:cubicBezTo>
                <a:cubicBezTo>
                  <a:pt x="1548156" y="1045661"/>
                  <a:pt x="1546098" y="1045661"/>
                  <a:pt x="1546098" y="1038686"/>
                </a:cubicBezTo>
                <a:cubicBezTo>
                  <a:pt x="1545068" y="1025898"/>
                  <a:pt x="1547127" y="1016597"/>
                  <a:pt x="1545068" y="1004973"/>
                </a:cubicBezTo>
                <a:cubicBezTo>
                  <a:pt x="1544038" y="996835"/>
                  <a:pt x="1539920" y="988697"/>
                  <a:pt x="1537861" y="980560"/>
                </a:cubicBezTo>
                <a:cubicBezTo>
                  <a:pt x="1533744" y="956146"/>
                  <a:pt x="1535801" y="934058"/>
                  <a:pt x="1532714" y="909645"/>
                </a:cubicBezTo>
                <a:cubicBezTo>
                  <a:pt x="1531684" y="900345"/>
                  <a:pt x="1527566" y="889882"/>
                  <a:pt x="1525506" y="880581"/>
                </a:cubicBezTo>
                <a:cubicBezTo>
                  <a:pt x="1524477" y="871281"/>
                  <a:pt x="1525506" y="860819"/>
                  <a:pt x="1524477" y="851519"/>
                </a:cubicBezTo>
                <a:cubicBezTo>
                  <a:pt x="1524477" y="846868"/>
                  <a:pt x="1521388" y="846868"/>
                  <a:pt x="1521388" y="843381"/>
                </a:cubicBezTo>
                <a:cubicBezTo>
                  <a:pt x="1520359" y="837568"/>
                  <a:pt x="1521388" y="831755"/>
                  <a:pt x="1521388" y="827106"/>
                </a:cubicBezTo>
                <a:cubicBezTo>
                  <a:pt x="1517271" y="799205"/>
                  <a:pt x="1511094" y="775954"/>
                  <a:pt x="1506975" y="751541"/>
                </a:cubicBezTo>
                <a:cubicBezTo>
                  <a:pt x="1505945" y="744567"/>
                  <a:pt x="1504916" y="734103"/>
                  <a:pt x="1502858" y="725966"/>
                </a:cubicBezTo>
                <a:cubicBezTo>
                  <a:pt x="1497711" y="698065"/>
                  <a:pt x="1491532" y="674814"/>
                  <a:pt x="1488445" y="650401"/>
                </a:cubicBezTo>
                <a:cubicBezTo>
                  <a:pt x="1486386" y="629475"/>
                  <a:pt x="1483297" y="619013"/>
                  <a:pt x="1481238" y="605062"/>
                </a:cubicBezTo>
                <a:cubicBezTo>
                  <a:pt x="1478149" y="588787"/>
                  <a:pt x="1479179" y="579486"/>
                  <a:pt x="1477120" y="567861"/>
                </a:cubicBezTo>
                <a:cubicBezTo>
                  <a:pt x="1477120" y="567861"/>
                  <a:pt x="1474031" y="567861"/>
                  <a:pt x="1474031" y="567861"/>
                </a:cubicBezTo>
                <a:cubicBezTo>
                  <a:pt x="1471973" y="565536"/>
                  <a:pt x="1474031" y="550424"/>
                  <a:pt x="1473002" y="546935"/>
                </a:cubicBezTo>
                <a:cubicBezTo>
                  <a:pt x="1469913" y="530660"/>
                  <a:pt x="1464766" y="516710"/>
                  <a:pt x="1462706" y="505084"/>
                </a:cubicBezTo>
                <a:cubicBezTo>
                  <a:pt x="1460648" y="494621"/>
                  <a:pt x="1460648" y="481834"/>
                  <a:pt x="1458588" y="471370"/>
                </a:cubicBezTo>
                <a:cubicBezTo>
                  <a:pt x="1456530" y="459746"/>
                  <a:pt x="1456530" y="449283"/>
                  <a:pt x="1454471" y="437658"/>
                </a:cubicBezTo>
                <a:cubicBezTo>
                  <a:pt x="1454471" y="437658"/>
                  <a:pt x="1451382" y="437658"/>
                  <a:pt x="1451382" y="437658"/>
                </a:cubicBezTo>
                <a:cubicBezTo>
                  <a:pt x="1450352" y="436494"/>
                  <a:pt x="1451382" y="430682"/>
                  <a:pt x="1451382" y="429520"/>
                </a:cubicBezTo>
                <a:cubicBezTo>
                  <a:pt x="1449323" y="422545"/>
                  <a:pt x="1449323" y="414407"/>
                  <a:pt x="1447263" y="408594"/>
                </a:cubicBezTo>
                <a:cubicBezTo>
                  <a:pt x="1446235" y="406270"/>
                  <a:pt x="1444175" y="405106"/>
                  <a:pt x="1444175" y="403944"/>
                </a:cubicBezTo>
                <a:cubicBezTo>
                  <a:pt x="1440057" y="388831"/>
                  <a:pt x="1440057" y="377205"/>
                  <a:pt x="1436969" y="362093"/>
                </a:cubicBezTo>
                <a:cubicBezTo>
                  <a:pt x="1436969" y="360930"/>
                  <a:pt x="1434910" y="360930"/>
                  <a:pt x="1433880" y="357443"/>
                </a:cubicBezTo>
                <a:cubicBezTo>
                  <a:pt x="1432850" y="355118"/>
                  <a:pt x="1433880" y="351630"/>
                  <a:pt x="1433880" y="349306"/>
                </a:cubicBezTo>
                <a:cubicBezTo>
                  <a:pt x="1431821" y="336517"/>
                  <a:pt x="1428732" y="324893"/>
                  <a:pt x="1426674" y="315592"/>
                </a:cubicBezTo>
                <a:cubicBezTo>
                  <a:pt x="1424614" y="306292"/>
                  <a:pt x="1417407" y="283042"/>
                  <a:pt x="1416379" y="278391"/>
                </a:cubicBezTo>
                <a:cubicBezTo>
                  <a:pt x="1414319" y="267928"/>
                  <a:pt x="1413289" y="263278"/>
                  <a:pt x="1412260" y="257465"/>
                </a:cubicBezTo>
                <a:cubicBezTo>
                  <a:pt x="1410202" y="247003"/>
                  <a:pt x="1410202" y="237702"/>
                  <a:pt x="1408143" y="228402"/>
                </a:cubicBezTo>
                <a:cubicBezTo>
                  <a:pt x="1408143" y="227240"/>
                  <a:pt x="1401965" y="222589"/>
                  <a:pt x="1401965" y="220264"/>
                </a:cubicBezTo>
                <a:cubicBezTo>
                  <a:pt x="1400936" y="217939"/>
                  <a:pt x="1401965" y="214452"/>
                  <a:pt x="1401965" y="212127"/>
                </a:cubicBezTo>
                <a:cubicBezTo>
                  <a:pt x="1400936" y="201663"/>
                  <a:pt x="1398876" y="201663"/>
                  <a:pt x="1397847" y="191200"/>
                </a:cubicBezTo>
                <a:cubicBezTo>
                  <a:pt x="1397847" y="187713"/>
                  <a:pt x="1394759" y="187713"/>
                  <a:pt x="1394759" y="186551"/>
                </a:cubicBezTo>
                <a:cubicBezTo>
                  <a:pt x="1390641" y="167950"/>
                  <a:pt x="1391670" y="154000"/>
                  <a:pt x="1387552" y="136562"/>
                </a:cubicBezTo>
                <a:cubicBezTo>
                  <a:pt x="1387552" y="135399"/>
                  <a:pt x="1385493" y="135399"/>
                  <a:pt x="1384463" y="131912"/>
                </a:cubicBezTo>
                <a:cubicBezTo>
                  <a:pt x="1383433" y="126099"/>
                  <a:pt x="1382406" y="123775"/>
                  <a:pt x="1381374" y="119124"/>
                </a:cubicBezTo>
                <a:cubicBezTo>
                  <a:pt x="1381374" y="117962"/>
                  <a:pt x="1381374" y="115637"/>
                  <a:pt x="1381374" y="114475"/>
                </a:cubicBezTo>
                <a:cubicBezTo>
                  <a:pt x="1381374" y="110987"/>
                  <a:pt x="1378287" y="110987"/>
                  <a:pt x="1378287" y="109823"/>
                </a:cubicBezTo>
                <a:cubicBezTo>
                  <a:pt x="1376227" y="99361"/>
                  <a:pt x="1377257" y="86573"/>
                  <a:pt x="1374169" y="76111"/>
                </a:cubicBezTo>
                <a:cubicBezTo>
                  <a:pt x="1374169" y="74947"/>
                  <a:pt x="1372110" y="76111"/>
                  <a:pt x="1371080" y="71461"/>
                </a:cubicBezTo>
                <a:cubicBezTo>
                  <a:pt x="1370050" y="65647"/>
                  <a:pt x="1370050" y="63322"/>
                  <a:pt x="1367991" y="58672"/>
                </a:cubicBezTo>
                <a:cubicBezTo>
                  <a:pt x="1362844" y="48211"/>
                  <a:pt x="1362844" y="26122"/>
                  <a:pt x="1357696" y="21472"/>
                </a:cubicBezTo>
                <a:cubicBezTo>
                  <a:pt x="1356667" y="20309"/>
                  <a:pt x="1357696" y="14497"/>
                  <a:pt x="1357696" y="13335"/>
                </a:cubicBezTo>
                <a:cubicBezTo>
                  <a:pt x="1357696" y="13335"/>
                  <a:pt x="1354607" y="13335"/>
                  <a:pt x="1354607" y="13335"/>
                </a:cubicBezTo>
                <a:cubicBezTo>
                  <a:pt x="1353579" y="12171"/>
                  <a:pt x="1354607" y="6359"/>
                  <a:pt x="1354607" y="5197"/>
                </a:cubicBezTo>
                <a:cubicBezTo>
                  <a:pt x="1354607" y="5197"/>
                  <a:pt x="1351520" y="5197"/>
                  <a:pt x="1351520" y="5197"/>
                </a:cubicBezTo>
                <a:close/>
                <a:moveTo>
                  <a:pt x="1338648" y="1403"/>
                </a:moveTo>
                <a:lnTo>
                  <a:pt x="1348092" y="1403"/>
                </a:lnTo>
                <a:lnTo>
                  <a:pt x="1354607" y="42397"/>
                </a:lnTo>
                <a:cubicBezTo>
                  <a:pt x="1355637" y="44722"/>
                  <a:pt x="1359756" y="48211"/>
                  <a:pt x="1360785" y="50534"/>
                </a:cubicBezTo>
                <a:cubicBezTo>
                  <a:pt x="1363874" y="58672"/>
                  <a:pt x="1362844" y="64486"/>
                  <a:pt x="1364903" y="71461"/>
                </a:cubicBezTo>
                <a:cubicBezTo>
                  <a:pt x="1365933" y="74947"/>
                  <a:pt x="1367991" y="73785"/>
                  <a:pt x="1367991" y="76111"/>
                </a:cubicBezTo>
                <a:cubicBezTo>
                  <a:pt x="1372110" y="90061"/>
                  <a:pt x="1374169" y="121449"/>
                  <a:pt x="1378287" y="126099"/>
                </a:cubicBezTo>
                <a:cubicBezTo>
                  <a:pt x="1381374" y="128424"/>
                  <a:pt x="1381374" y="144699"/>
                  <a:pt x="1382406" y="147025"/>
                </a:cubicBezTo>
                <a:cubicBezTo>
                  <a:pt x="1386523" y="162138"/>
                  <a:pt x="1389612" y="178413"/>
                  <a:pt x="1392700" y="192363"/>
                </a:cubicBezTo>
                <a:cubicBezTo>
                  <a:pt x="1394759" y="200501"/>
                  <a:pt x="1397847" y="206314"/>
                  <a:pt x="1399906" y="213289"/>
                </a:cubicBezTo>
                <a:cubicBezTo>
                  <a:pt x="1402995" y="226076"/>
                  <a:pt x="1401965" y="233053"/>
                  <a:pt x="1404024" y="238865"/>
                </a:cubicBezTo>
                <a:cubicBezTo>
                  <a:pt x="1404024" y="240028"/>
                  <a:pt x="1404024" y="242352"/>
                  <a:pt x="1404024" y="243515"/>
                </a:cubicBezTo>
                <a:cubicBezTo>
                  <a:pt x="1404024" y="247003"/>
                  <a:pt x="1407113" y="245839"/>
                  <a:pt x="1407113" y="248165"/>
                </a:cubicBezTo>
                <a:cubicBezTo>
                  <a:pt x="1409173" y="256303"/>
                  <a:pt x="1409173" y="263278"/>
                  <a:pt x="1411231" y="269090"/>
                </a:cubicBezTo>
                <a:cubicBezTo>
                  <a:pt x="1414319" y="281879"/>
                  <a:pt x="1419467" y="294666"/>
                  <a:pt x="1421526" y="306292"/>
                </a:cubicBezTo>
                <a:cubicBezTo>
                  <a:pt x="1423586" y="320242"/>
                  <a:pt x="1421526" y="322567"/>
                  <a:pt x="1425645" y="327216"/>
                </a:cubicBezTo>
                <a:cubicBezTo>
                  <a:pt x="1426674" y="328380"/>
                  <a:pt x="1425645" y="334193"/>
                  <a:pt x="1425645" y="335354"/>
                </a:cubicBezTo>
                <a:cubicBezTo>
                  <a:pt x="1429762" y="348143"/>
                  <a:pt x="1432850" y="359768"/>
                  <a:pt x="1435939" y="372556"/>
                </a:cubicBezTo>
                <a:cubicBezTo>
                  <a:pt x="1437999" y="380694"/>
                  <a:pt x="1437999" y="388831"/>
                  <a:pt x="1440057" y="398132"/>
                </a:cubicBezTo>
                <a:cubicBezTo>
                  <a:pt x="1442117" y="406270"/>
                  <a:pt x="1445205" y="415570"/>
                  <a:pt x="1447263" y="422545"/>
                </a:cubicBezTo>
                <a:cubicBezTo>
                  <a:pt x="1451382" y="443471"/>
                  <a:pt x="1451382" y="464396"/>
                  <a:pt x="1455500" y="485322"/>
                </a:cubicBezTo>
                <a:cubicBezTo>
                  <a:pt x="1455500" y="485322"/>
                  <a:pt x="1458588" y="486483"/>
                  <a:pt x="1458588" y="489971"/>
                </a:cubicBezTo>
                <a:cubicBezTo>
                  <a:pt x="1461677" y="502758"/>
                  <a:pt x="1460648" y="510896"/>
                  <a:pt x="1462706" y="519036"/>
                </a:cubicBezTo>
                <a:cubicBezTo>
                  <a:pt x="1463736" y="521359"/>
                  <a:pt x="1465795" y="522522"/>
                  <a:pt x="1465795" y="523685"/>
                </a:cubicBezTo>
                <a:cubicBezTo>
                  <a:pt x="1470943" y="543449"/>
                  <a:pt x="1470943" y="557398"/>
                  <a:pt x="1473002" y="578323"/>
                </a:cubicBezTo>
                <a:cubicBezTo>
                  <a:pt x="1474031" y="589949"/>
                  <a:pt x="1475061" y="605062"/>
                  <a:pt x="1477120" y="615524"/>
                </a:cubicBezTo>
                <a:cubicBezTo>
                  <a:pt x="1478149" y="622499"/>
                  <a:pt x="1482268" y="629475"/>
                  <a:pt x="1484326" y="636451"/>
                </a:cubicBezTo>
                <a:cubicBezTo>
                  <a:pt x="1485356" y="643426"/>
                  <a:pt x="1483297" y="650401"/>
                  <a:pt x="1485356" y="657376"/>
                </a:cubicBezTo>
                <a:cubicBezTo>
                  <a:pt x="1486386" y="664351"/>
                  <a:pt x="1490504" y="672488"/>
                  <a:pt x="1492562" y="678301"/>
                </a:cubicBezTo>
                <a:cubicBezTo>
                  <a:pt x="1496681" y="695739"/>
                  <a:pt x="1496681" y="714340"/>
                  <a:pt x="1499769" y="732941"/>
                </a:cubicBezTo>
                <a:cubicBezTo>
                  <a:pt x="1502858" y="750378"/>
                  <a:pt x="1508005" y="768979"/>
                  <a:pt x="1510064" y="787579"/>
                </a:cubicBezTo>
                <a:cubicBezTo>
                  <a:pt x="1511094" y="794554"/>
                  <a:pt x="1509035" y="801530"/>
                  <a:pt x="1511094" y="808505"/>
                </a:cubicBezTo>
                <a:cubicBezTo>
                  <a:pt x="1512123" y="817805"/>
                  <a:pt x="1516242" y="827106"/>
                  <a:pt x="1518301" y="837568"/>
                </a:cubicBezTo>
                <a:cubicBezTo>
                  <a:pt x="1523448" y="868956"/>
                  <a:pt x="1524477" y="901507"/>
                  <a:pt x="1526537" y="934058"/>
                </a:cubicBezTo>
                <a:cubicBezTo>
                  <a:pt x="1526537" y="938707"/>
                  <a:pt x="1529625" y="939871"/>
                  <a:pt x="1529625" y="946846"/>
                </a:cubicBezTo>
                <a:cubicBezTo>
                  <a:pt x="1532714" y="973583"/>
                  <a:pt x="1536831" y="992184"/>
                  <a:pt x="1537861" y="1013110"/>
                </a:cubicBezTo>
                <a:cubicBezTo>
                  <a:pt x="1537861" y="1020085"/>
                  <a:pt x="1538891" y="1027060"/>
                  <a:pt x="1531684" y="1025898"/>
                </a:cubicBezTo>
                <a:cubicBezTo>
                  <a:pt x="1528595" y="1027060"/>
                  <a:pt x="1529625" y="1023572"/>
                  <a:pt x="1528595" y="1021249"/>
                </a:cubicBezTo>
                <a:cubicBezTo>
                  <a:pt x="1528595" y="1021249"/>
                  <a:pt x="1524477" y="1015435"/>
                  <a:pt x="1525506" y="1016597"/>
                </a:cubicBezTo>
                <a:cubicBezTo>
                  <a:pt x="1523448" y="1009623"/>
                  <a:pt x="1528595" y="1003810"/>
                  <a:pt x="1528595" y="1000322"/>
                </a:cubicBezTo>
                <a:cubicBezTo>
                  <a:pt x="1528595" y="1001485"/>
                  <a:pt x="1525506" y="997997"/>
                  <a:pt x="1525506" y="995673"/>
                </a:cubicBezTo>
                <a:cubicBezTo>
                  <a:pt x="1524477" y="992184"/>
                  <a:pt x="1525506" y="986373"/>
                  <a:pt x="1525506" y="982884"/>
                </a:cubicBezTo>
                <a:cubicBezTo>
                  <a:pt x="1524477" y="965446"/>
                  <a:pt x="1522418" y="958472"/>
                  <a:pt x="1521388" y="949171"/>
                </a:cubicBezTo>
                <a:cubicBezTo>
                  <a:pt x="1519329" y="936384"/>
                  <a:pt x="1518301" y="932895"/>
                  <a:pt x="1517271" y="928246"/>
                </a:cubicBezTo>
                <a:cubicBezTo>
                  <a:pt x="1513153" y="909645"/>
                  <a:pt x="1511094" y="881744"/>
                  <a:pt x="1509035" y="870120"/>
                </a:cubicBezTo>
                <a:cubicBezTo>
                  <a:pt x="1508005" y="866631"/>
                  <a:pt x="1509035" y="861982"/>
                  <a:pt x="1509035" y="857330"/>
                </a:cubicBezTo>
                <a:cubicBezTo>
                  <a:pt x="1509035" y="853844"/>
                  <a:pt x="1505945" y="853844"/>
                  <a:pt x="1505945" y="852681"/>
                </a:cubicBezTo>
                <a:cubicBezTo>
                  <a:pt x="1501829" y="828268"/>
                  <a:pt x="1499769" y="808505"/>
                  <a:pt x="1503888" y="789904"/>
                </a:cubicBezTo>
                <a:cubicBezTo>
                  <a:pt x="1494621" y="780604"/>
                  <a:pt x="1495651" y="764329"/>
                  <a:pt x="1493592" y="752704"/>
                </a:cubicBezTo>
                <a:cubicBezTo>
                  <a:pt x="1490504" y="735266"/>
                  <a:pt x="1486386" y="710853"/>
                  <a:pt x="1482268" y="694578"/>
                </a:cubicBezTo>
                <a:cubicBezTo>
                  <a:pt x="1480208" y="687601"/>
                  <a:pt x="1477120" y="680626"/>
                  <a:pt x="1475061" y="673651"/>
                </a:cubicBezTo>
                <a:cubicBezTo>
                  <a:pt x="1473002" y="664351"/>
                  <a:pt x="1471973" y="646912"/>
                  <a:pt x="1470943" y="639938"/>
                </a:cubicBezTo>
                <a:cubicBezTo>
                  <a:pt x="1468883" y="631801"/>
                  <a:pt x="1465795" y="629475"/>
                  <a:pt x="1464766" y="623662"/>
                </a:cubicBezTo>
                <a:cubicBezTo>
                  <a:pt x="1460648" y="602737"/>
                  <a:pt x="1459618" y="575999"/>
                  <a:pt x="1456530" y="557398"/>
                </a:cubicBezTo>
                <a:cubicBezTo>
                  <a:pt x="1455500" y="548098"/>
                  <a:pt x="1451382" y="538798"/>
                  <a:pt x="1449323" y="528335"/>
                </a:cubicBezTo>
                <a:cubicBezTo>
                  <a:pt x="1446235" y="513222"/>
                  <a:pt x="1445205" y="498109"/>
                  <a:pt x="1442117" y="494621"/>
                </a:cubicBezTo>
                <a:cubicBezTo>
                  <a:pt x="1441088" y="493460"/>
                  <a:pt x="1442117" y="487647"/>
                  <a:pt x="1442117" y="486483"/>
                </a:cubicBezTo>
                <a:cubicBezTo>
                  <a:pt x="1442117" y="486483"/>
                  <a:pt x="1439028" y="486483"/>
                  <a:pt x="1439028" y="486483"/>
                </a:cubicBezTo>
                <a:cubicBezTo>
                  <a:pt x="1433880" y="481834"/>
                  <a:pt x="1439028" y="439982"/>
                  <a:pt x="1437999" y="431845"/>
                </a:cubicBezTo>
                <a:cubicBezTo>
                  <a:pt x="1436969" y="423707"/>
                  <a:pt x="1431821" y="419057"/>
                  <a:pt x="1431821" y="415570"/>
                </a:cubicBezTo>
                <a:cubicBezTo>
                  <a:pt x="1428732" y="400457"/>
                  <a:pt x="1429762" y="387669"/>
                  <a:pt x="1427703" y="378368"/>
                </a:cubicBezTo>
                <a:cubicBezTo>
                  <a:pt x="1427703" y="378368"/>
                  <a:pt x="1424614" y="378368"/>
                  <a:pt x="1424614" y="378368"/>
                </a:cubicBezTo>
                <a:cubicBezTo>
                  <a:pt x="1423586" y="377205"/>
                  <a:pt x="1424614" y="371394"/>
                  <a:pt x="1424614" y="370230"/>
                </a:cubicBezTo>
                <a:cubicBezTo>
                  <a:pt x="1421526" y="358606"/>
                  <a:pt x="1416379" y="333030"/>
                  <a:pt x="1414319" y="328380"/>
                </a:cubicBezTo>
                <a:cubicBezTo>
                  <a:pt x="1411231" y="323729"/>
                  <a:pt x="1411231" y="320242"/>
                  <a:pt x="1411231" y="312104"/>
                </a:cubicBezTo>
                <a:cubicBezTo>
                  <a:pt x="1410202" y="302804"/>
                  <a:pt x="1406083" y="293504"/>
                  <a:pt x="1404024" y="287691"/>
                </a:cubicBezTo>
                <a:cubicBezTo>
                  <a:pt x="1398876" y="269090"/>
                  <a:pt x="1392700" y="244677"/>
                  <a:pt x="1390641" y="233053"/>
                </a:cubicBezTo>
                <a:cubicBezTo>
                  <a:pt x="1388581" y="226076"/>
                  <a:pt x="1388581" y="221427"/>
                  <a:pt x="1387552" y="216776"/>
                </a:cubicBezTo>
                <a:cubicBezTo>
                  <a:pt x="1387552" y="215615"/>
                  <a:pt x="1387552" y="213289"/>
                  <a:pt x="1387552" y="212127"/>
                </a:cubicBezTo>
                <a:cubicBezTo>
                  <a:pt x="1387552" y="208639"/>
                  <a:pt x="1384463" y="208639"/>
                  <a:pt x="1384463" y="207476"/>
                </a:cubicBezTo>
                <a:cubicBezTo>
                  <a:pt x="1383433" y="200501"/>
                  <a:pt x="1385493" y="192363"/>
                  <a:pt x="1383433" y="186551"/>
                </a:cubicBezTo>
                <a:cubicBezTo>
                  <a:pt x="1383433" y="185388"/>
                  <a:pt x="1378287" y="180739"/>
                  <a:pt x="1377257" y="178413"/>
                </a:cubicBezTo>
                <a:cubicBezTo>
                  <a:pt x="1375198" y="173764"/>
                  <a:pt x="1377257" y="167950"/>
                  <a:pt x="1374169" y="165626"/>
                </a:cubicBezTo>
                <a:cubicBezTo>
                  <a:pt x="1377257" y="165626"/>
                  <a:pt x="1376227" y="164464"/>
                  <a:pt x="1377257" y="160976"/>
                </a:cubicBezTo>
                <a:cubicBezTo>
                  <a:pt x="1378287" y="156325"/>
                  <a:pt x="1374169" y="154000"/>
                  <a:pt x="1374169" y="152838"/>
                </a:cubicBezTo>
                <a:cubicBezTo>
                  <a:pt x="1372110" y="138888"/>
                  <a:pt x="1371080" y="135399"/>
                  <a:pt x="1370050" y="123775"/>
                </a:cubicBezTo>
                <a:cubicBezTo>
                  <a:pt x="1370050" y="120287"/>
                  <a:pt x="1366963" y="120287"/>
                  <a:pt x="1366963" y="119124"/>
                </a:cubicBezTo>
                <a:cubicBezTo>
                  <a:pt x="1362844" y="102849"/>
                  <a:pt x="1362844" y="92386"/>
                  <a:pt x="1359756" y="77273"/>
                </a:cubicBezTo>
                <a:cubicBezTo>
                  <a:pt x="1357696" y="70298"/>
                  <a:pt x="1357696" y="67973"/>
                  <a:pt x="1356667" y="60998"/>
                </a:cubicBezTo>
                <a:cubicBezTo>
                  <a:pt x="1355637" y="57510"/>
                  <a:pt x="1353579" y="57510"/>
                  <a:pt x="1353579" y="56348"/>
                </a:cubicBezTo>
                <a:cubicBezTo>
                  <a:pt x="1350490" y="45885"/>
                  <a:pt x="1347401" y="30772"/>
                  <a:pt x="1346372" y="27284"/>
                </a:cubicBezTo>
                <a:cubicBezTo>
                  <a:pt x="1344313" y="15658"/>
                  <a:pt x="1342254" y="19146"/>
                  <a:pt x="1340194" y="11009"/>
                </a:cubicBezTo>
                <a:close/>
                <a:moveTo>
                  <a:pt x="1301031" y="1403"/>
                </a:moveTo>
                <a:lnTo>
                  <a:pt x="1327517" y="1403"/>
                </a:lnTo>
                <a:lnTo>
                  <a:pt x="1334018" y="16822"/>
                </a:lnTo>
                <a:cubicBezTo>
                  <a:pt x="1336077" y="24959"/>
                  <a:pt x="1332989" y="28447"/>
                  <a:pt x="1337106" y="33097"/>
                </a:cubicBezTo>
                <a:cubicBezTo>
                  <a:pt x="1337106" y="33097"/>
                  <a:pt x="1340194" y="45885"/>
                  <a:pt x="1340194" y="45885"/>
                </a:cubicBezTo>
                <a:cubicBezTo>
                  <a:pt x="1343283" y="58672"/>
                  <a:pt x="1345342" y="65647"/>
                  <a:pt x="1347401" y="74947"/>
                </a:cubicBezTo>
                <a:cubicBezTo>
                  <a:pt x="1348431" y="79599"/>
                  <a:pt x="1346372" y="86573"/>
                  <a:pt x="1347401" y="91223"/>
                </a:cubicBezTo>
                <a:cubicBezTo>
                  <a:pt x="1348431" y="98199"/>
                  <a:pt x="1354607" y="104011"/>
                  <a:pt x="1353579" y="107498"/>
                </a:cubicBezTo>
                <a:cubicBezTo>
                  <a:pt x="1353579" y="109823"/>
                  <a:pt x="1349461" y="106337"/>
                  <a:pt x="1350490" y="112149"/>
                </a:cubicBezTo>
                <a:cubicBezTo>
                  <a:pt x="1351520" y="116798"/>
                  <a:pt x="1356667" y="117962"/>
                  <a:pt x="1356667" y="120287"/>
                </a:cubicBezTo>
                <a:cubicBezTo>
                  <a:pt x="1357696" y="124936"/>
                  <a:pt x="1350490" y="128424"/>
                  <a:pt x="1353579" y="136562"/>
                </a:cubicBezTo>
                <a:cubicBezTo>
                  <a:pt x="1361814" y="138888"/>
                  <a:pt x="1360785" y="145863"/>
                  <a:pt x="1363874" y="152838"/>
                </a:cubicBezTo>
                <a:cubicBezTo>
                  <a:pt x="1367991" y="166787"/>
                  <a:pt x="1371080" y="183062"/>
                  <a:pt x="1374169" y="198176"/>
                </a:cubicBezTo>
                <a:cubicBezTo>
                  <a:pt x="1385493" y="247003"/>
                  <a:pt x="1397847" y="293504"/>
                  <a:pt x="1406083" y="340006"/>
                </a:cubicBezTo>
                <a:cubicBezTo>
                  <a:pt x="1405055" y="349306"/>
                  <a:pt x="1400936" y="335354"/>
                  <a:pt x="1396817" y="344655"/>
                </a:cubicBezTo>
                <a:cubicBezTo>
                  <a:pt x="1400936" y="358606"/>
                  <a:pt x="1404024" y="376044"/>
                  <a:pt x="1407113" y="389994"/>
                </a:cubicBezTo>
                <a:cubicBezTo>
                  <a:pt x="1409173" y="396969"/>
                  <a:pt x="1412260" y="403944"/>
                  <a:pt x="1414319" y="410919"/>
                </a:cubicBezTo>
                <a:cubicBezTo>
                  <a:pt x="1416379" y="420219"/>
                  <a:pt x="1415349" y="429520"/>
                  <a:pt x="1418438" y="436494"/>
                </a:cubicBezTo>
                <a:cubicBezTo>
                  <a:pt x="1419467" y="438820"/>
                  <a:pt x="1423586" y="442308"/>
                  <a:pt x="1424614" y="444632"/>
                </a:cubicBezTo>
                <a:cubicBezTo>
                  <a:pt x="1425645" y="446958"/>
                  <a:pt x="1423586" y="451608"/>
                  <a:pt x="1424614" y="452770"/>
                </a:cubicBezTo>
                <a:cubicBezTo>
                  <a:pt x="1425645" y="455095"/>
                  <a:pt x="1431821" y="451608"/>
                  <a:pt x="1430792" y="456258"/>
                </a:cubicBezTo>
                <a:cubicBezTo>
                  <a:pt x="1428732" y="479508"/>
                  <a:pt x="1434910" y="488809"/>
                  <a:pt x="1437999" y="501597"/>
                </a:cubicBezTo>
                <a:cubicBezTo>
                  <a:pt x="1440057" y="509735"/>
                  <a:pt x="1439028" y="519036"/>
                  <a:pt x="1442117" y="527173"/>
                </a:cubicBezTo>
                <a:cubicBezTo>
                  <a:pt x="1436969" y="527173"/>
                  <a:pt x="1430792" y="527173"/>
                  <a:pt x="1432850" y="535311"/>
                </a:cubicBezTo>
                <a:cubicBezTo>
                  <a:pt x="1437999" y="541123"/>
                  <a:pt x="1437999" y="553911"/>
                  <a:pt x="1440057" y="564373"/>
                </a:cubicBezTo>
                <a:cubicBezTo>
                  <a:pt x="1442117" y="575999"/>
                  <a:pt x="1448293" y="589949"/>
                  <a:pt x="1441088" y="598087"/>
                </a:cubicBezTo>
                <a:cubicBezTo>
                  <a:pt x="1430792" y="582974"/>
                  <a:pt x="1430792" y="560886"/>
                  <a:pt x="1427703" y="543449"/>
                </a:cubicBezTo>
                <a:cubicBezTo>
                  <a:pt x="1427703" y="543449"/>
                  <a:pt x="1424614" y="543449"/>
                  <a:pt x="1424614" y="543449"/>
                </a:cubicBezTo>
                <a:cubicBezTo>
                  <a:pt x="1423586" y="542286"/>
                  <a:pt x="1424614" y="536472"/>
                  <a:pt x="1424614" y="535311"/>
                </a:cubicBezTo>
                <a:cubicBezTo>
                  <a:pt x="1423586" y="528335"/>
                  <a:pt x="1424614" y="526010"/>
                  <a:pt x="1421526" y="522522"/>
                </a:cubicBezTo>
                <a:cubicBezTo>
                  <a:pt x="1420496" y="521359"/>
                  <a:pt x="1421526" y="515548"/>
                  <a:pt x="1421526" y="514384"/>
                </a:cubicBezTo>
                <a:cubicBezTo>
                  <a:pt x="1421526" y="514384"/>
                  <a:pt x="1418438" y="514384"/>
                  <a:pt x="1418438" y="514384"/>
                </a:cubicBezTo>
                <a:cubicBezTo>
                  <a:pt x="1417407" y="513222"/>
                  <a:pt x="1418438" y="507410"/>
                  <a:pt x="1418438" y="506247"/>
                </a:cubicBezTo>
                <a:cubicBezTo>
                  <a:pt x="1413289" y="491134"/>
                  <a:pt x="1406083" y="473696"/>
                  <a:pt x="1408143" y="451608"/>
                </a:cubicBezTo>
                <a:cubicBezTo>
                  <a:pt x="1401965" y="445795"/>
                  <a:pt x="1401965" y="431845"/>
                  <a:pt x="1397847" y="422545"/>
                </a:cubicBezTo>
                <a:cubicBezTo>
                  <a:pt x="1398876" y="414407"/>
                  <a:pt x="1404024" y="412081"/>
                  <a:pt x="1404024" y="401619"/>
                </a:cubicBezTo>
                <a:cubicBezTo>
                  <a:pt x="1395789" y="396969"/>
                  <a:pt x="1399906" y="384182"/>
                  <a:pt x="1396817" y="377205"/>
                </a:cubicBezTo>
                <a:cubicBezTo>
                  <a:pt x="1395789" y="374882"/>
                  <a:pt x="1391670" y="371394"/>
                  <a:pt x="1390641" y="369068"/>
                </a:cubicBezTo>
                <a:cubicBezTo>
                  <a:pt x="1385493" y="357443"/>
                  <a:pt x="1384463" y="331867"/>
                  <a:pt x="1380346" y="327216"/>
                </a:cubicBezTo>
                <a:cubicBezTo>
                  <a:pt x="1379317" y="326055"/>
                  <a:pt x="1380346" y="320242"/>
                  <a:pt x="1380346" y="319079"/>
                </a:cubicBezTo>
                <a:cubicBezTo>
                  <a:pt x="1380346" y="319079"/>
                  <a:pt x="1377257" y="319079"/>
                  <a:pt x="1377257" y="319079"/>
                </a:cubicBezTo>
                <a:cubicBezTo>
                  <a:pt x="1376227" y="317916"/>
                  <a:pt x="1377257" y="312104"/>
                  <a:pt x="1377257" y="310941"/>
                </a:cubicBezTo>
                <a:cubicBezTo>
                  <a:pt x="1375198" y="303966"/>
                  <a:pt x="1372110" y="295829"/>
                  <a:pt x="1370050" y="290017"/>
                </a:cubicBezTo>
                <a:cubicBezTo>
                  <a:pt x="1366963" y="274904"/>
                  <a:pt x="1366963" y="252815"/>
                  <a:pt x="1362844" y="248165"/>
                </a:cubicBezTo>
                <a:cubicBezTo>
                  <a:pt x="1361814" y="247003"/>
                  <a:pt x="1362844" y="241190"/>
                  <a:pt x="1362844" y="240028"/>
                </a:cubicBezTo>
                <a:cubicBezTo>
                  <a:pt x="1359756" y="229564"/>
                  <a:pt x="1354607" y="206314"/>
                  <a:pt x="1352548" y="202826"/>
                </a:cubicBezTo>
                <a:cubicBezTo>
                  <a:pt x="1348431" y="193526"/>
                  <a:pt x="1344313" y="178413"/>
                  <a:pt x="1342254" y="173764"/>
                </a:cubicBezTo>
                <a:cubicBezTo>
                  <a:pt x="1342254" y="172601"/>
                  <a:pt x="1342254" y="170276"/>
                  <a:pt x="1342254" y="169113"/>
                </a:cubicBezTo>
                <a:cubicBezTo>
                  <a:pt x="1342254" y="164464"/>
                  <a:pt x="1339164" y="166787"/>
                  <a:pt x="1339164" y="164464"/>
                </a:cubicBezTo>
                <a:cubicBezTo>
                  <a:pt x="1335048" y="149350"/>
                  <a:pt x="1338136" y="137725"/>
                  <a:pt x="1335048" y="122612"/>
                </a:cubicBezTo>
                <a:cubicBezTo>
                  <a:pt x="1332989" y="115637"/>
                  <a:pt x="1329900" y="108661"/>
                  <a:pt x="1327840" y="101686"/>
                </a:cubicBezTo>
                <a:cubicBezTo>
                  <a:pt x="1322693" y="83086"/>
                  <a:pt x="1317546" y="66810"/>
                  <a:pt x="1314457" y="51698"/>
                </a:cubicBezTo>
                <a:cubicBezTo>
                  <a:pt x="1312398" y="42397"/>
                  <a:pt x="1312398" y="31933"/>
                  <a:pt x="1310339" y="22635"/>
                </a:cubicBezTo>
                <a:cubicBezTo>
                  <a:pt x="1310339" y="21472"/>
                  <a:pt x="1304162" y="16822"/>
                  <a:pt x="1304162" y="14497"/>
                </a:cubicBezTo>
                <a:cubicBezTo>
                  <a:pt x="1303132" y="12171"/>
                  <a:pt x="1304162" y="8683"/>
                  <a:pt x="1304162" y="6359"/>
                </a:cubicBezTo>
                <a:cubicBezTo>
                  <a:pt x="1303132" y="4034"/>
                  <a:pt x="1301074" y="2871"/>
                  <a:pt x="1301074" y="1709"/>
                </a:cubicBezTo>
                <a:close/>
                <a:moveTo>
                  <a:pt x="1183462" y="1403"/>
                </a:moveTo>
                <a:lnTo>
                  <a:pt x="1194756" y="1403"/>
                </a:lnTo>
                <a:lnTo>
                  <a:pt x="1202240" y="13335"/>
                </a:lnTo>
                <a:lnTo>
                  <a:pt x="1201760" y="1403"/>
                </a:lnTo>
                <a:lnTo>
                  <a:pt x="1210184" y="1403"/>
                </a:lnTo>
                <a:lnTo>
                  <a:pt x="1210477" y="2435"/>
                </a:lnTo>
                <a:cubicBezTo>
                  <a:pt x="1212278" y="8393"/>
                  <a:pt x="1214594" y="13915"/>
                  <a:pt x="1218712" y="17984"/>
                </a:cubicBezTo>
                <a:cubicBezTo>
                  <a:pt x="1221801" y="47047"/>
                  <a:pt x="1231066" y="66810"/>
                  <a:pt x="1245481" y="80761"/>
                </a:cubicBezTo>
                <a:cubicBezTo>
                  <a:pt x="1246508" y="70298"/>
                  <a:pt x="1238274" y="64486"/>
                  <a:pt x="1235184" y="56348"/>
                </a:cubicBezTo>
                <a:cubicBezTo>
                  <a:pt x="1231066" y="44722"/>
                  <a:pt x="1236214" y="41234"/>
                  <a:pt x="1231066" y="35421"/>
                </a:cubicBezTo>
                <a:cubicBezTo>
                  <a:pt x="1226949" y="29610"/>
                  <a:pt x="1220771" y="8683"/>
                  <a:pt x="1220771" y="6359"/>
                </a:cubicBezTo>
                <a:cubicBezTo>
                  <a:pt x="1220771" y="1709"/>
                  <a:pt x="1218712" y="4034"/>
                  <a:pt x="1217682" y="1709"/>
                </a:cubicBezTo>
                <a:lnTo>
                  <a:pt x="1217585" y="1403"/>
                </a:lnTo>
                <a:lnTo>
                  <a:pt x="1244390" y="1403"/>
                </a:lnTo>
                <a:lnTo>
                  <a:pt x="1244449" y="2871"/>
                </a:lnTo>
                <a:cubicBezTo>
                  <a:pt x="1250113" y="12752"/>
                  <a:pt x="1254230" y="24960"/>
                  <a:pt x="1257834" y="37457"/>
                </a:cubicBezTo>
                <a:lnTo>
                  <a:pt x="1263678" y="58078"/>
                </a:lnTo>
                <a:lnTo>
                  <a:pt x="1264011" y="59835"/>
                </a:lnTo>
                <a:lnTo>
                  <a:pt x="1264661" y="61547"/>
                </a:lnTo>
                <a:lnTo>
                  <a:pt x="1268129" y="73785"/>
                </a:lnTo>
                <a:lnTo>
                  <a:pt x="1268714" y="75405"/>
                </a:lnTo>
                <a:lnTo>
                  <a:pt x="1268773" y="75674"/>
                </a:lnTo>
                <a:lnTo>
                  <a:pt x="1268829" y="75728"/>
                </a:lnTo>
                <a:lnTo>
                  <a:pt x="1276364" y="96601"/>
                </a:lnTo>
                <a:cubicBezTo>
                  <a:pt x="1278681" y="104303"/>
                  <a:pt x="1279969" y="112730"/>
                  <a:pt x="1278424" y="123775"/>
                </a:cubicBezTo>
                <a:cubicBezTo>
                  <a:pt x="1288719" y="135399"/>
                  <a:pt x="1290777" y="158650"/>
                  <a:pt x="1292837" y="181901"/>
                </a:cubicBezTo>
                <a:cubicBezTo>
                  <a:pt x="1292837" y="193526"/>
                  <a:pt x="1283571" y="172601"/>
                  <a:pt x="1286661" y="190039"/>
                </a:cubicBezTo>
                <a:cubicBezTo>
                  <a:pt x="1287690" y="195852"/>
                  <a:pt x="1291807" y="198176"/>
                  <a:pt x="1289749" y="206314"/>
                </a:cubicBezTo>
                <a:cubicBezTo>
                  <a:pt x="1296956" y="216776"/>
                  <a:pt x="1302103" y="230727"/>
                  <a:pt x="1306220" y="243515"/>
                </a:cubicBezTo>
                <a:cubicBezTo>
                  <a:pt x="1308280" y="249328"/>
                  <a:pt x="1305192" y="258627"/>
                  <a:pt x="1307250" y="264440"/>
                </a:cubicBezTo>
                <a:cubicBezTo>
                  <a:pt x="1307250" y="265604"/>
                  <a:pt x="1309308" y="265604"/>
                  <a:pt x="1310339" y="269090"/>
                </a:cubicBezTo>
                <a:cubicBezTo>
                  <a:pt x="1311368" y="274904"/>
                  <a:pt x="1311368" y="277228"/>
                  <a:pt x="1313427" y="281879"/>
                </a:cubicBezTo>
                <a:cubicBezTo>
                  <a:pt x="1316516" y="288853"/>
                  <a:pt x="1319605" y="301641"/>
                  <a:pt x="1320634" y="306292"/>
                </a:cubicBezTo>
                <a:cubicBezTo>
                  <a:pt x="1324751" y="326055"/>
                  <a:pt x="1327840" y="341168"/>
                  <a:pt x="1327840" y="360930"/>
                </a:cubicBezTo>
                <a:cubicBezTo>
                  <a:pt x="1330930" y="367907"/>
                  <a:pt x="1336077" y="372556"/>
                  <a:pt x="1338136" y="381856"/>
                </a:cubicBezTo>
                <a:cubicBezTo>
                  <a:pt x="1334018" y="385343"/>
                  <a:pt x="1331958" y="392319"/>
                  <a:pt x="1331958" y="402781"/>
                </a:cubicBezTo>
                <a:cubicBezTo>
                  <a:pt x="1340194" y="426033"/>
                  <a:pt x="1346372" y="451608"/>
                  <a:pt x="1352548" y="477184"/>
                </a:cubicBezTo>
                <a:cubicBezTo>
                  <a:pt x="1349461" y="481834"/>
                  <a:pt x="1346372" y="485322"/>
                  <a:pt x="1343283" y="489971"/>
                </a:cubicBezTo>
                <a:cubicBezTo>
                  <a:pt x="1347401" y="500435"/>
                  <a:pt x="1352548" y="481834"/>
                  <a:pt x="1355637" y="493460"/>
                </a:cubicBezTo>
                <a:cubicBezTo>
                  <a:pt x="1356667" y="498109"/>
                  <a:pt x="1353579" y="495784"/>
                  <a:pt x="1352548" y="498109"/>
                </a:cubicBezTo>
                <a:cubicBezTo>
                  <a:pt x="1346372" y="503922"/>
                  <a:pt x="1350490" y="517872"/>
                  <a:pt x="1350490" y="527173"/>
                </a:cubicBezTo>
                <a:cubicBezTo>
                  <a:pt x="1352548" y="528335"/>
                  <a:pt x="1354607" y="530660"/>
                  <a:pt x="1353579" y="535311"/>
                </a:cubicBezTo>
                <a:cubicBezTo>
                  <a:pt x="1354607" y="543449"/>
                  <a:pt x="1366963" y="536472"/>
                  <a:pt x="1365933" y="548098"/>
                </a:cubicBezTo>
                <a:cubicBezTo>
                  <a:pt x="1360785" y="549260"/>
                  <a:pt x="1358726" y="555073"/>
                  <a:pt x="1359756" y="565536"/>
                </a:cubicBezTo>
                <a:cubicBezTo>
                  <a:pt x="1371080" y="572511"/>
                  <a:pt x="1367991" y="595761"/>
                  <a:pt x="1370050" y="610875"/>
                </a:cubicBezTo>
                <a:cubicBezTo>
                  <a:pt x="1371080" y="615524"/>
                  <a:pt x="1373139" y="615524"/>
                  <a:pt x="1373139" y="619013"/>
                </a:cubicBezTo>
                <a:cubicBezTo>
                  <a:pt x="1376227" y="635288"/>
                  <a:pt x="1375198" y="643426"/>
                  <a:pt x="1377257" y="656213"/>
                </a:cubicBezTo>
                <a:cubicBezTo>
                  <a:pt x="1379317" y="671326"/>
                  <a:pt x="1386523" y="688764"/>
                  <a:pt x="1381374" y="702715"/>
                </a:cubicBezTo>
                <a:cubicBezTo>
                  <a:pt x="1386523" y="703876"/>
                  <a:pt x="1386523" y="708527"/>
                  <a:pt x="1387552" y="715502"/>
                </a:cubicBezTo>
                <a:cubicBezTo>
                  <a:pt x="1390641" y="731777"/>
                  <a:pt x="1391670" y="771303"/>
                  <a:pt x="1398876" y="778279"/>
                </a:cubicBezTo>
                <a:cubicBezTo>
                  <a:pt x="1399906" y="779441"/>
                  <a:pt x="1398876" y="785254"/>
                  <a:pt x="1398876" y="786417"/>
                </a:cubicBezTo>
                <a:cubicBezTo>
                  <a:pt x="1401965" y="798041"/>
                  <a:pt x="1406083" y="811993"/>
                  <a:pt x="1406083" y="823617"/>
                </a:cubicBezTo>
                <a:cubicBezTo>
                  <a:pt x="1407113" y="828268"/>
                  <a:pt x="1412260" y="832917"/>
                  <a:pt x="1406083" y="836406"/>
                </a:cubicBezTo>
                <a:cubicBezTo>
                  <a:pt x="1401965" y="834081"/>
                  <a:pt x="1400936" y="824780"/>
                  <a:pt x="1399906" y="820131"/>
                </a:cubicBezTo>
                <a:cubicBezTo>
                  <a:pt x="1396817" y="811993"/>
                  <a:pt x="1391670" y="801530"/>
                  <a:pt x="1389612" y="799205"/>
                </a:cubicBezTo>
                <a:cubicBezTo>
                  <a:pt x="1388581" y="798041"/>
                  <a:pt x="1389612" y="792230"/>
                  <a:pt x="1389612" y="791067"/>
                </a:cubicBezTo>
                <a:cubicBezTo>
                  <a:pt x="1384463" y="775954"/>
                  <a:pt x="1380346" y="760842"/>
                  <a:pt x="1379317" y="745728"/>
                </a:cubicBezTo>
                <a:cubicBezTo>
                  <a:pt x="1379317" y="742241"/>
                  <a:pt x="1376227" y="742241"/>
                  <a:pt x="1376227" y="741078"/>
                </a:cubicBezTo>
                <a:cubicBezTo>
                  <a:pt x="1373139" y="724802"/>
                  <a:pt x="1372110" y="712014"/>
                  <a:pt x="1372110" y="694578"/>
                </a:cubicBezTo>
                <a:cubicBezTo>
                  <a:pt x="1367991" y="685277"/>
                  <a:pt x="1361814" y="680626"/>
                  <a:pt x="1358726" y="670163"/>
                </a:cubicBezTo>
                <a:cubicBezTo>
                  <a:pt x="1349461" y="596924"/>
                  <a:pt x="1324751" y="544610"/>
                  <a:pt x="1316516" y="470208"/>
                </a:cubicBezTo>
                <a:cubicBezTo>
                  <a:pt x="1299014" y="456258"/>
                  <a:pt x="1303132" y="410919"/>
                  <a:pt x="1289749" y="391157"/>
                </a:cubicBezTo>
                <a:cubicBezTo>
                  <a:pt x="1274307" y="387669"/>
                  <a:pt x="1278424" y="408594"/>
                  <a:pt x="1265040" y="408594"/>
                </a:cubicBezTo>
                <a:cubicBezTo>
                  <a:pt x="1261438" y="398713"/>
                  <a:pt x="1257319" y="389122"/>
                  <a:pt x="1254359" y="377933"/>
                </a:cubicBezTo>
                <a:lnTo>
                  <a:pt x="1251142" y="343218"/>
                </a:lnTo>
                <a:lnTo>
                  <a:pt x="1251270" y="342912"/>
                </a:lnTo>
                <a:lnTo>
                  <a:pt x="1251069" y="342432"/>
                </a:lnTo>
                <a:lnTo>
                  <a:pt x="1250627" y="337680"/>
                </a:lnTo>
                <a:cubicBezTo>
                  <a:pt x="1253716" y="337099"/>
                  <a:pt x="1255518" y="338261"/>
                  <a:pt x="1257190" y="339423"/>
                </a:cubicBezTo>
                <a:lnTo>
                  <a:pt x="1262527" y="341031"/>
                </a:lnTo>
                <a:lnTo>
                  <a:pt x="1262981" y="357443"/>
                </a:lnTo>
                <a:cubicBezTo>
                  <a:pt x="1271218" y="353955"/>
                  <a:pt x="1269158" y="365581"/>
                  <a:pt x="1275335" y="365581"/>
                </a:cubicBezTo>
                <a:cubicBezTo>
                  <a:pt x="1276364" y="372556"/>
                  <a:pt x="1272247" y="386506"/>
                  <a:pt x="1281513" y="381856"/>
                </a:cubicBezTo>
                <a:cubicBezTo>
                  <a:pt x="1284601" y="381856"/>
                  <a:pt x="1285631" y="371394"/>
                  <a:pt x="1284601" y="365581"/>
                </a:cubicBezTo>
                <a:cubicBezTo>
                  <a:pt x="1284601" y="363256"/>
                  <a:pt x="1281513" y="360930"/>
                  <a:pt x="1281513" y="360930"/>
                </a:cubicBezTo>
                <a:cubicBezTo>
                  <a:pt x="1278424" y="346980"/>
                  <a:pt x="1277394" y="334193"/>
                  <a:pt x="1274307" y="323729"/>
                </a:cubicBezTo>
                <a:cubicBezTo>
                  <a:pt x="1274307" y="322567"/>
                  <a:pt x="1268129" y="317916"/>
                  <a:pt x="1268129" y="315592"/>
                </a:cubicBezTo>
                <a:cubicBezTo>
                  <a:pt x="1267099" y="313267"/>
                  <a:pt x="1268129" y="309779"/>
                  <a:pt x="1268129" y="307454"/>
                </a:cubicBezTo>
                <a:cubicBezTo>
                  <a:pt x="1266070" y="296992"/>
                  <a:pt x="1257834" y="287691"/>
                  <a:pt x="1260924" y="273741"/>
                </a:cubicBezTo>
                <a:cubicBezTo>
                  <a:pt x="1248568" y="266765"/>
                  <a:pt x="1251657" y="245839"/>
                  <a:pt x="1247538" y="231890"/>
                </a:cubicBezTo>
                <a:cubicBezTo>
                  <a:pt x="1246508" y="229564"/>
                  <a:pt x="1242392" y="226076"/>
                  <a:pt x="1241362" y="223753"/>
                </a:cubicBezTo>
                <a:cubicBezTo>
                  <a:pt x="1237243" y="213289"/>
                  <a:pt x="1234155" y="191200"/>
                  <a:pt x="1234155" y="181901"/>
                </a:cubicBezTo>
                <a:cubicBezTo>
                  <a:pt x="1234155" y="177251"/>
                  <a:pt x="1231066" y="179576"/>
                  <a:pt x="1231066" y="177251"/>
                </a:cubicBezTo>
                <a:cubicBezTo>
                  <a:pt x="1227978" y="165626"/>
                  <a:pt x="1230038" y="162138"/>
                  <a:pt x="1226949" y="151675"/>
                </a:cubicBezTo>
                <a:cubicBezTo>
                  <a:pt x="1226949" y="150512"/>
                  <a:pt x="1220771" y="145863"/>
                  <a:pt x="1220771" y="143537"/>
                </a:cubicBezTo>
                <a:cubicBezTo>
                  <a:pt x="1218712" y="137725"/>
                  <a:pt x="1216653" y="129588"/>
                  <a:pt x="1213565" y="122612"/>
                </a:cubicBezTo>
                <a:cubicBezTo>
                  <a:pt x="1209447" y="109823"/>
                  <a:pt x="1207388" y="86573"/>
                  <a:pt x="1203269" y="80761"/>
                </a:cubicBezTo>
                <a:cubicBezTo>
                  <a:pt x="1201210" y="77273"/>
                  <a:pt x="1198122" y="73785"/>
                  <a:pt x="1197093" y="67973"/>
                </a:cubicBezTo>
                <a:cubicBezTo>
                  <a:pt x="1196063" y="64486"/>
                  <a:pt x="1197093" y="59835"/>
                  <a:pt x="1197093" y="55185"/>
                </a:cubicBezTo>
                <a:cubicBezTo>
                  <a:pt x="1188857" y="56348"/>
                  <a:pt x="1188857" y="47047"/>
                  <a:pt x="1186798" y="38910"/>
                </a:cubicBezTo>
                <a:cubicBezTo>
                  <a:pt x="1194005" y="30772"/>
                  <a:pt x="1189886" y="40073"/>
                  <a:pt x="1196063" y="42397"/>
                </a:cubicBezTo>
                <a:cubicBezTo>
                  <a:pt x="1197093" y="23796"/>
                  <a:pt x="1179591" y="31933"/>
                  <a:pt x="1179591" y="13335"/>
                </a:cubicBezTo>
                <a:cubicBezTo>
                  <a:pt x="1182680" y="13335"/>
                  <a:pt x="1185768" y="13335"/>
                  <a:pt x="1188857" y="13335"/>
                </a:cubicBezTo>
                <a:cubicBezTo>
                  <a:pt x="1189887" y="9266"/>
                  <a:pt x="1188600" y="6940"/>
                  <a:pt x="1186927" y="5197"/>
                </a:cubicBezTo>
                <a:close/>
                <a:moveTo>
                  <a:pt x="1165879" y="1403"/>
                </a:moveTo>
                <a:lnTo>
                  <a:pt x="1167624" y="1403"/>
                </a:lnTo>
                <a:lnTo>
                  <a:pt x="1170125" y="6299"/>
                </a:lnTo>
                <a:cubicBezTo>
                  <a:pt x="1171114" y="9664"/>
                  <a:pt x="1171741" y="13478"/>
                  <a:pt x="1171355" y="15658"/>
                </a:cubicBezTo>
                <a:cubicBezTo>
                  <a:pt x="1168267" y="12171"/>
                  <a:pt x="1166208" y="8683"/>
                  <a:pt x="1165177" y="2871"/>
                </a:cubicBez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752" name="Text Placeholder 21">
            <a:extLst>
              <a:ext uri="{FF2B5EF4-FFF2-40B4-BE49-F238E27FC236}">
                <a16:creationId xmlns:a16="http://schemas.microsoft.com/office/drawing/2014/main" id="{38C7558E-4B92-4B0D-893B-886894BA2780}"/>
              </a:ext>
            </a:extLst>
          </p:cNvPr>
          <p:cNvSpPr>
            <a:spLocks noGrp="1"/>
          </p:cNvSpPr>
          <p:nvPr>
            <p:ph type="body" sz="quarter" idx="12"/>
          </p:nvPr>
        </p:nvSpPr>
        <p:spPr>
          <a:xfrm>
            <a:off x="515937" y="2397112"/>
            <a:ext cx="5580062" cy="957417"/>
          </a:xfrm>
        </p:spPr>
        <p:txBody>
          <a:bodyPr>
            <a:normAutofit/>
          </a:bodyPr>
          <a:lstStyle>
            <a:lvl1pPr marL="0" indent="0">
              <a:lnSpc>
                <a:spcPct val="100000"/>
              </a:lnSpc>
              <a:spcBef>
                <a:spcPts val="0"/>
              </a:spcBef>
              <a:buFont typeface="Arial" panose="020B0604020202020204" pitchFamily="34" charset="0"/>
              <a:buNone/>
              <a:defRPr sz="1400" b="1">
                <a:solidFill>
                  <a:schemeClr val="tx1"/>
                </a:solidFill>
                <a:latin typeface="+mj-lt"/>
              </a:defRPr>
            </a:lvl1pPr>
            <a:lvl2pPr marL="0" indent="0">
              <a:lnSpc>
                <a:spcPct val="90000"/>
              </a:lnSpc>
              <a:spcBef>
                <a:spcPts val="0"/>
              </a:spcBef>
              <a:buNone/>
              <a:defRPr sz="1600" b="0">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dirty="0"/>
              <a:t>Click to edit Master text styles</a:t>
            </a:r>
          </a:p>
          <a:p>
            <a:pPr lvl="1"/>
            <a:r>
              <a:rPr lang="en-US" dirty="0"/>
              <a:t>Second level</a:t>
            </a:r>
          </a:p>
        </p:txBody>
      </p:sp>
      <p:sp>
        <p:nvSpPr>
          <p:cNvPr id="753" name="Text Placeholder 21">
            <a:extLst>
              <a:ext uri="{FF2B5EF4-FFF2-40B4-BE49-F238E27FC236}">
                <a16:creationId xmlns:a16="http://schemas.microsoft.com/office/drawing/2014/main" id="{71D2B175-894C-402C-96D0-03E81F79DE4A}"/>
              </a:ext>
            </a:extLst>
          </p:cNvPr>
          <p:cNvSpPr>
            <a:spLocks noGrp="1"/>
          </p:cNvSpPr>
          <p:nvPr>
            <p:ph type="body" sz="quarter" idx="16"/>
          </p:nvPr>
        </p:nvSpPr>
        <p:spPr>
          <a:xfrm>
            <a:off x="515937" y="3637651"/>
            <a:ext cx="5580062" cy="957417"/>
          </a:xfrm>
        </p:spPr>
        <p:txBody>
          <a:bodyPr>
            <a:normAutofit/>
          </a:bodyPr>
          <a:lstStyle>
            <a:lvl1pPr marL="0" indent="0">
              <a:lnSpc>
                <a:spcPct val="100000"/>
              </a:lnSpc>
              <a:spcBef>
                <a:spcPts val="0"/>
              </a:spcBef>
              <a:buFont typeface="Arial" panose="020B0604020202020204" pitchFamily="34" charset="0"/>
              <a:buNone/>
              <a:defRPr sz="1400" b="1">
                <a:solidFill>
                  <a:schemeClr val="tx1"/>
                </a:solidFill>
                <a:latin typeface="+mj-lt"/>
              </a:defRPr>
            </a:lvl1pPr>
            <a:lvl2pPr marL="0" indent="0">
              <a:lnSpc>
                <a:spcPct val="90000"/>
              </a:lnSpc>
              <a:spcBef>
                <a:spcPts val="0"/>
              </a:spcBef>
              <a:buNone/>
              <a:defRPr sz="1600" b="0">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01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hree column + Orange panel">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1BD21BE-013F-4149-B408-BD8D5FC3F524}"/>
              </a:ext>
            </a:extLst>
          </p:cNvPr>
          <p:cNvGraphicFramePr>
            <a:graphicFrameLocks noChangeAspect="1"/>
          </p:cNvGraphicFramePr>
          <p:nvPr userDrawn="1">
            <p:custDataLst>
              <p:tags r:id="rId1"/>
            </p:custDataLst>
            <p:extLst>
              <p:ext uri="{D42A27DB-BD31-4B8C-83A1-F6EECF244321}">
                <p14:modId xmlns:p14="http://schemas.microsoft.com/office/powerpoint/2010/main" val="940384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F1BD21BE-013F-4149-B408-BD8D5FC3F5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15DDF6-DA9D-4ADC-B54F-D729636EE14E}"/>
              </a:ext>
            </a:extLst>
          </p:cNvPr>
          <p:cNvSpPr>
            <a:spLocks noGrp="1"/>
          </p:cNvSpPr>
          <p:nvPr>
            <p:ph type="title"/>
          </p:nvPr>
        </p:nvSpPr>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42924728-DE25-4639-84F8-72C33BA74969}"/>
              </a:ext>
            </a:extLst>
          </p:cNvPr>
          <p:cNvSpPr>
            <a:spLocks noGrp="1"/>
          </p:cNvSpPr>
          <p:nvPr>
            <p:ph type="ftr" sz="quarter" idx="10"/>
          </p:nvPr>
        </p:nvSpPr>
        <p:spPr/>
        <p:txBody>
          <a:bodyPr/>
          <a:lstStyle/>
          <a:p>
            <a:r>
              <a:rPr lang="en-US"/>
              <a:t>To change the footer go to menu "Insert" &gt; "Header and Footer" &gt; "Apply to All"</a:t>
            </a:r>
            <a:endParaRPr lang="en-GB" dirty="0"/>
          </a:p>
        </p:txBody>
      </p:sp>
      <p:sp>
        <p:nvSpPr>
          <p:cNvPr id="4" name="Slide Number Placeholder 3">
            <a:extLst>
              <a:ext uri="{FF2B5EF4-FFF2-40B4-BE49-F238E27FC236}">
                <a16:creationId xmlns:a16="http://schemas.microsoft.com/office/drawing/2014/main" id="{935929A9-A071-42A8-9A35-6606F704DD4E}"/>
              </a:ext>
            </a:extLst>
          </p:cNvPr>
          <p:cNvSpPr>
            <a:spLocks noGrp="1"/>
          </p:cNvSpPr>
          <p:nvPr>
            <p:ph type="sldNum" sz="quarter" idx="11"/>
          </p:nvPr>
        </p:nvSpPr>
        <p:spPr/>
        <p:txBody>
          <a:bodyPr/>
          <a:lstStyle/>
          <a:p>
            <a:fld id="{A8B7E462-AA7B-4427-9DF0-5AABDADAA92F}" type="slidenum">
              <a:rPr lang="en-GB" smtClean="0"/>
              <a:pPr/>
              <a:t>‹#›</a:t>
            </a:fld>
            <a:endParaRPr lang="en-GB" dirty="0"/>
          </a:p>
        </p:txBody>
      </p:sp>
      <p:sp>
        <p:nvSpPr>
          <p:cNvPr id="6" name="Content Placeholder 5">
            <a:extLst>
              <a:ext uri="{FF2B5EF4-FFF2-40B4-BE49-F238E27FC236}">
                <a16:creationId xmlns:a16="http://schemas.microsoft.com/office/drawing/2014/main" id="{7C49ABCD-FCAF-4276-B6A3-F686DCD6464C}"/>
              </a:ext>
            </a:extLst>
          </p:cNvPr>
          <p:cNvSpPr>
            <a:spLocks noGrp="1"/>
          </p:cNvSpPr>
          <p:nvPr>
            <p:ph sz="quarter" idx="12"/>
          </p:nvPr>
        </p:nvSpPr>
        <p:spPr>
          <a:xfrm>
            <a:off x="4394200" y="2060576"/>
            <a:ext cx="7281862" cy="4284660"/>
          </a:xfrm>
        </p:spPr>
        <p:txBody>
          <a:bodyPr numCol="2" spcCol="720000">
            <a:normAutofit/>
          </a:bodyPr>
          <a:lstStyle>
            <a:lvl1pPr>
              <a:defRPr sz="1200"/>
            </a:lvl1pPr>
            <a:lvl2pPr>
              <a:defRPr sz="1200"/>
            </a:lvl2pPr>
            <a:lvl3pPr>
              <a:defRPr sz="1200"/>
            </a:lvl3pPr>
            <a:lvl4pPr>
              <a:defRPr sz="12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2" name="Graphic 11">
            <a:extLst>
              <a:ext uri="{FF2B5EF4-FFF2-40B4-BE49-F238E27FC236}">
                <a16:creationId xmlns:a16="http://schemas.microsoft.com/office/drawing/2014/main" id="{AC4047D3-9951-425F-98B8-1D3E792A43D7}"/>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5400000">
            <a:off x="-21870" y="2231159"/>
            <a:ext cx="4530616" cy="3580071"/>
          </a:xfrm>
          <a:prstGeom prst="rect">
            <a:avLst/>
          </a:prstGeom>
        </p:spPr>
      </p:pic>
      <p:sp>
        <p:nvSpPr>
          <p:cNvPr id="15" name="Text Placeholder 14">
            <a:extLst>
              <a:ext uri="{FF2B5EF4-FFF2-40B4-BE49-F238E27FC236}">
                <a16:creationId xmlns:a16="http://schemas.microsoft.com/office/drawing/2014/main" id="{FE6E0AC4-B093-4653-A21C-44811B55F12F}"/>
              </a:ext>
            </a:extLst>
          </p:cNvPr>
          <p:cNvSpPr>
            <a:spLocks noGrp="1"/>
          </p:cNvSpPr>
          <p:nvPr>
            <p:ph type="body" sz="quarter" idx="13"/>
          </p:nvPr>
        </p:nvSpPr>
        <p:spPr>
          <a:xfrm>
            <a:off x="635000" y="2060576"/>
            <a:ext cx="3200400" cy="4010024"/>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15840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3426" y="659953"/>
            <a:ext cx="7955756" cy="825947"/>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733426" y="1485900"/>
            <a:ext cx="7955756" cy="4886325"/>
          </a:xfrm>
        </p:spPr>
        <p:txBody>
          <a:bodyPr/>
          <a:lstStyle>
            <a:lvl1pPr marL="342891" indent="-342891">
              <a:spcBef>
                <a:spcPts val="900"/>
              </a:spcBef>
              <a:buFont typeface="Wingdings" panose="05000000000000000000" pitchFamily="2" charset="2"/>
              <a:buChar char="§"/>
              <a:defRPr sz="2800" b="1">
                <a:solidFill>
                  <a:schemeClr val="bg1"/>
                </a:solidFill>
              </a:defRPr>
            </a:lvl1pPr>
          </a:lstStyle>
          <a:p>
            <a:pPr lvl="0"/>
            <a:r>
              <a:rPr lang="en-US"/>
              <a:t>Click to edit Master text styles</a:t>
            </a:r>
          </a:p>
        </p:txBody>
      </p:sp>
      <p:sp>
        <p:nvSpPr>
          <p:cNvPr id="4" name="Date Placeholder 3"/>
          <p:cNvSpPr>
            <a:spLocks noGrp="1"/>
          </p:cNvSpPr>
          <p:nvPr>
            <p:ph type="dt" sz="half" idx="10"/>
          </p:nvPr>
        </p:nvSpPr>
        <p:spPr>
          <a:xfrm>
            <a:off x="8689181" y="6372225"/>
            <a:ext cx="635795" cy="273051"/>
          </a:xfrm>
        </p:spPr>
        <p:txBody>
          <a:bodyPr/>
          <a:lstStyle>
            <a:lvl1pPr>
              <a:defRPr>
                <a:solidFill>
                  <a:schemeClr val="bg1"/>
                </a:solidFill>
              </a:defRPr>
            </a:lvl1pPr>
          </a:lstStyle>
          <a:p>
            <a:fld id="{6064C687-E54E-4A59-A131-5441B095AAD8}" type="datetime1">
              <a:rPr lang="en-GB" smtClean="0"/>
              <a:pPr/>
              <a:t>07/10/2025</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t>Presentation info in footer</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D5361521-EF7F-456B-A25F-4EAD8E019C37}" type="slidenum">
              <a:rPr lang="en-GB" smtClean="0"/>
              <a:pPr/>
              <a:t>‹#›</a:t>
            </a:fld>
            <a:endParaRPr lang="en-GB" dirty="0"/>
          </a:p>
        </p:txBody>
      </p:sp>
      <p:grpSp>
        <p:nvGrpSpPr>
          <p:cNvPr id="8" name="Group 7"/>
          <p:cNvGrpSpPr/>
          <p:nvPr userDrawn="1"/>
        </p:nvGrpSpPr>
        <p:grpSpPr>
          <a:xfrm>
            <a:off x="8689182" y="265823"/>
            <a:ext cx="1266879" cy="116108"/>
            <a:chOff x="226220" y="265823"/>
            <a:chExt cx="1266878" cy="116108"/>
          </a:xfrm>
        </p:grpSpPr>
        <p:pic>
          <p:nvPicPr>
            <p:cNvPr id="9" name="Picture 8"/>
            <p:cNvPicPr>
              <a:picLocks noChangeAspect="1"/>
            </p:cNvPicPr>
            <p:nvPr userDrawn="1"/>
          </p:nvPicPr>
          <p:blipFill>
            <a:blip r:embed="rId2"/>
            <a:stretch>
              <a:fillRect/>
            </a:stretch>
          </p:blipFill>
          <p:spPr>
            <a:xfrm>
              <a:off x="226220" y="265823"/>
              <a:ext cx="460800" cy="115810"/>
            </a:xfrm>
            <a:prstGeom prst="rect">
              <a:avLst/>
            </a:prstGeom>
          </p:spPr>
        </p:pic>
        <p:pic>
          <p:nvPicPr>
            <p:cNvPr id="10" name="Picture 9"/>
            <p:cNvPicPr>
              <a:picLocks noChangeAspect="1"/>
            </p:cNvPicPr>
            <p:nvPr userDrawn="1"/>
          </p:nvPicPr>
          <p:blipFill>
            <a:blip r:embed="rId3"/>
            <a:stretch>
              <a:fillRect/>
            </a:stretch>
          </p:blipFill>
          <p:spPr>
            <a:xfrm>
              <a:off x="733498" y="310374"/>
              <a:ext cx="759600" cy="71557"/>
            </a:xfrm>
            <a:prstGeom prst="rect">
              <a:avLst/>
            </a:prstGeom>
          </p:spPr>
        </p:pic>
      </p:grpSp>
      <p:sp>
        <p:nvSpPr>
          <p:cNvPr id="12" name="TextBox 11"/>
          <p:cNvSpPr txBox="1"/>
          <p:nvPr userDrawn="1"/>
        </p:nvSpPr>
        <p:spPr>
          <a:xfrm>
            <a:off x="733426" y="6372225"/>
            <a:ext cx="2430628" cy="273051"/>
          </a:xfrm>
          <a:prstGeom prst="rect">
            <a:avLst/>
          </a:prstGeom>
          <a:noFill/>
        </p:spPr>
        <p:txBody>
          <a:bodyPr wrap="square" lIns="0" tIns="0" rIns="0" bIns="0" rtlCol="0" anchor="b" anchorCtr="0">
            <a:noAutofit/>
          </a:bodyPr>
          <a:lstStyle/>
          <a:p>
            <a:r>
              <a:rPr lang="en-GB" sz="800" kern="1200" dirty="0">
                <a:solidFill>
                  <a:schemeClr val="bg1"/>
                </a:solidFill>
                <a:latin typeface="+mn-lt"/>
                <a:ea typeface="+mn-ea"/>
                <a:cs typeface="+mn-cs"/>
              </a:rPr>
              <a:t>© Cadent Gas Ltd 2017 </a:t>
            </a:r>
          </a:p>
        </p:txBody>
      </p:sp>
    </p:spTree>
    <p:extLst>
      <p:ext uri="{BB962C8B-B14F-4D97-AF65-F5344CB8AC3E}">
        <p14:creationId xmlns:p14="http://schemas.microsoft.com/office/powerpoint/2010/main" val="15087191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Q&amp;A Text">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98BD966-7897-4ABC-8329-9F605B75763B}"/>
              </a:ext>
            </a:extLst>
          </p:cNvPr>
          <p:cNvGraphicFramePr>
            <a:graphicFrameLocks noChangeAspect="1"/>
          </p:cNvGraphicFramePr>
          <p:nvPr userDrawn="1">
            <p:custDataLst>
              <p:tags r:id="rId1"/>
            </p:custDataLst>
            <p:extLst>
              <p:ext uri="{D42A27DB-BD31-4B8C-83A1-F6EECF244321}">
                <p14:modId xmlns:p14="http://schemas.microsoft.com/office/powerpoint/2010/main" val="2647416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098BD966-7897-4ABC-8329-9F605B757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2916A7-374C-487F-A6C2-2A99B6521EBA}"/>
              </a:ext>
            </a:extLst>
          </p:cNvPr>
          <p:cNvSpPr>
            <a:spLocks noGrp="1"/>
          </p:cNvSpPr>
          <p:nvPr>
            <p:ph type="title" hasCustomPrompt="1"/>
          </p:nvPr>
        </p:nvSpPr>
        <p:spPr>
          <a:xfrm>
            <a:off x="515937" y="447448"/>
            <a:ext cx="5973763" cy="1438502"/>
          </a:xfrm>
        </p:spPr>
        <p:txBody>
          <a:bodyPr vert="horz">
            <a:noAutofit/>
          </a:bodyPr>
          <a:lstStyle>
            <a:lvl1pPr>
              <a:lnSpc>
                <a:spcPct val="90000"/>
              </a:lnSpc>
              <a:defRPr sz="7200"/>
            </a:lvl1pPr>
          </a:lstStyle>
          <a:p>
            <a:r>
              <a:rPr lang="en-US" dirty="0"/>
              <a:t>Q&amp;A</a:t>
            </a:r>
            <a:endParaRPr lang="en-GB" dirty="0"/>
          </a:p>
        </p:txBody>
      </p:sp>
      <p:sp>
        <p:nvSpPr>
          <p:cNvPr id="3" name="Footer Placeholder 2">
            <a:extLst>
              <a:ext uri="{FF2B5EF4-FFF2-40B4-BE49-F238E27FC236}">
                <a16:creationId xmlns:a16="http://schemas.microsoft.com/office/drawing/2014/main" id="{80A5ACAE-F481-4D78-9B8C-EF0854C74634}"/>
              </a:ext>
            </a:extLst>
          </p:cNvPr>
          <p:cNvSpPr>
            <a:spLocks noGrp="1"/>
          </p:cNvSpPr>
          <p:nvPr>
            <p:ph type="ftr" sz="quarter" idx="10"/>
          </p:nvPr>
        </p:nvSpPr>
        <p:spPr/>
        <p:txBody>
          <a:bodyPr/>
          <a:lstStyle/>
          <a:p>
            <a:r>
              <a:rPr lang="en-US"/>
              <a:t>To change the footer go to menu "Insert" &gt; "Header and Footer" &gt; "Apply to All"</a:t>
            </a:r>
            <a:endParaRPr lang="en-GB" dirty="0"/>
          </a:p>
        </p:txBody>
      </p:sp>
      <p:sp>
        <p:nvSpPr>
          <p:cNvPr id="4" name="Slide Number Placeholder 3">
            <a:extLst>
              <a:ext uri="{FF2B5EF4-FFF2-40B4-BE49-F238E27FC236}">
                <a16:creationId xmlns:a16="http://schemas.microsoft.com/office/drawing/2014/main" id="{68287245-551E-44A2-82E6-108CCD4C99F1}"/>
              </a:ext>
            </a:extLst>
          </p:cNvPr>
          <p:cNvSpPr>
            <a:spLocks noGrp="1"/>
          </p:cNvSpPr>
          <p:nvPr>
            <p:ph type="sldNum" sz="quarter" idx="11"/>
          </p:nvPr>
        </p:nvSpPr>
        <p:spPr/>
        <p:txBody>
          <a:bodyPr/>
          <a:lstStyle/>
          <a:p>
            <a:fld id="{A8B7E462-AA7B-4427-9DF0-5AABDADAA92F}" type="slidenum">
              <a:rPr lang="en-GB" smtClean="0"/>
              <a:pPr/>
              <a:t>‹#›</a:t>
            </a:fld>
            <a:endParaRPr lang="en-GB" dirty="0"/>
          </a:p>
        </p:txBody>
      </p:sp>
      <p:sp>
        <p:nvSpPr>
          <p:cNvPr id="15" name="Text Placeholder 14">
            <a:extLst>
              <a:ext uri="{FF2B5EF4-FFF2-40B4-BE49-F238E27FC236}">
                <a16:creationId xmlns:a16="http://schemas.microsoft.com/office/drawing/2014/main" id="{E120C1F3-EA6F-49CB-9EE0-450CED14E184}"/>
              </a:ext>
            </a:extLst>
          </p:cNvPr>
          <p:cNvSpPr>
            <a:spLocks noGrp="1"/>
          </p:cNvSpPr>
          <p:nvPr>
            <p:ph type="body" sz="quarter" idx="12"/>
          </p:nvPr>
        </p:nvSpPr>
        <p:spPr>
          <a:xfrm>
            <a:off x="515938" y="2060575"/>
            <a:ext cx="5973762" cy="416585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9" name="Graphic 18">
            <a:extLst>
              <a:ext uri="{FF2B5EF4-FFF2-40B4-BE49-F238E27FC236}">
                <a16:creationId xmlns:a16="http://schemas.microsoft.com/office/drawing/2014/main" id="{1ED88B3B-6256-4FCC-968E-E2EC0D8C3CD4}"/>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r="7703"/>
          <a:stretch>
            <a:fillRect/>
          </a:stretch>
        </p:blipFill>
        <p:spPr>
          <a:xfrm>
            <a:off x="7018338" y="359570"/>
            <a:ext cx="5173662" cy="5101430"/>
          </a:xfrm>
          <a:custGeom>
            <a:avLst/>
            <a:gdLst>
              <a:gd name="connsiteX0" fmla="*/ 0 w 5173662"/>
              <a:gd name="connsiteY0" fmla="*/ 0 h 5101430"/>
              <a:gd name="connsiteX1" fmla="*/ 5173662 w 5173662"/>
              <a:gd name="connsiteY1" fmla="*/ 0 h 5101430"/>
              <a:gd name="connsiteX2" fmla="*/ 5173662 w 5173662"/>
              <a:gd name="connsiteY2" fmla="*/ 5101430 h 5101430"/>
              <a:gd name="connsiteX3" fmla="*/ 0 w 5173662"/>
              <a:gd name="connsiteY3" fmla="*/ 5101430 h 5101430"/>
            </a:gdLst>
            <a:ahLst/>
            <a:cxnLst>
              <a:cxn ang="0">
                <a:pos x="connsiteX0" y="connsiteY0"/>
              </a:cxn>
              <a:cxn ang="0">
                <a:pos x="connsiteX1" y="connsiteY1"/>
              </a:cxn>
              <a:cxn ang="0">
                <a:pos x="connsiteX2" y="connsiteY2"/>
              </a:cxn>
              <a:cxn ang="0">
                <a:pos x="connsiteX3" y="connsiteY3"/>
              </a:cxn>
            </a:cxnLst>
            <a:rect l="l" t="t" r="r" b="b"/>
            <a:pathLst>
              <a:path w="5173662" h="5101430">
                <a:moveTo>
                  <a:pt x="0" y="0"/>
                </a:moveTo>
                <a:lnTo>
                  <a:pt x="5173662" y="0"/>
                </a:lnTo>
                <a:lnTo>
                  <a:pt x="5173662" y="5101430"/>
                </a:lnTo>
                <a:lnTo>
                  <a:pt x="0" y="5101430"/>
                </a:lnTo>
                <a:close/>
              </a:path>
            </a:pathLst>
          </a:custGeom>
        </p:spPr>
      </p:pic>
    </p:spTree>
    <p:extLst>
      <p:ext uri="{BB962C8B-B14F-4D97-AF65-F5344CB8AC3E}">
        <p14:creationId xmlns:p14="http://schemas.microsoft.com/office/powerpoint/2010/main" val="1315919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ext + One Content">
    <p:bg>
      <p:bgPr>
        <a:solidFill>
          <a:srgbClr val="F2F2F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FDA3EBE-8AE3-405B-98A4-16AAFCAD7AA9}"/>
              </a:ext>
            </a:extLst>
          </p:cNvPr>
          <p:cNvGraphicFramePr>
            <a:graphicFrameLocks noChangeAspect="1"/>
          </p:cNvGraphicFramePr>
          <p:nvPr userDrawn="1">
            <p:custDataLst>
              <p:tags r:id="rId1"/>
            </p:custDataLst>
            <p:extLst>
              <p:ext uri="{D42A27DB-BD31-4B8C-83A1-F6EECF244321}">
                <p14:modId xmlns:p14="http://schemas.microsoft.com/office/powerpoint/2010/main" val="1911266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3FDA3EBE-8AE3-405B-98A4-16AAFCAD7A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8541C4C1-5D06-4227-820A-C5AF8F463DC8}"/>
              </a:ext>
            </a:extLst>
          </p:cNvPr>
          <p:cNvSpPr/>
          <p:nvPr userDrawn="1"/>
        </p:nvSpPr>
        <p:spPr>
          <a:xfrm rot="5400000" flipH="1">
            <a:off x="3581398" y="-1917700"/>
            <a:ext cx="4584699" cy="11747497"/>
          </a:xfrm>
          <a:custGeom>
            <a:avLst/>
            <a:gdLst>
              <a:gd name="connsiteX0" fmla="*/ 19499 w 4838702"/>
              <a:gd name="connsiteY0" fmla="*/ 279879 h 11747497"/>
              <a:gd name="connsiteX1" fmla="*/ 15051 w 4838702"/>
              <a:gd name="connsiteY1" fmla="*/ 265258 h 11747497"/>
              <a:gd name="connsiteX2" fmla="*/ 16654 w 4838702"/>
              <a:gd name="connsiteY2" fmla="*/ 306841 h 11747497"/>
              <a:gd name="connsiteX3" fmla="*/ 19499 w 4838702"/>
              <a:gd name="connsiteY3" fmla="*/ 279879 h 11747497"/>
              <a:gd name="connsiteX4" fmla="*/ 31653 w 4838702"/>
              <a:gd name="connsiteY4" fmla="*/ 6254243 h 11747497"/>
              <a:gd name="connsiteX5" fmla="*/ 31135 w 4838702"/>
              <a:gd name="connsiteY5" fmla="*/ 6252848 h 11747497"/>
              <a:gd name="connsiteX6" fmla="*/ 31135 w 4838702"/>
              <a:gd name="connsiteY6" fmla="*/ 6323448 h 11747497"/>
              <a:gd name="connsiteX7" fmla="*/ 31239 w 4838702"/>
              <a:gd name="connsiteY7" fmla="*/ 6323549 h 11747497"/>
              <a:gd name="connsiteX8" fmla="*/ 32894 w 4838702"/>
              <a:gd name="connsiteY8" fmla="*/ 6670175 h 11747497"/>
              <a:gd name="connsiteX9" fmla="*/ 32170 w 4838702"/>
              <a:gd name="connsiteY9" fmla="*/ 6476120 h 11747497"/>
              <a:gd name="connsiteX10" fmla="*/ 31135 w 4838702"/>
              <a:gd name="connsiteY10" fmla="*/ 6435435 h 11747497"/>
              <a:gd name="connsiteX11" fmla="*/ 31135 w 4838702"/>
              <a:gd name="connsiteY11" fmla="*/ 6679249 h 11747497"/>
              <a:gd name="connsiteX12" fmla="*/ 32894 w 4838702"/>
              <a:gd name="connsiteY12" fmla="*/ 6670175 h 11747497"/>
              <a:gd name="connsiteX13" fmla="*/ 33308 w 4838702"/>
              <a:gd name="connsiteY13" fmla="*/ 6919775 h 11747497"/>
              <a:gd name="connsiteX14" fmla="*/ 31188 w 4838702"/>
              <a:gd name="connsiteY14" fmla="*/ 6919675 h 11747497"/>
              <a:gd name="connsiteX15" fmla="*/ 31188 w 4838702"/>
              <a:gd name="connsiteY15" fmla="*/ 6975019 h 11747497"/>
              <a:gd name="connsiteX16" fmla="*/ 33308 w 4838702"/>
              <a:gd name="connsiteY16" fmla="*/ 6919775 h 11747497"/>
              <a:gd name="connsiteX17" fmla="*/ 37342 w 4838702"/>
              <a:gd name="connsiteY17" fmla="*/ 4937539 h 11747497"/>
              <a:gd name="connsiteX18" fmla="*/ 32067 w 4838702"/>
              <a:gd name="connsiteY18" fmla="*/ 4909718 h 11747497"/>
              <a:gd name="connsiteX19" fmla="*/ 31135 w 4838702"/>
              <a:gd name="connsiteY19" fmla="*/ 4917097 h 11747497"/>
              <a:gd name="connsiteX20" fmla="*/ 31135 w 4838702"/>
              <a:gd name="connsiteY20" fmla="*/ 5039354 h 11747497"/>
              <a:gd name="connsiteX21" fmla="*/ 31291 w 4838702"/>
              <a:gd name="connsiteY21" fmla="*/ 5048329 h 11747497"/>
              <a:gd name="connsiteX22" fmla="*/ 31135 w 4838702"/>
              <a:gd name="connsiteY22" fmla="*/ 5087020 h 11747497"/>
              <a:gd name="connsiteX23" fmla="*/ 31135 w 4838702"/>
              <a:gd name="connsiteY23" fmla="*/ 5189533 h 11747497"/>
              <a:gd name="connsiteX24" fmla="*/ 35739 w 4838702"/>
              <a:gd name="connsiteY24" fmla="*/ 5214762 h 11747497"/>
              <a:gd name="connsiteX25" fmla="*/ 34342 w 4838702"/>
              <a:gd name="connsiteY25" fmla="*/ 5145456 h 11747497"/>
              <a:gd name="connsiteX26" fmla="*/ 37187 w 4838702"/>
              <a:gd name="connsiteY26" fmla="*/ 4965262 h 11747497"/>
              <a:gd name="connsiteX27" fmla="*/ 37342 w 4838702"/>
              <a:gd name="connsiteY27" fmla="*/ 4937539 h 11747497"/>
              <a:gd name="connsiteX28" fmla="*/ 37704 w 4838702"/>
              <a:gd name="connsiteY28" fmla="*/ 5838610 h 11747497"/>
              <a:gd name="connsiteX29" fmla="*/ 36411 w 4838702"/>
              <a:gd name="connsiteY29" fmla="*/ 5741483 h 11747497"/>
              <a:gd name="connsiteX30" fmla="*/ 31188 w 4838702"/>
              <a:gd name="connsiteY30" fmla="*/ 5728220 h 11747497"/>
              <a:gd name="connsiteX31" fmla="*/ 31188 w 4838702"/>
              <a:gd name="connsiteY31" fmla="*/ 5863739 h 11747497"/>
              <a:gd name="connsiteX32" fmla="*/ 37704 w 4838702"/>
              <a:gd name="connsiteY32" fmla="*/ 5838610 h 11747497"/>
              <a:gd name="connsiteX33" fmla="*/ 39463 w 4838702"/>
              <a:gd name="connsiteY33" fmla="*/ 5519806 h 11747497"/>
              <a:gd name="connsiteX34" fmla="*/ 32377 w 4838702"/>
              <a:gd name="connsiteY34" fmla="*/ 5491883 h 11747497"/>
              <a:gd name="connsiteX35" fmla="*/ 32118 w 4838702"/>
              <a:gd name="connsiteY35" fmla="*/ 5533367 h 11747497"/>
              <a:gd name="connsiteX36" fmla="*/ 39463 w 4838702"/>
              <a:gd name="connsiteY36" fmla="*/ 5519806 h 11747497"/>
              <a:gd name="connsiteX37" fmla="*/ 41169 w 4838702"/>
              <a:gd name="connsiteY37" fmla="*/ 3634597 h 11747497"/>
              <a:gd name="connsiteX38" fmla="*/ 31135 w 4838702"/>
              <a:gd name="connsiteY38" fmla="*/ 3635994 h 11747497"/>
              <a:gd name="connsiteX39" fmla="*/ 31135 w 4838702"/>
              <a:gd name="connsiteY39" fmla="*/ 3728135 h 11747497"/>
              <a:gd name="connsiteX40" fmla="*/ 41169 w 4838702"/>
              <a:gd name="connsiteY40" fmla="*/ 3634597 h 11747497"/>
              <a:gd name="connsiteX41" fmla="*/ 44085 w 4838702"/>
              <a:gd name="connsiteY41" fmla="*/ 6411589 h 11747497"/>
              <a:gd name="connsiteX42" fmla="*/ 43652 w 4838702"/>
              <a:gd name="connsiteY42" fmla="*/ 6379392 h 11747497"/>
              <a:gd name="connsiteX43" fmla="*/ 35894 w 4838702"/>
              <a:gd name="connsiteY43" fmla="*/ 6462360 h 11747497"/>
              <a:gd name="connsiteX44" fmla="*/ 39670 w 4838702"/>
              <a:gd name="connsiteY44" fmla="*/ 6434737 h 11747497"/>
              <a:gd name="connsiteX45" fmla="*/ 44085 w 4838702"/>
              <a:gd name="connsiteY45" fmla="*/ 6411589 h 11747497"/>
              <a:gd name="connsiteX46" fmla="*/ 45772 w 4838702"/>
              <a:gd name="connsiteY46" fmla="*/ 4185838 h 11747497"/>
              <a:gd name="connsiteX47" fmla="*/ 45462 w 4838702"/>
              <a:gd name="connsiteY47" fmla="*/ 4147359 h 11747497"/>
              <a:gd name="connsiteX48" fmla="*/ 41997 w 4838702"/>
              <a:gd name="connsiteY48" fmla="*/ 4119536 h 11747497"/>
              <a:gd name="connsiteX49" fmla="*/ 38583 w 4838702"/>
              <a:gd name="connsiteY49" fmla="*/ 4077954 h 11747497"/>
              <a:gd name="connsiteX50" fmla="*/ 38118 w 4838702"/>
              <a:gd name="connsiteY50" fmla="*/ 4161119 h 11747497"/>
              <a:gd name="connsiteX51" fmla="*/ 41583 w 4838702"/>
              <a:gd name="connsiteY51" fmla="*/ 4188941 h 11747497"/>
              <a:gd name="connsiteX52" fmla="*/ 37704 w 4838702"/>
              <a:gd name="connsiteY52" fmla="*/ 4230425 h 11747497"/>
              <a:gd name="connsiteX53" fmla="*/ 31135 w 4838702"/>
              <a:gd name="connsiteY53" fmla="*/ 4218259 h 11747497"/>
              <a:gd name="connsiteX54" fmla="*/ 31135 w 4838702"/>
              <a:gd name="connsiteY54" fmla="*/ 4258247 h 11747497"/>
              <a:gd name="connsiteX55" fmla="*/ 37652 w 4838702"/>
              <a:gd name="connsiteY55" fmla="*/ 4244386 h 11747497"/>
              <a:gd name="connsiteX56" fmla="*/ 40807 w 4838702"/>
              <a:gd name="connsiteY56" fmla="*/ 4327653 h 11747497"/>
              <a:gd name="connsiteX57" fmla="*/ 38997 w 4838702"/>
              <a:gd name="connsiteY57" fmla="*/ 4327553 h 11747497"/>
              <a:gd name="connsiteX58" fmla="*/ 36928 w 4838702"/>
              <a:gd name="connsiteY58" fmla="*/ 4369036 h 11747497"/>
              <a:gd name="connsiteX59" fmla="*/ 35997 w 4838702"/>
              <a:gd name="connsiteY59" fmla="*/ 4535369 h 11747497"/>
              <a:gd name="connsiteX60" fmla="*/ 35687 w 4838702"/>
              <a:gd name="connsiteY60" fmla="*/ 4590814 h 11747497"/>
              <a:gd name="connsiteX61" fmla="*/ 31135 w 4838702"/>
              <a:gd name="connsiteY61" fmla="*/ 4600387 h 11747497"/>
              <a:gd name="connsiteX62" fmla="*/ 31135 w 4838702"/>
              <a:gd name="connsiteY62" fmla="*/ 4799228 h 11747497"/>
              <a:gd name="connsiteX63" fmla="*/ 36307 w 4838702"/>
              <a:gd name="connsiteY63" fmla="*/ 4798829 h 11747497"/>
              <a:gd name="connsiteX64" fmla="*/ 38583 w 4838702"/>
              <a:gd name="connsiteY64" fmla="*/ 4715662 h 11747497"/>
              <a:gd name="connsiteX65" fmla="*/ 39049 w 4838702"/>
              <a:gd name="connsiteY65" fmla="*/ 4632497 h 11747497"/>
              <a:gd name="connsiteX66" fmla="*/ 39204 w 4838702"/>
              <a:gd name="connsiteY66" fmla="*/ 4604774 h 11747497"/>
              <a:gd name="connsiteX67" fmla="*/ 39514 w 4838702"/>
              <a:gd name="connsiteY67" fmla="*/ 4549329 h 11747497"/>
              <a:gd name="connsiteX68" fmla="*/ 39773 w 4838702"/>
              <a:gd name="connsiteY68" fmla="*/ 4507746 h 11747497"/>
              <a:gd name="connsiteX69" fmla="*/ 41894 w 4838702"/>
              <a:gd name="connsiteY69" fmla="*/ 4452302 h 11747497"/>
              <a:gd name="connsiteX70" fmla="*/ 43807 w 4838702"/>
              <a:gd name="connsiteY70" fmla="*/ 4438441 h 11747497"/>
              <a:gd name="connsiteX71" fmla="*/ 42307 w 4838702"/>
              <a:gd name="connsiteY71" fmla="*/ 4382897 h 11747497"/>
              <a:gd name="connsiteX72" fmla="*/ 44376 w 4838702"/>
              <a:gd name="connsiteY72" fmla="*/ 4341413 h 11747497"/>
              <a:gd name="connsiteX73" fmla="*/ 44686 w 4838702"/>
              <a:gd name="connsiteY73" fmla="*/ 4285970 h 11747497"/>
              <a:gd name="connsiteX74" fmla="*/ 44997 w 4838702"/>
              <a:gd name="connsiteY74" fmla="*/ 4230525 h 11747497"/>
              <a:gd name="connsiteX75" fmla="*/ 45772 w 4838702"/>
              <a:gd name="connsiteY75" fmla="*/ 4185838 h 11747497"/>
              <a:gd name="connsiteX76" fmla="*/ 46820 w 4838702"/>
              <a:gd name="connsiteY76" fmla="*/ 969580 h 11747497"/>
              <a:gd name="connsiteX77" fmla="*/ 44790 w 4838702"/>
              <a:gd name="connsiteY77" fmla="*/ 1097820 h 11747497"/>
              <a:gd name="connsiteX78" fmla="*/ 35635 w 4838702"/>
              <a:gd name="connsiteY78" fmla="*/ 1111382 h 11747497"/>
              <a:gd name="connsiteX79" fmla="*/ 39100 w 4838702"/>
              <a:gd name="connsiteY79" fmla="*/ 1139204 h 11747497"/>
              <a:gd name="connsiteX80" fmla="*/ 38325 w 4838702"/>
              <a:gd name="connsiteY80" fmla="*/ 1277814 h 11747497"/>
              <a:gd name="connsiteX81" fmla="*/ 32739 w 4838702"/>
              <a:gd name="connsiteY81" fmla="*/ 1305437 h 11747497"/>
              <a:gd name="connsiteX82" fmla="*/ 26895 w 4838702"/>
              <a:gd name="connsiteY82" fmla="*/ 1374543 h 11747497"/>
              <a:gd name="connsiteX83" fmla="*/ 25240 w 4838702"/>
              <a:gd name="connsiteY83" fmla="*/ 1346821 h 11747497"/>
              <a:gd name="connsiteX84" fmla="*/ 17895 w 4838702"/>
              <a:gd name="connsiteY84" fmla="*/ 1360482 h 11747497"/>
              <a:gd name="connsiteX85" fmla="*/ 14741 w 4838702"/>
              <a:gd name="connsiteY85" fmla="*/ 1277217 h 11747497"/>
              <a:gd name="connsiteX86" fmla="*/ 20482 w 4838702"/>
              <a:gd name="connsiteY86" fmla="*/ 1221871 h 11747497"/>
              <a:gd name="connsiteX87" fmla="*/ 22550 w 4838702"/>
              <a:gd name="connsiteY87" fmla="*/ 1180389 h 11747497"/>
              <a:gd name="connsiteX88" fmla="*/ 28136 w 4838702"/>
              <a:gd name="connsiteY88" fmla="*/ 1152865 h 11747497"/>
              <a:gd name="connsiteX89" fmla="*/ 27412 w 4838702"/>
              <a:gd name="connsiteY89" fmla="*/ 958710 h 11747497"/>
              <a:gd name="connsiteX90" fmla="*/ 40238 w 4838702"/>
              <a:gd name="connsiteY90" fmla="*/ 945248 h 11747497"/>
              <a:gd name="connsiteX91" fmla="*/ 40549 w 4838702"/>
              <a:gd name="connsiteY91" fmla="*/ 889803 h 11747497"/>
              <a:gd name="connsiteX92" fmla="*/ 46820 w 4838702"/>
              <a:gd name="connsiteY92" fmla="*/ 969580 h 11747497"/>
              <a:gd name="connsiteX93" fmla="*/ 48307 w 4838702"/>
              <a:gd name="connsiteY93" fmla="*/ 3967364 h 11747497"/>
              <a:gd name="connsiteX94" fmla="*/ 45100 w 4838702"/>
              <a:gd name="connsiteY94" fmla="*/ 3898058 h 11747497"/>
              <a:gd name="connsiteX95" fmla="*/ 31135 w 4838702"/>
              <a:gd name="connsiteY95" fmla="*/ 3891576 h 11747497"/>
              <a:gd name="connsiteX96" fmla="*/ 31135 w 4838702"/>
              <a:gd name="connsiteY96" fmla="*/ 3922988 h 11747497"/>
              <a:gd name="connsiteX97" fmla="*/ 37601 w 4838702"/>
              <a:gd name="connsiteY97" fmla="*/ 3939342 h 11747497"/>
              <a:gd name="connsiteX98" fmla="*/ 39566 w 4838702"/>
              <a:gd name="connsiteY98" fmla="*/ 3911720 h 11747497"/>
              <a:gd name="connsiteX99" fmla="*/ 41169 w 4838702"/>
              <a:gd name="connsiteY99" fmla="*/ 3953403 h 11747497"/>
              <a:gd name="connsiteX100" fmla="*/ 32067 w 4838702"/>
              <a:gd name="connsiteY100" fmla="*/ 3953104 h 11747497"/>
              <a:gd name="connsiteX101" fmla="*/ 33308 w 4838702"/>
              <a:gd name="connsiteY101" fmla="*/ 4050231 h 11747497"/>
              <a:gd name="connsiteX102" fmla="*/ 42462 w 4838702"/>
              <a:gd name="connsiteY102" fmla="*/ 4036569 h 11747497"/>
              <a:gd name="connsiteX103" fmla="*/ 48307 w 4838702"/>
              <a:gd name="connsiteY103" fmla="*/ 3967364 h 11747497"/>
              <a:gd name="connsiteX104" fmla="*/ 48617 w 4838702"/>
              <a:gd name="connsiteY104" fmla="*/ 5506143 h 11747497"/>
              <a:gd name="connsiteX105" fmla="*/ 46341 w 4838702"/>
              <a:gd name="connsiteY105" fmla="*/ 5589310 h 11747497"/>
              <a:gd name="connsiteX106" fmla="*/ 48617 w 4838702"/>
              <a:gd name="connsiteY106" fmla="*/ 5506143 h 11747497"/>
              <a:gd name="connsiteX107" fmla="*/ 49703 w 4838702"/>
              <a:gd name="connsiteY107" fmla="*/ 557237 h 11747497"/>
              <a:gd name="connsiteX108" fmla="*/ 49289 w 4838702"/>
              <a:gd name="connsiteY108" fmla="*/ 626543 h 11747497"/>
              <a:gd name="connsiteX109" fmla="*/ 44272 w 4838702"/>
              <a:gd name="connsiteY109" fmla="*/ 557038 h 11747497"/>
              <a:gd name="connsiteX110" fmla="*/ 49910 w 4838702"/>
              <a:gd name="connsiteY110" fmla="*/ 1791073 h 11747497"/>
              <a:gd name="connsiteX111" fmla="*/ 42669 w 4838702"/>
              <a:gd name="connsiteY111" fmla="*/ 1790874 h 11747497"/>
              <a:gd name="connsiteX112" fmla="*/ 48668 w 4838702"/>
              <a:gd name="connsiteY112" fmla="*/ 1694046 h 11747497"/>
              <a:gd name="connsiteX113" fmla="*/ 49910 w 4838702"/>
              <a:gd name="connsiteY113" fmla="*/ 1791073 h 11747497"/>
              <a:gd name="connsiteX114" fmla="*/ 50220 w 4838702"/>
              <a:gd name="connsiteY114" fmla="*/ 779014 h 11747497"/>
              <a:gd name="connsiteX115" fmla="*/ 44324 w 4838702"/>
              <a:gd name="connsiteY115" fmla="*/ 862082 h 11747497"/>
              <a:gd name="connsiteX116" fmla="*/ 44583 w 4838702"/>
              <a:gd name="connsiteY116" fmla="*/ 820499 h 11747497"/>
              <a:gd name="connsiteX117" fmla="*/ 37601 w 4838702"/>
              <a:gd name="connsiteY117" fmla="*/ 764754 h 11747497"/>
              <a:gd name="connsiteX118" fmla="*/ 46755 w 4838702"/>
              <a:gd name="connsiteY118" fmla="*/ 751193 h 11747497"/>
              <a:gd name="connsiteX119" fmla="*/ 43342 w 4838702"/>
              <a:gd name="connsiteY119" fmla="*/ 709510 h 11747497"/>
              <a:gd name="connsiteX120" fmla="*/ 47220 w 4838702"/>
              <a:gd name="connsiteY120" fmla="*/ 668027 h 11747497"/>
              <a:gd name="connsiteX121" fmla="*/ 48461 w 4838702"/>
              <a:gd name="connsiteY121" fmla="*/ 765054 h 11747497"/>
              <a:gd name="connsiteX122" fmla="*/ 50220 w 4838702"/>
              <a:gd name="connsiteY122" fmla="*/ 779014 h 11747497"/>
              <a:gd name="connsiteX123" fmla="*/ 52600 w 4838702"/>
              <a:gd name="connsiteY123" fmla="*/ 1638701 h 11747497"/>
              <a:gd name="connsiteX124" fmla="*/ 45151 w 4838702"/>
              <a:gd name="connsiteY124" fmla="*/ 1666224 h 11747497"/>
              <a:gd name="connsiteX125" fmla="*/ 45411 w 4838702"/>
              <a:gd name="connsiteY125" fmla="*/ 1624641 h 11747497"/>
              <a:gd name="connsiteX126" fmla="*/ 52600 w 4838702"/>
              <a:gd name="connsiteY126" fmla="*/ 1638701 h 11747497"/>
              <a:gd name="connsiteX127" fmla="*/ 53498 w 4838702"/>
              <a:gd name="connsiteY127" fmla="*/ 424460 h 11747497"/>
              <a:gd name="connsiteX128" fmla="*/ 50323 w 4838702"/>
              <a:gd name="connsiteY128" fmla="*/ 446448 h 11747497"/>
              <a:gd name="connsiteX129" fmla="*/ 50582 w 4838702"/>
              <a:gd name="connsiteY129" fmla="*/ 404866 h 11747497"/>
              <a:gd name="connsiteX130" fmla="*/ 53498 w 4838702"/>
              <a:gd name="connsiteY130" fmla="*/ 424460 h 11747497"/>
              <a:gd name="connsiteX131" fmla="*/ 57719 w 4838702"/>
              <a:gd name="connsiteY131" fmla="*/ 2955803 h 11747497"/>
              <a:gd name="connsiteX132" fmla="*/ 55134 w 4838702"/>
              <a:gd name="connsiteY132" fmla="*/ 3094315 h 11747497"/>
              <a:gd name="connsiteX133" fmla="*/ 40704 w 4838702"/>
              <a:gd name="connsiteY133" fmla="*/ 3080054 h 11747497"/>
              <a:gd name="connsiteX134" fmla="*/ 44428 w 4838702"/>
              <a:gd name="connsiteY134" fmla="*/ 3052532 h 11747497"/>
              <a:gd name="connsiteX135" fmla="*/ 43031 w 4838702"/>
              <a:gd name="connsiteY135" fmla="*/ 2983127 h 11747497"/>
              <a:gd name="connsiteX136" fmla="*/ 47376 w 4838702"/>
              <a:gd name="connsiteY136" fmla="*/ 2858477 h 11747497"/>
              <a:gd name="connsiteX137" fmla="*/ 50789 w 4838702"/>
              <a:gd name="connsiteY137" fmla="*/ 2900160 h 11747497"/>
              <a:gd name="connsiteX138" fmla="*/ 57719 w 4838702"/>
              <a:gd name="connsiteY138" fmla="*/ 2955803 h 11747497"/>
              <a:gd name="connsiteX139" fmla="*/ 58429 w 4838702"/>
              <a:gd name="connsiteY139" fmla="*/ 1481566 h 11747497"/>
              <a:gd name="connsiteX140" fmla="*/ 49548 w 4838702"/>
              <a:gd name="connsiteY140" fmla="*/ 1541374 h 11747497"/>
              <a:gd name="connsiteX141" fmla="*/ 51668 w 4838702"/>
              <a:gd name="connsiteY141" fmla="*/ 1486030 h 11747497"/>
              <a:gd name="connsiteX142" fmla="*/ 57254 w 4838702"/>
              <a:gd name="connsiteY142" fmla="*/ 1458507 h 11747497"/>
              <a:gd name="connsiteX143" fmla="*/ 58429 w 4838702"/>
              <a:gd name="connsiteY143" fmla="*/ 1481566 h 11747497"/>
              <a:gd name="connsiteX144" fmla="*/ 59685 w 4838702"/>
              <a:gd name="connsiteY144" fmla="*/ 3260748 h 11747497"/>
              <a:gd name="connsiteX145" fmla="*/ 53996 w 4838702"/>
              <a:gd name="connsiteY145" fmla="*/ 3288370 h 11747497"/>
              <a:gd name="connsiteX146" fmla="*/ 51720 w 4838702"/>
              <a:gd name="connsiteY146" fmla="*/ 3371436 h 11747497"/>
              <a:gd name="connsiteX147" fmla="*/ 33722 w 4838702"/>
              <a:gd name="connsiteY147" fmla="*/ 3343215 h 11747497"/>
              <a:gd name="connsiteX148" fmla="*/ 37911 w 4838702"/>
              <a:gd name="connsiteY148" fmla="*/ 3246288 h 11747497"/>
              <a:gd name="connsiteX149" fmla="*/ 48824 w 4838702"/>
              <a:gd name="connsiteY149" fmla="*/ 3246587 h 11747497"/>
              <a:gd name="connsiteX150" fmla="*/ 41738 w 4838702"/>
              <a:gd name="connsiteY150" fmla="*/ 3218665 h 11747497"/>
              <a:gd name="connsiteX151" fmla="*/ 45617 w 4838702"/>
              <a:gd name="connsiteY151" fmla="*/ 3177182 h 11747497"/>
              <a:gd name="connsiteX152" fmla="*/ 42152 w 4838702"/>
              <a:gd name="connsiteY152" fmla="*/ 3149360 h 11747497"/>
              <a:gd name="connsiteX153" fmla="*/ 45721 w 4838702"/>
              <a:gd name="connsiteY153" fmla="*/ 3163321 h 11747497"/>
              <a:gd name="connsiteX154" fmla="*/ 54875 w 4838702"/>
              <a:gd name="connsiteY154" fmla="*/ 3149660 h 11747497"/>
              <a:gd name="connsiteX155" fmla="*/ 54306 w 4838702"/>
              <a:gd name="connsiteY155" fmla="*/ 3246687 h 11747497"/>
              <a:gd name="connsiteX156" fmla="*/ 59685 w 4838702"/>
              <a:gd name="connsiteY156" fmla="*/ 3260748 h 11747497"/>
              <a:gd name="connsiteX157" fmla="*/ 64288 w 4838702"/>
              <a:gd name="connsiteY157" fmla="*/ 5950197 h 11747497"/>
              <a:gd name="connsiteX158" fmla="*/ 63978 w 4838702"/>
              <a:gd name="connsiteY158" fmla="*/ 6005642 h 11747497"/>
              <a:gd name="connsiteX159" fmla="*/ 60357 w 4838702"/>
              <a:gd name="connsiteY159" fmla="*/ 6005541 h 11747497"/>
              <a:gd name="connsiteX160" fmla="*/ 60668 w 4838702"/>
              <a:gd name="connsiteY160" fmla="*/ 5950097 h 11747497"/>
              <a:gd name="connsiteX161" fmla="*/ 65271 w 4838702"/>
              <a:gd name="connsiteY161" fmla="*/ 2914321 h 11747497"/>
              <a:gd name="connsiteX162" fmla="*/ 61858 w 4838702"/>
              <a:gd name="connsiteY162" fmla="*/ 2872636 h 11747497"/>
              <a:gd name="connsiteX163" fmla="*/ 65271 w 4838702"/>
              <a:gd name="connsiteY163" fmla="*/ 2914321 h 11747497"/>
              <a:gd name="connsiteX164" fmla="*/ 65322 w 4838702"/>
              <a:gd name="connsiteY164" fmla="*/ 6407713 h 11747497"/>
              <a:gd name="connsiteX165" fmla="*/ 61754 w 4838702"/>
              <a:gd name="connsiteY165" fmla="*/ 6393752 h 11747497"/>
              <a:gd name="connsiteX166" fmla="*/ 61909 w 4838702"/>
              <a:gd name="connsiteY166" fmla="*/ 6366030 h 11747497"/>
              <a:gd name="connsiteX167" fmla="*/ 56478 w 4838702"/>
              <a:gd name="connsiteY167" fmla="*/ 6365830 h 11747497"/>
              <a:gd name="connsiteX168" fmla="*/ 56220 w 4838702"/>
              <a:gd name="connsiteY168" fmla="*/ 6407413 h 11747497"/>
              <a:gd name="connsiteX169" fmla="*/ 65168 w 4838702"/>
              <a:gd name="connsiteY169" fmla="*/ 6435435 h 11747497"/>
              <a:gd name="connsiteX170" fmla="*/ 65322 w 4838702"/>
              <a:gd name="connsiteY170" fmla="*/ 6407713 h 11747497"/>
              <a:gd name="connsiteX171" fmla="*/ 66616 w 4838702"/>
              <a:gd name="connsiteY171" fmla="*/ 3954101 h 11747497"/>
              <a:gd name="connsiteX172" fmla="*/ 60512 w 4838702"/>
              <a:gd name="connsiteY172" fmla="*/ 4064789 h 11747497"/>
              <a:gd name="connsiteX173" fmla="*/ 66616 w 4838702"/>
              <a:gd name="connsiteY173" fmla="*/ 3954101 h 11747497"/>
              <a:gd name="connsiteX174" fmla="*/ 67120 w 4838702"/>
              <a:gd name="connsiteY174" fmla="*/ 2695011 h 11747497"/>
              <a:gd name="connsiteX175" fmla="*/ 66357 w 4838702"/>
              <a:gd name="connsiteY175" fmla="*/ 2720265 h 11747497"/>
              <a:gd name="connsiteX176" fmla="*/ 55392 w 4838702"/>
              <a:gd name="connsiteY176" fmla="*/ 2733827 h 11747497"/>
              <a:gd name="connsiteX177" fmla="*/ 66150 w 4838702"/>
              <a:gd name="connsiteY177" fmla="*/ 2761847 h 11747497"/>
              <a:gd name="connsiteX178" fmla="*/ 47686 w 4838702"/>
              <a:gd name="connsiteY178" fmla="*/ 2802933 h 11747497"/>
              <a:gd name="connsiteX179" fmla="*/ 48410 w 4838702"/>
              <a:gd name="connsiteY179" fmla="*/ 2678183 h 11747497"/>
              <a:gd name="connsiteX180" fmla="*/ 53789 w 4838702"/>
              <a:gd name="connsiteY180" fmla="*/ 2692243 h 11747497"/>
              <a:gd name="connsiteX181" fmla="*/ 57978 w 4838702"/>
              <a:gd name="connsiteY181" fmla="*/ 2595316 h 11747497"/>
              <a:gd name="connsiteX182" fmla="*/ 65219 w 4838702"/>
              <a:gd name="connsiteY182" fmla="*/ 2595515 h 11747497"/>
              <a:gd name="connsiteX183" fmla="*/ 66823 w 4838702"/>
              <a:gd name="connsiteY183" fmla="*/ 2637098 h 11747497"/>
              <a:gd name="connsiteX184" fmla="*/ 64857 w 4838702"/>
              <a:gd name="connsiteY184" fmla="*/ 2664821 h 11747497"/>
              <a:gd name="connsiteX185" fmla="*/ 67120 w 4838702"/>
              <a:gd name="connsiteY185" fmla="*/ 2695011 h 11747497"/>
              <a:gd name="connsiteX186" fmla="*/ 67857 w 4838702"/>
              <a:gd name="connsiteY186" fmla="*/ 3413519 h 11747497"/>
              <a:gd name="connsiteX187" fmla="*/ 64133 w 4838702"/>
              <a:gd name="connsiteY187" fmla="*/ 3427280 h 11747497"/>
              <a:gd name="connsiteX188" fmla="*/ 67857 w 4838702"/>
              <a:gd name="connsiteY188" fmla="*/ 3413519 h 11747497"/>
              <a:gd name="connsiteX189" fmla="*/ 68484 w 4838702"/>
              <a:gd name="connsiteY189" fmla="*/ 3869314 h 11747497"/>
              <a:gd name="connsiteX190" fmla="*/ 65012 w 4838702"/>
              <a:gd name="connsiteY190" fmla="*/ 3912419 h 11747497"/>
              <a:gd name="connsiteX191" fmla="*/ 63616 w 4838702"/>
              <a:gd name="connsiteY191" fmla="*/ 3843113 h 11747497"/>
              <a:gd name="connsiteX192" fmla="*/ 68484 w 4838702"/>
              <a:gd name="connsiteY192" fmla="*/ 3869314 h 11747497"/>
              <a:gd name="connsiteX193" fmla="*/ 71425 w 4838702"/>
              <a:gd name="connsiteY193" fmla="*/ 5978118 h 11747497"/>
              <a:gd name="connsiteX194" fmla="*/ 68425 w 4838702"/>
              <a:gd name="connsiteY194" fmla="*/ 5867130 h 11747497"/>
              <a:gd name="connsiteX195" fmla="*/ 63047 w 4838702"/>
              <a:gd name="connsiteY195" fmla="*/ 5853069 h 11747497"/>
              <a:gd name="connsiteX196" fmla="*/ 63822 w 4838702"/>
              <a:gd name="connsiteY196" fmla="*/ 5714459 h 11747497"/>
              <a:gd name="connsiteX197" fmla="*/ 60719 w 4838702"/>
              <a:gd name="connsiteY197" fmla="*/ 5617331 h 11747497"/>
              <a:gd name="connsiteX198" fmla="*/ 60616 w 4838702"/>
              <a:gd name="connsiteY198" fmla="*/ 5631192 h 11747497"/>
              <a:gd name="connsiteX199" fmla="*/ 55392 w 4838702"/>
              <a:gd name="connsiteY199" fmla="*/ 5908314 h 11747497"/>
              <a:gd name="connsiteX200" fmla="*/ 58702 w 4838702"/>
              <a:gd name="connsiteY200" fmla="*/ 5963858 h 11747497"/>
              <a:gd name="connsiteX201" fmla="*/ 54513 w 4838702"/>
              <a:gd name="connsiteY201" fmla="*/ 6060787 h 11747497"/>
              <a:gd name="connsiteX202" fmla="*/ 67081 w 4838702"/>
              <a:gd name="connsiteY202" fmla="*/ 6088908 h 11747497"/>
              <a:gd name="connsiteX203" fmla="*/ 71425 w 4838702"/>
              <a:gd name="connsiteY203" fmla="*/ 5978118 h 11747497"/>
              <a:gd name="connsiteX204" fmla="*/ 73475 w 4838702"/>
              <a:gd name="connsiteY204" fmla="*/ 7032496 h 11747497"/>
              <a:gd name="connsiteX205" fmla="*/ 72770 w 4838702"/>
              <a:gd name="connsiteY205" fmla="*/ 7017799 h 11747497"/>
              <a:gd name="connsiteX206" fmla="*/ 72925 w 4838702"/>
              <a:gd name="connsiteY206" fmla="*/ 6990077 h 11747497"/>
              <a:gd name="connsiteX207" fmla="*/ 71322 w 4838702"/>
              <a:gd name="connsiteY207" fmla="*/ 6948394 h 11747497"/>
              <a:gd name="connsiteX208" fmla="*/ 68012 w 4838702"/>
              <a:gd name="connsiteY208" fmla="*/ 6892850 h 11747497"/>
              <a:gd name="connsiteX209" fmla="*/ 60409 w 4838702"/>
              <a:gd name="connsiteY209" fmla="*/ 6948095 h 11747497"/>
              <a:gd name="connsiteX210" fmla="*/ 59323 w 4838702"/>
              <a:gd name="connsiteY210" fmla="*/ 7142151 h 11747497"/>
              <a:gd name="connsiteX211" fmla="*/ 55910 w 4838702"/>
              <a:gd name="connsiteY211" fmla="*/ 7100468 h 11747497"/>
              <a:gd name="connsiteX212" fmla="*/ 53116 w 4838702"/>
              <a:gd name="connsiteY212" fmla="*/ 7266901 h 11747497"/>
              <a:gd name="connsiteX213" fmla="*/ 58857 w 4838702"/>
              <a:gd name="connsiteY213" fmla="*/ 7211555 h 11747497"/>
              <a:gd name="connsiteX214" fmla="*/ 64236 w 4838702"/>
              <a:gd name="connsiteY214" fmla="*/ 7225616 h 11747497"/>
              <a:gd name="connsiteX215" fmla="*/ 71270 w 4838702"/>
              <a:gd name="connsiteY215" fmla="*/ 7267398 h 11747497"/>
              <a:gd name="connsiteX216" fmla="*/ 70029 w 4838702"/>
              <a:gd name="connsiteY216" fmla="*/ 7170271 h 11747497"/>
              <a:gd name="connsiteX217" fmla="*/ 71943 w 4838702"/>
              <a:gd name="connsiteY217" fmla="*/ 7156410 h 11747497"/>
              <a:gd name="connsiteX218" fmla="*/ 70443 w 4838702"/>
              <a:gd name="connsiteY218" fmla="*/ 7100967 h 11747497"/>
              <a:gd name="connsiteX219" fmla="*/ 72357 w 4838702"/>
              <a:gd name="connsiteY219" fmla="*/ 7087105 h 11747497"/>
              <a:gd name="connsiteX220" fmla="*/ 72511 w 4838702"/>
              <a:gd name="connsiteY220" fmla="*/ 7059383 h 11747497"/>
              <a:gd name="connsiteX221" fmla="*/ 73475 w 4838702"/>
              <a:gd name="connsiteY221" fmla="*/ 7032496 h 11747497"/>
              <a:gd name="connsiteX222" fmla="*/ 75046 w 4838702"/>
              <a:gd name="connsiteY222" fmla="*/ 900673 h 11747497"/>
              <a:gd name="connsiteX223" fmla="*/ 72046 w 4838702"/>
              <a:gd name="connsiteY223" fmla="*/ 969180 h 11747497"/>
              <a:gd name="connsiteX224" fmla="*/ 72098 w 4838702"/>
              <a:gd name="connsiteY224" fmla="*/ 1043173 h 11747497"/>
              <a:gd name="connsiteX225" fmla="*/ 73598 w 4838702"/>
              <a:gd name="connsiteY225" fmla="*/ 1070297 h 11747497"/>
              <a:gd name="connsiteX226" fmla="*/ 72718 w 4838702"/>
              <a:gd name="connsiteY226" fmla="*/ 1138904 h 11747497"/>
              <a:gd name="connsiteX227" fmla="*/ 69563 w 4838702"/>
              <a:gd name="connsiteY227" fmla="*/ 1149674 h 11747497"/>
              <a:gd name="connsiteX228" fmla="*/ 69667 w 4838702"/>
              <a:gd name="connsiteY228" fmla="*/ 1195345 h 11747497"/>
              <a:gd name="connsiteX229" fmla="*/ 67702 w 4838702"/>
              <a:gd name="connsiteY229" fmla="*/ 1223068 h 11747497"/>
              <a:gd name="connsiteX230" fmla="*/ 65788 w 4838702"/>
              <a:gd name="connsiteY230" fmla="*/ 1236929 h 11747497"/>
              <a:gd name="connsiteX231" fmla="*/ 65478 w 4838702"/>
              <a:gd name="connsiteY231" fmla="*/ 1292374 h 11747497"/>
              <a:gd name="connsiteX232" fmla="*/ 59167 w 4838702"/>
              <a:gd name="connsiteY232" fmla="*/ 1444746 h 11747497"/>
              <a:gd name="connsiteX233" fmla="*/ 51979 w 4838702"/>
              <a:gd name="connsiteY233" fmla="*/ 1430685 h 11747497"/>
              <a:gd name="connsiteX234" fmla="*/ 54823 w 4838702"/>
              <a:gd name="connsiteY234" fmla="*/ 1250591 h 11747497"/>
              <a:gd name="connsiteX235" fmla="*/ 58702 w 4838702"/>
              <a:gd name="connsiteY235" fmla="*/ 1222669 h 11747497"/>
              <a:gd name="connsiteX236" fmla="*/ 60512 w 4838702"/>
              <a:gd name="connsiteY236" fmla="*/ 1222768 h 11747497"/>
              <a:gd name="connsiteX237" fmla="*/ 65012 w 4838702"/>
              <a:gd name="connsiteY237" fmla="*/ 961802 h 11747497"/>
              <a:gd name="connsiteX238" fmla="*/ 73701 w 4838702"/>
              <a:gd name="connsiteY238" fmla="*/ 850115 h 11747497"/>
              <a:gd name="connsiteX239" fmla="*/ 75046 w 4838702"/>
              <a:gd name="connsiteY239" fmla="*/ 900673 h 11747497"/>
              <a:gd name="connsiteX240" fmla="*/ 75356 w 4838702"/>
              <a:gd name="connsiteY240" fmla="*/ 6241679 h 11747497"/>
              <a:gd name="connsiteX241" fmla="*/ 68736 w 4838702"/>
              <a:gd name="connsiteY241" fmla="*/ 6130591 h 11747497"/>
              <a:gd name="connsiteX242" fmla="*/ 57823 w 4838702"/>
              <a:gd name="connsiteY242" fmla="*/ 6130291 h 11747497"/>
              <a:gd name="connsiteX243" fmla="*/ 55754 w 4838702"/>
              <a:gd name="connsiteY243" fmla="*/ 6171776 h 11747497"/>
              <a:gd name="connsiteX244" fmla="*/ 48617 w 4838702"/>
              <a:gd name="connsiteY244" fmla="*/ 6143853 h 11747497"/>
              <a:gd name="connsiteX245" fmla="*/ 46393 w 4838702"/>
              <a:gd name="connsiteY245" fmla="*/ 6531964 h 11747497"/>
              <a:gd name="connsiteX246" fmla="*/ 53427 w 4838702"/>
              <a:gd name="connsiteY246" fmla="*/ 6573746 h 11747497"/>
              <a:gd name="connsiteX247" fmla="*/ 52341 w 4838702"/>
              <a:gd name="connsiteY247" fmla="*/ 6448997 h 11747497"/>
              <a:gd name="connsiteX248" fmla="*/ 54565 w 4838702"/>
              <a:gd name="connsiteY248" fmla="*/ 6379691 h 11747497"/>
              <a:gd name="connsiteX249" fmla="*/ 56944 w 4838702"/>
              <a:gd name="connsiteY249" fmla="*/ 6282664 h 11747497"/>
              <a:gd name="connsiteX250" fmla="*/ 58392 w 4838702"/>
              <a:gd name="connsiteY250" fmla="*/ 6352069 h 11747497"/>
              <a:gd name="connsiteX251" fmla="*/ 72925 w 4838702"/>
              <a:gd name="connsiteY251" fmla="*/ 6352468 h 11747497"/>
              <a:gd name="connsiteX252" fmla="*/ 75356 w 4838702"/>
              <a:gd name="connsiteY252" fmla="*/ 6241679 h 11747497"/>
              <a:gd name="connsiteX253" fmla="*/ 78356 w 4838702"/>
              <a:gd name="connsiteY253" fmla="*/ 2207703 h 11747497"/>
              <a:gd name="connsiteX254" fmla="*/ 76287 w 4838702"/>
              <a:gd name="connsiteY254" fmla="*/ 2249287 h 11747497"/>
              <a:gd name="connsiteX255" fmla="*/ 72667 w 4838702"/>
              <a:gd name="connsiteY255" fmla="*/ 2249188 h 11747497"/>
              <a:gd name="connsiteX256" fmla="*/ 70546 w 4838702"/>
              <a:gd name="connsiteY256" fmla="*/ 2304532 h 11747497"/>
              <a:gd name="connsiteX257" fmla="*/ 77787 w 4838702"/>
              <a:gd name="connsiteY257" fmla="*/ 2304732 h 11747497"/>
              <a:gd name="connsiteX258" fmla="*/ 70287 w 4838702"/>
              <a:gd name="connsiteY258" fmla="*/ 2346115 h 11747497"/>
              <a:gd name="connsiteX259" fmla="*/ 68064 w 4838702"/>
              <a:gd name="connsiteY259" fmla="*/ 2415421 h 11747497"/>
              <a:gd name="connsiteX260" fmla="*/ 60822 w 4838702"/>
              <a:gd name="connsiteY260" fmla="*/ 2415221 h 11747497"/>
              <a:gd name="connsiteX261" fmla="*/ 57668 w 4838702"/>
              <a:gd name="connsiteY261" fmla="*/ 2331955 h 11747497"/>
              <a:gd name="connsiteX262" fmla="*/ 53582 w 4838702"/>
              <a:gd name="connsiteY262" fmla="*/ 2415023 h 11747497"/>
              <a:gd name="connsiteX263" fmla="*/ 62478 w 4838702"/>
              <a:gd name="connsiteY263" fmla="*/ 2442943 h 11747497"/>
              <a:gd name="connsiteX264" fmla="*/ 60409 w 4838702"/>
              <a:gd name="connsiteY264" fmla="*/ 2484527 h 11747497"/>
              <a:gd name="connsiteX265" fmla="*/ 69357 w 4838702"/>
              <a:gd name="connsiteY265" fmla="*/ 2512547 h 11747497"/>
              <a:gd name="connsiteX266" fmla="*/ 56582 w 4838702"/>
              <a:gd name="connsiteY266" fmla="*/ 2526010 h 11747497"/>
              <a:gd name="connsiteX267" fmla="*/ 48927 w 4838702"/>
              <a:gd name="connsiteY267" fmla="*/ 2595116 h 11747497"/>
              <a:gd name="connsiteX268" fmla="*/ 49600 w 4838702"/>
              <a:gd name="connsiteY268" fmla="*/ 2470267 h 11747497"/>
              <a:gd name="connsiteX269" fmla="*/ 49755 w 4838702"/>
              <a:gd name="connsiteY269" fmla="*/ 2442545 h 11747497"/>
              <a:gd name="connsiteX270" fmla="*/ 51720 w 4838702"/>
              <a:gd name="connsiteY270" fmla="*/ 2415719 h 11747497"/>
              <a:gd name="connsiteX271" fmla="*/ 50323 w 4838702"/>
              <a:gd name="connsiteY271" fmla="*/ 2345516 h 11747497"/>
              <a:gd name="connsiteX272" fmla="*/ 49237 w 4838702"/>
              <a:gd name="connsiteY272" fmla="*/ 2220767 h 11747497"/>
              <a:gd name="connsiteX273" fmla="*/ 51203 w 4838702"/>
              <a:gd name="connsiteY273" fmla="*/ 2193045 h 11747497"/>
              <a:gd name="connsiteX274" fmla="*/ 60461 w 4838702"/>
              <a:gd name="connsiteY274" fmla="*/ 2165523 h 11747497"/>
              <a:gd name="connsiteX275" fmla="*/ 64805 w 4838702"/>
              <a:gd name="connsiteY275" fmla="*/ 2040873 h 11747497"/>
              <a:gd name="connsiteX276" fmla="*/ 61961 w 4838702"/>
              <a:gd name="connsiteY276" fmla="*/ 2221067 h 11747497"/>
              <a:gd name="connsiteX277" fmla="*/ 67391 w 4838702"/>
              <a:gd name="connsiteY277" fmla="*/ 2221265 h 11747497"/>
              <a:gd name="connsiteX278" fmla="*/ 67805 w 4838702"/>
              <a:gd name="connsiteY278" fmla="*/ 2151961 h 11747497"/>
              <a:gd name="connsiteX279" fmla="*/ 76959 w 4838702"/>
              <a:gd name="connsiteY279" fmla="*/ 2138399 h 11747497"/>
              <a:gd name="connsiteX280" fmla="*/ 78356 w 4838702"/>
              <a:gd name="connsiteY280" fmla="*/ 2207703 h 11747497"/>
              <a:gd name="connsiteX281" fmla="*/ 78459 w 4838702"/>
              <a:gd name="connsiteY281" fmla="*/ 3150357 h 11747497"/>
              <a:gd name="connsiteX282" fmla="*/ 78045 w 4838702"/>
              <a:gd name="connsiteY282" fmla="*/ 3219663 h 11747497"/>
              <a:gd name="connsiteX283" fmla="*/ 68891 w 4838702"/>
              <a:gd name="connsiteY283" fmla="*/ 3233324 h 11747497"/>
              <a:gd name="connsiteX284" fmla="*/ 64961 w 4838702"/>
              <a:gd name="connsiteY284" fmla="*/ 3288669 h 11747497"/>
              <a:gd name="connsiteX285" fmla="*/ 67236 w 4838702"/>
              <a:gd name="connsiteY285" fmla="*/ 3205603 h 11747497"/>
              <a:gd name="connsiteX286" fmla="*/ 76390 w 4838702"/>
              <a:gd name="connsiteY286" fmla="*/ 3191940 h 11747497"/>
              <a:gd name="connsiteX287" fmla="*/ 78459 w 4838702"/>
              <a:gd name="connsiteY287" fmla="*/ 3150357 h 11747497"/>
              <a:gd name="connsiteX288" fmla="*/ 78718 w 4838702"/>
              <a:gd name="connsiteY288" fmla="*/ 8506881 h 11747497"/>
              <a:gd name="connsiteX289" fmla="*/ 77218 w 4838702"/>
              <a:gd name="connsiteY289" fmla="*/ 8445889 h 11747497"/>
              <a:gd name="connsiteX290" fmla="*/ 66253 w 4838702"/>
              <a:gd name="connsiteY290" fmla="*/ 8459352 h 11747497"/>
              <a:gd name="connsiteX291" fmla="*/ 70908 w 4838702"/>
              <a:gd name="connsiteY291" fmla="*/ 8598162 h 11747497"/>
              <a:gd name="connsiteX292" fmla="*/ 76494 w 4838702"/>
              <a:gd name="connsiteY292" fmla="*/ 8570640 h 11747497"/>
              <a:gd name="connsiteX293" fmla="*/ 78718 w 4838702"/>
              <a:gd name="connsiteY293" fmla="*/ 8506881 h 11747497"/>
              <a:gd name="connsiteX294" fmla="*/ 79545 w 4838702"/>
              <a:gd name="connsiteY294" fmla="*/ 3594012 h 11747497"/>
              <a:gd name="connsiteX295" fmla="*/ 79390 w 4838702"/>
              <a:gd name="connsiteY295" fmla="*/ 3621734 h 11747497"/>
              <a:gd name="connsiteX296" fmla="*/ 77476 w 4838702"/>
              <a:gd name="connsiteY296" fmla="*/ 3635595 h 11747497"/>
              <a:gd name="connsiteX297" fmla="*/ 79545 w 4838702"/>
              <a:gd name="connsiteY297" fmla="*/ 3594012 h 11747497"/>
              <a:gd name="connsiteX298" fmla="*/ 80786 w 4838702"/>
              <a:gd name="connsiteY298" fmla="*/ 4966458 h 11747497"/>
              <a:gd name="connsiteX299" fmla="*/ 80011 w 4838702"/>
              <a:gd name="connsiteY299" fmla="*/ 4786264 h 11747497"/>
              <a:gd name="connsiteX300" fmla="*/ 75098 w 4838702"/>
              <a:gd name="connsiteY300" fmla="*/ 4689138 h 11747497"/>
              <a:gd name="connsiteX301" fmla="*/ 69822 w 4838702"/>
              <a:gd name="connsiteY301" fmla="*/ 4661215 h 11747497"/>
              <a:gd name="connsiteX302" fmla="*/ 73753 w 4838702"/>
              <a:gd name="connsiteY302" fmla="*/ 4605871 h 11747497"/>
              <a:gd name="connsiteX303" fmla="*/ 72201 w 4838702"/>
              <a:gd name="connsiteY303" fmla="*/ 4564188 h 11747497"/>
              <a:gd name="connsiteX304" fmla="*/ 67081 w 4838702"/>
              <a:gd name="connsiteY304" fmla="*/ 4508644 h 11747497"/>
              <a:gd name="connsiteX305" fmla="*/ 61961 w 4838702"/>
              <a:gd name="connsiteY305" fmla="*/ 4453001 h 11747497"/>
              <a:gd name="connsiteX306" fmla="*/ 61236 w 4838702"/>
              <a:gd name="connsiteY306" fmla="*/ 4577750 h 11747497"/>
              <a:gd name="connsiteX307" fmla="*/ 66616 w 4838702"/>
              <a:gd name="connsiteY307" fmla="*/ 4591810 h 11747497"/>
              <a:gd name="connsiteX308" fmla="*/ 64340 w 4838702"/>
              <a:gd name="connsiteY308" fmla="*/ 4674977 h 11747497"/>
              <a:gd name="connsiteX309" fmla="*/ 61909 w 4838702"/>
              <a:gd name="connsiteY309" fmla="*/ 4785766 h 11747497"/>
              <a:gd name="connsiteX310" fmla="*/ 61340 w 4838702"/>
              <a:gd name="connsiteY310" fmla="*/ 4882794 h 11747497"/>
              <a:gd name="connsiteX311" fmla="*/ 59427 w 4838702"/>
              <a:gd name="connsiteY311" fmla="*/ 4896555 h 11747497"/>
              <a:gd name="connsiteX312" fmla="*/ 61029 w 4838702"/>
              <a:gd name="connsiteY312" fmla="*/ 4938138 h 11747497"/>
              <a:gd name="connsiteX313" fmla="*/ 58909 w 4838702"/>
              <a:gd name="connsiteY313" fmla="*/ 4993583 h 11747497"/>
              <a:gd name="connsiteX314" fmla="*/ 60306 w 4838702"/>
              <a:gd name="connsiteY314" fmla="*/ 5062888 h 11747497"/>
              <a:gd name="connsiteX315" fmla="*/ 58185 w 4838702"/>
              <a:gd name="connsiteY315" fmla="*/ 5118233 h 11747497"/>
              <a:gd name="connsiteX316" fmla="*/ 59530 w 4838702"/>
              <a:gd name="connsiteY316" fmla="*/ 5201399 h 11747497"/>
              <a:gd name="connsiteX317" fmla="*/ 57512 w 4838702"/>
              <a:gd name="connsiteY317" fmla="*/ 5229220 h 11747497"/>
              <a:gd name="connsiteX318" fmla="*/ 53737 w 4838702"/>
              <a:gd name="connsiteY318" fmla="*/ 5256843 h 11747497"/>
              <a:gd name="connsiteX319" fmla="*/ 57202 w 4838702"/>
              <a:gd name="connsiteY319" fmla="*/ 5284665 h 11747497"/>
              <a:gd name="connsiteX320" fmla="*/ 54772 w 4838702"/>
              <a:gd name="connsiteY320" fmla="*/ 5395454 h 11747497"/>
              <a:gd name="connsiteX321" fmla="*/ 63771 w 4838702"/>
              <a:gd name="connsiteY321" fmla="*/ 5409615 h 11747497"/>
              <a:gd name="connsiteX322" fmla="*/ 69667 w 4838702"/>
              <a:gd name="connsiteY322" fmla="*/ 5326548 h 11747497"/>
              <a:gd name="connsiteX323" fmla="*/ 72098 w 4838702"/>
              <a:gd name="connsiteY323" fmla="*/ 5215759 h 11747497"/>
              <a:gd name="connsiteX324" fmla="*/ 66874 w 4838702"/>
              <a:gd name="connsiteY324" fmla="*/ 5174077 h 11747497"/>
              <a:gd name="connsiteX325" fmla="*/ 65322 w 4838702"/>
              <a:gd name="connsiteY325" fmla="*/ 5132392 h 11747497"/>
              <a:gd name="connsiteX326" fmla="*/ 64288 w 4838702"/>
              <a:gd name="connsiteY326" fmla="*/ 4993782 h 11747497"/>
              <a:gd name="connsiteX327" fmla="*/ 66202 w 4838702"/>
              <a:gd name="connsiteY327" fmla="*/ 4979921 h 11747497"/>
              <a:gd name="connsiteX328" fmla="*/ 68943 w 4838702"/>
              <a:gd name="connsiteY328" fmla="*/ 4813588 h 11747497"/>
              <a:gd name="connsiteX329" fmla="*/ 72408 w 4838702"/>
              <a:gd name="connsiteY329" fmla="*/ 4841409 h 11747497"/>
              <a:gd name="connsiteX330" fmla="*/ 76028 w 4838702"/>
              <a:gd name="connsiteY330" fmla="*/ 4841509 h 11747497"/>
              <a:gd name="connsiteX331" fmla="*/ 75098 w 4838702"/>
              <a:gd name="connsiteY331" fmla="*/ 5007843 h 11747497"/>
              <a:gd name="connsiteX332" fmla="*/ 80786 w 4838702"/>
              <a:gd name="connsiteY332" fmla="*/ 4966458 h 11747497"/>
              <a:gd name="connsiteX333" fmla="*/ 81614 w 4838702"/>
              <a:gd name="connsiteY333" fmla="*/ 696746 h 11747497"/>
              <a:gd name="connsiteX334" fmla="*/ 81045 w 4838702"/>
              <a:gd name="connsiteY334" fmla="*/ 793774 h 11747497"/>
              <a:gd name="connsiteX335" fmla="*/ 68425 w 4838702"/>
              <a:gd name="connsiteY335" fmla="*/ 779613 h 11747497"/>
              <a:gd name="connsiteX336" fmla="*/ 74270 w 4838702"/>
              <a:gd name="connsiteY336" fmla="*/ 710407 h 11747497"/>
              <a:gd name="connsiteX337" fmla="*/ 81614 w 4838702"/>
              <a:gd name="connsiteY337" fmla="*/ 696746 h 11747497"/>
              <a:gd name="connsiteX338" fmla="*/ 81976 w 4838702"/>
              <a:gd name="connsiteY338" fmla="*/ 1902860 h 11747497"/>
              <a:gd name="connsiteX339" fmla="*/ 81511 w 4838702"/>
              <a:gd name="connsiteY339" fmla="*/ 1986027 h 11747497"/>
              <a:gd name="connsiteX340" fmla="*/ 79597 w 4838702"/>
              <a:gd name="connsiteY340" fmla="*/ 1999787 h 11747497"/>
              <a:gd name="connsiteX341" fmla="*/ 79494 w 4838702"/>
              <a:gd name="connsiteY341" fmla="*/ 2013648 h 11747497"/>
              <a:gd name="connsiteX342" fmla="*/ 77269 w 4838702"/>
              <a:gd name="connsiteY342" fmla="*/ 2082855 h 11747497"/>
              <a:gd name="connsiteX343" fmla="*/ 71684 w 4838702"/>
              <a:gd name="connsiteY343" fmla="*/ 2110477 h 11747497"/>
              <a:gd name="connsiteX344" fmla="*/ 71788 w 4838702"/>
              <a:gd name="connsiteY344" fmla="*/ 2096615 h 11747497"/>
              <a:gd name="connsiteX345" fmla="*/ 70443 w 4838702"/>
              <a:gd name="connsiteY345" fmla="*/ 2013450 h 11747497"/>
              <a:gd name="connsiteX346" fmla="*/ 75977 w 4838702"/>
              <a:gd name="connsiteY346" fmla="*/ 1999787 h 11747497"/>
              <a:gd name="connsiteX347" fmla="*/ 81976 w 4838702"/>
              <a:gd name="connsiteY347" fmla="*/ 1902860 h 11747497"/>
              <a:gd name="connsiteX348" fmla="*/ 82623 w 4838702"/>
              <a:gd name="connsiteY348" fmla="*/ 6824068 h 11747497"/>
              <a:gd name="connsiteX349" fmla="*/ 75874 w 4838702"/>
              <a:gd name="connsiteY349" fmla="*/ 6782261 h 11747497"/>
              <a:gd name="connsiteX350" fmla="*/ 75408 w 4838702"/>
              <a:gd name="connsiteY350" fmla="*/ 6865427 h 11747497"/>
              <a:gd name="connsiteX351" fmla="*/ 82623 w 4838702"/>
              <a:gd name="connsiteY351" fmla="*/ 6824068 h 11747497"/>
              <a:gd name="connsiteX352" fmla="*/ 83631 w 4838702"/>
              <a:gd name="connsiteY352" fmla="*/ 4162516 h 11747497"/>
              <a:gd name="connsiteX353" fmla="*/ 74735 w 4838702"/>
              <a:gd name="connsiteY353" fmla="*/ 4134494 h 11747497"/>
              <a:gd name="connsiteX354" fmla="*/ 75770 w 4838702"/>
              <a:gd name="connsiteY354" fmla="*/ 3954300 h 11747497"/>
              <a:gd name="connsiteX355" fmla="*/ 72511 w 4838702"/>
              <a:gd name="connsiteY355" fmla="*/ 4203700 h 11747497"/>
              <a:gd name="connsiteX356" fmla="*/ 70443 w 4838702"/>
              <a:gd name="connsiteY356" fmla="*/ 4245283 h 11747497"/>
              <a:gd name="connsiteX357" fmla="*/ 69873 w 4838702"/>
              <a:gd name="connsiteY357" fmla="*/ 4342311 h 11747497"/>
              <a:gd name="connsiteX358" fmla="*/ 76804 w 4838702"/>
              <a:gd name="connsiteY358" fmla="*/ 4397955 h 11747497"/>
              <a:gd name="connsiteX359" fmla="*/ 71218 w 4838702"/>
              <a:gd name="connsiteY359" fmla="*/ 4425477 h 11747497"/>
              <a:gd name="connsiteX360" fmla="*/ 82028 w 4838702"/>
              <a:gd name="connsiteY360" fmla="*/ 4439638 h 11747497"/>
              <a:gd name="connsiteX361" fmla="*/ 83321 w 4838702"/>
              <a:gd name="connsiteY361" fmla="*/ 4217860 h 11747497"/>
              <a:gd name="connsiteX362" fmla="*/ 78201 w 4838702"/>
              <a:gd name="connsiteY362" fmla="*/ 4162316 h 11747497"/>
              <a:gd name="connsiteX363" fmla="*/ 83631 w 4838702"/>
              <a:gd name="connsiteY363" fmla="*/ 4162516 h 11747497"/>
              <a:gd name="connsiteX364" fmla="*/ 84918 w 4838702"/>
              <a:gd name="connsiteY364" fmla="*/ 3329192 h 11747497"/>
              <a:gd name="connsiteX365" fmla="*/ 84355 w 4838702"/>
              <a:gd name="connsiteY365" fmla="*/ 3386196 h 11747497"/>
              <a:gd name="connsiteX366" fmla="*/ 83114 w 4838702"/>
              <a:gd name="connsiteY366" fmla="*/ 3289167 h 11747497"/>
              <a:gd name="connsiteX367" fmla="*/ 84918 w 4838702"/>
              <a:gd name="connsiteY367" fmla="*/ 3329192 h 11747497"/>
              <a:gd name="connsiteX368" fmla="*/ 86218 w 4838702"/>
              <a:gd name="connsiteY368" fmla="*/ 571261 h 11747497"/>
              <a:gd name="connsiteX369" fmla="*/ 82235 w 4838702"/>
              <a:gd name="connsiteY369" fmla="*/ 585957 h 11747497"/>
              <a:gd name="connsiteX370" fmla="*/ 84304 w 4838702"/>
              <a:gd name="connsiteY370" fmla="*/ 544373 h 11747497"/>
              <a:gd name="connsiteX371" fmla="*/ 86218 w 4838702"/>
              <a:gd name="connsiteY371" fmla="*/ 571261 h 11747497"/>
              <a:gd name="connsiteX372" fmla="*/ 87096 w 4838702"/>
              <a:gd name="connsiteY372" fmla="*/ 1639599 h 11747497"/>
              <a:gd name="connsiteX373" fmla="*/ 75925 w 4838702"/>
              <a:gd name="connsiteY373" fmla="*/ 1680983 h 11747497"/>
              <a:gd name="connsiteX374" fmla="*/ 73391 w 4838702"/>
              <a:gd name="connsiteY374" fmla="*/ 1805633 h 11747497"/>
              <a:gd name="connsiteX375" fmla="*/ 72925 w 4838702"/>
              <a:gd name="connsiteY375" fmla="*/ 1888800 h 11747497"/>
              <a:gd name="connsiteX376" fmla="*/ 69150 w 4838702"/>
              <a:gd name="connsiteY376" fmla="*/ 1916421 h 11747497"/>
              <a:gd name="connsiteX377" fmla="*/ 65426 w 4838702"/>
              <a:gd name="connsiteY377" fmla="*/ 1930183 h 11747497"/>
              <a:gd name="connsiteX378" fmla="*/ 67029 w 4838702"/>
              <a:gd name="connsiteY378" fmla="*/ 1971866 h 11747497"/>
              <a:gd name="connsiteX379" fmla="*/ 65115 w 4838702"/>
              <a:gd name="connsiteY379" fmla="*/ 1985628 h 11747497"/>
              <a:gd name="connsiteX380" fmla="*/ 64961 w 4838702"/>
              <a:gd name="connsiteY380" fmla="*/ 2013349 h 11747497"/>
              <a:gd name="connsiteX381" fmla="*/ 63719 w 4838702"/>
              <a:gd name="connsiteY381" fmla="*/ 1916322 h 11747497"/>
              <a:gd name="connsiteX382" fmla="*/ 65788 w 4838702"/>
              <a:gd name="connsiteY382" fmla="*/ 1874738 h 11747497"/>
              <a:gd name="connsiteX383" fmla="*/ 66253 w 4838702"/>
              <a:gd name="connsiteY383" fmla="*/ 1791573 h 11747497"/>
              <a:gd name="connsiteX384" fmla="*/ 68322 w 4838702"/>
              <a:gd name="connsiteY384" fmla="*/ 1749989 h 11747497"/>
              <a:gd name="connsiteX385" fmla="*/ 68943 w 4838702"/>
              <a:gd name="connsiteY385" fmla="*/ 1639101 h 11747497"/>
              <a:gd name="connsiteX386" fmla="*/ 74787 w 4838702"/>
              <a:gd name="connsiteY386" fmla="*/ 1569994 h 11747497"/>
              <a:gd name="connsiteX387" fmla="*/ 85700 w 4838702"/>
              <a:gd name="connsiteY387" fmla="*/ 1570293 h 11747497"/>
              <a:gd name="connsiteX388" fmla="*/ 87096 w 4838702"/>
              <a:gd name="connsiteY388" fmla="*/ 1639599 h 11747497"/>
              <a:gd name="connsiteX389" fmla="*/ 87096 w 4838702"/>
              <a:gd name="connsiteY389" fmla="*/ 5451796 h 11747497"/>
              <a:gd name="connsiteX390" fmla="*/ 81355 w 4838702"/>
              <a:gd name="connsiteY390" fmla="*/ 5507040 h 11747497"/>
              <a:gd name="connsiteX391" fmla="*/ 77425 w 4838702"/>
              <a:gd name="connsiteY391" fmla="*/ 5562386 h 11747497"/>
              <a:gd name="connsiteX392" fmla="*/ 77269 w 4838702"/>
              <a:gd name="connsiteY392" fmla="*/ 5590108 h 11747497"/>
              <a:gd name="connsiteX393" fmla="*/ 84511 w 4838702"/>
              <a:gd name="connsiteY393" fmla="*/ 5590307 h 11747497"/>
              <a:gd name="connsiteX394" fmla="*/ 87096 w 4838702"/>
              <a:gd name="connsiteY394" fmla="*/ 5451796 h 11747497"/>
              <a:gd name="connsiteX395" fmla="*/ 88286 w 4838702"/>
              <a:gd name="connsiteY395" fmla="*/ 2388197 h 11747497"/>
              <a:gd name="connsiteX396" fmla="*/ 86217 w 4838702"/>
              <a:gd name="connsiteY396" fmla="*/ 2443541 h 11747497"/>
              <a:gd name="connsiteX397" fmla="*/ 85959 w 4838702"/>
              <a:gd name="connsiteY397" fmla="*/ 2485125 h 11747497"/>
              <a:gd name="connsiteX398" fmla="*/ 87614 w 4838702"/>
              <a:gd name="connsiteY398" fmla="*/ 2512947 h 11747497"/>
              <a:gd name="connsiteX399" fmla="*/ 85545 w 4838702"/>
              <a:gd name="connsiteY399" fmla="*/ 2554431 h 11747497"/>
              <a:gd name="connsiteX400" fmla="*/ 83166 w 4838702"/>
              <a:gd name="connsiteY400" fmla="*/ 2651457 h 11747497"/>
              <a:gd name="connsiteX401" fmla="*/ 82907 w 4838702"/>
              <a:gd name="connsiteY401" fmla="*/ 2693041 h 11747497"/>
              <a:gd name="connsiteX402" fmla="*/ 80786 w 4838702"/>
              <a:gd name="connsiteY402" fmla="*/ 2748385 h 11747497"/>
              <a:gd name="connsiteX403" fmla="*/ 86166 w 4838702"/>
              <a:gd name="connsiteY403" fmla="*/ 2762347 h 11747497"/>
              <a:gd name="connsiteX404" fmla="*/ 82390 w 4838702"/>
              <a:gd name="connsiteY404" fmla="*/ 2789969 h 11747497"/>
              <a:gd name="connsiteX405" fmla="*/ 80269 w 4838702"/>
              <a:gd name="connsiteY405" fmla="*/ 2845413 h 11747497"/>
              <a:gd name="connsiteX406" fmla="*/ 81459 w 4838702"/>
              <a:gd name="connsiteY406" fmla="*/ 2956402 h 11747497"/>
              <a:gd name="connsiteX407" fmla="*/ 76235 w 4838702"/>
              <a:gd name="connsiteY407" fmla="*/ 2914619 h 11747497"/>
              <a:gd name="connsiteX408" fmla="*/ 74115 w 4838702"/>
              <a:gd name="connsiteY408" fmla="*/ 2969964 h 11747497"/>
              <a:gd name="connsiteX409" fmla="*/ 72150 w 4838702"/>
              <a:gd name="connsiteY409" fmla="*/ 2997686 h 11747497"/>
              <a:gd name="connsiteX410" fmla="*/ 73908 w 4838702"/>
              <a:gd name="connsiteY410" fmla="*/ 3011647 h 11747497"/>
              <a:gd name="connsiteX411" fmla="*/ 70133 w 4838702"/>
              <a:gd name="connsiteY411" fmla="*/ 3039270 h 11747497"/>
              <a:gd name="connsiteX412" fmla="*/ 71528 w 4838702"/>
              <a:gd name="connsiteY412" fmla="*/ 3108575 h 11747497"/>
              <a:gd name="connsiteX413" fmla="*/ 69615 w 4838702"/>
              <a:gd name="connsiteY413" fmla="*/ 3122436 h 11747497"/>
              <a:gd name="connsiteX414" fmla="*/ 68271 w 4838702"/>
              <a:gd name="connsiteY414" fmla="*/ 3039270 h 11747497"/>
              <a:gd name="connsiteX415" fmla="*/ 70494 w 4838702"/>
              <a:gd name="connsiteY415" fmla="*/ 2969964 h 11747497"/>
              <a:gd name="connsiteX416" fmla="*/ 70960 w 4838702"/>
              <a:gd name="connsiteY416" fmla="*/ 2886797 h 11747497"/>
              <a:gd name="connsiteX417" fmla="*/ 69357 w 4838702"/>
              <a:gd name="connsiteY417" fmla="*/ 2845114 h 11747497"/>
              <a:gd name="connsiteX418" fmla="*/ 69667 w 4838702"/>
              <a:gd name="connsiteY418" fmla="*/ 2789671 h 11747497"/>
              <a:gd name="connsiteX419" fmla="*/ 69822 w 4838702"/>
              <a:gd name="connsiteY419" fmla="*/ 2761948 h 11747497"/>
              <a:gd name="connsiteX420" fmla="*/ 70287 w 4838702"/>
              <a:gd name="connsiteY420" fmla="*/ 2678781 h 11747497"/>
              <a:gd name="connsiteX421" fmla="*/ 76080 w 4838702"/>
              <a:gd name="connsiteY421" fmla="*/ 2623437 h 11747497"/>
              <a:gd name="connsiteX422" fmla="*/ 76804 w 4838702"/>
              <a:gd name="connsiteY422" fmla="*/ 2498686 h 11747497"/>
              <a:gd name="connsiteX423" fmla="*/ 82235 w 4838702"/>
              <a:gd name="connsiteY423" fmla="*/ 2498887 h 11747497"/>
              <a:gd name="connsiteX424" fmla="*/ 85079 w 4838702"/>
              <a:gd name="connsiteY424" fmla="*/ 2318792 h 11747497"/>
              <a:gd name="connsiteX425" fmla="*/ 86631 w 4838702"/>
              <a:gd name="connsiteY425" fmla="*/ 2360375 h 11747497"/>
              <a:gd name="connsiteX426" fmla="*/ 88286 w 4838702"/>
              <a:gd name="connsiteY426" fmla="*/ 2388197 h 11747497"/>
              <a:gd name="connsiteX427" fmla="*/ 92010 w 4838702"/>
              <a:gd name="connsiteY427" fmla="*/ 5230119 h 11747497"/>
              <a:gd name="connsiteX428" fmla="*/ 88700 w 4838702"/>
              <a:gd name="connsiteY428" fmla="*/ 5174575 h 11747497"/>
              <a:gd name="connsiteX429" fmla="*/ 83579 w 4838702"/>
              <a:gd name="connsiteY429" fmla="*/ 5119031 h 11747497"/>
              <a:gd name="connsiteX430" fmla="*/ 90044 w 4838702"/>
              <a:gd name="connsiteY430" fmla="*/ 5257840 h 11747497"/>
              <a:gd name="connsiteX431" fmla="*/ 92010 w 4838702"/>
              <a:gd name="connsiteY431" fmla="*/ 5230119 h 11747497"/>
              <a:gd name="connsiteX432" fmla="*/ 92682 w 4838702"/>
              <a:gd name="connsiteY432" fmla="*/ 2249686 h 11747497"/>
              <a:gd name="connsiteX433" fmla="*/ 85234 w 4838702"/>
              <a:gd name="connsiteY433" fmla="*/ 2277208 h 11747497"/>
              <a:gd name="connsiteX434" fmla="*/ 92682 w 4838702"/>
              <a:gd name="connsiteY434" fmla="*/ 2249686 h 11747497"/>
              <a:gd name="connsiteX435" fmla="*/ 94234 w 4838702"/>
              <a:gd name="connsiteY435" fmla="*/ 3247883 h 11747497"/>
              <a:gd name="connsiteX436" fmla="*/ 92993 w 4838702"/>
              <a:gd name="connsiteY436" fmla="*/ 3150857 h 11747497"/>
              <a:gd name="connsiteX437" fmla="*/ 94234 w 4838702"/>
              <a:gd name="connsiteY437" fmla="*/ 3247883 h 11747497"/>
              <a:gd name="connsiteX438" fmla="*/ 94699 w 4838702"/>
              <a:gd name="connsiteY438" fmla="*/ 1903259 h 11747497"/>
              <a:gd name="connsiteX439" fmla="*/ 91389 w 4838702"/>
              <a:gd name="connsiteY439" fmla="*/ 1847714 h 11747497"/>
              <a:gd name="connsiteX440" fmla="*/ 94699 w 4838702"/>
              <a:gd name="connsiteY440" fmla="*/ 1903259 h 11747497"/>
              <a:gd name="connsiteX441" fmla="*/ 97389 w 4838702"/>
              <a:gd name="connsiteY441" fmla="*/ 1750787 h 11747497"/>
              <a:gd name="connsiteX442" fmla="*/ 97130 w 4838702"/>
              <a:gd name="connsiteY442" fmla="*/ 1792370 h 11747497"/>
              <a:gd name="connsiteX443" fmla="*/ 93510 w 4838702"/>
              <a:gd name="connsiteY443" fmla="*/ 1792270 h 11747497"/>
              <a:gd name="connsiteX444" fmla="*/ 93769 w 4838702"/>
              <a:gd name="connsiteY444" fmla="*/ 1750687 h 11747497"/>
              <a:gd name="connsiteX445" fmla="*/ 97970 w 4838702"/>
              <a:gd name="connsiteY445" fmla="*/ 1965571 h 11747497"/>
              <a:gd name="connsiteX446" fmla="*/ 97595 w 4838702"/>
              <a:gd name="connsiteY446" fmla="*/ 2028008 h 11747497"/>
              <a:gd name="connsiteX447" fmla="*/ 87821 w 4838702"/>
              <a:gd name="connsiteY447" fmla="*/ 2152459 h 11747497"/>
              <a:gd name="connsiteX448" fmla="*/ 86320 w 4838702"/>
              <a:gd name="connsiteY448" fmla="*/ 2097014 h 11747497"/>
              <a:gd name="connsiteX449" fmla="*/ 90924 w 4838702"/>
              <a:gd name="connsiteY449" fmla="*/ 1930781 h 11747497"/>
              <a:gd name="connsiteX450" fmla="*/ 94544 w 4838702"/>
              <a:gd name="connsiteY450" fmla="*/ 1930881 h 11747497"/>
              <a:gd name="connsiteX451" fmla="*/ 97970 w 4838702"/>
              <a:gd name="connsiteY451" fmla="*/ 1965571 h 11747497"/>
              <a:gd name="connsiteX452" fmla="*/ 98009 w 4838702"/>
              <a:gd name="connsiteY452" fmla="*/ 1002288 h 11747497"/>
              <a:gd name="connsiteX453" fmla="*/ 90769 w 4838702"/>
              <a:gd name="connsiteY453" fmla="*/ 1002088 h 11747497"/>
              <a:gd name="connsiteX454" fmla="*/ 92114 w 4838702"/>
              <a:gd name="connsiteY454" fmla="*/ 1085255 h 11747497"/>
              <a:gd name="connsiteX455" fmla="*/ 98009 w 4838702"/>
              <a:gd name="connsiteY455" fmla="*/ 1002288 h 11747497"/>
              <a:gd name="connsiteX456" fmla="*/ 100492 w 4838702"/>
              <a:gd name="connsiteY456" fmla="*/ 4689736 h 11747497"/>
              <a:gd name="connsiteX457" fmla="*/ 89114 w 4838702"/>
              <a:gd name="connsiteY457" fmla="*/ 4772603 h 11747497"/>
              <a:gd name="connsiteX458" fmla="*/ 85648 w 4838702"/>
              <a:gd name="connsiteY458" fmla="*/ 4809001 h 11747497"/>
              <a:gd name="connsiteX459" fmla="*/ 85474 w 4838702"/>
              <a:gd name="connsiteY459" fmla="*/ 4868066 h 11747497"/>
              <a:gd name="connsiteX460" fmla="*/ 85135 w 4838702"/>
              <a:gd name="connsiteY460" fmla="*/ 4884490 h 11747497"/>
              <a:gd name="connsiteX461" fmla="*/ 85131 w 4838702"/>
              <a:gd name="connsiteY461" fmla="*/ 4884688 h 11747497"/>
              <a:gd name="connsiteX462" fmla="*/ 88441 w 4838702"/>
              <a:gd name="connsiteY462" fmla="*/ 4897352 h 11747497"/>
              <a:gd name="connsiteX463" fmla="*/ 90406 w 4838702"/>
              <a:gd name="connsiteY463" fmla="*/ 4869731 h 11747497"/>
              <a:gd name="connsiteX464" fmla="*/ 91182 w 4838702"/>
              <a:gd name="connsiteY464" fmla="*/ 5049925 h 11747497"/>
              <a:gd name="connsiteX465" fmla="*/ 99251 w 4838702"/>
              <a:gd name="connsiteY465" fmla="*/ 4911513 h 11747497"/>
              <a:gd name="connsiteX466" fmla="*/ 95682 w 4838702"/>
              <a:gd name="connsiteY466" fmla="*/ 4897553 h 11747497"/>
              <a:gd name="connsiteX467" fmla="*/ 97958 w 4838702"/>
              <a:gd name="connsiteY467" fmla="*/ 4814385 h 11747497"/>
              <a:gd name="connsiteX468" fmla="*/ 100492 w 4838702"/>
              <a:gd name="connsiteY468" fmla="*/ 4689736 h 11747497"/>
              <a:gd name="connsiteX469" fmla="*/ 101203 w 4838702"/>
              <a:gd name="connsiteY469" fmla="*/ 4154787 h 11747497"/>
              <a:gd name="connsiteX470" fmla="*/ 98268 w 4838702"/>
              <a:gd name="connsiteY470" fmla="*/ 4135193 h 11747497"/>
              <a:gd name="connsiteX471" fmla="*/ 98009 w 4838702"/>
              <a:gd name="connsiteY471" fmla="*/ 4176776 h 11747497"/>
              <a:gd name="connsiteX472" fmla="*/ 101203 w 4838702"/>
              <a:gd name="connsiteY472" fmla="*/ 4154787 h 11747497"/>
              <a:gd name="connsiteX473" fmla="*/ 101319 w 4838702"/>
              <a:gd name="connsiteY473" fmla="*/ 4232320 h 11747497"/>
              <a:gd name="connsiteX474" fmla="*/ 94234 w 4838702"/>
              <a:gd name="connsiteY474" fmla="*/ 4204398 h 11747497"/>
              <a:gd name="connsiteX475" fmla="*/ 91285 w 4838702"/>
              <a:gd name="connsiteY475" fmla="*/ 4398453 h 11747497"/>
              <a:gd name="connsiteX476" fmla="*/ 87665 w 4838702"/>
              <a:gd name="connsiteY476" fmla="*/ 4398354 h 11747497"/>
              <a:gd name="connsiteX477" fmla="*/ 90975 w 4838702"/>
              <a:gd name="connsiteY477" fmla="*/ 4453898 h 11747497"/>
              <a:gd name="connsiteX478" fmla="*/ 90820 w 4838702"/>
              <a:gd name="connsiteY478" fmla="*/ 4481620 h 11747497"/>
              <a:gd name="connsiteX479" fmla="*/ 90562 w 4838702"/>
              <a:gd name="connsiteY479" fmla="*/ 4523204 h 11747497"/>
              <a:gd name="connsiteX480" fmla="*/ 86889 w 4838702"/>
              <a:gd name="connsiteY480" fmla="*/ 4536865 h 11747497"/>
              <a:gd name="connsiteX481" fmla="*/ 91699 w 4838702"/>
              <a:gd name="connsiteY481" fmla="*/ 4647953 h 11747497"/>
              <a:gd name="connsiteX482" fmla="*/ 93769 w 4838702"/>
              <a:gd name="connsiteY482" fmla="*/ 4606370 h 11747497"/>
              <a:gd name="connsiteX483" fmla="*/ 99613 w 4838702"/>
              <a:gd name="connsiteY483" fmla="*/ 4537264 h 11747497"/>
              <a:gd name="connsiteX484" fmla="*/ 97958 w 4838702"/>
              <a:gd name="connsiteY484" fmla="*/ 4509541 h 11747497"/>
              <a:gd name="connsiteX485" fmla="*/ 99923 w 4838702"/>
              <a:gd name="connsiteY485" fmla="*/ 4481819 h 11747497"/>
              <a:gd name="connsiteX486" fmla="*/ 98165 w 4838702"/>
              <a:gd name="connsiteY486" fmla="*/ 4467859 h 11747497"/>
              <a:gd name="connsiteX487" fmla="*/ 98578 w 4838702"/>
              <a:gd name="connsiteY487" fmla="*/ 4398553 h 11747497"/>
              <a:gd name="connsiteX488" fmla="*/ 98734 w 4838702"/>
              <a:gd name="connsiteY488" fmla="*/ 4370832 h 11747497"/>
              <a:gd name="connsiteX489" fmla="*/ 101112 w 4838702"/>
              <a:gd name="connsiteY489" fmla="*/ 4273903 h 11747497"/>
              <a:gd name="connsiteX490" fmla="*/ 99354 w 4838702"/>
              <a:gd name="connsiteY490" fmla="*/ 4259942 h 11747497"/>
              <a:gd name="connsiteX491" fmla="*/ 101319 w 4838702"/>
              <a:gd name="connsiteY491" fmla="*/ 4232320 h 11747497"/>
              <a:gd name="connsiteX492" fmla="*/ 104371 w 4838702"/>
              <a:gd name="connsiteY492" fmla="*/ 1649172 h 11747497"/>
              <a:gd name="connsiteX493" fmla="*/ 104216 w 4838702"/>
              <a:gd name="connsiteY493" fmla="*/ 1676895 h 11747497"/>
              <a:gd name="connsiteX494" fmla="*/ 100596 w 4838702"/>
              <a:gd name="connsiteY494" fmla="*/ 1676794 h 11747497"/>
              <a:gd name="connsiteX495" fmla="*/ 100750 w 4838702"/>
              <a:gd name="connsiteY495" fmla="*/ 1649073 h 11747497"/>
              <a:gd name="connsiteX496" fmla="*/ 106957 w 4838702"/>
              <a:gd name="connsiteY496" fmla="*/ 640104 h 11747497"/>
              <a:gd name="connsiteX497" fmla="*/ 101216 w 4838702"/>
              <a:gd name="connsiteY497" fmla="*/ 695349 h 11747497"/>
              <a:gd name="connsiteX498" fmla="*/ 106957 w 4838702"/>
              <a:gd name="connsiteY498" fmla="*/ 640104 h 11747497"/>
              <a:gd name="connsiteX499" fmla="*/ 107086 w 4838702"/>
              <a:gd name="connsiteY499" fmla="*/ 772271 h 11747497"/>
              <a:gd name="connsiteX500" fmla="*/ 105974 w 4838702"/>
              <a:gd name="connsiteY500" fmla="*/ 831368 h 11747497"/>
              <a:gd name="connsiteX501" fmla="*/ 99199 w 4838702"/>
              <a:gd name="connsiteY501" fmla="*/ 808134 h 11747497"/>
              <a:gd name="connsiteX502" fmla="*/ 96923 w 4838702"/>
              <a:gd name="connsiteY502" fmla="*/ 891299 h 11747497"/>
              <a:gd name="connsiteX503" fmla="*/ 104009 w 4838702"/>
              <a:gd name="connsiteY503" fmla="*/ 919222 h 11747497"/>
              <a:gd name="connsiteX504" fmla="*/ 103699 w 4838702"/>
              <a:gd name="connsiteY504" fmla="*/ 974665 h 11747497"/>
              <a:gd name="connsiteX505" fmla="*/ 99923 w 4838702"/>
              <a:gd name="connsiteY505" fmla="*/ 1002288 h 11747497"/>
              <a:gd name="connsiteX506" fmla="*/ 101319 w 4838702"/>
              <a:gd name="connsiteY506" fmla="*/ 1071693 h 11747497"/>
              <a:gd name="connsiteX507" fmla="*/ 102974 w 4838702"/>
              <a:gd name="connsiteY507" fmla="*/ 1099515 h 11747497"/>
              <a:gd name="connsiteX508" fmla="*/ 101061 w 4838702"/>
              <a:gd name="connsiteY508" fmla="*/ 1113277 h 11747497"/>
              <a:gd name="connsiteX509" fmla="*/ 104216 w 4838702"/>
              <a:gd name="connsiteY509" fmla="*/ 1149475 h 11747497"/>
              <a:gd name="connsiteX510" fmla="*/ 101164 w 4838702"/>
              <a:gd name="connsiteY510" fmla="*/ 1174305 h 11747497"/>
              <a:gd name="connsiteX511" fmla="*/ 101371 w 4838702"/>
              <a:gd name="connsiteY511" fmla="*/ 1221274 h 11747497"/>
              <a:gd name="connsiteX512" fmla="*/ 102044 w 4838702"/>
              <a:gd name="connsiteY512" fmla="*/ 1271831 h 11747497"/>
              <a:gd name="connsiteX513" fmla="*/ 101371 w 4838702"/>
              <a:gd name="connsiteY513" fmla="*/ 1292374 h 11747497"/>
              <a:gd name="connsiteX514" fmla="*/ 100130 w 4838702"/>
              <a:gd name="connsiteY514" fmla="*/ 1279709 h 11747497"/>
              <a:gd name="connsiteX515" fmla="*/ 94441 w 4838702"/>
              <a:gd name="connsiteY515" fmla="*/ 1321093 h 11747497"/>
              <a:gd name="connsiteX516" fmla="*/ 85338 w 4838702"/>
              <a:gd name="connsiteY516" fmla="*/ 1320793 h 11747497"/>
              <a:gd name="connsiteX517" fmla="*/ 88751 w 4838702"/>
              <a:gd name="connsiteY517" fmla="*/ 1362476 h 11747497"/>
              <a:gd name="connsiteX518" fmla="*/ 92217 w 4838702"/>
              <a:gd name="connsiteY518" fmla="*/ 1390298 h 11747497"/>
              <a:gd name="connsiteX519" fmla="*/ 85804 w 4838702"/>
              <a:gd name="connsiteY519" fmla="*/ 1556432 h 11747497"/>
              <a:gd name="connsiteX520" fmla="*/ 82545 w 4838702"/>
              <a:gd name="connsiteY520" fmla="*/ 1487027 h 11747497"/>
              <a:gd name="connsiteX521" fmla="*/ 75201 w 4838702"/>
              <a:gd name="connsiteY521" fmla="*/ 1500689 h 11747497"/>
              <a:gd name="connsiteX522" fmla="*/ 77890 w 4838702"/>
              <a:gd name="connsiteY522" fmla="*/ 1348216 h 11747497"/>
              <a:gd name="connsiteX523" fmla="*/ 83321 w 4838702"/>
              <a:gd name="connsiteY523" fmla="*/ 1348416 h 11747497"/>
              <a:gd name="connsiteX524" fmla="*/ 78045 w 4838702"/>
              <a:gd name="connsiteY524" fmla="*/ 1320495 h 11747497"/>
              <a:gd name="connsiteX525" fmla="*/ 78770 w 4838702"/>
              <a:gd name="connsiteY525" fmla="*/ 1195744 h 11747497"/>
              <a:gd name="connsiteX526" fmla="*/ 75563 w 4838702"/>
              <a:gd name="connsiteY526" fmla="*/ 1164233 h 11747497"/>
              <a:gd name="connsiteX527" fmla="*/ 77839 w 4838702"/>
              <a:gd name="connsiteY527" fmla="*/ 1105000 h 11747497"/>
              <a:gd name="connsiteX528" fmla="*/ 77373 w 4838702"/>
              <a:gd name="connsiteY528" fmla="*/ 1018343 h 11747497"/>
              <a:gd name="connsiteX529" fmla="*/ 81924 w 4838702"/>
              <a:gd name="connsiteY529" fmla="*/ 964295 h 11747497"/>
              <a:gd name="connsiteX530" fmla="*/ 81614 w 4838702"/>
              <a:gd name="connsiteY530" fmla="*/ 958212 h 11747497"/>
              <a:gd name="connsiteX531" fmla="*/ 85441 w 4838702"/>
              <a:gd name="connsiteY531" fmla="*/ 974167 h 11747497"/>
              <a:gd name="connsiteX532" fmla="*/ 89579 w 4838702"/>
              <a:gd name="connsiteY532" fmla="*/ 891101 h 11747497"/>
              <a:gd name="connsiteX533" fmla="*/ 91492 w 4838702"/>
              <a:gd name="connsiteY533" fmla="*/ 877239 h 11747497"/>
              <a:gd name="connsiteX534" fmla="*/ 92217 w 4838702"/>
              <a:gd name="connsiteY534" fmla="*/ 752489 h 11747497"/>
              <a:gd name="connsiteX535" fmla="*/ 102767 w 4838702"/>
              <a:gd name="connsiteY535" fmla="*/ 726562 h 11747497"/>
              <a:gd name="connsiteX536" fmla="*/ 107086 w 4838702"/>
              <a:gd name="connsiteY536" fmla="*/ 772271 h 11747497"/>
              <a:gd name="connsiteX537" fmla="*/ 109139 w 4838702"/>
              <a:gd name="connsiteY537" fmla="*/ 1229499 h 11747497"/>
              <a:gd name="connsiteX538" fmla="*/ 106957 w 4838702"/>
              <a:gd name="connsiteY538" fmla="*/ 1243311 h 11747497"/>
              <a:gd name="connsiteX539" fmla="*/ 107112 w 4838702"/>
              <a:gd name="connsiteY539" fmla="*/ 1215589 h 11747497"/>
              <a:gd name="connsiteX540" fmla="*/ 109139 w 4838702"/>
              <a:gd name="connsiteY540" fmla="*/ 1229499 h 11747497"/>
              <a:gd name="connsiteX541" fmla="*/ 111489 w 4838702"/>
              <a:gd name="connsiteY541" fmla="*/ 4601982 h 11747497"/>
              <a:gd name="connsiteX542" fmla="*/ 101423 w 4838702"/>
              <a:gd name="connsiteY542" fmla="*/ 4537264 h 11747497"/>
              <a:gd name="connsiteX543" fmla="*/ 100802 w 4838702"/>
              <a:gd name="connsiteY543" fmla="*/ 4648152 h 11747497"/>
              <a:gd name="connsiteX544" fmla="*/ 111489 w 4838702"/>
              <a:gd name="connsiteY544" fmla="*/ 4601982 h 11747497"/>
              <a:gd name="connsiteX545" fmla="*/ 111715 w 4838702"/>
              <a:gd name="connsiteY545" fmla="*/ 6228815 h 11747497"/>
              <a:gd name="connsiteX546" fmla="*/ 107939 w 4838702"/>
              <a:gd name="connsiteY546" fmla="*/ 6256438 h 11747497"/>
              <a:gd name="connsiteX547" fmla="*/ 111715 w 4838702"/>
              <a:gd name="connsiteY547" fmla="*/ 6228815 h 11747497"/>
              <a:gd name="connsiteX548" fmla="*/ 111974 w 4838702"/>
              <a:gd name="connsiteY548" fmla="*/ 1152067 h 11747497"/>
              <a:gd name="connsiteX549" fmla="*/ 111974 w 4838702"/>
              <a:gd name="connsiteY549" fmla="*/ 1152067 h 11747497"/>
              <a:gd name="connsiteX550" fmla="*/ 112885 w 4838702"/>
              <a:gd name="connsiteY550" fmla="*/ 2248801 h 11747497"/>
              <a:gd name="connsiteX551" fmla="*/ 112439 w 4838702"/>
              <a:gd name="connsiteY551" fmla="*/ 2291867 h 11747497"/>
              <a:gd name="connsiteX552" fmla="*/ 101526 w 4838702"/>
              <a:gd name="connsiteY552" fmla="*/ 2291568 h 11747497"/>
              <a:gd name="connsiteX553" fmla="*/ 101681 w 4838702"/>
              <a:gd name="connsiteY553" fmla="*/ 2263847 h 11747497"/>
              <a:gd name="connsiteX554" fmla="*/ 103595 w 4838702"/>
              <a:gd name="connsiteY554" fmla="*/ 2250085 h 11747497"/>
              <a:gd name="connsiteX555" fmla="*/ 108974 w 4838702"/>
              <a:gd name="connsiteY555" fmla="*/ 2264045 h 11747497"/>
              <a:gd name="connsiteX556" fmla="*/ 111042 w 4838702"/>
              <a:gd name="connsiteY556" fmla="*/ 2222563 h 11747497"/>
              <a:gd name="connsiteX557" fmla="*/ 112885 w 4838702"/>
              <a:gd name="connsiteY557" fmla="*/ 2248801 h 11747497"/>
              <a:gd name="connsiteX558" fmla="*/ 113526 w 4838702"/>
              <a:gd name="connsiteY558" fmla="*/ 2124537 h 11747497"/>
              <a:gd name="connsiteX559" fmla="*/ 112905 w 4838702"/>
              <a:gd name="connsiteY559" fmla="*/ 2208701 h 11747497"/>
              <a:gd name="connsiteX560" fmla="*/ 102095 w 4838702"/>
              <a:gd name="connsiteY560" fmla="*/ 2194541 h 11747497"/>
              <a:gd name="connsiteX561" fmla="*/ 102871 w 4838702"/>
              <a:gd name="connsiteY561" fmla="*/ 2055930 h 11747497"/>
              <a:gd name="connsiteX562" fmla="*/ 111974 w 4838702"/>
              <a:gd name="connsiteY562" fmla="*/ 2056228 h 11747497"/>
              <a:gd name="connsiteX563" fmla="*/ 113526 w 4838702"/>
              <a:gd name="connsiteY563" fmla="*/ 2124537 h 11747497"/>
              <a:gd name="connsiteX564" fmla="*/ 113887 w 4838702"/>
              <a:gd name="connsiteY564" fmla="*/ 1359485 h 11747497"/>
              <a:gd name="connsiteX565" fmla="*/ 113060 w 4838702"/>
              <a:gd name="connsiteY565" fmla="*/ 1397080 h 11747497"/>
              <a:gd name="connsiteX566" fmla="*/ 112181 w 4838702"/>
              <a:gd name="connsiteY566" fmla="*/ 1437965 h 11747497"/>
              <a:gd name="connsiteX567" fmla="*/ 109853 w 4838702"/>
              <a:gd name="connsiteY567" fmla="*/ 1485233 h 11747497"/>
              <a:gd name="connsiteX568" fmla="*/ 109543 w 4838702"/>
              <a:gd name="connsiteY568" fmla="*/ 1485032 h 11747497"/>
              <a:gd name="connsiteX569" fmla="*/ 101578 w 4838702"/>
              <a:gd name="connsiteY569" fmla="*/ 1609583 h 11747497"/>
              <a:gd name="connsiteX570" fmla="*/ 94389 w 4838702"/>
              <a:gd name="connsiteY570" fmla="*/ 1595523 h 11747497"/>
              <a:gd name="connsiteX571" fmla="*/ 102198 w 4838702"/>
              <a:gd name="connsiteY571" fmla="*/ 1498695 h 11747497"/>
              <a:gd name="connsiteX572" fmla="*/ 100802 w 4838702"/>
              <a:gd name="connsiteY572" fmla="*/ 1464690 h 11747497"/>
              <a:gd name="connsiteX573" fmla="*/ 100543 w 4838702"/>
              <a:gd name="connsiteY573" fmla="*/ 1373446 h 11747497"/>
              <a:gd name="connsiteX574" fmla="*/ 102613 w 4838702"/>
              <a:gd name="connsiteY574" fmla="*/ 1316207 h 11747497"/>
              <a:gd name="connsiteX575" fmla="*/ 112387 w 4838702"/>
              <a:gd name="connsiteY575" fmla="*/ 1304838 h 11747497"/>
              <a:gd name="connsiteX576" fmla="*/ 113887 w 4838702"/>
              <a:gd name="connsiteY576" fmla="*/ 1359485 h 11747497"/>
              <a:gd name="connsiteX577" fmla="*/ 117456 w 4838702"/>
              <a:gd name="connsiteY577" fmla="*/ 1099815 h 11747497"/>
              <a:gd name="connsiteX578" fmla="*/ 110370 w 4838702"/>
              <a:gd name="connsiteY578" fmla="*/ 1071892 h 11747497"/>
              <a:gd name="connsiteX579" fmla="*/ 117456 w 4838702"/>
              <a:gd name="connsiteY579" fmla="*/ 1099815 h 11747497"/>
              <a:gd name="connsiteX580" fmla="*/ 118542 w 4838702"/>
              <a:gd name="connsiteY580" fmla="*/ 826482 h 11747497"/>
              <a:gd name="connsiteX581" fmla="*/ 118387 w 4838702"/>
              <a:gd name="connsiteY581" fmla="*/ 854204 h 11747497"/>
              <a:gd name="connsiteX582" fmla="*/ 114767 w 4838702"/>
              <a:gd name="connsiteY582" fmla="*/ 854103 h 11747497"/>
              <a:gd name="connsiteX583" fmla="*/ 114922 w 4838702"/>
              <a:gd name="connsiteY583" fmla="*/ 826382 h 11747497"/>
              <a:gd name="connsiteX584" fmla="*/ 120353 w 4838702"/>
              <a:gd name="connsiteY584" fmla="*/ 4399152 h 11747497"/>
              <a:gd name="connsiteX585" fmla="*/ 115232 w 4838702"/>
              <a:gd name="connsiteY585" fmla="*/ 4343607 h 11747497"/>
              <a:gd name="connsiteX586" fmla="*/ 113112 w 4838702"/>
              <a:gd name="connsiteY586" fmla="*/ 4398951 h 11747497"/>
              <a:gd name="connsiteX587" fmla="*/ 112853 w 4838702"/>
              <a:gd name="connsiteY587" fmla="*/ 4440535 h 11747497"/>
              <a:gd name="connsiteX588" fmla="*/ 120353 w 4838702"/>
              <a:gd name="connsiteY588" fmla="*/ 4399152 h 11747497"/>
              <a:gd name="connsiteX589" fmla="*/ 120611 w 4838702"/>
              <a:gd name="connsiteY589" fmla="*/ 4676473 h 11747497"/>
              <a:gd name="connsiteX590" fmla="*/ 111612 w 4838702"/>
              <a:gd name="connsiteY590" fmla="*/ 4662313 h 11747497"/>
              <a:gd name="connsiteX591" fmla="*/ 109543 w 4838702"/>
              <a:gd name="connsiteY591" fmla="*/ 4703896 h 11747497"/>
              <a:gd name="connsiteX592" fmla="*/ 120611 w 4838702"/>
              <a:gd name="connsiteY592" fmla="*/ 4676473 h 11747497"/>
              <a:gd name="connsiteX593" fmla="*/ 121361 w 4838702"/>
              <a:gd name="connsiteY593" fmla="*/ 1453907 h 11747497"/>
              <a:gd name="connsiteX594" fmla="*/ 117043 w 4838702"/>
              <a:gd name="connsiteY594" fmla="*/ 1487925 h 11747497"/>
              <a:gd name="connsiteX595" fmla="*/ 119318 w 4838702"/>
              <a:gd name="connsiteY595" fmla="*/ 1404857 h 11747497"/>
              <a:gd name="connsiteX596" fmla="*/ 121361 w 4838702"/>
              <a:gd name="connsiteY596" fmla="*/ 1453907 h 11747497"/>
              <a:gd name="connsiteX597" fmla="*/ 121665 w 4838702"/>
              <a:gd name="connsiteY597" fmla="*/ 4617563 h 11747497"/>
              <a:gd name="connsiteX598" fmla="*/ 117301 w 4838702"/>
              <a:gd name="connsiteY598" fmla="*/ 4620929 h 11747497"/>
              <a:gd name="connsiteX599" fmla="*/ 121665 w 4838702"/>
              <a:gd name="connsiteY599" fmla="*/ 4617563 h 11747497"/>
              <a:gd name="connsiteX600" fmla="*/ 122162 w 4838702"/>
              <a:gd name="connsiteY600" fmla="*/ 905958 h 11747497"/>
              <a:gd name="connsiteX601" fmla="*/ 119783 w 4838702"/>
              <a:gd name="connsiteY601" fmla="*/ 1002886 h 11747497"/>
              <a:gd name="connsiteX602" fmla="*/ 112543 w 4838702"/>
              <a:gd name="connsiteY602" fmla="*/ 1002687 h 11747497"/>
              <a:gd name="connsiteX603" fmla="*/ 112853 w 4838702"/>
              <a:gd name="connsiteY603" fmla="*/ 947242 h 11747497"/>
              <a:gd name="connsiteX604" fmla="*/ 116473 w 4838702"/>
              <a:gd name="connsiteY604" fmla="*/ 947342 h 11747497"/>
              <a:gd name="connsiteX605" fmla="*/ 114715 w 4838702"/>
              <a:gd name="connsiteY605" fmla="*/ 933481 h 11747497"/>
              <a:gd name="connsiteX606" fmla="*/ 122162 w 4838702"/>
              <a:gd name="connsiteY606" fmla="*/ 905958 h 11747497"/>
              <a:gd name="connsiteX607" fmla="*/ 126507 w 4838702"/>
              <a:gd name="connsiteY607" fmla="*/ 781209 h 11747497"/>
              <a:gd name="connsiteX608" fmla="*/ 119163 w 4838702"/>
              <a:gd name="connsiteY608" fmla="*/ 794870 h 11747497"/>
              <a:gd name="connsiteX609" fmla="*/ 121594 w 4838702"/>
              <a:gd name="connsiteY609" fmla="*/ 684081 h 11747497"/>
              <a:gd name="connsiteX610" fmla="*/ 126507 w 4838702"/>
              <a:gd name="connsiteY610" fmla="*/ 781209 h 11747497"/>
              <a:gd name="connsiteX611" fmla="*/ 129920 w 4838702"/>
              <a:gd name="connsiteY611" fmla="*/ 504087 h 11747497"/>
              <a:gd name="connsiteX612" fmla="*/ 129455 w 4838702"/>
              <a:gd name="connsiteY612" fmla="*/ 587253 h 11747497"/>
              <a:gd name="connsiteX613" fmla="*/ 125680 w 4838702"/>
              <a:gd name="connsiteY613" fmla="*/ 614876 h 11747497"/>
              <a:gd name="connsiteX614" fmla="*/ 129920 w 4838702"/>
              <a:gd name="connsiteY614" fmla="*/ 504087 h 11747497"/>
              <a:gd name="connsiteX615" fmla="*/ 132028 w 4838702"/>
              <a:gd name="connsiteY615" fmla="*/ 2042281 h 11747497"/>
              <a:gd name="connsiteX616" fmla="*/ 128265 w 4838702"/>
              <a:gd name="connsiteY616" fmla="*/ 2070489 h 11747497"/>
              <a:gd name="connsiteX617" fmla="*/ 130231 w 4838702"/>
              <a:gd name="connsiteY617" fmla="*/ 2042767 h 11747497"/>
              <a:gd name="connsiteX618" fmla="*/ 128576 w 4838702"/>
              <a:gd name="connsiteY618" fmla="*/ 2015045 h 11747497"/>
              <a:gd name="connsiteX619" fmla="*/ 132028 w 4838702"/>
              <a:gd name="connsiteY619" fmla="*/ 2042281 h 11747497"/>
              <a:gd name="connsiteX620" fmla="*/ 133024 w 4838702"/>
              <a:gd name="connsiteY620" fmla="*/ 1182981 h 11747497"/>
              <a:gd name="connsiteX621" fmla="*/ 127800 w 4838702"/>
              <a:gd name="connsiteY621" fmla="*/ 1183379 h 11747497"/>
              <a:gd name="connsiteX622" fmla="*/ 131213 w 4838702"/>
              <a:gd name="connsiteY622" fmla="*/ 1225062 h 11747497"/>
              <a:gd name="connsiteX623" fmla="*/ 130748 w 4838702"/>
              <a:gd name="connsiteY623" fmla="*/ 1308229 h 11747497"/>
              <a:gd name="connsiteX624" fmla="*/ 125318 w 4838702"/>
              <a:gd name="connsiteY624" fmla="*/ 1308029 h 11747497"/>
              <a:gd name="connsiteX625" fmla="*/ 121852 w 4838702"/>
              <a:gd name="connsiteY625" fmla="*/ 1321591 h 11747497"/>
              <a:gd name="connsiteX626" fmla="*/ 121542 w 4838702"/>
              <a:gd name="connsiteY626" fmla="*/ 1298756 h 11747497"/>
              <a:gd name="connsiteX627" fmla="*/ 122576 w 4838702"/>
              <a:gd name="connsiteY627" fmla="*/ 1224066 h 11747497"/>
              <a:gd name="connsiteX628" fmla="*/ 123404 w 4838702"/>
              <a:gd name="connsiteY628" fmla="*/ 1192754 h 11747497"/>
              <a:gd name="connsiteX629" fmla="*/ 126094 w 4838702"/>
              <a:gd name="connsiteY629" fmla="*/ 1169319 h 11747497"/>
              <a:gd name="connsiteX630" fmla="*/ 128369 w 4838702"/>
              <a:gd name="connsiteY630" fmla="*/ 1086252 h 11747497"/>
              <a:gd name="connsiteX631" fmla="*/ 132300 w 4838702"/>
              <a:gd name="connsiteY631" fmla="*/ 1086751 h 11747497"/>
              <a:gd name="connsiteX632" fmla="*/ 132300 w 4838702"/>
              <a:gd name="connsiteY632" fmla="*/ 1088446 h 11747497"/>
              <a:gd name="connsiteX633" fmla="*/ 132454 w 4838702"/>
              <a:gd name="connsiteY633" fmla="*/ 1139004 h 11747497"/>
              <a:gd name="connsiteX634" fmla="*/ 133024 w 4838702"/>
              <a:gd name="connsiteY634" fmla="*/ 1182981 h 11747497"/>
              <a:gd name="connsiteX635" fmla="*/ 134162 w 4838702"/>
              <a:gd name="connsiteY635" fmla="*/ 1507968 h 11747497"/>
              <a:gd name="connsiteX636" fmla="*/ 134006 w 4838702"/>
              <a:gd name="connsiteY636" fmla="*/ 1535691 h 11747497"/>
              <a:gd name="connsiteX637" fmla="*/ 130386 w 4838702"/>
              <a:gd name="connsiteY637" fmla="*/ 1535591 h 11747497"/>
              <a:gd name="connsiteX638" fmla="*/ 130541 w 4838702"/>
              <a:gd name="connsiteY638" fmla="*/ 1507869 h 11747497"/>
              <a:gd name="connsiteX639" fmla="*/ 134524 w 4838702"/>
              <a:gd name="connsiteY639" fmla="*/ 975564 h 11747497"/>
              <a:gd name="connsiteX640" fmla="*/ 128834 w 4838702"/>
              <a:gd name="connsiteY640" fmla="*/ 1016947 h 11747497"/>
              <a:gd name="connsiteX641" fmla="*/ 134524 w 4838702"/>
              <a:gd name="connsiteY641" fmla="*/ 975564 h 11747497"/>
              <a:gd name="connsiteX642" fmla="*/ 134938 w 4838702"/>
              <a:gd name="connsiteY642" fmla="*/ 1835050 h 11747497"/>
              <a:gd name="connsiteX643" fmla="*/ 130438 w 4838702"/>
              <a:gd name="connsiteY643" fmla="*/ 1987422 h 11747497"/>
              <a:gd name="connsiteX644" fmla="*/ 121852 w 4838702"/>
              <a:gd name="connsiteY644" fmla="*/ 1903957 h 11747497"/>
              <a:gd name="connsiteX645" fmla="*/ 110888 w 4838702"/>
              <a:gd name="connsiteY645" fmla="*/ 1917519 h 11747497"/>
              <a:gd name="connsiteX646" fmla="*/ 112232 w 4838702"/>
              <a:gd name="connsiteY646" fmla="*/ 2000686 h 11747497"/>
              <a:gd name="connsiteX647" fmla="*/ 108922 w 4838702"/>
              <a:gd name="connsiteY647" fmla="*/ 1945141 h 11747497"/>
              <a:gd name="connsiteX648" fmla="*/ 111302 w 4838702"/>
              <a:gd name="connsiteY648" fmla="*/ 1848213 h 11747497"/>
              <a:gd name="connsiteX649" fmla="*/ 111560 w 4838702"/>
              <a:gd name="connsiteY649" fmla="*/ 1806630 h 11747497"/>
              <a:gd name="connsiteX650" fmla="*/ 113526 w 4838702"/>
              <a:gd name="connsiteY650" fmla="*/ 1779007 h 11747497"/>
              <a:gd name="connsiteX651" fmla="*/ 114146 w 4838702"/>
              <a:gd name="connsiteY651" fmla="*/ 1668119 h 11747497"/>
              <a:gd name="connsiteX652" fmla="*/ 115956 w 4838702"/>
              <a:gd name="connsiteY652" fmla="*/ 1668219 h 11747497"/>
              <a:gd name="connsiteX653" fmla="*/ 114301 w 4838702"/>
              <a:gd name="connsiteY653" fmla="*/ 1640397 h 11747497"/>
              <a:gd name="connsiteX654" fmla="*/ 116215 w 4838702"/>
              <a:gd name="connsiteY654" fmla="*/ 1626635 h 11747497"/>
              <a:gd name="connsiteX655" fmla="*/ 116473 w 4838702"/>
              <a:gd name="connsiteY655" fmla="*/ 1585051 h 11747497"/>
              <a:gd name="connsiteX656" fmla="*/ 118128 w 4838702"/>
              <a:gd name="connsiteY656" fmla="*/ 1612774 h 11747497"/>
              <a:gd name="connsiteX657" fmla="*/ 117715 w 4838702"/>
              <a:gd name="connsiteY657" fmla="*/ 1682080 h 11747497"/>
              <a:gd name="connsiteX658" fmla="*/ 116939 w 4838702"/>
              <a:gd name="connsiteY658" fmla="*/ 1820690 h 11747497"/>
              <a:gd name="connsiteX659" fmla="*/ 124128 w 4838702"/>
              <a:gd name="connsiteY659" fmla="*/ 1834750 h 11747497"/>
              <a:gd name="connsiteX660" fmla="*/ 125628 w 4838702"/>
              <a:gd name="connsiteY660" fmla="*/ 1890195 h 11747497"/>
              <a:gd name="connsiteX661" fmla="*/ 129558 w 4838702"/>
              <a:gd name="connsiteY661" fmla="*/ 1834851 h 11747497"/>
              <a:gd name="connsiteX662" fmla="*/ 129817 w 4838702"/>
              <a:gd name="connsiteY662" fmla="*/ 1793267 h 11747497"/>
              <a:gd name="connsiteX663" fmla="*/ 134938 w 4838702"/>
              <a:gd name="connsiteY663" fmla="*/ 1835050 h 11747497"/>
              <a:gd name="connsiteX664" fmla="*/ 139550 w 4838702"/>
              <a:gd name="connsiteY664" fmla="*/ 252514 h 11747497"/>
              <a:gd name="connsiteX665" fmla="*/ 134989 w 4838702"/>
              <a:gd name="connsiteY665" fmla="*/ 254687 h 11747497"/>
              <a:gd name="connsiteX666" fmla="*/ 139550 w 4838702"/>
              <a:gd name="connsiteY666" fmla="*/ 252514 h 11747497"/>
              <a:gd name="connsiteX667" fmla="*/ 139844 w 4838702"/>
              <a:gd name="connsiteY667" fmla="*/ 2977418 h 11747497"/>
              <a:gd name="connsiteX668" fmla="*/ 139592 w 4838702"/>
              <a:gd name="connsiteY668" fmla="*/ 2944137 h 11747497"/>
              <a:gd name="connsiteX669" fmla="*/ 139844 w 4838702"/>
              <a:gd name="connsiteY669" fmla="*/ 2977418 h 11747497"/>
              <a:gd name="connsiteX670" fmla="*/ 139850 w 4838702"/>
              <a:gd name="connsiteY670" fmla="*/ 1627234 h 11747497"/>
              <a:gd name="connsiteX671" fmla="*/ 128265 w 4838702"/>
              <a:gd name="connsiteY671" fmla="*/ 1751684 h 11747497"/>
              <a:gd name="connsiteX672" fmla="*/ 128886 w 4838702"/>
              <a:gd name="connsiteY672" fmla="*/ 1640796 h 11747497"/>
              <a:gd name="connsiteX673" fmla="*/ 139850 w 4838702"/>
              <a:gd name="connsiteY673" fmla="*/ 1627234 h 11747497"/>
              <a:gd name="connsiteX674" fmla="*/ 140161 w 4838702"/>
              <a:gd name="connsiteY674" fmla="*/ 310330 h 11747497"/>
              <a:gd name="connsiteX675" fmla="*/ 136437 w 4838702"/>
              <a:gd name="connsiteY675" fmla="*/ 324092 h 11747497"/>
              <a:gd name="connsiteX676" fmla="*/ 134938 w 4838702"/>
              <a:gd name="connsiteY676" fmla="*/ 391802 h 11747497"/>
              <a:gd name="connsiteX677" fmla="*/ 137679 w 4838702"/>
              <a:gd name="connsiteY677" fmla="*/ 406261 h 11747497"/>
              <a:gd name="connsiteX678" fmla="*/ 135299 w 4838702"/>
              <a:gd name="connsiteY678" fmla="*/ 445950 h 11747497"/>
              <a:gd name="connsiteX679" fmla="*/ 133437 w 4838702"/>
              <a:gd name="connsiteY679" fmla="*/ 485140 h 11747497"/>
              <a:gd name="connsiteX680" fmla="*/ 126455 w 4838702"/>
              <a:gd name="connsiteY680" fmla="*/ 476264 h 11747497"/>
              <a:gd name="connsiteX681" fmla="*/ 131162 w 4838702"/>
              <a:gd name="connsiteY681" fmla="*/ 296270 h 11747497"/>
              <a:gd name="connsiteX682" fmla="*/ 140161 w 4838702"/>
              <a:gd name="connsiteY682" fmla="*/ 310330 h 11747497"/>
              <a:gd name="connsiteX683" fmla="*/ 140782 w 4838702"/>
              <a:gd name="connsiteY683" fmla="*/ 1460900 h 11747497"/>
              <a:gd name="connsiteX684" fmla="*/ 140782 w 4838702"/>
              <a:gd name="connsiteY684" fmla="*/ 1460900 h 11747497"/>
              <a:gd name="connsiteX685" fmla="*/ 140821 w 4838702"/>
              <a:gd name="connsiteY685" fmla="*/ 2140142 h 11747497"/>
              <a:gd name="connsiteX686" fmla="*/ 138661 w 4838702"/>
              <a:gd name="connsiteY686" fmla="*/ 2153955 h 11747497"/>
              <a:gd name="connsiteX687" fmla="*/ 138816 w 4838702"/>
              <a:gd name="connsiteY687" fmla="*/ 2126233 h 11747497"/>
              <a:gd name="connsiteX688" fmla="*/ 140821 w 4838702"/>
              <a:gd name="connsiteY688" fmla="*/ 2140142 h 11747497"/>
              <a:gd name="connsiteX689" fmla="*/ 142850 w 4838702"/>
              <a:gd name="connsiteY689" fmla="*/ 2057026 h 11747497"/>
              <a:gd name="connsiteX690" fmla="*/ 142592 w 4838702"/>
              <a:gd name="connsiteY690" fmla="*/ 2098610 h 11747497"/>
              <a:gd name="connsiteX691" fmla="*/ 137161 w 4838702"/>
              <a:gd name="connsiteY691" fmla="*/ 2098411 h 11747497"/>
              <a:gd name="connsiteX692" fmla="*/ 137420 w 4838702"/>
              <a:gd name="connsiteY692" fmla="*/ 2056827 h 11747497"/>
              <a:gd name="connsiteX693" fmla="*/ 142954 w 4838702"/>
              <a:gd name="connsiteY693" fmla="*/ 767846 h 11747497"/>
              <a:gd name="connsiteX694" fmla="*/ 135713 w 4838702"/>
              <a:gd name="connsiteY694" fmla="*/ 767647 h 11747497"/>
              <a:gd name="connsiteX695" fmla="*/ 146212 w 4838702"/>
              <a:gd name="connsiteY695" fmla="*/ 593835 h 11747497"/>
              <a:gd name="connsiteX696" fmla="*/ 137834 w 4838702"/>
              <a:gd name="connsiteY696" fmla="*/ 664437 h 11747497"/>
              <a:gd name="connsiteX697" fmla="*/ 139230 w 4838702"/>
              <a:gd name="connsiteY697" fmla="*/ 547265 h 11747497"/>
              <a:gd name="connsiteX698" fmla="*/ 144402 w 4838702"/>
              <a:gd name="connsiteY698" fmla="*/ 547366 h 11747497"/>
              <a:gd name="connsiteX699" fmla="*/ 146212 w 4838702"/>
              <a:gd name="connsiteY699" fmla="*/ 593835 h 11747497"/>
              <a:gd name="connsiteX700" fmla="*/ 146212 w 4838702"/>
              <a:gd name="connsiteY700" fmla="*/ 3374129 h 11747497"/>
              <a:gd name="connsiteX701" fmla="*/ 128214 w 4838702"/>
              <a:gd name="connsiteY701" fmla="*/ 3345908 h 11747497"/>
              <a:gd name="connsiteX702" fmla="*/ 128524 w 4838702"/>
              <a:gd name="connsiteY702" fmla="*/ 3290463 h 11747497"/>
              <a:gd name="connsiteX703" fmla="*/ 140989 w 4838702"/>
              <a:gd name="connsiteY703" fmla="*/ 3332347 h 11747497"/>
              <a:gd name="connsiteX704" fmla="*/ 144868 w 4838702"/>
              <a:gd name="connsiteY704" fmla="*/ 3290862 h 11747497"/>
              <a:gd name="connsiteX705" fmla="*/ 146212 w 4838702"/>
              <a:gd name="connsiteY705" fmla="*/ 3374129 h 11747497"/>
              <a:gd name="connsiteX706" fmla="*/ 148333 w 4838702"/>
              <a:gd name="connsiteY706" fmla="*/ 2680975 h 11747497"/>
              <a:gd name="connsiteX707" fmla="*/ 148178 w 4838702"/>
              <a:gd name="connsiteY707" fmla="*/ 2708697 h 11747497"/>
              <a:gd name="connsiteX708" fmla="*/ 144557 w 4838702"/>
              <a:gd name="connsiteY708" fmla="*/ 2708597 h 11747497"/>
              <a:gd name="connsiteX709" fmla="*/ 144712 w 4838702"/>
              <a:gd name="connsiteY709" fmla="*/ 2680875 h 11747497"/>
              <a:gd name="connsiteX710" fmla="*/ 149212 w 4838702"/>
              <a:gd name="connsiteY710" fmla="*/ 310530 h 11747497"/>
              <a:gd name="connsiteX711" fmla="*/ 145333 w 4838702"/>
              <a:gd name="connsiteY711" fmla="*/ 352013 h 11747497"/>
              <a:gd name="connsiteX712" fmla="*/ 141868 w 4838702"/>
              <a:gd name="connsiteY712" fmla="*/ 324191 h 11747497"/>
              <a:gd name="connsiteX713" fmla="*/ 149212 w 4838702"/>
              <a:gd name="connsiteY713" fmla="*/ 310530 h 11747497"/>
              <a:gd name="connsiteX714" fmla="*/ 150816 w 4838702"/>
              <a:gd name="connsiteY714" fmla="*/ 377741 h 11747497"/>
              <a:gd name="connsiteX715" fmla="*/ 149108 w 4838702"/>
              <a:gd name="connsiteY715" fmla="*/ 428199 h 11747497"/>
              <a:gd name="connsiteX716" fmla="*/ 149264 w 4838702"/>
              <a:gd name="connsiteY716" fmla="*/ 484142 h 11747497"/>
              <a:gd name="connsiteX717" fmla="*/ 147195 w 4838702"/>
              <a:gd name="connsiteY717" fmla="*/ 519544 h 11747497"/>
              <a:gd name="connsiteX718" fmla="*/ 142799 w 4838702"/>
              <a:gd name="connsiteY718" fmla="*/ 476663 h 11747497"/>
              <a:gd name="connsiteX719" fmla="*/ 137627 w 4838702"/>
              <a:gd name="connsiteY719" fmla="*/ 483844 h 11747497"/>
              <a:gd name="connsiteX720" fmla="*/ 139799 w 4838702"/>
              <a:gd name="connsiteY720" fmla="*/ 442459 h 11747497"/>
              <a:gd name="connsiteX721" fmla="*/ 140316 w 4838702"/>
              <a:gd name="connsiteY721" fmla="*/ 402572 h 11747497"/>
              <a:gd name="connsiteX722" fmla="*/ 143420 w 4838702"/>
              <a:gd name="connsiteY722" fmla="*/ 365775 h 11747497"/>
              <a:gd name="connsiteX723" fmla="*/ 150816 w 4838702"/>
              <a:gd name="connsiteY723" fmla="*/ 377741 h 11747497"/>
              <a:gd name="connsiteX724" fmla="*/ 150919 w 4838702"/>
              <a:gd name="connsiteY724" fmla="*/ 1918715 h 11747497"/>
              <a:gd name="connsiteX725" fmla="*/ 141816 w 4838702"/>
              <a:gd name="connsiteY725" fmla="*/ 1918416 h 11747497"/>
              <a:gd name="connsiteX726" fmla="*/ 150919 w 4838702"/>
              <a:gd name="connsiteY726" fmla="*/ 1918715 h 11747497"/>
              <a:gd name="connsiteX727" fmla="*/ 150970 w 4838702"/>
              <a:gd name="connsiteY727" fmla="*/ 2542465 h 11747497"/>
              <a:gd name="connsiteX728" fmla="*/ 147557 w 4838702"/>
              <a:gd name="connsiteY728" fmla="*/ 2500781 h 11747497"/>
              <a:gd name="connsiteX729" fmla="*/ 150970 w 4838702"/>
              <a:gd name="connsiteY729" fmla="*/ 2542465 h 11747497"/>
              <a:gd name="connsiteX730" fmla="*/ 153091 w 4838702"/>
              <a:gd name="connsiteY730" fmla="*/ 2805923 h 11747497"/>
              <a:gd name="connsiteX731" fmla="*/ 147660 w 4838702"/>
              <a:gd name="connsiteY731" fmla="*/ 2805725 h 11747497"/>
              <a:gd name="connsiteX732" fmla="*/ 140471 w 4838702"/>
              <a:gd name="connsiteY732" fmla="*/ 2791663 h 11747497"/>
              <a:gd name="connsiteX733" fmla="*/ 144247 w 4838702"/>
              <a:gd name="connsiteY733" fmla="*/ 2764042 h 11747497"/>
              <a:gd name="connsiteX734" fmla="*/ 153091 w 4838702"/>
              <a:gd name="connsiteY734" fmla="*/ 2805923 h 11747497"/>
              <a:gd name="connsiteX735" fmla="*/ 155211 w 4838702"/>
              <a:gd name="connsiteY735" fmla="*/ 2431575 h 11747497"/>
              <a:gd name="connsiteX736" fmla="*/ 153091 w 4838702"/>
              <a:gd name="connsiteY736" fmla="*/ 2487020 h 11747497"/>
              <a:gd name="connsiteX737" fmla="*/ 153194 w 4838702"/>
              <a:gd name="connsiteY737" fmla="*/ 2473159 h 11747497"/>
              <a:gd name="connsiteX738" fmla="*/ 149522 w 4838702"/>
              <a:gd name="connsiteY738" fmla="*/ 2473059 h 11747497"/>
              <a:gd name="connsiteX739" fmla="*/ 145902 w 4838702"/>
              <a:gd name="connsiteY739" fmla="*/ 2472960 h 11747497"/>
              <a:gd name="connsiteX740" fmla="*/ 155211 w 4838702"/>
              <a:gd name="connsiteY740" fmla="*/ 2431575 h 11747497"/>
              <a:gd name="connsiteX741" fmla="*/ 157384 w 4838702"/>
              <a:gd name="connsiteY741" fmla="*/ 2695135 h 11747497"/>
              <a:gd name="connsiteX742" fmla="*/ 157229 w 4838702"/>
              <a:gd name="connsiteY742" fmla="*/ 2722857 h 11747497"/>
              <a:gd name="connsiteX743" fmla="*/ 153608 w 4838702"/>
              <a:gd name="connsiteY743" fmla="*/ 2722758 h 11747497"/>
              <a:gd name="connsiteX744" fmla="*/ 153763 w 4838702"/>
              <a:gd name="connsiteY744" fmla="*/ 2695035 h 11747497"/>
              <a:gd name="connsiteX745" fmla="*/ 157849 w 4838702"/>
              <a:gd name="connsiteY745" fmla="*/ 807435 h 11747497"/>
              <a:gd name="connsiteX746" fmla="*/ 155056 w 4838702"/>
              <a:gd name="connsiteY746" fmla="*/ 878934 h 11747497"/>
              <a:gd name="connsiteX747" fmla="*/ 154746 w 4838702"/>
              <a:gd name="connsiteY747" fmla="*/ 934379 h 11747497"/>
              <a:gd name="connsiteX748" fmla="*/ 152057 w 4838702"/>
              <a:gd name="connsiteY748" fmla="*/ 1056037 h 11747497"/>
              <a:gd name="connsiteX749" fmla="*/ 145075 w 4838702"/>
              <a:gd name="connsiteY749" fmla="*/ 1388303 h 11747497"/>
              <a:gd name="connsiteX750" fmla="*/ 139178 w 4838702"/>
              <a:gd name="connsiteY750" fmla="*/ 1402265 h 11747497"/>
              <a:gd name="connsiteX751" fmla="*/ 141765 w 4838702"/>
              <a:gd name="connsiteY751" fmla="*/ 1263754 h 11747497"/>
              <a:gd name="connsiteX752" fmla="*/ 138868 w 4838702"/>
              <a:gd name="connsiteY752" fmla="*/ 1247998 h 11747497"/>
              <a:gd name="connsiteX753" fmla="*/ 139592 w 4838702"/>
              <a:gd name="connsiteY753" fmla="*/ 1218083 h 11747497"/>
              <a:gd name="connsiteX754" fmla="*/ 139178 w 4838702"/>
              <a:gd name="connsiteY754" fmla="*/ 1165730 h 11747497"/>
              <a:gd name="connsiteX755" fmla="*/ 139075 w 4838702"/>
              <a:gd name="connsiteY755" fmla="*/ 1145985 h 11747497"/>
              <a:gd name="connsiteX756" fmla="*/ 140678 w 4838702"/>
              <a:gd name="connsiteY756" fmla="*/ 1139004 h 11747497"/>
              <a:gd name="connsiteX757" fmla="*/ 143368 w 4838702"/>
              <a:gd name="connsiteY757" fmla="*/ 986631 h 11747497"/>
              <a:gd name="connsiteX758" fmla="*/ 151591 w 4838702"/>
              <a:gd name="connsiteY758" fmla="*/ 851212 h 11747497"/>
              <a:gd name="connsiteX759" fmla="*/ 150246 w 4838702"/>
              <a:gd name="connsiteY759" fmla="*/ 768046 h 11747497"/>
              <a:gd name="connsiteX760" fmla="*/ 154642 w 4838702"/>
              <a:gd name="connsiteY760" fmla="*/ 751393 h 11747497"/>
              <a:gd name="connsiteX761" fmla="*/ 157694 w 4838702"/>
              <a:gd name="connsiteY761" fmla="*/ 755082 h 11747497"/>
              <a:gd name="connsiteX762" fmla="*/ 157849 w 4838702"/>
              <a:gd name="connsiteY762" fmla="*/ 807435 h 11747497"/>
              <a:gd name="connsiteX763" fmla="*/ 158366 w 4838702"/>
              <a:gd name="connsiteY763" fmla="*/ 2279452 h 11747497"/>
              <a:gd name="connsiteX764" fmla="*/ 152418 w 4838702"/>
              <a:gd name="connsiteY764" fmla="*/ 2292965 h 11747497"/>
              <a:gd name="connsiteX765" fmla="*/ 158108 w 4838702"/>
              <a:gd name="connsiteY765" fmla="*/ 2251581 h 11747497"/>
              <a:gd name="connsiteX766" fmla="*/ 158366 w 4838702"/>
              <a:gd name="connsiteY766" fmla="*/ 2279452 h 11747497"/>
              <a:gd name="connsiteX767" fmla="*/ 161780 w 4838702"/>
              <a:gd name="connsiteY767" fmla="*/ 1918915 h 11747497"/>
              <a:gd name="connsiteX768" fmla="*/ 154591 w 4838702"/>
              <a:gd name="connsiteY768" fmla="*/ 1904854 h 11747497"/>
              <a:gd name="connsiteX769" fmla="*/ 158625 w 4838702"/>
              <a:gd name="connsiteY769" fmla="*/ 1835649 h 11747497"/>
              <a:gd name="connsiteX770" fmla="*/ 161780 w 4838702"/>
              <a:gd name="connsiteY770" fmla="*/ 1918915 h 11747497"/>
              <a:gd name="connsiteX771" fmla="*/ 162273 w 4838702"/>
              <a:gd name="connsiteY771" fmla="*/ 1654241 h 11747497"/>
              <a:gd name="connsiteX772" fmla="*/ 161262 w 4838702"/>
              <a:gd name="connsiteY772" fmla="*/ 1697138 h 11747497"/>
              <a:gd name="connsiteX773" fmla="*/ 162273 w 4838702"/>
              <a:gd name="connsiteY773" fmla="*/ 1654241 h 11747497"/>
              <a:gd name="connsiteX774" fmla="*/ 165025 w 4838702"/>
              <a:gd name="connsiteY774" fmla="*/ 506468 h 11747497"/>
              <a:gd name="connsiteX775" fmla="*/ 162090 w 4838702"/>
              <a:gd name="connsiteY775" fmla="*/ 602112 h 11747497"/>
              <a:gd name="connsiteX776" fmla="*/ 160021 w 4838702"/>
              <a:gd name="connsiteY776" fmla="*/ 643694 h 11747497"/>
              <a:gd name="connsiteX777" fmla="*/ 159867 w 4838702"/>
              <a:gd name="connsiteY777" fmla="*/ 715193 h 11747497"/>
              <a:gd name="connsiteX778" fmla="*/ 152211 w 4838702"/>
              <a:gd name="connsiteY778" fmla="*/ 675705 h 11747497"/>
              <a:gd name="connsiteX779" fmla="*/ 152987 w 4838702"/>
              <a:gd name="connsiteY779" fmla="*/ 601813 h 11747497"/>
              <a:gd name="connsiteX780" fmla="*/ 151850 w 4838702"/>
              <a:gd name="connsiteY780" fmla="*/ 601613 h 11747497"/>
              <a:gd name="connsiteX781" fmla="*/ 153763 w 4838702"/>
              <a:gd name="connsiteY781" fmla="*/ 567409 h 11747497"/>
              <a:gd name="connsiteX782" fmla="*/ 155470 w 4838702"/>
              <a:gd name="connsiteY782" fmla="*/ 515355 h 11747497"/>
              <a:gd name="connsiteX783" fmla="*/ 153815 w 4838702"/>
              <a:gd name="connsiteY783" fmla="*/ 475567 h 11747497"/>
              <a:gd name="connsiteX784" fmla="*/ 154384 w 4838702"/>
              <a:gd name="connsiteY784" fmla="*/ 447047 h 11747497"/>
              <a:gd name="connsiteX785" fmla="*/ 159453 w 4838702"/>
              <a:gd name="connsiteY785" fmla="*/ 421918 h 11747497"/>
              <a:gd name="connsiteX786" fmla="*/ 163331 w 4838702"/>
              <a:gd name="connsiteY786" fmla="*/ 380434 h 11747497"/>
              <a:gd name="connsiteX787" fmla="*/ 161366 w 4838702"/>
              <a:gd name="connsiteY787" fmla="*/ 408057 h 11747497"/>
              <a:gd name="connsiteX788" fmla="*/ 165025 w 4838702"/>
              <a:gd name="connsiteY788" fmla="*/ 506468 h 11747497"/>
              <a:gd name="connsiteX789" fmla="*/ 168607 w 4838702"/>
              <a:gd name="connsiteY789" fmla="*/ 1161640 h 11747497"/>
              <a:gd name="connsiteX790" fmla="*/ 166642 w 4838702"/>
              <a:gd name="connsiteY790" fmla="*/ 1189263 h 11747497"/>
              <a:gd name="connsiteX791" fmla="*/ 163021 w 4838702"/>
              <a:gd name="connsiteY791" fmla="*/ 1189164 h 11747497"/>
              <a:gd name="connsiteX792" fmla="*/ 168607 w 4838702"/>
              <a:gd name="connsiteY792" fmla="*/ 1161640 h 11747497"/>
              <a:gd name="connsiteX793" fmla="*/ 232584 w 4838702"/>
              <a:gd name="connsiteY793" fmla="*/ 249003 h 11747497"/>
              <a:gd name="connsiteX794" fmla="*/ 213241 w 4838702"/>
              <a:gd name="connsiteY794" fmla="*/ 249003 h 11747497"/>
              <a:gd name="connsiteX795" fmla="*/ 232584 w 4838702"/>
              <a:gd name="connsiteY795" fmla="*/ 249003 h 11747497"/>
              <a:gd name="connsiteX796" fmla="*/ 1167782 w 4838702"/>
              <a:gd name="connsiteY796" fmla="*/ 40588 h 11747497"/>
              <a:gd name="connsiteX797" fmla="*/ 1149422 w 4838702"/>
              <a:gd name="connsiteY797" fmla="*/ 40588 h 11747497"/>
              <a:gd name="connsiteX798" fmla="*/ 1167782 w 4838702"/>
              <a:gd name="connsiteY798" fmla="*/ 40588 h 11747497"/>
              <a:gd name="connsiteX799" fmla="*/ 1346785 w 4838702"/>
              <a:gd name="connsiteY799" fmla="*/ 99522 h 11747497"/>
              <a:gd name="connsiteX800" fmla="*/ 1337630 w 4838702"/>
              <a:gd name="connsiteY800" fmla="*/ 99522 h 11747497"/>
              <a:gd name="connsiteX801" fmla="*/ 1346785 w 4838702"/>
              <a:gd name="connsiteY801" fmla="*/ 99522 h 11747497"/>
              <a:gd name="connsiteX802" fmla="*/ 1612935 w 4838702"/>
              <a:gd name="connsiteY802" fmla="*/ 125649 h 11747497"/>
              <a:gd name="connsiteX803" fmla="*/ 1603781 w 4838702"/>
              <a:gd name="connsiteY803" fmla="*/ 125649 h 11747497"/>
              <a:gd name="connsiteX804" fmla="*/ 1603781 w 4838702"/>
              <a:gd name="connsiteY804" fmla="*/ 112586 h 11747497"/>
              <a:gd name="connsiteX805" fmla="*/ 1612935 w 4838702"/>
              <a:gd name="connsiteY805" fmla="*/ 112586 h 11747497"/>
              <a:gd name="connsiteX806" fmla="*/ 1612935 w 4838702"/>
              <a:gd name="connsiteY806" fmla="*/ 125649 h 11747497"/>
              <a:gd name="connsiteX807" fmla="*/ 1741459 w 4838702"/>
              <a:gd name="connsiteY807" fmla="*/ 125649 h 11747497"/>
              <a:gd name="connsiteX808" fmla="*/ 1736856 w 4838702"/>
              <a:gd name="connsiteY808" fmla="*/ 151875 h 11747497"/>
              <a:gd name="connsiteX809" fmla="*/ 1741459 w 4838702"/>
              <a:gd name="connsiteY809" fmla="*/ 125649 h 11747497"/>
              <a:gd name="connsiteX810" fmla="*/ 1892895 w 4838702"/>
              <a:gd name="connsiteY810" fmla="*/ 248904 h 11747497"/>
              <a:gd name="connsiteX811" fmla="*/ 1883741 w 4838702"/>
              <a:gd name="connsiteY811" fmla="*/ 248904 h 11747497"/>
              <a:gd name="connsiteX812" fmla="*/ 1883741 w 4838702"/>
              <a:gd name="connsiteY812" fmla="*/ 236936 h 11747497"/>
              <a:gd name="connsiteX813" fmla="*/ 1892895 w 4838702"/>
              <a:gd name="connsiteY813" fmla="*/ 236936 h 11747497"/>
              <a:gd name="connsiteX814" fmla="*/ 1892895 w 4838702"/>
              <a:gd name="connsiteY814" fmla="*/ 248904 h 11747497"/>
              <a:gd name="connsiteX815" fmla="*/ 1920410 w 4838702"/>
              <a:gd name="connsiteY815" fmla="*/ 99522 h 11747497"/>
              <a:gd name="connsiteX816" fmla="*/ 1892843 w 4838702"/>
              <a:gd name="connsiteY816" fmla="*/ 112586 h 11747497"/>
              <a:gd name="connsiteX817" fmla="*/ 1902050 w 4838702"/>
              <a:gd name="connsiteY817" fmla="*/ 92942 h 11747497"/>
              <a:gd name="connsiteX818" fmla="*/ 1920410 w 4838702"/>
              <a:gd name="connsiteY818" fmla="*/ 99522 h 11747497"/>
              <a:gd name="connsiteX819" fmla="*/ 1921651 w 4838702"/>
              <a:gd name="connsiteY819" fmla="*/ 249003 h 11747497"/>
              <a:gd name="connsiteX820" fmla="*/ 1906601 w 4838702"/>
              <a:gd name="connsiteY820" fmla="*/ 249003 h 11747497"/>
              <a:gd name="connsiteX821" fmla="*/ 1921651 w 4838702"/>
              <a:gd name="connsiteY821" fmla="*/ 249003 h 11747497"/>
              <a:gd name="connsiteX822" fmla="*/ 1925013 w 4838702"/>
              <a:gd name="connsiteY822" fmla="*/ 151875 h 11747497"/>
              <a:gd name="connsiteX823" fmla="*/ 1902050 w 4838702"/>
              <a:gd name="connsiteY823" fmla="*/ 151875 h 11747497"/>
              <a:gd name="connsiteX824" fmla="*/ 1925013 w 4838702"/>
              <a:gd name="connsiteY824" fmla="*/ 151875 h 11747497"/>
              <a:gd name="connsiteX825" fmla="*/ 1952528 w 4838702"/>
              <a:gd name="connsiteY825" fmla="*/ 158458 h 11747497"/>
              <a:gd name="connsiteX826" fmla="*/ 1934219 w 4838702"/>
              <a:gd name="connsiteY826" fmla="*/ 165038 h 11747497"/>
              <a:gd name="connsiteX827" fmla="*/ 1943373 w 4838702"/>
              <a:gd name="connsiteY827" fmla="*/ 158458 h 11747497"/>
              <a:gd name="connsiteX828" fmla="*/ 1952528 w 4838702"/>
              <a:gd name="connsiteY828" fmla="*/ 158458 h 11747497"/>
              <a:gd name="connsiteX829" fmla="*/ 2067294 w 4838702"/>
              <a:gd name="connsiteY829" fmla="*/ 125649 h 11747497"/>
              <a:gd name="connsiteX830" fmla="*/ 2053536 w 4838702"/>
              <a:gd name="connsiteY830" fmla="*/ 132231 h 11747497"/>
              <a:gd name="connsiteX831" fmla="*/ 2067294 w 4838702"/>
              <a:gd name="connsiteY831" fmla="*/ 125649 h 11747497"/>
              <a:gd name="connsiteX832" fmla="*/ 2094809 w 4838702"/>
              <a:gd name="connsiteY832" fmla="*/ 178102 h 11747497"/>
              <a:gd name="connsiteX833" fmla="*/ 2085655 w 4838702"/>
              <a:gd name="connsiteY833" fmla="*/ 178102 h 11747497"/>
              <a:gd name="connsiteX834" fmla="*/ 2094809 w 4838702"/>
              <a:gd name="connsiteY834" fmla="*/ 178102 h 11747497"/>
              <a:gd name="connsiteX835" fmla="*/ 2108567 w 4838702"/>
              <a:gd name="connsiteY835" fmla="*/ 99522 h 11747497"/>
              <a:gd name="connsiteX836" fmla="*/ 2108567 w 4838702"/>
              <a:gd name="connsiteY836" fmla="*/ 99522 h 11747497"/>
              <a:gd name="connsiteX837" fmla="*/ 2126927 w 4838702"/>
              <a:gd name="connsiteY837" fmla="*/ 132231 h 11747497"/>
              <a:gd name="connsiteX838" fmla="*/ 2122376 w 4838702"/>
              <a:gd name="connsiteY838" fmla="*/ 132231 h 11747497"/>
              <a:gd name="connsiteX839" fmla="*/ 2122376 w 4838702"/>
              <a:gd name="connsiteY839" fmla="*/ 127064 h 11747497"/>
              <a:gd name="connsiteX840" fmla="*/ 2121129 w 4838702"/>
              <a:gd name="connsiteY840" fmla="*/ 125649 h 11747497"/>
              <a:gd name="connsiteX841" fmla="*/ 2117772 w 4838702"/>
              <a:gd name="connsiteY841" fmla="*/ 125649 h 11747497"/>
              <a:gd name="connsiteX842" fmla="*/ 2117637 w 4838702"/>
              <a:gd name="connsiteY842" fmla="*/ 121685 h 11747497"/>
              <a:gd name="connsiteX843" fmla="*/ 2121129 w 4838702"/>
              <a:gd name="connsiteY843" fmla="*/ 125649 h 11747497"/>
              <a:gd name="connsiteX844" fmla="*/ 2122376 w 4838702"/>
              <a:gd name="connsiteY844" fmla="*/ 125649 h 11747497"/>
              <a:gd name="connsiteX845" fmla="*/ 2122376 w 4838702"/>
              <a:gd name="connsiteY845" fmla="*/ 127064 h 11747497"/>
              <a:gd name="connsiteX846" fmla="*/ 2159045 w 4838702"/>
              <a:gd name="connsiteY846" fmla="*/ 106104 h 11747497"/>
              <a:gd name="connsiteX847" fmla="*/ 2154442 w 4838702"/>
              <a:gd name="connsiteY847" fmla="*/ 99522 h 11747497"/>
              <a:gd name="connsiteX848" fmla="*/ 2145287 w 4838702"/>
              <a:gd name="connsiteY848" fmla="*/ 99522 h 11747497"/>
              <a:gd name="connsiteX849" fmla="*/ 2154442 w 4838702"/>
              <a:gd name="connsiteY849" fmla="*/ 92942 h 11747497"/>
              <a:gd name="connsiteX850" fmla="*/ 2159045 w 4838702"/>
              <a:gd name="connsiteY850" fmla="*/ 106104 h 11747497"/>
              <a:gd name="connsiteX851" fmla="*/ 2196363 w 4838702"/>
              <a:gd name="connsiteY851" fmla="*/ 110993 h 11747497"/>
              <a:gd name="connsiteX852" fmla="*/ 2191163 w 4838702"/>
              <a:gd name="connsiteY852" fmla="*/ 99522 h 11747497"/>
              <a:gd name="connsiteX853" fmla="*/ 2196363 w 4838702"/>
              <a:gd name="connsiteY853" fmla="*/ 110993 h 11747497"/>
              <a:gd name="connsiteX854" fmla="*/ 2200369 w 4838702"/>
              <a:gd name="connsiteY854" fmla="*/ 151875 h 11747497"/>
              <a:gd name="connsiteX855" fmla="*/ 2177405 w 4838702"/>
              <a:gd name="connsiteY855" fmla="*/ 158458 h 11747497"/>
              <a:gd name="connsiteX856" fmla="*/ 2200369 w 4838702"/>
              <a:gd name="connsiteY856" fmla="*/ 151875 h 11747497"/>
              <a:gd name="connsiteX857" fmla="*/ 2227884 w 4838702"/>
              <a:gd name="connsiteY857" fmla="*/ 165038 h 11747497"/>
              <a:gd name="connsiteX858" fmla="*/ 2209523 w 4838702"/>
              <a:gd name="connsiteY858" fmla="*/ 165038 h 11747497"/>
              <a:gd name="connsiteX859" fmla="*/ 2209523 w 4838702"/>
              <a:gd name="connsiteY859" fmla="*/ 158458 h 11747497"/>
              <a:gd name="connsiteX860" fmla="*/ 2204921 w 4838702"/>
              <a:gd name="connsiteY860" fmla="*/ 151875 h 11747497"/>
              <a:gd name="connsiteX861" fmla="*/ 2209523 w 4838702"/>
              <a:gd name="connsiteY861" fmla="*/ 158458 h 11747497"/>
              <a:gd name="connsiteX862" fmla="*/ 2227884 w 4838702"/>
              <a:gd name="connsiteY862" fmla="*/ 165038 h 11747497"/>
              <a:gd name="connsiteX863" fmla="*/ 2292172 w 4838702"/>
              <a:gd name="connsiteY863" fmla="*/ 158458 h 11747497"/>
              <a:gd name="connsiteX864" fmla="*/ 2255451 w 4838702"/>
              <a:gd name="connsiteY864" fmla="*/ 165038 h 11747497"/>
              <a:gd name="connsiteX865" fmla="*/ 2292172 w 4838702"/>
              <a:gd name="connsiteY865" fmla="*/ 158458 h 11747497"/>
              <a:gd name="connsiteX866" fmla="*/ 2356408 w 4838702"/>
              <a:gd name="connsiteY866" fmla="*/ 178002 h 11747497"/>
              <a:gd name="connsiteX867" fmla="*/ 2347202 w 4838702"/>
              <a:gd name="connsiteY867" fmla="*/ 164939 h 11747497"/>
              <a:gd name="connsiteX868" fmla="*/ 2356408 w 4838702"/>
              <a:gd name="connsiteY868" fmla="*/ 178002 h 11747497"/>
              <a:gd name="connsiteX869" fmla="*/ 2374888 w 4838702"/>
              <a:gd name="connsiteY869" fmla="*/ 141980 h 11747497"/>
              <a:gd name="connsiteX870" fmla="*/ 2374769 w 4838702"/>
              <a:gd name="connsiteY870" fmla="*/ 145295 h 11747497"/>
              <a:gd name="connsiteX871" fmla="*/ 2361011 w 4838702"/>
              <a:gd name="connsiteY871" fmla="*/ 138713 h 11747497"/>
              <a:gd name="connsiteX872" fmla="*/ 2351805 w 4838702"/>
              <a:gd name="connsiteY872" fmla="*/ 138713 h 11747497"/>
              <a:gd name="connsiteX873" fmla="*/ 2356408 w 4838702"/>
              <a:gd name="connsiteY873" fmla="*/ 125649 h 11747497"/>
              <a:gd name="connsiteX874" fmla="*/ 2361011 w 4838702"/>
              <a:gd name="connsiteY874" fmla="*/ 138713 h 11747497"/>
              <a:gd name="connsiteX875" fmla="*/ 2374888 w 4838702"/>
              <a:gd name="connsiteY875" fmla="*/ 141980 h 11747497"/>
              <a:gd name="connsiteX876" fmla="*/ 2440039 w 4838702"/>
              <a:gd name="connsiteY876" fmla="*/ 148001 h 11747497"/>
              <a:gd name="connsiteX877" fmla="*/ 2397680 w 4838702"/>
              <a:gd name="connsiteY877" fmla="*/ 145295 h 11747497"/>
              <a:gd name="connsiteX878" fmla="*/ 2411438 w 4838702"/>
              <a:gd name="connsiteY878" fmla="*/ 112486 h 11747497"/>
              <a:gd name="connsiteX879" fmla="*/ 2425195 w 4838702"/>
              <a:gd name="connsiteY879" fmla="*/ 138713 h 11747497"/>
              <a:gd name="connsiteX880" fmla="*/ 2438953 w 4838702"/>
              <a:gd name="connsiteY880" fmla="*/ 145295 h 11747497"/>
              <a:gd name="connsiteX881" fmla="*/ 2440039 w 4838702"/>
              <a:gd name="connsiteY881" fmla="*/ 148001 h 11747497"/>
              <a:gd name="connsiteX882" fmla="*/ 2443607 w 4838702"/>
              <a:gd name="connsiteY882" fmla="*/ 178102 h 11747497"/>
              <a:gd name="connsiteX883" fmla="*/ 2429954 w 4838702"/>
              <a:gd name="connsiteY883" fmla="*/ 184783 h 11747497"/>
              <a:gd name="connsiteX884" fmla="*/ 2411593 w 4838702"/>
              <a:gd name="connsiteY884" fmla="*/ 191365 h 11747497"/>
              <a:gd name="connsiteX885" fmla="*/ 2406990 w 4838702"/>
              <a:gd name="connsiteY885" fmla="*/ 184783 h 11747497"/>
              <a:gd name="connsiteX886" fmla="*/ 2402387 w 4838702"/>
              <a:gd name="connsiteY886" fmla="*/ 184783 h 11747497"/>
              <a:gd name="connsiteX887" fmla="*/ 2397784 w 4838702"/>
              <a:gd name="connsiteY887" fmla="*/ 178201 h 11747497"/>
              <a:gd name="connsiteX888" fmla="*/ 2370217 w 4838702"/>
              <a:gd name="connsiteY888" fmla="*/ 178201 h 11747497"/>
              <a:gd name="connsiteX889" fmla="*/ 2383975 w 4838702"/>
              <a:gd name="connsiteY889" fmla="*/ 171620 h 11747497"/>
              <a:gd name="connsiteX890" fmla="*/ 2406887 w 4838702"/>
              <a:gd name="connsiteY890" fmla="*/ 165038 h 11747497"/>
              <a:gd name="connsiteX891" fmla="*/ 2411489 w 4838702"/>
              <a:gd name="connsiteY891" fmla="*/ 184684 h 11747497"/>
              <a:gd name="connsiteX892" fmla="*/ 2443607 w 4838702"/>
              <a:gd name="connsiteY892" fmla="*/ 178102 h 11747497"/>
              <a:gd name="connsiteX893" fmla="*/ 2466520 w 4838702"/>
              <a:gd name="connsiteY893" fmla="*/ 184584 h 11747497"/>
              <a:gd name="connsiteX894" fmla="*/ 2448159 w 4838702"/>
              <a:gd name="connsiteY894" fmla="*/ 164939 h 11747497"/>
              <a:gd name="connsiteX895" fmla="*/ 2466520 w 4838702"/>
              <a:gd name="connsiteY895" fmla="*/ 184584 h 11747497"/>
              <a:gd name="connsiteX896" fmla="*/ 2471123 w 4838702"/>
              <a:gd name="connsiteY896" fmla="*/ 138812 h 11747497"/>
              <a:gd name="connsiteX897" fmla="*/ 2457365 w 4838702"/>
              <a:gd name="connsiteY897" fmla="*/ 158458 h 11747497"/>
              <a:gd name="connsiteX898" fmla="*/ 2471123 w 4838702"/>
              <a:gd name="connsiteY898" fmla="*/ 138812 h 11747497"/>
              <a:gd name="connsiteX899" fmla="*/ 2494086 w 4838702"/>
              <a:gd name="connsiteY899" fmla="*/ 125649 h 11747497"/>
              <a:gd name="connsiteX900" fmla="*/ 2480329 w 4838702"/>
              <a:gd name="connsiteY900" fmla="*/ 99423 h 11747497"/>
              <a:gd name="connsiteX901" fmla="*/ 2494086 w 4838702"/>
              <a:gd name="connsiteY901" fmla="*/ 125649 h 11747497"/>
              <a:gd name="connsiteX902" fmla="*/ 2507844 w 4838702"/>
              <a:gd name="connsiteY902" fmla="*/ 184584 h 11747497"/>
              <a:gd name="connsiteX903" fmla="*/ 2484880 w 4838702"/>
              <a:gd name="connsiteY903" fmla="*/ 197646 h 11747497"/>
              <a:gd name="connsiteX904" fmla="*/ 2507844 w 4838702"/>
              <a:gd name="connsiteY904" fmla="*/ 184584 h 11747497"/>
              <a:gd name="connsiteX905" fmla="*/ 2512447 w 4838702"/>
              <a:gd name="connsiteY905" fmla="*/ 138812 h 11747497"/>
              <a:gd name="connsiteX906" fmla="*/ 2480329 w 4838702"/>
              <a:gd name="connsiteY906" fmla="*/ 151875 h 11747497"/>
              <a:gd name="connsiteX907" fmla="*/ 2512447 w 4838702"/>
              <a:gd name="connsiteY907" fmla="*/ 138812 h 11747497"/>
              <a:gd name="connsiteX908" fmla="*/ 2558322 w 4838702"/>
              <a:gd name="connsiteY908" fmla="*/ 236936 h 11747497"/>
              <a:gd name="connsiteX909" fmla="*/ 2535359 w 4838702"/>
              <a:gd name="connsiteY909" fmla="*/ 243518 h 11747497"/>
              <a:gd name="connsiteX910" fmla="*/ 2558322 w 4838702"/>
              <a:gd name="connsiteY910" fmla="*/ 236936 h 11747497"/>
              <a:gd name="connsiteX911" fmla="*/ 2575219 w 4838702"/>
              <a:gd name="connsiteY911" fmla="*/ 141798 h 11747497"/>
              <a:gd name="connsiteX912" fmla="*/ 2553771 w 4838702"/>
              <a:gd name="connsiteY912" fmla="*/ 158458 h 11747497"/>
              <a:gd name="connsiteX913" fmla="*/ 2549168 w 4838702"/>
              <a:gd name="connsiteY913" fmla="*/ 171521 h 11747497"/>
              <a:gd name="connsiteX914" fmla="*/ 2544565 w 4838702"/>
              <a:gd name="connsiteY914" fmla="*/ 145295 h 11747497"/>
              <a:gd name="connsiteX915" fmla="*/ 2567528 w 4838702"/>
              <a:gd name="connsiteY915" fmla="*/ 138812 h 11747497"/>
              <a:gd name="connsiteX916" fmla="*/ 2575219 w 4838702"/>
              <a:gd name="connsiteY916" fmla="*/ 141798 h 11747497"/>
              <a:gd name="connsiteX917" fmla="*/ 2576683 w 4838702"/>
              <a:gd name="connsiteY917" fmla="*/ 197747 h 11747497"/>
              <a:gd name="connsiteX918" fmla="*/ 2553771 w 4838702"/>
              <a:gd name="connsiteY918" fmla="*/ 204328 h 11747497"/>
              <a:gd name="connsiteX919" fmla="*/ 2567528 w 4838702"/>
              <a:gd name="connsiteY919" fmla="*/ 197747 h 11747497"/>
              <a:gd name="connsiteX920" fmla="*/ 2567528 w 4838702"/>
              <a:gd name="connsiteY920" fmla="*/ 184684 h 11747497"/>
              <a:gd name="connsiteX921" fmla="*/ 2576683 w 4838702"/>
              <a:gd name="connsiteY921" fmla="*/ 197747 h 11747497"/>
              <a:gd name="connsiteX922" fmla="*/ 2595354 w 4838702"/>
              <a:gd name="connsiteY922" fmla="*/ 248904 h 11747497"/>
              <a:gd name="connsiteX923" fmla="*/ 2589509 w 4838702"/>
              <a:gd name="connsiteY923" fmla="*/ 248904 h 11747497"/>
              <a:gd name="connsiteX924" fmla="*/ 2576683 w 4838702"/>
              <a:gd name="connsiteY924" fmla="*/ 243518 h 11747497"/>
              <a:gd name="connsiteX925" fmla="*/ 2595354 w 4838702"/>
              <a:gd name="connsiteY925" fmla="*/ 248904 h 11747497"/>
              <a:gd name="connsiteX926" fmla="*/ 2636174 w 4838702"/>
              <a:gd name="connsiteY926" fmla="*/ 196429 h 11747497"/>
              <a:gd name="connsiteX927" fmla="*/ 2622558 w 4838702"/>
              <a:gd name="connsiteY927" fmla="*/ 197747 h 11747497"/>
              <a:gd name="connsiteX928" fmla="*/ 2631765 w 4838702"/>
              <a:gd name="connsiteY928" fmla="*/ 191265 h 11747497"/>
              <a:gd name="connsiteX929" fmla="*/ 2636174 w 4838702"/>
              <a:gd name="connsiteY929" fmla="*/ 196429 h 11747497"/>
              <a:gd name="connsiteX930" fmla="*/ 2636368 w 4838702"/>
              <a:gd name="connsiteY930" fmla="*/ 243518 h 11747497"/>
              <a:gd name="connsiteX931" fmla="*/ 2633420 w 4838702"/>
              <a:gd name="connsiteY931" fmla="*/ 248904 h 11747497"/>
              <a:gd name="connsiteX932" fmla="*/ 2604663 w 4838702"/>
              <a:gd name="connsiteY932" fmla="*/ 248904 h 11747497"/>
              <a:gd name="connsiteX933" fmla="*/ 2636368 w 4838702"/>
              <a:gd name="connsiteY933" fmla="*/ 243518 h 11747497"/>
              <a:gd name="connsiteX934" fmla="*/ 2643257 w 4838702"/>
              <a:gd name="connsiteY934" fmla="*/ 149324 h 11747497"/>
              <a:gd name="connsiteX935" fmla="*/ 2640919 w 4838702"/>
              <a:gd name="connsiteY935" fmla="*/ 158458 h 11747497"/>
              <a:gd name="connsiteX936" fmla="*/ 2627161 w 4838702"/>
              <a:gd name="connsiteY936" fmla="*/ 151875 h 11747497"/>
              <a:gd name="connsiteX937" fmla="*/ 2643257 w 4838702"/>
              <a:gd name="connsiteY937" fmla="*/ 149324 h 11747497"/>
              <a:gd name="connsiteX938" fmla="*/ 2645522 w 4838702"/>
              <a:gd name="connsiteY938" fmla="*/ 132231 h 11747497"/>
              <a:gd name="connsiteX939" fmla="*/ 2631765 w 4838702"/>
              <a:gd name="connsiteY939" fmla="*/ 119168 h 11747497"/>
              <a:gd name="connsiteX940" fmla="*/ 2618007 w 4838702"/>
              <a:gd name="connsiteY940" fmla="*/ 132231 h 11747497"/>
              <a:gd name="connsiteX941" fmla="*/ 2645522 w 4838702"/>
              <a:gd name="connsiteY941" fmla="*/ 132231 h 11747497"/>
              <a:gd name="connsiteX942" fmla="*/ 2673037 w 4838702"/>
              <a:gd name="connsiteY942" fmla="*/ 204229 h 11747497"/>
              <a:gd name="connsiteX943" fmla="*/ 2608801 w 4838702"/>
              <a:gd name="connsiteY943" fmla="*/ 210710 h 11747497"/>
              <a:gd name="connsiteX944" fmla="*/ 2622558 w 4838702"/>
              <a:gd name="connsiteY944" fmla="*/ 204229 h 11747497"/>
              <a:gd name="connsiteX945" fmla="*/ 2627161 w 4838702"/>
              <a:gd name="connsiteY945" fmla="*/ 204229 h 11747497"/>
              <a:gd name="connsiteX946" fmla="*/ 2631765 w 4838702"/>
              <a:gd name="connsiteY946" fmla="*/ 210710 h 11747497"/>
              <a:gd name="connsiteX947" fmla="*/ 2640919 w 4838702"/>
              <a:gd name="connsiteY947" fmla="*/ 204229 h 11747497"/>
              <a:gd name="connsiteX948" fmla="*/ 2659279 w 4838702"/>
              <a:gd name="connsiteY948" fmla="*/ 197646 h 11747497"/>
              <a:gd name="connsiteX949" fmla="*/ 2673037 w 4838702"/>
              <a:gd name="connsiteY949" fmla="*/ 204229 h 11747497"/>
              <a:gd name="connsiteX950" fmla="*/ 2691397 w 4838702"/>
              <a:gd name="connsiteY950" fmla="*/ 119168 h 11747497"/>
              <a:gd name="connsiteX951" fmla="*/ 2682243 w 4838702"/>
              <a:gd name="connsiteY951" fmla="*/ 119168 h 11747497"/>
              <a:gd name="connsiteX952" fmla="*/ 2691397 w 4838702"/>
              <a:gd name="connsiteY952" fmla="*/ 119168 h 11747497"/>
              <a:gd name="connsiteX953" fmla="*/ 2723515 w 4838702"/>
              <a:gd name="connsiteY953" fmla="*/ 145295 h 11747497"/>
              <a:gd name="connsiteX954" fmla="*/ 2691397 w 4838702"/>
              <a:gd name="connsiteY954" fmla="*/ 151776 h 11747497"/>
              <a:gd name="connsiteX955" fmla="*/ 2723515 w 4838702"/>
              <a:gd name="connsiteY955" fmla="*/ 145295 h 11747497"/>
              <a:gd name="connsiteX956" fmla="*/ 2741876 w 4838702"/>
              <a:gd name="connsiteY956" fmla="*/ 164939 h 11747497"/>
              <a:gd name="connsiteX957" fmla="*/ 2732722 w 4838702"/>
              <a:gd name="connsiteY957" fmla="*/ 164939 h 11747497"/>
              <a:gd name="connsiteX958" fmla="*/ 2741876 w 4838702"/>
              <a:gd name="connsiteY958" fmla="*/ 164939 h 11747497"/>
              <a:gd name="connsiteX959" fmla="*/ 2778597 w 4838702"/>
              <a:gd name="connsiteY959" fmla="*/ 145295 h 11747497"/>
              <a:gd name="connsiteX960" fmla="*/ 2769391 w 4838702"/>
              <a:gd name="connsiteY960" fmla="*/ 151776 h 11747497"/>
              <a:gd name="connsiteX961" fmla="*/ 2769391 w 4838702"/>
              <a:gd name="connsiteY961" fmla="*/ 145295 h 11747497"/>
              <a:gd name="connsiteX962" fmla="*/ 2773994 w 4838702"/>
              <a:gd name="connsiteY962" fmla="*/ 138713 h 11747497"/>
              <a:gd name="connsiteX963" fmla="*/ 2778597 w 4838702"/>
              <a:gd name="connsiteY963" fmla="*/ 145295 h 11747497"/>
              <a:gd name="connsiteX964" fmla="*/ 2810715 w 4838702"/>
              <a:gd name="connsiteY964" fmla="*/ 138812 h 11747497"/>
              <a:gd name="connsiteX965" fmla="*/ 2787751 w 4838702"/>
              <a:gd name="connsiteY965" fmla="*/ 132231 h 11747497"/>
              <a:gd name="connsiteX966" fmla="*/ 2810715 w 4838702"/>
              <a:gd name="connsiteY966" fmla="*/ 138812 h 11747497"/>
              <a:gd name="connsiteX967" fmla="*/ 2829076 w 4838702"/>
              <a:gd name="connsiteY967" fmla="*/ 92942 h 11747497"/>
              <a:gd name="connsiteX968" fmla="*/ 2815318 w 4838702"/>
              <a:gd name="connsiteY968" fmla="*/ 99522 h 11747497"/>
              <a:gd name="connsiteX969" fmla="*/ 2801560 w 4838702"/>
              <a:gd name="connsiteY969" fmla="*/ 99522 h 11747497"/>
              <a:gd name="connsiteX970" fmla="*/ 2829076 w 4838702"/>
              <a:gd name="connsiteY970" fmla="*/ 92942 h 11747497"/>
              <a:gd name="connsiteX971" fmla="*/ 2878397 w 4838702"/>
              <a:gd name="connsiteY971" fmla="*/ 114767 h 11747497"/>
              <a:gd name="connsiteX972" fmla="*/ 2870400 w 4838702"/>
              <a:gd name="connsiteY972" fmla="*/ 119067 h 11747497"/>
              <a:gd name="connsiteX973" fmla="*/ 2856642 w 4838702"/>
              <a:gd name="connsiteY973" fmla="*/ 125649 h 11747497"/>
              <a:gd name="connsiteX974" fmla="*/ 2865796 w 4838702"/>
              <a:gd name="connsiteY974" fmla="*/ 112486 h 11747497"/>
              <a:gd name="connsiteX975" fmla="*/ 2878397 w 4838702"/>
              <a:gd name="connsiteY975" fmla="*/ 114767 h 11747497"/>
              <a:gd name="connsiteX976" fmla="*/ 2884158 w 4838702"/>
              <a:gd name="connsiteY976" fmla="*/ 158458 h 11747497"/>
              <a:gd name="connsiteX977" fmla="*/ 2838230 w 4838702"/>
              <a:gd name="connsiteY977" fmla="*/ 145493 h 11747497"/>
              <a:gd name="connsiteX978" fmla="*/ 2861194 w 4838702"/>
              <a:gd name="connsiteY978" fmla="*/ 138911 h 11747497"/>
              <a:gd name="connsiteX979" fmla="*/ 2861194 w 4838702"/>
              <a:gd name="connsiteY979" fmla="*/ 132331 h 11747497"/>
              <a:gd name="connsiteX980" fmla="*/ 2884158 w 4838702"/>
              <a:gd name="connsiteY980" fmla="*/ 145394 h 11747497"/>
              <a:gd name="connsiteX981" fmla="*/ 2884158 w 4838702"/>
              <a:gd name="connsiteY981" fmla="*/ 158458 h 11747497"/>
              <a:gd name="connsiteX982" fmla="*/ 2925482 w 4838702"/>
              <a:gd name="connsiteY982" fmla="*/ 92942 h 11747497"/>
              <a:gd name="connsiteX983" fmla="*/ 2916327 w 4838702"/>
              <a:gd name="connsiteY983" fmla="*/ 92942 h 11747497"/>
              <a:gd name="connsiteX984" fmla="*/ 2925482 w 4838702"/>
              <a:gd name="connsiteY984" fmla="*/ 92942 h 11747497"/>
              <a:gd name="connsiteX985" fmla="*/ 2939239 w 4838702"/>
              <a:gd name="connsiteY985" fmla="*/ 164939 h 11747497"/>
              <a:gd name="connsiteX986" fmla="*/ 2925482 w 4838702"/>
              <a:gd name="connsiteY986" fmla="*/ 164939 h 11747497"/>
              <a:gd name="connsiteX987" fmla="*/ 2939239 w 4838702"/>
              <a:gd name="connsiteY987" fmla="*/ 164939 h 11747497"/>
              <a:gd name="connsiteX988" fmla="*/ 2966418 w 4838702"/>
              <a:gd name="connsiteY988" fmla="*/ 172328 h 11747497"/>
              <a:gd name="connsiteX989" fmla="*/ 2962203 w 4838702"/>
              <a:gd name="connsiteY989" fmla="*/ 164939 h 11747497"/>
              <a:gd name="connsiteX990" fmla="*/ 2962203 w 4838702"/>
              <a:gd name="connsiteY990" fmla="*/ 151875 h 11747497"/>
              <a:gd name="connsiteX991" fmla="*/ 2943842 w 4838702"/>
              <a:gd name="connsiteY991" fmla="*/ 184584 h 11747497"/>
              <a:gd name="connsiteX992" fmla="*/ 2966418 w 4838702"/>
              <a:gd name="connsiteY992" fmla="*/ 172328 h 11747497"/>
              <a:gd name="connsiteX993" fmla="*/ 3012630 w 4838702"/>
              <a:gd name="connsiteY993" fmla="*/ 151875 h 11747497"/>
              <a:gd name="connsiteX994" fmla="*/ 3012630 w 4838702"/>
              <a:gd name="connsiteY994" fmla="*/ 138812 h 11747497"/>
              <a:gd name="connsiteX995" fmla="*/ 2998872 w 4838702"/>
              <a:gd name="connsiteY995" fmla="*/ 151875 h 11747497"/>
              <a:gd name="connsiteX996" fmla="*/ 3012630 w 4838702"/>
              <a:gd name="connsiteY996" fmla="*/ 151875 h 11747497"/>
              <a:gd name="connsiteX997" fmla="*/ 3031041 w 4838702"/>
              <a:gd name="connsiteY997" fmla="*/ 178102 h 11747497"/>
              <a:gd name="connsiteX998" fmla="*/ 3021887 w 4838702"/>
              <a:gd name="connsiteY998" fmla="*/ 158458 h 11747497"/>
              <a:gd name="connsiteX999" fmla="*/ 3017285 w 4838702"/>
              <a:gd name="connsiteY999" fmla="*/ 145394 h 11747497"/>
              <a:gd name="connsiteX1000" fmla="*/ 3012681 w 4838702"/>
              <a:gd name="connsiteY1000" fmla="*/ 178102 h 11747497"/>
              <a:gd name="connsiteX1001" fmla="*/ 3031041 w 4838702"/>
              <a:gd name="connsiteY1001" fmla="*/ 178102 h 11747497"/>
              <a:gd name="connsiteX1002" fmla="*/ 3031041 w 4838702"/>
              <a:gd name="connsiteY1002" fmla="*/ 236936 h 11747497"/>
              <a:gd name="connsiteX1003" fmla="*/ 3027111 w 4838702"/>
              <a:gd name="connsiteY1003" fmla="*/ 248904 h 11747497"/>
              <a:gd name="connsiteX1004" fmla="*/ 2893571 w 4838702"/>
              <a:gd name="connsiteY1004" fmla="*/ 248904 h 11747497"/>
              <a:gd name="connsiteX1005" fmla="*/ 2884261 w 4838702"/>
              <a:gd name="connsiteY1005" fmla="*/ 243518 h 11747497"/>
              <a:gd name="connsiteX1006" fmla="*/ 2882968 w 4838702"/>
              <a:gd name="connsiteY1006" fmla="*/ 248904 h 11747497"/>
              <a:gd name="connsiteX1007" fmla="*/ 2879606 w 4838702"/>
              <a:gd name="connsiteY1007" fmla="*/ 248904 h 11747497"/>
              <a:gd name="connsiteX1008" fmla="*/ 2879658 w 4838702"/>
              <a:gd name="connsiteY1008" fmla="*/ 243518 h 11747497"/>
              <a:gd name="connsiteX1009" fmla="*/ 2861297 w 4838702"/>
              <a:gd name="connsiteY1009" fmla="*/ 230455 h 11747497"/>
              <a:gd name="connsiteX1010" fmla="*/ 2916379 w 4838702"/>
              <a:gd name="connsiteY1010" fmla="*/ 236936 h 11747497"/>
              <a:gd name="connsiteX1011" fmla="*/ 2925533 w 4838702"/>
              <a:gd name="connsiteY1011" fmla="*/ 236936 h 11747497"/>
              <a:gd name="connsiteX1012" fmla="*/ 2930136 w 4838702"/>
              <a:gd name="connsiteY1012" fmla="*/ 230455 h 11747497"/>
              <a:gd name="connsiteX1013" fmla="*/ 2939290 w 4838702"/>
              <a:gd name="connsiteY1013" fmla="*/ 223874 h 11747497"/>
              <a:gd name="connsiteX1014" fmla="*/ 2971409 w 4838702"/>
              <a:gd name="connsiteY1014" fmla="*/ 236936 h 11747497"/>
              <a:gd name="connsiteX1015" fmla="*/ 2966805 w 4838702"/>
              <a:gd name="connsiteY1015" fmla="*/ 217292 h 11747497"/>
              <a:gd name="connsiteX1016" fmla="*/ 2975960 w 4838702"/>
              <a:gd name="connsiteY1016" fmla="*/ 236936 h 11747497"/>
              <a:gd name="connsiteX1017" fmla="*/ 3031041 w 4838702"/>
              <a:gd name="connsiteY1017" fmla="*/ 236936 h 11747497"/>
              <a:gd name="connsiteX1018" fmla="*/ 3095226 w 4838702"/>
              <a:gd name="connsiteY1018" fmla="*/ 125649 h 11747497"/>
              <a:gd name="connsiteX1019" fmla="*/ 3053954 w 4838702"/>
              <a:gd name="connsiteY1019" fmla="*/ 145295 h 11747497"/>
              <a:gd name="connsiteX1020" fmla="*/ 3058505 w 4838702"/>
              <a:gd name="connsiteY1020" fmla="*/ 125649 h 11747497"/>
              <a:gd name="connsiteX1021" fmla="*/ 3063108 w 4838702"/>
              <a:gd name="connsiteY1021" fmla="*/ 145295 h 11747497"/>
              <a:gd name="connsiteX1022" fmla="*/ 3072314 w 4838702"/>
              <a:gd name="connsiteY1022" fmla="*/ 125649 h 11747497"/>
              <a:gd name="connsiteX1023" fmla="*/ 3095226 w 4838702"/>
              <a:gd name="connsiteY1023" fmla="*/ 125649 h 11747497"/>
              <a:gd name="connsiteX1024" fmla="*/ 3127395 w 4838702"/>
              <a:gd name="connsiteY1024" fmla="*/ 138713 h 11747497"/>
              <a:gd name="connsiteX1025" fmla="*/ 3109035 w 4838702"/>
              <a:gd name="connsiteY1025" fmla="*/ 145295 h 11747497"/>
              <a:gd name="connsiteX1026" fmla="*/ 3127395 w 4838702"/>
              <a:gd name="connsiteY1026" fmla="*/ 138713 h 11747497"/>
              <a:gd name="connsiteX1027" fmla="*/ 3164117 w 4838702"/>
              <a:gd name="connsiteY1027" fmla="*/ 158458 h 11747497"/>
              <a:gd name="connsiteX1028" fmla="*/ 3154962 w 4838702"/>
              <a:gd name="connsiteY1028" fmla="*/ 138812 h 11747497"/>
              <a:gd name="connsiteX1029" fmla="*/ 3150359 w 4838702"/>
              <a:gd name="connsiteY1029" fmla="*/ 151875 h 11747497"/>
              <a:gd name="connsiteX1030" fmla="*/ 3164117 w 4838702"/>
              <a:gd name="connsiteY1030" fmla="*/ 158458 h 11747497"/>
              <a:gd name="connsiteX1031" fmla="*/ 3191684 w 4838702"/>
              <a:gd name="connsiteY1031" fmla="*/ 197747 h 11747497"/>
              <a:gd name="connsiteX1032" fmla="*/ 3173323 w 4838702"/>
              <a:gd name="connsiteY1032" fmla="*/ 204328 h 11747497"/>
              <a:gd name="connsiteX1033" fmla="*/ 3182477 w 4838702"/>
              <a:gd name="connsiteY1033" fmla="*/ 197747 h 11747497"/>
              <a:gd name="connsiteX1034" fmla="*/ 3191684 w 4838702"/>
              <a:gd name="connsiteY1034" fmla="*/ 197747 h 11747497"/>
              <a:gd name="connsiteX1035" fmla="*/ 3214595 w 4838702"/>
              <a:gd name="connsiteY1035" fmla="*/ 92942 h 11747497"/>
              <a:gd name="connsiteX1036" fmla="*/ 3205441 w 4838702"/>
              <a:gd name="connsiteY1036" fmla="*/ 92942 h 11747497"/>
              <a:gd name="connsiteX1037" fmla="*/ 3205441 w 4838702"/>
              <a:gd name="connsiteY1037" fmla="*/ 79878 h 11747497"/>
              <a:gd name="connsiteX1038" fmla="*/ 3214595 w 4838702"/>
              <a:gd name="connsiteY1038" fmla="*/ 79878 h 11747497"/>
              <a:gd name="connsiteX1039" fmla="*/ 3214595 w 4838702"/>
              <a:gd name="connsiteY1039" fmla="*/ 92942 h 11747497"/>
              <a:gd name="connsiteX1040" fmla="*/ 3242162 w 4838702"/>
              <a:gd name="connsiteY1040" fmla="*/ 204328 h 11747497"/>
              <a:gd name="connsiteX1041" fmla="*/ 3219198 w 4838702"/>
              <a:gd name="connsiteY1041" fmla="*/ 217391 h 11747497"/>
              <a:gd name="connsiteX1042" fmla="*/ 3242162 w 4838702"/>
              <a:gd name="connsiteY1042" fmla="*/ 204328 h 11747497"/>
              <a:gd name="connsiteX1043" fmla="*/ 3315553 w 4838702"/>
              <a:gd name="connsiteY1043" fmla="*/ 249003 h 11747497"/>
              <a:gd name="connsiteX1044" fmla="*/ 3304692 w 4838702"/>
              <a:gd name="connsiteY1044" fmla="*/ 249003 h 11747497"/>
              <a:gd name="connsiteX1045" fmla="*/ 3315553 w 4838702"/>
              <a:gd name="connsiteY1045" fmla="*/ 243618 h 11747497"/>
              <a:gd name="connsiteX1046" fmla="*/ 3315553 w 4838702"/>
              <a:gd name="connsiteY1046" fmla="*/ 249003 h 11747497"/>
              <a:gd name="connsiteX1047" fmla="*/ 3333913 w 4838702"/>
              <a:gd name="connsiteY1047" fmla="*/ 86459 h 11747497"/>
              <a:gd name="connsiteX1048" fmla="*/ 3324759 w 4838702"/>
              <a:gd name="connsiteY1048" fmla="*/ 66815 h 11747497"/>
              <a:gd name="connsiteX1049" fmla="*/ 3320156 w 4838702"/>
              <a:gd name="connsiteY1049" fmla="*/ 86459 h 11747497"/>
              <a:gd name="connsiteX1050" fmla="*/ 3333913 w 4838702"/>
              <a:gd name="connsiteY1050" fmla="*/ 86459 h 11747497"/>
              <a:gd name="connsiteX1051" fmla="*/ 3341309 w 4838702"/>
              <a:gd name="connsiteY1051" fmla="*/ 249003 h 11747497"/>
              <a:gd name="connsiteX1052" fmla="*/ 3329310 w 4838702"/>
              <a:gd name="connsiteY1052" fmla="*/ 249003 h 11747497"/>
              <a:gd name="connsiteX1053" fmla="*/ 3341309 w 4838702"/>
              <a:gd name="connsiteY1053" fmla="*/ 249003 h 11747497"/>
              <a:gd name="connsiteX1054" fmla="*/ 3352274 w 4838702"/>
              <a:gd name="connsiteY1054" fmla="*/ 249003 h 11747497"/>
              <a:gd name="connsiteX1055" fmla="*/ 3345912 w 4838702"/>
              <a:gd name="connsiteY1055" fmla="*/ 249003 h 11747497"/>
              <a:gd name="connsiteX1056" fmla="*/ 3347671 w 4838702"/>
              <a:gd name="connsiteY1056" fmla="*/ 243618 h 11747497"/>
              <a:gd name="connsiteX1057" fmla="*/ 3352274 w 4838702"/>
              <a:gd name="connsiteY1057" fmla="*/ 249003 h 11747497"/>
              <a:gd name="connsiteX1058" fmla="*/ 3357474 w 4838702"/>
              <a:gd name="connsiteY1058" fmla="*/ 58640 h 11747497"/>
              <a:gd name="connsiteX1059" fmla="*/ 3352274 w 4838702"/>
              <a:gd name="connsiteY1059" fmla="*/ 47169 h 11747497"/>
              <a:gd name="connsiteX1060" fmla="*/ 3357474 w 4838702"/>
              <a:gd name="connsiteY1060" fmla="*/ 58640 h 11747497"/>
              <a:gd name="connsiteX1061" fmla="*/ 3375754 w 4838702"/>
              <a:gd name="connsiteY1061" fmla="*/ 249003 h 11747497"/>
              <a:gd name="connsiteX1062" fmla="*/ 3356567 w 4838702"/>
              <a:gd name="connsiteY1062" fmla="*/ 249003 h 11747497"/>
              <a:gd name="connsiteX1063" fmla="*/ 3375237 w 4838702"/>
              <a:gd name="connsiteY1063" fmla="*/ 243618 h 11747497"/>
              <a:gd name="connsiteX1064" fmla="*/ 3375754 w 4838702"/>
              <a:gd name="connsiteY1064" fmla="*/ 249003 h 11747497"/>
              <a:gd name="connsiteX1065" fmla="*/ 3385245 w 4838702"/>
              <a:gd name="connsiteY1065" fmla="*/ 168242 h 11747497"/>
              <a:gd name="connsiteX1066" fmla="*/ 3375237 w 4838702"/>
              <a:gd name="connsiteY1066" fmla="*/ 158458 h 11747497"/>
              <a:gd name="connsiteX1067" fmla="*/ 3375237 w 4838702"/>
              <a:gd name="connsiteY1067" fmla="*/ 178102 h 11747497"/>
              <a:gd name="connsiteX1068" fmla="*/ 3385245 w 4838702"/>
              <a:gd name="connsiteY1068" fmla="*/ 168242 h 11747497"/>
              <a:gd name="connsiteX1069" fmla="*/ 3419613 w 4838702"/>
              <a:gd name="connsiteY1069" fmla="*/ 249003 h 11747497"/>
              <a:gd name="connsiteX1070" fmla="*/ 3404925 w 4838702"/>
              <a:gd name="connsiteY1070" fmla="*/ 249003 h 11747497"/>
              <a:gd name="connsiteX1071" fmla="*/ 3416510 w 4838702"/>
              <a:gd name="connsiteY1071" fmla="*/ 243618 h 11747497"/>
              <a:gd name="connsiteX1072" fmla="*/ 3419613 w 4838702"/>
              <a:gd name="connsiteY1072" fmla="*/ 249003 h 11747497"/>
              <a:gd name="connsiteX1073" fmla="*/ 3430267 w 4838702"/>
              <a:gd name="connsiteY1073" fmla="*/ 184584 h 11747497"/>
              <a:gd name="connsiteX1074" fmla="*/ 3430267 w 4838702"/>
              <a:gd name="connsiteY1074" fmla="*/ 158357 h 11747497"/>
              <a:gd name="connsiteX1075" fmla="*/ 3411907 w 4838702"/>
              <a:gd name="connsiteY1075" fmla="*/ 151776 h 11747497"/>
              <a:gd name="connsiteX1076" fmla="*/ 3393546 w 4838702"/>
              <a:gd name="connsiteY1076" fmla="*/ 171420 h 11747497"/>
              <a:gd name="connsiteX1077" fmla="*/ 3407356 w 4838702"/>
              <a:gd name="connsiteY1077" fmla="*/ 178002 h 11747497"/>
              <a:gd name="connsiteX1078" fmla="*/ 3411907 w 4838702"/>
              <a:gd name="connsiteY1078" fmla="*/ 184584 h 11747497"/>
              <a:gd name="connsiteX1079" fmla="*/ 3430267 w 4838702"/>
              <a:gd name="connsiteY1079" fmla="*/ 184584 h 11747497"/>
              <a:gd name="connsiteX1080" fmla="*/ 3434870 w 4838702"/>
              <a:gd name="connsiteY1080" fmla="*/ 40588 h 11747497"/>
              <a:gd name="connsiteX1081" fmla="*/ 3366031 w 4838702"/>
              <a:gd name="connsiteY1081" fmla="*/ 40588 h 11747497"/>
              <a:gd name="connsiteX1082" fmla="*/ 3361428 w 4838702"/>
              <a:gd name="connsiteY1082" fmla="*/ 73296 h 11747497"/>
              <a:gd name="connsiteX1083" fmla="*/ 3347671 w 4838702"/>
              <a:gd name="connsiteY1083" fmla="*/ 79878 h 11747497"/>
              <a:gd name="connsiteX1084" fmla="*/ 3361428 w 4838702"/>
              <a:gd name="connsiteY1084" fmla="*/ 86459 h 11747497"/>
              <a:gd name="connsiteX1085" fmla="*/ 3370634 w 4838702"/>
              <a:gd name="connsiteY1085" fmla="*/ 66815 h 11747497"/>
              <a:gd name="connsiteX1086" fmla="*/ 3379788 w 4838702"/>
              <a:gd name="connsiteY1086" fmla="*/ 99522 h 11747497"/>
              <a:gd name="connsiteX1087" fmla="*/ 3361428 w 4838702"/>
              <a:gd name="connsiteY1087" fmla="*/ 92942 h 11747497"/>
              <a:gd name="connsiteX1088" fmla="*/ 3352274 w 4838702"/>
              <a:gd name="connsiteY1088" fmla="*/ 125649 h 11747497"/>
              <a:gd name="connsiteX1089" fmla="*/ 3384392 w 4838702"/>
              <a:gd name="connsiteY1089" fmla="*/ 106005 h 11747497"/>
              <a:gd name="connsiteX1090" fmla="*/ 3407356 w 4838702"/>
              <a:gd name="connsiteY1090" fmla="*/ 132231 h 11747497"/>
              <a:gd name="connsiteX1091" fmla="*/ 3411907 w 4838702"/>
              <a:gd name="connsiteY1091" fmla="*/ 119168 h 11747497"/>
              <a:gd name="connsiteX1092" fmla="*/ 3430267 w 4838702"/>
              <a:gd name="connsiteY1092" fmla="*/ 119168 h 11747497"/>
              <a:gd name="connsiteX1093" fmla="*/ 3430267 w 4838702"/>
              <a:gd name="connsiteY1093" fmla="*/ 73296 h 11747497"/>
              <a:gd name="connsiteX1094" fmla="*/ 3407356 w 4838702"/>
              <a:gd name="connsiteY1094" fmla="*/ 60233 h 11747497"/>
              <a:gd name="connsiteX1095" fmla="*/ 3434870 w 4838702"/>
              <a:gd name="connsiteY1095" fmla="*/ 40588 h 11747497"/>
              <a:gd name="connsiteX1096" fmla="*/ 3443300 w 4838702"/>
              <a:gd name="connsiteY1096" fmla="*/ 249003 h 11747497"/>
              <a:gd name="connsiteX1097" fmla="*/ 3432491 w 4838702"/>
              <a:gd name="connsiteY1097" fmla="*/ 249003 h 11747497"/>
              <a:gd name="connsiteX1098" fmla="*/ 3443300 w 4838702"/>
              <a:gd name="connsiteY1098" fmla="*/ 249003 h 11747497"/>
              <a:gd name="connsiteX1099" fmla="*/ 3448679 w 4838702"/>
              <a:gd name="connsiteY1099" fmla="*/ 53751 h 11747497"/>
              <a:gd name="connsiteX1100" fmla="*/ 3439474 w 4838702"/>
              <a:gd name="connsiteY1100" fmla="*/ 40688 h 11747497"/>
              <a:gd name="connsiteX1101" fmla="*/ 3444076 w 4838702"/>
              <a:gd name="connsiteY1101" fmla="*/ 60233 h 11747497"/>
              <a:gd name="connsiteX1102" fmla="*/ 3448679 w 4838702"/>
              <a:gd name="connsiteY1102" fmla="*/ 53751 h 11747497"/>
              <a:gd name="connsiteX1103" fmla="*/ 3471591 w 4838702"/>
              <a:gd name="connsiteY1103" fmla="*/ 164939 h 11747497"/>
              <a:gd name="connsiteX1104" fmla="*/ 3453231 w 4838702"/>
              <a:gd name="connsiteY1104" fmla="*/ 164939 h 11747497"/>
              <a:gd name="connsiteX1105" fmla="*/ 3434870 w 4838702"/>
              <a:gd name="connsiteY1105" fmla="*/ 158357 h 11747497"/>
              <a:gd name="connsiteX1106" fmla="*/ 3471591 w 4838702"/>
              <a:gd name="connsiteY1106" fmla="*/ 164939 h 11747497"/>
              <a:gd name="connsiteX1107" fmla="*/ 3471591 w 4838702"/>
              <a:gd name="connsiteY1107" fmla="*/ 197747 h 11747497"/>
              <a:gd name="connsiteX1108" fmla="*/ 3471591 w 4838702"/>
              <a:gd name="connsiteY1108" fmla="*/ 184684 h 11747497"/>
              <a:gd name="connsiteX1109" fmla="*/ 3457834 w 4838702"/>
              <a:gd name="connsiteY1109" fmla="*/ 184684 h 11747497"/>
              <a:gd name="connsiteX1110" fmla="*/ 3457834 w 4838702"/>
              <a:gd name="connsiteY1110" fmla="*/ 197747 h 11747497"/>
              <a:gd name="connsiteX1111" fmla="*/ 3471591 w 4838702"/>
              <a:gd name="connsiteY1111" fmla="*/ 197747 h 11747497"/>
              <a:gd name="connsiteX1112" fmla="*/ 3476194 w 4838702"/>
              <a:gd name="connsiteY1112" fmla="*/ 40588 h 11747497"/>
              <a:gd name="connsiteX1113" fmla="*/ 3453231 w 4838702"/>
              <a:gd name="connsiteY1113" fmla="*/ 40588 h 11747497"/>
              <a:gd name="connsiteX1114" fmla="*/ 3476194 w 4838702"/>
              <a:gd name="connsiteY1114" fmla="*/ 40588 h 11747497"/>
              <a:gd name="connsiteX1115" fmla="*/ 3494555 w 4838702"/>
              <a:gd name="connsiteY1115" fmla="*/ 165038 h 11747497"/>
              <a:gd name="connsiteX1116" fmla="*/ 3476194 w 4838702"/>
              <a:gd name="connsiteY1116" fmla="*/ 158458 h 11747497"/>
              <a:gd name="connsiteX1117" fmla="*/ 3476194 w 4838702"/>
              <a:gd name="connsiteY1117" fmla="*/ 178102 h 11747497"/>
              <a:gd name="connsiteX1118" fmla="*/ 3494555 w 4838702"/>
              <a:gd name="connsiteY1118" fmla="*/ 165038 h 11747497"/>
              <a:gd name="connsiteX1119" fmla="*/ 3503710 w 4838702"/>
              <a:gd name="connsiteY1119" fmla="*/ 191165 h 11747497"/>
              <a:gd name="connsiteX1120" fmla="*/ 3485349 w 4838702"/>
              <a:gd name="connsiteY1120" fmla="*/ 197646 h 11747497"/>
              <a:gd name="connsiteX1121" fmla="*/ 3503710 w 4838702"/>
              <a:gd name="connsiteY1121" fmla="*/ 191165 h 11747497"/>
              <a:gd name="connsiteX1122" fmla="*/ 3520518 w 4838702"/>
              <a:gd name="connsiteY1122" fmla="*/ 249003 h 11747497"/>
              <a:gd name="connsiteX1123" fmla="*/ 3510846 w 4838702"/>
              <a:gd name="connsiteY1123" fmla="*/ 249003 h 11747497"/>
              <a:gd name="connsiteX1124" fmla="*/ 3517519 w 4838702"/>
              <a:gd name="connsiteY1124" fmla="*/ 243618 h 11747497"/>
              <a:gd name="connsiteX1125" fmla="*/ 3520518 w 4838702"/>
              <a:gd name="connsiteY1125" fmla="*/ 249003 h 11747497"/>
              <a:gd name="connsiteX1126" fmla="*/ 3545033 w 4838702"/>
              <a:gd name="connsiteY1126" fmla="*/ 178002 h 11747497"/>
              <a:gd name="connsiteX1127" fmla="*/ 3499158 w 4838702"/>
              <a:gd name="connsiteY1127" fmla="*/ 158357 h 11747497"/>
              <a:gd name="connsiteX1128" fmla="*/ 3490004 w 4838702"/>
              <a:gd name="connsiteY1128" fmla="*/ 138713 h 11747497"/>
              <a:gd name="connsiteX1129" fmla="*/ 3499158 w 4838702"/>
              <a:gd name="connsiteY1129" fmla="*/ 171420 h 11747497"/>
              <a:gd name="connsiteX1130" fmla="*/ 3526673 w 4838702"/>
              <a:gd name="connsiteY1130" fmla="*/ 171521 h 11747497"/>
              <a:gd name="connsiteX1131" fmla="*/ 3531276 w 4838702"/>
              <a:gd name="connsiteY1131" fmla="*/ 184584 h 11747497"/>
              <a:gd name="connsiteX1132" fmla="*/ 3545033 w 4838702"/>
              <a:gd name="connsiteY1132" fmla="*/ 178002 h 11747497"/>
              <a:gd name="connsiteX1133" fmla="*/ 3549637 w 4838702"/>
              <a:gd name="connsiteY1133" fmla="*/ 47169 h 11747497"/>
              <a:gd name="connsiteX1134" fmla="*/ 3499158 w 4838702"/>
              <a:gd name="connsiteY1134" fmla="*/ 40588 h 11747497"/>
              <a:gd name="connsiteX1135" fmla="*/ 3508312 w 4838702"/>
              <a:gd name="connsiteY1135" fmla="*/ 60233 h 11747497"/>
              <a:gd name="connsiteX1136" fmla="*/ 3549637 w 4838702"/>
              <a:gd name="connsiteY1136" fmla="*/ 47169 h 11747497"/>
              <a:gd name="connsiteX1137" fmla="*/ 3561273 w 4838702"/>
              <a:gd name="connsiteY1137" fmla="*/ 249003 h 11747497"/>
              <a:gd name="connsiteX1138" fmla="*/ 3530966 w 4838702"/>
              <a:gd name="connsiteY1138" fmla="*/ 249003 h 11747497"/>
              <a:gd name="connsiteX1139" fmla="*/ 3540430 w 4838702"/>
              <a:gd name="connsiteY1139" fmla="*/ 243618 h 11747497"/>
              <a:gd name="connsiteX1140" fmla="*/ 3561273 w 4838702"/>
              <a:gd name="connsiteY1140" fmla="*/ 249003 h 11747497"/>
              <a:gd name="connsiteX1141" fmla="*/ 3581755 w 4838702"/>
              <a:gd name="connsiteY1141" fmla="*/ 164939 h 11747497"/>
              <a:gd name="connsiteX1142" fmla="*/ 3549637 w 4838702"/>
              <a:gd name="connsiteY1142" fmla="*/ 184584 h 11747497"/>
              <a:gd name="connsiteX1143" fmla="*/ 3581755 w 4838702"/>
              <a:gd name="connsiteY1143" fmla="*/ 164939 h 11747497"/>
              <a:gd name="connsiteX1144" fmla="*/ 3595512 w 4838702"/>
              <a:gd name="connsiteY1144" fmla="*/ 92942 h 11747497"/>
              <a:gd name="connsiteX1145" fmla="*/ 3545033 w 4838702"/>
              <a:gd name="connsiteY1145" fmla="*/ 73296 h 11747497"/>
              <a:gd name="connsiteX1146" fmla="*/ 3558791 w 4838702"/>
              <a:gd name="connsiteY1146" fmla="*/ 99522 h 11747497"/>
              <a:gd name="connsiteX1147" fmla="*/ 3595512 w 4838702"/>
              <a:gd name="connsiteY1147" fmla="*/ 92942 h 11747497"/>
              <a:gd name="connsiteX1148" fmla="*/ 3595512 w 4838702"/>
              <a:gd name="connsiteY1148" fmla="*/ 191165 h 11747497"/>
              <a:gd name="connsiteX1149" fmla="*/ 3567997 w 4838702"/>
              <a:gd name="connsiteY1149" fmla="*/ 184584 h 11747497"/>
              <a:gd name="connsiteX1150" fmla="*/ 3595512 w 4838702"/>
              <a:gd name="connsiteY1150" fmla="*/ 191165 h 11747497"/>
              <a:gd name="connsiteX1151" fmla="*/ 3596109 w 4838702"/>
              <a:gd name="connsiteY1151" fmla="*/ 150283 h 11747497"/>
              <a:gd name="connsiteX1152" fmla="*/ 3590909 w 4838702"/>
              <a:gd name="connsiteY1152" fmla="*/ 138812 h 11747497"/>
              <a:gd name="connsiteX1153" fmla="*/ 3596109 w 4838702"/>
              <a:gd name="connsiteY1153" fmla="*/ 150283 h 11747497"/>
              <a:gd name="connsiteX1154" fmla="*/ 3613873 w 4838702"/>
              <a:gd name="connsiteY1154" fmla="*/ 164939 h 11747497"/>
              <a:gd name="connsiteX1155" fmla="*/ 3600115 w 4838702"/>
              <a:gd name="connsiteY1155" fmla="*/ 171521 h 11747497"/>
              <a:gd name="connsiteX1156" fmla="*/ 3613873 w 4838702"/>
              <a:gd name="connsiteY1156" fmla="*/ 164939 h 11747497"/>
              <a:gd name="connsiteX1157" fmla="*/ 3622975 w 4838702"/>
              <a:gd name="connsiteY1157" fmla="*/ 132131 h 11747497"/>
              <a:gd name="connsiteX1158" fmla="*/ 3609218 w 4838702"/>
              <a:gd name="connsiteY1158" fmla="*/ 99423 h 11747497"/>
              <a:gd name="connsiteX1159" fmla="*/ 3622975 w 4838702"/>
              <a:gd name="connsiteY1159" fmla="*/ 79777 h 11747497"/>
              <a:gd name="connsiteX1160" fmla="*/ 3600011 w 4838702"/>
              <a:gd name="connsiteY1160" fmla="*/ 106005 h 11747497"/>
              <a:gd name="connsiteX1161" fmla="*/ 3535776 w 4838702"/>
              <a:gd name="connsiteY1161" fmla="*/ 99423 h 11747497"/>
              <a:gd name="connsiteX1162" fmla="*/ 3517415 w 4838702"/>
              <a:gd name="connsiteY1162" fmla="*/ 86359 h 11747497"/>
              <a:gd name="connsiteX1163" fmla="*/ 3531173 w 4838702"/>
              <a:gd name="connsiteY1163" fmla="*/ 99423 h 11747497"/>
              <a:gd name="connsiteX1164" fmla="*/ 3485297 w 4838702"/>
              <a:gd name="connsiteY1164" fmla="*/ 99423 h 11747497"/>
              <a:gd name="connsiteX1165" fmla="*/ 3466937 w 4838702"/>
              <a:gd name="connsiteY1165" fmla="*/ 106005 h 11747497"/>
              <a:gd name="connsiteX1166" fmla="*/ 3462385 w 4838702"/>
              <a:gd name="connsiteY1166" fmla="*/ 92942 h 11747497"/>
              <a:gd name="connsiteX1167" fmla="*/ 3457782 w 4838702"/>
              <a:gd name="connsiteY1167" fmla="*/ 106005 h 11747497"/>
              <a:gd name="connsiteX1168" fmla="*/ 3434819 w 4838702"/>
              <a:gd name="connsiteY1168" fmla="*/ 99423 h 11747497"/>
              <a:gd name="connsiteX1169" fmla="*/ 3448628 w 4838702"/>
              <a:gd name="connsiteY1169" fmla="*/ 132231 h 11747497"/>
              <a:gd name="connsiteX1170" fmla="*/ 3471591 w 4838702"/>
              <a:gd name="connsiteY1170" fmla="*/ 112586 h 11747497"/>
              <a:gd name="connsiteX1171" fmla="*/ 3476194 w 4838702"/>
              <a:gd name="connsiteY1171" fmla="*/ 125649 h 11747497"/>
              <a:gd name="connsiteX1172" fmla="*/ 3480797 w 4838702"/>
              <a:gd name="connsiteY1172" fmla="*/ 112586 h 11747497"/>
              <a:gd name="connsiteX1173" fmla="*/ 3494555 w 4838702"/>
              <a:gd name="connsiteY1173" fmla="*/ 125649 h 11747497"/>
              <a:gd name="connsiteX1174" fmla="*/ 3512916 w 4838702"/>
              <a:gd name="connsiteY1174" fmla="*/ 119067 h 11747497"/>
              <a:gd name="connsiteX1175" fmla="*/ 3522070 w 4838702"/>
              <a:gd name="connsiteY1175" fmla="*/ 119067 h 11747497"/>
              <a:gd name="connsiteX1176" fmla="*/ 3526673 w 4838702"/>
              <a:gd name="connsiteY1176" fmla="*/ 125649 h 11747497"/>
              <a:gd name="connsiteX1177" fmla="*/ 3535828 w 4838702"/>
              <a:gd name="connsiteY1177" fmla="*/ 125649 h 11747497"/>
              <a:gd name="connsiteX1178" fmla="*/ 3558791 w 4838702"/>
              <a:gd name="connsiteY1178" fmla="*/ 119067 h 11747497"/>
              <a:gd name="connsiteX1179" fmla="*/ 3572548 w 4838702"/>
              <a:gd name="connsiteY1179" fmla="*/ 125649 h 11747497"/>
              <a:gd name="connsiteX1180" fmla="*/ 3586306 w 4838702"/>
              <a:gd name="connsiteY1180" fmla="*/ 119067 h 11747497"/>
              <a:gd name="connsiteX1181" fmla="*/ 3600064 w 4838702"/>
              <a:gd name="connsiteY1181" fmla="*/ 125649 h 11747497"/>
              <a:gd name="connsiteX1182" fmla="*/ 3609218 w 4838702"/>
              <a:gd name="connsiteY1182" fmla="*/ 119067 h 11747497"/>
              <a:gd name="connsiteX1183" fmla="*/ 3622975 w 4838702"/>
              <a:gd name="connsiteY1183" fmla="*/ 132131 h 11747497"/>
              <a:gd name="connsiteX1184" fmla="*/ 3641387 w 4838702"/>
              <a:gd name="connsiteY1184" fmla="*/ 178102 h 11747497"/>
              <a:gd name="connsiteX1185" fmla="*/ 3641387 w 4838702"/>
              <a:gd name="connsiteY1185" fmla="*/ 165038 h 11747497"/>
              <a:gd name="connsiteX1186" fmla="*/ 3632233 w 4838702"/>
              <a:gd name="connsiteY1186" fmla="*/ 165038 h 11747497"/>
              <a:gd name="connsiteX1187" fmla="*/ 3632233 w 4838702"/>
              <a:gd name="connsiteY1187" fmla="*/ 178102 h 11747497"/>
              <a:gd name="connsiteX1188" fmla="*/ 3641387 w 4838702"/>
              <a:gd name="connsiteY1188" fmla="*/ 178102 h 11747497"/>
              <a:gd name="connsiteX1189" fmla="*/ 3673506 w 4838702"/>
              <a:gd name="connsiteY1189" fmla="*/ 53652 h 11747497"/>
              <a:gd name="connsiteX1190" fmla="*/ 3673506 w 4838702"/>
              <a:gd name="connsiteY1190" fmla="*/ 40588 h 11747497"/>
              <a:gd name="connsiteX1191" fmla="*/ 3664300 w 4838702"/>
              <a:gd name="connsiteY1191" fmla="*/ 40588 h 11747497"/>
              <a:gd name="connsiteX1192" fmla="*/ 3664300 w 4838702"/>
              <a:gd name="connsiteY1192" fmla="*/ 53652 h 11747497"/>
              <a:gd name="connsiteX1193" fmla="*/ 3673506 w 4838702"/>
              <a:gd name="connsiteY1193" fmla="*/ 53652 h 11747497"/>
              <a:gd name="connsiteX1194" fmla="*/ 3682660 w 4838702"/>
              <a:gd name="connsiteY1194" fmla="*/ 125649 h 11747497"/>
              <a:gd name="connsiteX1195" fmla="*/ 3682660 w 4838702"/>
              <a:gd name="connsiteY1195" fmla="*/ 112586 h 11747497"/>
              <a:gd name="connsiteX1196" fmla="*/ 3673506 w 4838702"/>
              <a:gd name="connsiteY1196" fmla="*/ 112586 h 11747497"/>
              <a:gd name="connsiteX1197" fmla="*/ 3673506 w 4838702"/>
              <a:gd name="connsiteY1197" fmla="*/ 125649 h 11747497"/>
              <a:gd name="connsiteX1198" fmla="*/ 3682660 w 4838702"/>
              <a:gd name="connsiteY1198" fmla="*/ 125649 h 11747497"/>
              <a:gd name="connsiteX1199" fmla="*/ 3705675 w 4838702"/>
              <a:gd name="connsiteY1199" fmla="*/ 92942 h 11747497"/>
              <a:gd name="connsiteX1200" fmla="*/ 3664403 w 4838702"/>
              <a:gd name="connsiteY1200" fmla="*/ 79878 h 11747497"/>
              <a:gd name="connsiteX1201" fmla="*/ 3627682 w 4838702"/>
              <a:gd name="connsiteY1201" fmla="*/ 73296 h 11747497"/>
              <a:gd name="connsiteX1202" fmla="*/ 3636836 w 4838702"/>
              <a:gd name="connsiteY1202" fmla="*/ 92942 h 11747497"/>
              <a:gd name="connsiteX1203" fmla="*/ 3705675 w 4838702"/>
              <a:gd name="connsiteY1203" fmla="*/ 92942 h 11747497"/>
              <a:gd name="connsiteX1204" fmla="*/ 3741052 w 4838702"/>
              <a:gd name="connsiteY1204" fmla="*/ 249003 h 11747497"/>
              <a:gd name="connsiteX1205" fmla="*/ 3720105 w 4838702"/>
              <a:gd name="connsiteY1205" fmla="*/ 249003 h 11747497"/>
              <a:gd name="connsiteX1206" fmla="*/ 3733190 w 4838702"/>
              <a:gd name="connsiteY1206" fmla="*/ 243618 h 11747497"/>
              <a:gd name="connsiteX1207" fmla="*/ 3741052 w 4838702"/>
              <a:gd name="connsiteY1207" fmla="*/ 249003 h 11747497"/>
              <a:gd name="connsiteX1208" fmla="*/ 3766860 w 4838702"/>
              <a:gd name="connsiteY1208" fmla="*/ 249003 h 11747497"/>
              <a:gd name="connsiteX1209" fmla="*/ 3758481 w 4838702"/>
              <a:gd name="connsiteY1209" fmla="*/ 249003 h 11747497"/>
              <a:gd name="connsiteX1210" fmla="*/ 3760705 w 4838702"/>
              <a:gd name="connsiteY1210" fmla="*/ 243618 h 11747497"/>
              <a:gd name="connsiteX1211" fmla="*/ 3766860 w 4838702"/>
              <a:gd name="connsiteY1211" fmla="*/ 249003 h 11747497"/>
              <a:gd name="connsiteX1212" fmla="*/ 3769860 w 4838702"/>
              <a:gd name="connsiteY1212" fmla="*/ 164939 h 11747497"/>
              <a:gd name="connsiteX1213" fmla="*/ 3751499 w 4838702"/>
              <a:gd name="connsiteY1213" fmla="*/ 171521 h 11747497"/>
              <a:gd name="connsiteX1214" fmla="*/ 3742293 w 4838702"/>
              <a:gd name="connsiteY1214" fmla="*/ 164939 h 11747497"/>
              <a:gd name="connsiteX1215" fmla="*/ 3705572 w 4838702"/>
              <a:gd name="connsiteY1215" fmla="*/ 164939 h 11747497"/>
              <a:gd name="connsiteX1216" fmla="*/ 3691866 w 4838702"/>
              <a:gd name="connsiteY1216" fmla="*/ 171521 h 11747497"/>
              <a:gd name="connsiteX1217" fmla="*/ 3659748 w 4838702"/>
              <a:gd name="connsiteY1217" fmla="*/ 164939 h 11747497"/>
              <a:gd name="connsiteX1218" fmla="*/ 3682712 w 4838702"/>
              <a:gd name="connsiteY1218" fmla="*/ 178002 h 11747497"/>
              <a:gd name="connsiteX1219" fmla="*/ 3691866 w 4838702"/>
              <a:gd name="connsiteY1219" fmla="*/ 184584 h 11747497"/>
              <a:gd name="connsiteX1220" fmla="*/ 3696469 w 4838702"/>
              <a:gd name="connsiteY1220" fmla="*/ 178002 h 11747497"/>
              <a:gd name="connsiteX1221" fmla="*/ 3705623 w 4838702"/>
              <a:gd name="connsiteY1221" fmla="*/ 184584 h 11747497"/>
              <a:gd name="connsiteX1222" fmla="*/ 3714778 w 4838702"/>
              <a:gd name="connsiteY1222" fmla="*/ 171521 h 11747497"/>
              <a:gd name="connsiteX1223" fmla="*/ 3728587 w 4838702"/>
              <a:gd name="connsiteY1223" fmla="*/ 178102 h 11747497"/>
              <a:gd name="connsiteX1224" fmla="*/ 3737742 w 4838702"/>
              <a:gd name="connsiteY1224" fmla="*/ 191165 h 11747497"/>
              <a:gd name="connsiteX1225" fmla="*/ 3769860 w 4838702"/>
              <a:gd name="connsiteY1225" fmla="*/ 164939 h 11747497"/>
              <a:gd name="connsiteX1226" fmla="*/ 3769911 w 4838702"/>
              <a:gd name="connsiteY1226" fmla="*/ 217292 h 11747497"/>
              <a:gd name="connsiteX1227" fmla="*/ 3756154 w 4838702"/>
              <a:gd name="connsiteY1227" fmla="*/ 217292 h 11747497"/>
              <a:gd name="connsiteX1228" fmla="*/ 3746948 w 4838702"/>
              <a:gd name="connsiteY1228" fmla="*/ 223874 h 11747497"/>
              <a:gd name="connsiteX1229" fmla="*/ 3769911 w 4838702"/>
              <a:gd name="connsiteY1229" fmla="*/ 217292 h 11747497"/>
              <a:gd name="connsiteX1230" fmla="*/ 3774657 w 4838702"/>
              <a:gd name="connsiteY1230" fmla="*/ 139024 h 11747497"/>
              <a:gd name="connsiteX1231" fmla="*/ 3774463 w 4838702"/>
              <a:gd name="connsiteY1231" fmla="*/ 119067 h 11747497"/>
              <a:gd name="connsiteX1232" fmla="*/ 3737742 w 4838702"/>
              <a:gd name="connsiteY1232" fmla="*/ 132131 h 11747497"/>
              <a:gd name="connsiteX1233" fmla="*/ 3769860 w 4838702"/>
              <a:gd name="connsiteY1233" fmla="*/ 125550 h 11747497"/>
              <a:gd name="connsiteX1234" fmla="*/ 3765309 w 4838702"/>
              <a:gd name="connsiteY1234" fmla="*/ 145295 h 11747497"/>
              <a:gd name="connsiteX1235" fmla="*/ 3774657 w 4838702"/>
              <a:gd name="connsiteY1235" fmla="*/ 139024 h 11747497"/>
              <a:gd name="connsiteX1236" fmla="*/ 3792823 w 4838702"/>
              <a:gd name="connsiteY1236" fmla="*/ 86459 h 11747497"/>
              <a:gd name="connsiteX1237" fmla="*/ 3769911 w 4838702"/>
              <a:gd name="connsiteY1237" fmla="*/ 73296 h 11747497"/>
              <a:gd name="connsiteX1238" fmla="*/ 3774514 w 4838702"/>
              <a:gd name="connsiteY1238" fmla="*/ 79878 h 11747497"/>
              <a:gd name="connsiteX1239" fmla="*/ 3746948 w 4838702"/>
              <a:gd name="connsiteY1239" fmla="*/ 79878 h 11747497"/>
              <a:gd name="connsiteX1240" fmla="*/ 3737742 w 4838702"/>
              <a:gd name="connsiteY1240" fmla="*/ 73296 h 11747497"/>
              <a:gd name="connsiteX1241" fmla="*/ 3733138 w 4838702"/>
              <a:gd name="connsiteY1241" fmla="*/ 79878 h 11747497"/>
              <a:gd name="connsiteX1242" fmla="*/ 3723984 w 4838702"/>
              <a:gd name="connsiteY1242" fmla="*/ 86459 h 11747497"/>
              <a:gd name="connsiteX1243" fmla="*/ 3792823 w 4838702"/>
              <a:gd name="connsiteY1243" fmla="*/ 86459 h 11747497"/>
              <a:gd name="connsiteX1244" fmla="*/ 3797426 w 4838702"/>
              <a:gd name="connsiteY1244" fmla="*/ 119168 h 11747497"/>
              <a:gd name="connsiteX1245" fmla="*/ 3788272 w 4838702"/>
              <a:gd name="connsiteY1245" fmla="*/ 119168 h 11747497"/>
              <a:gd name="connsiteX1246" fmla="*/ 3797426 w 4838702"/>
              <a:gd name="connsiteY1246" fmla="*/ 119168 h 11747497"/>
              <a:gd name="connsiteX1247" fmla="*/ 3801098 w 4838702"/>
              <a:gd name="connsiteY1247" fmla="*/ 249003 h 11747497"/>
              <a:gd name="connsiteX1248" fmla="*/ 3781652 w 4838702"/>
              <a:gd name="connsiteY1248" fmla="*/ 249003 h 11747497"/>
              <a:gd name="connsiteX1249" fmla="*/ 3801098 w 4838702"/>
              <a:gd name="connsiteY1249" fmla="*/ 249003 h 11747497"/>
              <a:gd name="connsiteX1250" fmla="*/ 3815787 w 4838702"/>
              <a:gd name="connsiteY1250" fmla="*/ 79878 h 11747497"/>
              <a:gd name="connsiteX1251" fmla="*/ 3806632 w 4838702"/>
              <a:gd name="connsiteY1251" fmla="*/ 79878 h 11747497"/>
              <a:gd name="connsiteX1252" fmla="*/ 3802029 w 4838702"/>
              <a:gd name="connsiteY1252" fmla="*/ 92942 h 11747497"/>
              <a:gd name="connsiteX1253" fmla="*/ 3815787 w 4838702"/>
              <a:gd name="connsiteY1253" fmla="*/ 79878 h 11747497"/>
              <a:gd name="connsiteX1254" fmla="*/ 3820390 w 4838702"/>
              <a:gd name="connsiteY1254" fmla="*/ 184584 h 11747497"/>
              <a:gd name="connsiteX1255" fmla="*/ 3811236 w 4838702"/>
              <a:gd name="connsiteY1255" fmla="*/ 171521 h 11747497"/>
              <a:gd name="connsiteX1256" fmla="*/ 3788324 w 4838702"/>
              <a:gd name="connsiteY1256" fmla="*/ 171521 h 11747497"/>
              <a:gd name="connsiteX1257" fmla="*/ 3783669 w 4838702"/>
              <a:gd name="connsiteY1257" fmla="*/ 164939 h 11747497"/>
              <a:gd name="connsiteX1258" fmla="*/ 3820390 w 4838702"/>
              <a:gd name="connsiteY1258" fmla="*/ 184584 h 11747497"/>
              <a:gd name="connsiteX1259" fmla="*/ 3824993 w 4838702"/>
              <a:gd name="connsiteY1259" fmla="*/ 119168 h 11747497"/>
              <a:gd name="connsiteX1260" fmla="*/ 3815839 w 4838702"/>
              <a:gd name="connsiteY1260" fmla="*/ 119168 h 11747497"/>
              <a:gd name="connsiteX1261" fmla="*/ 3824993 w 4838702"/>
              <a:gd name="connsiteY1261" fmla="*/ 119168 h 11747497"/>
              <a:gd name="connsiteX1262" fmla="*/ 3831820 w 4838702"/>
              <a:gd name="connsiteY1262" fmla="*/ 249003 h 11747497"/>
              <a:gd name="connsiteX1263" fmla="*/ 3824787 w 4838702"/>
              <a:gd name="connsiteY1263" fmla="*/ 249003 h 11747497"/>
              <a:gd name="connsiteX1264" fmla="*/ 3831820 w 4838702"/>
              <a:gd name="connsiteY1264" fmla="*/ 249003 h 11747497"/>
              <a:gd name="connsiteX1265" fmla="*/ 3870868 w 4838702"/>
              <a:gd name="connsiteY1265" fmla="*/ 171521 h 11747497"/>
              <a:gd name="connsiteX1266" fmla="*/ 3857111 w 4838702"/>
              <a:gd name="connsiteY1266" fmla="*/ 171521 h 11747497"/>
              <a:gd name="connsiteX1267" fmla="*/ 3843354 w 4838702"/>
              <a:gd name="connsiteY1267" fmla="*/ 178102 h 11747497"/>
              <a:gd name="connsiteX1268" fmla="*/ 3870868 w 4838702"/>
              <a:gd name="connsiteY1268" fmla="*/ 171521 h 11747497"/>
              <a:gd name="connsiteX1269" fmla="*/ 3944311 w 4838702"/>
              <a:gd name="connsiteY1269" fmla="*/ 92942 h 11747497"/>
              <a:gd name="connsiteX1270" fmla="*/ 3889229 w 4838702"/>
              <a:gd name="connsiteY1270" fmla="*/ 92942 h 11747497"/>
              <a:gd name="connsiteX1271" fmla="*/ 3902986 w 4838702"/>
              <a:gd name="connsiteY1271" fmla="*/ 92942 h 11747497"/>
              <a:gd name="connsiteX1272" fmla="*/ 3944311 w 4838702"/>
              <a:gd name="connsiteY1272" fmla="*/ 92942 h 11747497"/>
              <a:gd name="connsiteX1273" fmla="*/ 3944311 w 4838702"/>
              <a:gd name="connsiteY1273" fmla="*/ 178102 h 11747497"/>
              <a:gd name="connsiteX1274" fmla="*/ 3935104 w 4838702"/>
              <a:gd name="connsiteY1274" fmla="*/ 178102 h 11747497"/>
              <a:gd name="connsiteX1275" fmla="*/ 3944311 w 4838702"/>
              <a:gd name="connsiteY1275" fmla="*/ 178102 h 11747497"/>
              <a:gd name="connsiteX1276" fmla="*/ 3953413 w 4838702"/>
              <a:gd name="connsiteY1276" fmla="*/ 132231 h 11747497"/>
              <a:gd name="connsiteX1277" fmla="*/ 3935104 w 4838702"/>
              <a:gd name="connsiteY1277" fmla="*/ 125649 h 11747497"/>
              <a:gd name="connsiteX1278" fmla="*/ 3912141 w 4838702"/>
              <a:gd name="connsiteY1278" fmla="*/ 132231 h 11747497"/>
              <a:gd name="connsiteX1279" fmla="*/ 3953413 w 4838702"/>
              <a:gd name="connsiteY1279" fmla="*/ 132231 h 11747497"/>
              <a:gd name="connsiteX1280" fmla="*/ 3976429 w 4838702"/>
              <a:gd name="connsiteY1280" fmla="*/ 66815 h 11747497"/>
              <a:gd name="connsiteX1281" fmla="*/ 3953465 w 4838702"/>
              <a:gd name="connsiteY1281" fmla="*/ 73296 h 11747497"/>
              <a:gd name="connsiteX1282" fmla="*/ 3976429 w 4838702"/>
              <a:gd name="connsiteY1282" fmla="*/ 66815 h 11747497"/>
              <a:gd name="connsiteX1283" fmla="*/ 3985583 w 4838702"/>
              <a:gd name="connsiteY1283" fmla="*/ 106005 h 11747497"/>
              <a:gd name="connsiteX1284" fmla="*/ 3953465 w 4838702"/>
              <a:gd name="connsiteY1284" fmla="*/ 86359 h 11747497"/>
              <a:gd name="connsiteX1285" fmla="*/ 3948914 w 4838702"/>
              <a:gd name="connsiteY1285" fmla="*/ 106005 h 11747497"/>
              <a:gd name="connsiteX1286" fmla="*/ 3985583 w 4838702"/>
              <a:gd name="connsiteY1286" fmla="*/ 106005 h 11747497"/>
              <a:gd name="connsiteX1287" fmla="*/ 4022304 w 4838702"/>
              <a:gd name="connsiteY1287" fmla="*/ 236936 h 11747497"/>
              <a:gd name="connsiteX1288" fmla="*/ 4022304 w 4838702"/>
              <a:gd name="connsiteY1288" fmla="*/ 223874 h 11747497"/>
              <a:gd name="connsiteX1289" fmla="*/ 4013150 w 4838702"/>
              <a:gd name="connsiteY1289" fmla="*/ 223874 h 11747497"/>
              <a:gd name="connsiteX1290" fmla="*/ 4013150 w 4838702"/>
              <a:gd name="connsiteY1290" fmla="*/ 236936 h 11747497"/>
              <a:gd name="connsiteX1291" fmla="*/ 4022304 w 4838702"/>
              <a:gd name="connsiteY1291" fmla="*/ 236936 h 11747497"/>
              <a:gd name="connsiteX1292" fmla="*/ 4026907 w 4838702"/>
              <a:gd name="connsiteY1292" fmla="*/ 79878 h 11747497"/>
              <a:gd name="connsiteX1293" fmla="*/ 4026907 w 4838702"/>
              <a:gd name="connsiteY1293" fmla="*/ 66815 h 11747497"/>
              <a:gd name="connsiteX1294" fmla="*/ 4017701 w 4838702"/>
              <a:gd name="connsiteY1294" fmla="*/ 66815 h 11747497"/>
              <a:gd name="connsiteX1295" fmla="*/ 4017701 w 4838702"/>
              <a:gd name="connsiteY1295" fmla="*/ 79878 h 11747497"/>
              <a:gd name="connsiteX1296" fmla="*/ 4026907 w 4838702"/>
              <a:gd name="connsiteY1296" fmla="*/ 79878 h 11747497"/>
              <a:gd name="connsiteX1297" fmla="*/ 4054422 w 4838702"/>
              <a:gd name="connsiteY1297" fmla="*/ 138713 h 11747497"/>
              <a:gd name="connsiteX1298" fmla="*/ 4022304 w 4838702"/>
              <a:gd name="connsiteY1298" fmla="*/ 145295 h 11747497"/>
              <a:gd name="connsiteX1299" fmla="*/ 4054422 w 4838702"/>
              <a:gd name="connsiteY1299" fmla="*/ 138713 h 11747497"/>
              <a:gd name="connsiteX1300" fmla="*/ 4115917 w 4838702"/>
              <a:gd name="connsiteY1300" fmla="*/ 150230 h 11747497"/>
              <a:gd name="connsiteX1301" fmla="*/ 4104901 w 4838702"/>
              <a:gd name="connsiteY1301" fmla="*/ 151875 h 11747497"/>
              <a:gd name="connsiteX1302" fmla="*/ 4115917 w 4838702"/>
              <a:gd name="connsiteY1302" fmla="*/ 150230 h 11747497"/>
              <a:gd name="connsiteX1303" fmla="*/ 4132467 w 4838702"/>
              <a:gd name="connsiteY1303" fmla="*/ 158357 h 11747497"/>
              <a:gd name="connsiteX1304" fmla="*/ 4132467 w 4838702"/>
              <a:gd name="connsiteY1304" fmla="*/ 145295 h 11747497"/>
              <a:gd name="connsiteX1305" fmla="*/ 4123313 w 4838702"/>
              <a:gd name="connsiteY1305" fmla="*/ 145295 h 11747497"/>
              <a:gd name="connsiteX1306" fmla="*/ 4123313 w 4838702"/>
              <a:gd name="connsiteY1306" fmla="*/ 158357 h 11747497"/>
              <a:gd name="connsiteX1307" fmla="*/ 4132467 w 4838702"/>
              <a:gd name="connsiteY1307" fmla="*/ 158357 h 11747497"/>
              <a:gd name="connsiteX1308" fmla="*/ 4700307 w 4838702"/>
              <a:gd name="connsiteY1308" fmla="*/ 11598562 h 11747497"/>
              <a:gd name="connsiteX1309" fmla="*/ 4697972 w 4838702"/>
              <a:gd name="connsiteY1309" fmla="*/ 11569520 h 11747497"/>
              <a:gd name="connsiteX1310" fmla="*/ 4700307 w 4838702"/>
              <a:gd name="connsiteY1310" fmla="*/ 11598562 h 11747497"/>
              <a:gd name="connsiteX1311" fmla="*/ 4705728 w 4838702"/>
              <a:gd name="connsiteY1311" fmla="*/ 11382598 h 11747497"/>
              <a:gd name="connsiteX1312" fmla="*/ 4700972 w 4838702"/>
              <a:gd name="connsiteY1312" fmla="*/ 11427220 h 11747497"/>
              <a:gd name="connsiteX1313" fmla="*/ 4697299 w 4838702"/>
              <a:gd name="connsiteY1313" fmla="*/ 11341659 h 11747497"/>
              <a:gd name="connsiteX1314" fmla="*/ 4705678 w 4838702"/>
              <a:gd name="connsiteY1314" fmla="*/ 11356119 h 11747497"/>
              <a:gd name="connsiteX1315" fmla="*/ 4705728 w 4838702"/>
              <a:gd name="connsiteY1315" fmla="*/ 11382598 h 11747497"/>
              <a:gd name="connsiteX1316" fmla="*/ 4706919 w 4838702"/>
              <a:gd name="connsiteY1316" fmla="*/ 10516278 h 11747497"/>
              <a:gd name="connsiteX1317" fmla="*/ 4706713 w 4838702"/>
              <a:gd name="connsiteY1317" fmla="*/ 10544698 h 11747497"/>
              <a:gd name="connsiteX1318" fmla="*/ 4702472 w 4838702"/>
              <a:gd name="connsiteY1318" fmla="*/ 10544598 h 11747497"/>
              <a:gd name="connsiteX1319" fmla="*/ 4702679 w 4838702"/>
              <a:gd name="connsiteY1319" fmla="*/ 10516178 h 11747497"/>
              <a:gd name="connsiteX1320" fmla="*/ 4708387 w 4838702"/>
              <a:gd name="connsiteY1320" fmla="*/ 10980851 h 11747497"/>
              <a:gd name="connsiteX1321" fmla="*/ 4701644 w 4838702"/>
              <a:gd name="connsiteY1321" fmla="*/ 11000118 h 11747497"/>
              <a:gd name="connsiteX1322" fmla="*/ 4708265 w 4838702"/>
              <a:gd name="connsiteY1322" fmla="*/ 10957638 h 11747497"/>
              <a:gd name="connsiteX1323" fmla="*/ 4708387 w 4838702"/>
              <a:gd name="connsiteY1323" fmla="*/ 10980851 h 11747497"/>
              <a:gd name="connsiteX1324" fmla="*/ 4713850 w 4838702"/>
              <a:gd name="connsiteY1324" fmla="*/ 10744238 h 11747497"/>
              <a:gd name="connsiteX1325" fmla="*/ 4709919 w 4838702"/>
              <a:gd name="connsiteY1325" fmla="*/ 10701458 h 11747497"/>
              <a:gd name="connsiteX1326" fmla="*/ 4713850 w 4838702"/>
              <a:gd name="connsiteY1326" fmla="*/ 10744238 h 11747497"/>
              <a:gd name="connsiteX1327" fmla="*/ 4715764 w 4838702"/>
              <a:gd name="connsiteY1327" fmla="*/ 10772758 h 11747497"/>
              <a:gd name="connsiteX1328" fmla="*/ 4704954 w 4838702"/>
              <a:gd name="connsiteY1328" fmla="*/ 10815239 h 11747497"/>
              <a:gd name="connsiteX1329" fmla="*/ 4707436 w 4838702"/>
              <a:gd name="connsiteY1329" fmla="*/ 10758298 h 11747497"/>
              <a:gd name="connsiteX1330" fmla="*/ 4707334 w 4838702"/>
              <a:gd name="connsiteY1330" fmla="*/ 10772558 h 11747497"/>
              <a:gd name="connsiteX1331" fmla="*/ 4711523 w 4838702"/>
              <a:gd name="connsiteY1331" fmla="*/ 10772657 h 11747497"/>
              <a:gd name="connsiteX1332" fmla="*/ 4715764 w 4838702"/>
              <a:gd name="connsiteY1332" fmla="*/ 10772758 h 11747497"/>
              <a:gd name="connsiteX1333" fmla="*/ 4717368 w 4838702"/>
              <a:gd name="connsiteY1333" fmla="*/ 10530837 h 11747497"/>
              <a:gd name="connsiteX1334" fmla="*/ 4717160 w 4838702"/>
              <a:gd name="connsiteY1334" fmla="*/ 10559256 h 11747497"/>
              <a:gd name="connsiteX1335" fmla="*/ 4712919 w 4838702"/>
              <a:gd name="connsiteY1335" fmla="*/ 10559157 h 11747497"/>
              <a:gd name="connsiteX1336" fmla="*/ 4713126 w 4838702"/>
              <a:gd name="connsiteY1336" fmla="*/ 10530737 h 11747497"/>
              <a:gd name="connsiteX1337" fmla="*/ 4720522 w 4838702"/>
              <a:gd name="connsiteY1337" fmla="*/ 11342258 h 11747497"/>
              <a:gd name="connsiteX1338" fmla="*/ 4709971 w 4838702"/>
              <a:gd name="connsiteY1338" fmla="*/ 11341958 h 11747497"/>
              <a:gd name="connsiteX1339" fmla="*/ 4720522 w 4838702"/>
              <a:gd name="connsiteY1339" fmla="*/ 11342258 h 11747497"/>
              <a:gd name="connsiteX1340" fmla="*/ 4722125 w 4838702"/>
              <a:gd name="connsiteY1340" fmla="*/ 10445576 h 11747497"/>
              <a:gd name="connsiteX1341" fmla="*/ 4717729 w 4838702"/>
              <a:gd name="connsiteY1341" fmla="*/ 10473897 h 11747497"/>
              <a:gd name="connsiteX1342" fmla="*/ 4707436 w 4838702"/>
              <a:gd name="connsiteY1342" fmla="*/ 10430917 h 11747497"/>
              <a:gd name="connsiteX1343" fmla="*/ 4713746 w 4838702"/>
              <a:gd name="connsiteY1343" fmla="*/ 10431117 h 11747497"/>
              <a:gd name="connsiteX1344" fmla="*/ 4722125 w 4838702"/>
              <a:gd name="connsiteY1344" fmla="*/ 10445576 h 11747497"/>
              <a:gd name="connsiteX1345" fmla="*/ 4724288 w 4838702"/>
              <a:gd name="connsiteY1345" fmla="*/ 11079379 h 11747497"/>
              <a:gd name="connsiteX1346" fmla="*/ 4724246 w 4838702"/>
              <a:gd name="connsiteY1346" fmla="*/ 11100437 h 11747497"/>
              <a:gd name="connsiteX1347" fmla="*/ 4724039 w 4838702"/>
              <a:gd name="connsiteY1347" fmla="*/ 11128858 h 11747497"/>
              <a:gd name="connsiteX1348" fmla="*/ 4724288 w 4838702"/>
              <a:gd name="connsiteY1348" fmla="*/ 11079379 h 11747497"/>
              <a:gd name="connsiteX1349" fmla="*/ 4724913 w 4838702"/>
              <a:gd name="connsiteY1349" fmla="*/ 10262664 h 11747497"/>
              <a:gd name="connsiteX1350" fmla="*/ 4723160 w 4838702"/>
              <a:gd name="connsiteY1350" fmla="*/ 10288915 h 11747497"/>
              <a:gd name="connsiteX1351" fmla="*/ 4724913 w 4838702"/>
              <a:gd name="connsiteY1351" fmla="*/ 10262664 h 11747497"/>
              <a:gd name="connsiteX1352" fmla="*/ 4726005 w 4838702"/>
              <a:gd name="connsiteY1352" fmla="*/ 11157377 h 11747497"/>
              <a:gd name="connsiteX1353" fmla="*/ 4725746 w 4838702"/>
              <a:gd name="connsiteY1353" fmla="*/ 11200057 h 11747497"/>
              <a:gd name="connsiteX1354" fmla="*/ 4719384 w 4838702"/>
              <a:gd name="connsiteY1354" fmla="*/ 11199857 h 11747497"/>
              <a:gd name="connsiteX1355" fmla="*/ 4719643 w 4838702"/>
              <a:gd name="connsiteY1355" fmla="*/ 11157178 h 11747497"/>
              <a:gd name="connsiteX1356" fmla="*/ 4736349 w 4838702"/>
              <a:gd name="connsiteY1356" fmla="*/ 9876275 h 11747497"/>
              <a:gd name="connsiteX1357" fmla="*/ 4735986 w 4838702"/>
              <a:gd name="connsiteY1357" fmla="*/ 9933214 h 11747497"/>
              <a:gd name="connsiteX1358" fmla="*/ 4721505 w 4838702"/>
              <a:gd name="connsiteY1358" fmla="*/ 9890235 h 11747497"/>
              <a:gd name="connsiteX1359" fmla="*/ 4717005 w 4838702"/>
              <a:gd name="connsiteY1359" fmla="*/ 9932815 h 11747497"/>
              <a:gd name="connsiteX1360" fmla="*/ 4715401 w 4838702"/>
              <a:gd name="connsiteY1360" fmla="*/ 9847255 h 11747497"/>
              <a:gd name="connsiteX1361" fmla="*/ 4736349 w 4838702"/>
              <a:gd name="connsiteY1361" fmla="*/ 9876275 h 11747497"/>
              <a:gd name="connsiteX1362" fmla="*/ 4736349 w 4838702"/>
              <a:gd name="connsiteY1362" fmla="*/ 11513577 h 11747497"/>
              <a:gd name="connsiteX1363" fmla="*/ 4735624 w 4838702"/>
              <a:gd name="connsiteY1363" fmla="*/ 11627458 h 11747497"/>
              <a:gd name="connsiteX1364" fmla="*/ 4722849 w 4838702"/>
              <a:gd name="connsiteY1364" fmla="*/ 11641319 h 11747497"/>
              <a:gd name="connsiteX1365" fmla="*/ 4736349 w 4838702"/>
              <a:gd name="connsiteY1365" fmla="*/ 11513577 h 11747497"/>
              <a:gd name="connsiteX1366" fmla="*/ 4736723 w 4838702"/>
              <a:gd name="connsiteY1366" fmla="*/ 11231992 h 11747497"/>
              <a:gd name="connsiteX1367" fmla="*/ 4735934 w 4838702"/>
              <a:gd name="connsiteY1367" fmla="*/ 11243036 h 11747497"/>
              <a:gd name="connsiteX1368" fmla="*/ 4736297 w 4838702"/>
              <a:gd name="connsiteY1368" fmla="*/ 11186097 h 11747497"/>
              <a:gd name="connsiteX1369" fmla="*/ 4734021 w 4838702"/>
              <a:gd name="connsiteY1369" fmla="*/ 11214516 h 11747497"/>
              <a:gd name="connsiteX1370" fmla="*/ 4736723 w 4838702"/>
              <a:gd name="connsiteY1370" fmla="*/ 11231992 h 11747497"/>
              <a:gd name="connsiteX1371" fmla="*/ 4749071 w 4838702"/>
              <a:gd name="connsiteY1371" fmla="*/ 8567050 h 11747497"/>
              <a:gd name="connsiteX1372" fmla="*/ 4749071 w 4838702"/>
              <a:gd name="connsiteY1372" fmla="*/ 8567050 h 11747497"/>
              <a:gd name="connsiteX1373" fmla="*/ 4755278 w 4838702"/>
              <a:gd name="connsiteY1373" fmla="*/ 8772921 h 11747497"/>
              <a:gd name="connsiteX1374" fmla="*/ 4754192 w 4838702"/>
              <a:gd name="connsiteY1374" fmla="*/ 8752130 h 11747497"/>
              <a:gd name="connsiteX1375" fmla="*/ 4745451 w 4838702"/>
              <a:gd name="connsiteY1375" fmla="*/ 8794611 h 11747497"/>
              <a:gd name="connsiteX1376" fmla="*/ 4751398 w 4838702"/>
              <a:gd name="connsiteY1376" fmla="*/ 8851750 h 11747497"/>
              <a:gd name="connsiteX1377" fmla="*/ 4753881 w 4838702"/>
              <a:gd name="connsiteY1377" fmla="*/ 8794910 h 11747497"/>
              <a:gd name="connsiteX1378" fmla="*/ 4755278 w 4838702"/>
              <a:gd name="connsiteY1378" fmla="*/ 8772921 h 11747497"/>
              <a:gd name="connsiteX1379" fmla="*/ 4758071 w 4838702"/>
              <a:gd name="connsiteY1379" fmla="*/ 8481789 h 11747497"/>
              <a:gd name="connsiteX1380" fmla="*/ 4745193 w 4838702"/>
              <a:gd name="connsiteY1380" fmla="*/ 8509910 h 11747497"/>
              <a:gd name="connsiteX1381" fmla="*/ 4755640 w 4838702"/>
              <a:gd name="connsiteY1381" fmla="*/ 8524469 h 11747497"/>
              <a:gd name="connsiteX1382" fmla="*/ 4758071 w 4838702"/>
              <a:gd name="connsiteY1382" fmla="*/ 8481789 h 11747497"/>
              <a:gd name="connsiteX1383" fmla="*/ 4759241 w 4838702"/>
              <a:gd name="connsiteY1383" fmla="*/ 11277701 h 11747497"/>
              <a:gd name="connsiteX1384" fmla="*/ 4758640 w 4838702"/>
              <a:gd name="connsiteY1384" fmla="*/ 11314936 h 11747497"/>
              <a:gd name="connsiteX1385" fmla="*/ 4755898 w 4838702"/>
              <a:gd name="connsiteY1385" fmla="*/ 11414455 h 11747497"/>
              <a:gd name="connsiteX1386" fmla="*/ 4755640 w 4838702"/>
              <a:gd name="connsiteY1386" fmla="*/ 11457136 h 11747497"/>
              <a:gd name="connsiteX1387" fmla="*/ 4753364 w 4838702"/>
              <a:gd name="connsiteY1387" fmla="*/ 11485555 h 11747497"/>
              <a:gd name="connsiteX1388" fmla="*/ 4752640 w 4838702"/>
              <a:gd name="connsiteY1388" fmla="*/ 11599436 h 11747497"/>
              <a:gd name="connsiteX1389" fmla="*/ 4750519 w 4838702"/>
              <a:gd name="connsiteY1389" fmla="*/ 11599336 h 11747497"/>
              <a:gd name="connsiteX1390" fmla="*/ 4752433 w 4838702"/>
              <a:gd name="connsiteY1390" fmla="*/ 11627856 h 11747497"/>
              <a:gd name="connsiteX1391" fmla="*/ 4750209 w 4838702"/>
              <a:gd name="connsiteY1391" fmla="*/ 11642016 h 11747497"/>
              <a:gd name="connsiteX1392" fmla="*/ 4749950 w 4838702"/>
              <a:gd name="connsiteY1392" fmla="*/ 11684697 h 11747497"/>
              <a:gd name="connsiteX1393" fmla="*/ 4748037 w 4838702"/>
              <a:gd name="connsiteY1393" fmla="*/ 11656176 h 11747497"/>
              <a:gd name="connsiteX1394" fmla="*/ 4748502 w 4838702"/>
              <a:gd name="connsiteY1394" fmla="*/ 11584975 h 11747497"/>
              <a:gd name="connsiteX1395" fmla="*/ 4749433 w 4838702"/>
              <a:gd name="connsiteY1395" fmla="*/ 11442676 h 11747497"/>
              <a:gd name="connsiteX1396" fmla="*/ 4741106 w 4838702"/>
              <a:gd name="connsiteY1396" fmla="*/ 11428217 h 11747497"/>
              <a:gd name="connsiteX1397" fmla="*/ 4739347 w 4838702"/>
              <a:gd name="connsiteY1397" fmla="*/ 11371277 h 11747497"/>
              <a:gd name="connsiteX1398" fmla="*/ 4734745 w 4838702"/>
              <a:gd name="connsiteY1398" fmla="*/ 11428118 h 11747497"/>
              <a:gd name="connsiteX1399" fmla="*/ 4734486 w 4838702"/>
              <a:gd name="connsiteY1399" fmla="*/ 11470797 h 11747497"/>
              <a:gd name="connsiteX1400" fmla="*/ 4728331 w 4838702"/>
              <a:gd name="connsiteY1400" fmla="*/ 11428118 h 11747497"/>
              <a:gd name="connsiteX1401" fmla="*/ 4733555 w 4838702"/>
              <a:gd name="connsiteY1401" fmla="*/ 11271657 h 11747497"/>
              <a:gd name="connsiteX1402" fmla="*/ 4743537 w 4838702"/>
              <a:gd name="connsiteY1402" fmla="*/ 11357316 h 11747497"/>
              <a:gd name="connsiteX1403" fmla="*/ 4756312 w 4838702"/>
              <a:gd name="connsiteY1403" fmla="*/ 11343355 h 11747497"/>
              <a:gd name="connsiteX1404" fmla="*/ 4754761 w 4838702"/>
              <a:gd name="connsiteY1404" fmla="*/ 11257895 h 11747497"/>
              <a:gd name="connsiteX1405" fmla="*/ 4759241 w 4838702"/>
              <a:gd name="connsiteY1405" fmla="*/ 11277701 h 11747497"/>
              <a:gd name="connsiteX1406" fmla="*/ 4760973 w 4838702"/>
              <a:gd name="connsiteY1406" fmla="*/ 6914938 h 11747497"/>
              <a:gd name="connsiteX1407" fmla="*/ 4755536 w 4838702"/>
              <a:gd name="connsiteY1407" fmla="*/ 6915786 h 11747497"/>
              <a:gd name="connsiteX1408" fmla="*/ 4759933 w 4838702"/>
              <a:gd name="connsiteY1408" fmla="*/ 6887466 h 11747497"/>
              <a:gd name="connsiteX1409" fmla="*/ 4760973 w 4838702"/>
              <a:gd name="connsiteY1409" fmla="*/ 6914938 h 11747497"/>
              <a:gd name="connsiteX1410" fmla="*/ 4766708 w 4838702"/>
              <a:gd name="connsiteY1410" fmla="*/ 11058754 h 11747497"/>
              <a:gd name="connsiteX1411" fmla="*/ 4765777 w 4838702"/>
              <a:gd name="connsiteY1411" fmla="*/ 11201054 h 11747497"/>
              <a:gd name="connsiteX1412" fmla="*/ 4755226 w 4838702"/>
              <a:gd name="connsiteY1412" fmla="*/ 11200754 h 11747497"/>
              <a:gd name="connsiteX1413" fmla="*/ 4754141 w 4838702"/>
              <a:gd name="connsiteY1413" fmla="*/ 11044195 h 11747497"/>
              <a:gd name="connsiteX1414" fmla="*/ 4766708 w 4838702"/>
              <a:gd name="connsiteY1414" fmla="*/ 11058754 h 11747497"/>
              <a:gd name="connsiteX1415" fmla="*/ 4767432 w 4838702"/>
              <a:gd name="connsiteY1415" fmla="*/ 10959033 h 11747497"/>
              <a:gd name="connsiteX1416" fmla="*/ 4767225 w 4838702"/>
              <a:gd name="connsiteY1416" fmla="*/ 10987455 h 11747497"/>
              <a:gd name="connsiteX1417" fmla="*/ 4765001 w 4838702"/>
              <a:gd name="connsiteY1417" fmla="*/ 11001615 h 11747497"/>
              <a:gd name="connsiteX1418" fmla="*/ 4758743 w 4838702"/>
              <a:gd name="connsiteY1418" fmla="*/ 10987255 h 11747497"/>
              <a:gd name="connsiteX1419" fmla="*/ 4756364 w 4838702"/>
              <a:gd name="connsiteY1419" fmla="*/ 11029935 h 11747497"/>
              <a:gd name="connsiteX1420" fmla="*/ 4754761 w 4838702"/>
              <a:gd name="connsiteY1420" fmla="*/ 10958735 h 11747497"/>
              <a:gd name="connsiteX1421" fmla="*/ 4767432 w 4838702"/>
              <a:gd name="connsiteY1421" fmla="*/ 10959033 h 11747497"/>
              <a:gd name="connsiteX1422" fmla="*/ 4768259 w 4838702"/>
              <a:gd name="connsiteY1422" fmla="*/ 8539028 h 11747497"/>
              <a:gd name="connsiteX1423" fmla="*/ 4767535 w 4838702"/>
              <a:gd name="connsiteY1423" fmla="*/ 8652909 h 11747497"/>
              <a:gd name="connsiteX1424" fmla="*/ 4768259 w 4838702"/>
              <a:gd name="connsiteY1424" fmla="*/ 8539028 h 11747497"/>
              <a:gd name="connsiteX1425" fmla="*/ 4768518 w 4838702"/>
              <a:gd name="connsiteY1425" fmla="*/ 11590462 h 11747497"/>
              <a:gd name="connsiteX1426" fmla="*/ 4768311 w 4838702"/>
              <a:gd name="connsiteY1426" fmla="*/ 11618881 h 11747497"/>
              <a:gd name="connsiteX1427" fmla="*/ 4764070 w 4838702"/>
              <a:gd name="connsiteY1427" fmla="*/ 11618782 h 11747497"/>
              <a:gd name="connsiteX1428" fmla="*/ 4764276 w 4838702"/>
              <a:gd name="connsiteY1428" fmla="*/ 11590361 h 11747497"/>
              <a:gd name="connsiteX1429" fmla="*/ 4772895 w 4838702"/>
              <a:gd name="connsiteY1429" fmla="*/ 9044546 h 11747497"/>
              <a:gd name="connsiteX1430" fmla="*/ 4771414 w 4838702"/>
              <a:gd name="connsiteY1430" fmla="*/ 9023169 h 11747497"/>
              <a:gd name="connsiteX1431" fmla="*/ 4771155 w 4838702"/>
              <a:gd name="connsiteY1431" fmla="*/ 9065849 h 11747497"/>
              <a:gd name="connsiteX1432" fmla="*/ 4772895 w 4838702"/>
              <a:gd name="connsiteY1432" fmla="*/ 9044546 h 11747497"/>
              <a:gd name="connsiteX1433" fmla="*/ 4776742 w 4838702"/>
              <a:gd name="connsiteY1433" fmla="*/ 11471795 h 11747497"/>
              <a:gd name="connsiteX1434" fmla="*/ 4776483 w 4838702"/>
              <a:gd name="connsiteY1434" fmla="*/ 11514575 h 11747497"/>
              <a:gd name="connsiteX1435" fmla="*/ 4772241 w 4838702"/>
              <a:gd name="connsiteY1435" fmla="*/ 11514474 h 11747497"/>
              <a:gd name="connsiteX1436" fmla="*/ 4772501 w 4838702"/>
              <a:gd name="connsiteY1436" fmla="*/ 11471694 h 11747497"/>
              <a:gd name="connsiteX1437" fmla="*/ 4779172 w 4838702"/>
              <a:gd name="connsiteY1437" fmla="*/ 11414955 h 11747497"/>
              <a:gd name="connsiteX1438" fmla="*/ 4775345 w 4838702"/>
              <a:gd name="connsiteY1438" fmla="*/ 11357913 h 11747497"/>
              <a:gd name="connsiteX1439" fmla="*/ 4779172 w 4838702"/>
              <a:gd name="connsiteY1439" fmla="*/ 11414955 h 11747497"/>
              <a:gd name="connsiteX1440" fmla="*/ 4780123 w 4838702"/>
              <a:gd name="connsiteY1440" fmla="*/ 10020792 h 11747497"/>
              <a:gd name="connsiteX1441" fmla="*/ 4777259 w 4838702"/>
              <a:gd name="connsiteY1441" fmla="*/ 10076710 h 11747497"/>
              <a:gd name="connsiteX1442" fmla="*/ 4775811 w 4838702"/>
              <a:gd name="connsiteY1442" fmla="*/ 9976991 h 11747497"/>
              <a:gd name="connsiteX1443" fmla="*/ 4780123 w 4838702"/>
              <a:gd name="connsiteY1443" fmla="*/ 10020792 h 11747497"/>
              <a:gd name="connsiteX1444" fmla="*/ 4784609 w 4838702"/>
              <a:gd name="connsiteY1444" fmla="*/ 8581908 h 11747497"/>
              <a:gd name="connsiteX1445" fmla="*/ 4778810 w 4838702"/>
              <a:gd name="connsiteY1445" fmla="*/ 8539228 h 11747497"/>
              <a:gd name="connsiteX1446" fmla="*/ 4776431 w 4838702"/>
              <a:gd name="connsiteY1446" fmla="*/ 8581908 h 11747497"/>
              <a:gd name="connsiteX1447" fmla="*/ 4769656 w 4838702"/>
              <a:gd name="connsiteY1447" fmla="*/ 8652909 h 11747497"/>
              <a:gd name="connsiteX1448" fmla="*/ 4771570 w 4838702"/>
              <a:gd name="connsiteY1448" fmla="*/ 8681429 h 11747497"/>
              <a:gd name="connsiteX1449" fmla="*/ 4769294 w 4838702"/>
              <a:gd name="connsiteY1449" fmla="*/ 8709848 h 11747497"/>
              <a:gd name="connsiteX1450" fmla="*/ 4771311 w 4838702"/>
              <a:gd name="connsiteY1450" fmla="*/ 8724110 h 11747497"/>
              <a:gd name="connsiteX1451" fmla="*/ 4770845 w 4838702"/>
              <a:gd name="connsiteY1451" fmla="*/ 8795208 h 11747497"/>
              <a:gd name="connsiteX1452" fmla="*/ 4770639 w 4838702"/>
              <a:gd name="connsiteY1452" fmla="*/ 8823730 h 11747497"/>
              <a:gd name="connsiteX1453" fmla="*/ 4767897 w 4838702"/>
              <a:gd name="connsiteY1453" fmla="*/ 8923249 h 11747497"/>
              <a:gd name="connsiteX1454" fmla="*/ 4769914 w 4838702"/>
              <a:gd name="connsiteY1454" fmla="*/ 8937509 h 11747497"/>
              <a:gd name="connsiteX1455" fmla="*/ 4767639 w 4838702"/>
              <a:gd name="connsiteY1455" fmla="*/ 8965930 h 11747497"/>
              <a:gd name="connsiteX1456" fmla="*/ 4775914 w 4838702"/>
              <a:gd name="connsiteY1456" fmla="*/ 8994649 h 11747497"/>
              <a:gd name="connsiteX1457" fmla="*/ 4779328 w 4838702"/>
              <a:gd name="connsiteY1457" fmla="*/ 8795408 h 11747497"/>
              <a:gd name="connsiteX1458" fmla="*/ 4783569 w 4838702"/>
              <a:gd name="connsiteY1458" fmla="*/ 8795508 h 11747497"/>
              <a:gd name="connsiteX1459" fmla="*/ 4779690 w 4838702"/>
              <a:gd name="connsiteY1459" fmla="*/ 8738469 h 11747497"/>
              <a:gd name="connsiteX1460" fmla="*/ 4779897 w 4838702"/>
              <a:gd name="connsiteY1460" fmla="*/ 8710048 h 11747497"/>
              <a:gd name="connsiteX1461" fmla="*/ 4780155 w 4838702"/>
              <a:gd name="connsiteY1461" fmla="*/ 8667369 h 11747497"/>
              <a:gd name="connsiteX1462" fmla="*/ 4784396 w 4838702"/>
              <a:gd name="connsiteY1462" fmla="*/ 8653307 h 11747497"/>
              <a:gd name="connsiteX1463" fmla="*/ 4784609 w 4838702"/>
              <a:gd name="connsiteY1463" fmla="*/ 8581908 h 11747497"/>
              <a:gd name="connsiteX1464" fmla="*/ 4786257 w 4838702"/>
              <a:gd name="connsiteY1464" fmla="*/ 10973791 h 11747497"/>
              <a:gd name="connsiteX1465" fmla="*/ 4777621 w 4838702"/>
              <a:gd name="connsiteY1465" fmla="*/ 11002013 h 11747497"/>
              <a:gd name="connsiteX1466" fmla="*/ 4786257 w 4838702"/>
              <a:gd name="connsiteY1466" fmla="*/ 10973791 h 11747497"/>
              <a:gd name="connsiteX1467" fmla="*/ 4786413 w 4838702"/>
              <a:gd name="connsiteY1467" fmla="*/ 8296011 h 11747497"/>
              <a:gd name="connsiteX1468" fmla="*/ 4782586 w 4838702"/>
              <a:gd name="connsiteY1468" fmla="*/ 8283047 h 11747497"/>
              <a:gd name="connsiteX1469" fmla="*/ 4780310 w 4838702"/>
              <a:gd name="connsiteY1469" fmla="*/ 8311467 h 11747497"/>
              <a:gd name="connsiteX1470" fmla="*/ 4779379 w 4838702"/>
              <a:gd name="connsiteY1470" fmla="*/ 8126387 h 11747497"/>
              <a:gd name="connsiteX1471" fmla="*/ 4770018 w 4838702"/>
              <a:gd name="connsiteY1471" fmla="*/ 8268488 h 11747497"/>
              <a:gd name="connsiteX1472" fmla="*/ 4774156 w 4838702"/>
              <a:gd name="connsiteY1472" fmla="*/ 8282848 h 11747497"/>
              <a:gd name="connsiteX1473" fmla="*/ 4771518 w 4838702"/>
              <a:gd name="connsiteY1473" fmla="*/ 8368208 h 11747497"/>
              <a:gd name="connsiteX1474" fmla="*/ 4768569 w 4838702"/>
              <a:gd name="connsiteY1474" fmla="*/ 8496248 h 11747497"/>
              <a:gd name="connsiteX1475" fmla="*/ 4781810 w 4838702"/>
              <a:gd name="connsiteY1475" fmla="*/ 8411187 h 11747497"/>
              <a:gd name="connsiteX1476" fmla="*/ 4785844 w 4838702"/>
              <a:gd name="connsiteY1476" fmla="*/ 8373792 h 11747497"/>
              <a:gd name="connsiteX1477" fmla="*/ 4785835 w 4838702"/>
              <a:gd name="connsiteY1477" fmla="*/ 8373315 h 11747497"/>
              <a:gd name="connsiteX1478" fmla="*/ 4785620 w 4838702"/>
              <a:gd name="connsiteY1478" fmla="*/ 8362130 h 11747497"/>
              <a:gd name="connsiteX1479" fmla="*/ 4786026 w 4838702"/>
              <a:gd name="connsiteY1479" fmla="*/ 8313114 h 11747497"/>
              <a:gd name="connsiteX1480" fmla="*/ 4786406 w 4838702"/>
              <a:gd name="connsiteY1480" fmla="*/ 8296299 h 11747497"/>
              <a:gd name="connsiteX1481" fmla="*/ 4786788 w 4838702"/>
              <a:gd name="connsiteY1481" fmla="*/ 11122001 h 11747497"/>
              <a:gd name="connsiteX1482" fmla="*/ 4785069 w 4838702"/>
              <a:gd name="connsiteY1482" fmla="*/ 11158773 h 11747497"/>
              <a:gd name="connsiteX1483" fmla="*/ 4779741 w 4838702"/>
              <a:gd name="connsiteY1483" fmla="*/ 11329494 h 11747497"/>
              <a:gd name="connsiteX1484" fmla="*/ 4775500 w 4838702"/>
              <a:gd name="connsiteY1484" fmla="*/ 11329394 h 11747497"/>
              <a:gd name="connsiteX1485" fmla="*/ 4771931 w 4838702"/>
              <a:gd name="connsiteY1485" fmla="*/ 11229673 h 11747497"/>
              <a:gd name="connsiteX1486" fmla="*/ 4783310 w 4838702"/>
              <a:gd name="connsiteY1486" fmla="*/ 11101834 h 11747497"/>
              <a:gd name="connsiteX1487" fmla="*/ 4786788 w 4838702"/>
              <a:gd name="connsiteY1487" fmla="*/ 11122001 h 11747497"/>
              <a:gd name="connsiteX1488" fmla="*/ 4789652 w 4838702"/>
              <a:gd name="connsiteY1488" fmla="*/ 7961699 h 11747497"/>
              <a:gd name="connsiteX1489" fmla="*/ 4780776 w 4838702"/>
              <a:gd name="connsiteY1489" fmla="*/ 7912885 h 11747497"/>
              <a:gd name="connsiteX1490" fmla="*/ 4778500 w 4838702"/>
              <a:gd name="connsiteY1490" fmla="*/ 7941306 h 11747497"/>
              <a:gd name="connsiteX1491" fmla="*/ 4782378 w 4838702"/>
              <a:gd name="connsiteY1491" fmla="*/ 7998346 h 11747497"/>
              <a:gd name="connsiteX1492" fmla="*/ 4788327 w 4838702"/>
              <a:gd name="connsiteY1492" fmla="*/ 8055387 h 11747497"/>
              <a:gd name="connsiteX1493" fmla="*/ 4789652 w 4838702"/>
              <a:gd name="connsiteY1493" fmla="*/ 7961699 h 11747497"/>
              <a:gd name="connsiteX1494" fmla="*/ 4792181 w 4838702"/>
              <a:gd name="connsiteY1494" fmla="*/ 9850373 h 11747497"/>
              <a:gd name="connsiteX1495" fmla="*/ 4788793 w 4838702"/>
              <a:gd name="connsiteY1495" fmla="*/ 9934609 h 11747497"/>
              <a:gd name="connsiteX1496" fmla="*/ 4787344 w 4838702"/>
              <a:gd name="connsiteY1496" fmla="*/ 9834890 h 11747497"/>
              <a:gd name="connsiteX1497" fmla="*/ 4792181 w 4838702"/>
              <a:gd name="connsiteY1497" fmla="*/ 9850373 h 11747497"/>
              <a:gd name="connsiteX1498" fmla="*/ 4795671 w 4838702"/>
              <a:gd name="connsiteY1498" fmla="*/ 7571645 h 11747497"/>
              <a:gd name="connsiteX1499" fmla="*/ 4787240 w 4838702"/>
              <a:gd name="connsiteY1499" fmla="*/ 7571445 h 11747497"/>
              <a:gd name="connsiteX1500" fmla="*/ 4784137 w 4838702"/>
              <a:gd name="connsiteY1500" fmla="*/ 7713746 h 11747497"/>
              <a:gd name="connsiteX1501" fmla="*/ 4790861 w 4838702"/>
              <a:gd name="connsiteY1501" fmla="*/ 7657005 h 11747497"/>
              <a:gd name="connsiteX1502" fmla="*/ 4795464 w 4838702"/>
              <a:gd name="connsiteY1502" fmla="*/ 7600165 h 11747497"/>
              <a:gd name="connsiteX1503" fmla="*/ 4797572 w 4838702"/>
              <a:gd name="connsiteY1503" fmla="*/ 9606531 h 11747497"/>
              <a:gd name="connsiteX1504" fmla="*/ 4792930 w 4838702"/>
              <a:gd name="connsiteY1504" fmla="*/ 9621589 h 11747497"/>
              <a:gd name="connsiteX1505" fmla="*/ 4793085 w 4838702"/>
              <a:gd name="connsiteY1505" fmla="*/ 9593069 h 11747497"/>
              <a:gd name="connsiteX1506" fmla="*/ 4795308 w 4838702"/>
              <a:gd name="connsiteY1506" fmla="*/ 9578908 h 11747497"/>
              <a:gd name="connsiteX1507" fmla="*/ 4797572 w 4838702"/>
              <a:gd name="connsiteY1507" fmla="*/ 9606531 h 11747497"/>
              <a:gd name="connsiteX1508" fmla="*/ 4798768 w 4838702"/>
              <a:gd name="connsiteY1508" fmla="*/ 6308965 h 11747497"/>
              <a:gd name="connsiteX1509" fmla="*/ 4797792 w 4838702"/>
              <a:gd name="connsiteY1509" fmla="*/ 6262022 h 11747497"/>
              <a:gd name="connsiteX1510" fmla="*/ 4797223 w 4838702"/>
              <a:gd name="connsiteY1510" fmla="*/ 6347382 h 11747497"/>
              <a:gd name="connsiteX1511" fmla="*/ 4798768 w 4838702"/>
              <a:gd name="connsiteY1511" fmla="*/ 6308965 h 11747497"/>
              <a:gd name="connsiteX1512" fmla="*/ 4803804 w 4838702"/>
              <a:gd name="connsiteY1512" fmla="*/ 11142457 h 11747497"/>
              <a:gd name="connsiteX1513" fmla="*/ 4801929 w 4838702"/>
              <a:gd name="connsiteY1513" fmla="*/ 11159273 h 11747497"/>
              <a:gd name="connsiteX1514" fmla="*/ 4803480 w 4838702"/>
              <a:gd name="connsiteY1514" fmla="*/ 11244731 h 11747497"/>
              <a:gd name="connsiteX1515" fmla="*/ 4797067 w 4838702"/>
              <a:gd name="connsiteY1515" fmla="*/ 11258792 h 11747497"/>
              <a:gd name="connsiteX1516" fmla="*/ 4790085 w 4838702"/>
              <a:gd name="connsiteY1516" fmla="*/ 11358313 h 11747497"/>
              <a:gd name="connsiteX1517" fmla="*/ 4790654 w 4838702"/>
              <a:gd name="connsiteY1517" fmla="*/ 11272854 h 11747497"/>
              <a:gd name="connsiteX1518" fmla="*/ 4792879 w 4838702"/>
              <a:gd name="connsiteY1518" fmla="*/ 11258693 h 11747497"/>
              <a:gd name="connsiteX1519" fmla="*/ 4792981 w 4838702"/>
              <a:gd name="connsiteY1519" fmla="*/ 11244432 h 11747497"/>
              <a:gd name="connsiteX1520" fmla="*/ 4795516 w 4838702"/>
              <a:gd name="connsiteY1520" fmla="*/ 11173331 h 11747497"/>
              <a:gd name="connsiteX1521" fmla="*/ 4802033 w 4838702"/>
              <a:gd name="connsiteY1521" fmla="*/ 11145011 h 11747497"/>
              <a:gd name="connsiteX1522" fmla="*/ 4803804 w 4838702"/>
              <a:gd name="connsiteY1522" fmla="*/ 11142457 h 11747497"/>
              <a:gd name="connsiteX1523" fmla="*/ 4804152 w 4838702"/>
              <a:gd name="connsiteY1523" fmla="*/ 8852947 h 11747497"/>
              <a:gd name="connsiteX1524" fmla="*/ 4796137 w 4838702"/>
              <a:gd name="connsiteY1524" fmla="*/ 8795907 h 11747497"/>
              <a:gd name="connsiteX1525" fmla="*/ 4802653 w 4838702"/>
              <a:gd name="connsiteY1525" fmla="*/ 8767587 h 11747497"/>
              <a:gd name="connsiteX1526" fmla="*/ 4790085 w 4838702"/>
              <a:gd name="connsiteY1526" fmla="*/ 8753027 h 11747497"/>
              <a:gd name="connsiteX1527" fmla="*/ 4788585 w 4838702"/>
              <a:gd name="connsiteY1527" fmla="*/ 8980788 h 11747497"/>
              <a:gd name="connsiteX1528" fmla="*/ 4794534 w 4838702"/>
              <a:gd name="connsiteY1528" fmla="*/ 9037828 h 11747497"/>
              <a:gd name="connsiteX1529" fmla="*/ 4788224 w 4838702"/>
              <a:gd name="connsiteY1529" fmla="*/ 9037629 h 11747497"/>
              <a:gd name="connsiteX1530" fmla="*/ 4798567 w 4838702"/>
              <a:gd name="connsiteY1530" fmla="*/ 9066348 h 11747497"/>
              <a:gd name="connsiteX1531" fmla="*/ 4797378 w 4838702"/>
              <a:gd name="connsiteY1531" fmla="*/ 9251428 h 11747497"/>
              <a:gd name="connsiteX1532" fmla="*/ 4801154 w 4838702"/>
              <a:gd name="connsiteY1532" fmla="*/ 8995248 h 11747497"/>
              <a:gd name="connsiteX1533" fmla="*/ 4803532 w 4838702"/>
              <a:gd name="connsiteY1533" fmla="*/ 8952567 h 11747497"/>
              <a:gd name="connsiteX1534" fmla="*/ 4804152 w 4838702"/>
              <a:gd name="connsiteY1534" fmla="*/ 8852947 h 11747497"/>
              <a:gd name="connsiteX1535" fmla="*/ 4806933 w 4838702"/>
              <a:gd name="connsiteY1535" fmla="*/ 10146752 h 11747497"/>
              <a:gd name="connsiteX1536" fmla="*/ 4806118 w 4838702"/>
              <a:gd name="connsiteY1536" fmla="*/ 10191389 h 11747497"/>
              <a:gd name="connsiteX1537" fmla="*/ 4803532 w 4838702"/>
              <a:gd name="connsiteY1537" fmla="*/ 10262490 h 11747497"/>
              <a:gd name="connsiteX1538" fmla="*/ 4802963 w 4838702"/>
              <a:gd name="connsiteY1538" fmla="*/ 10347850 h 11747497"/>
              <a:gd name="connsiteX1539" fmla="*/ 4804825 w 4838702"/>
              <a:gd name="connsiteY1539" fmla="*/ 10390629 h 11747497"/>
              <a:gd name="connsiteX1540" fmla="*/ 4804463 w 4838702"/>
              <a:gd name="connsiteY1540" fmla="*/ 10447570 h 11747497"/>
              <a:gd name="connsiteX1541" fmla="*/ 4804256 w 4838702"/>
              <a:gd name="connsiteY1541" fmla="*/ 10475991 h 11747497"/>
              <a:gd name="connsiteX1542" fmla="*/ 4803688 w 4838702"/>
              <a:gd name="connsiteY1542" fmla="*/ 10561350 h 11747497"/>
              <a:gd name="connsiteX1543" fmla="*/ 4796963 w 4838702"/>
              <a:gd name="connsiteY1543" fmla="*/ 10618191 h 11747497"/>
              <a:gd name="connsiteX1544" fmla="*/ 4796137 w 4838702"/>
              <a:gd name="connsiteY1544" fmla="*/ 10746332 h 11747497"/>
              <a:gd name="connsiteX1545" fmla="*/ 4789827 w 4838702"/>
              <a:gd name="connsiteY1545" fmla="*/ 10746131 h 11747497"/>
              <a:gd name="connsiteX1546" fmla="*/ 4786517 w 4838702"/>
              <a:gd name="connsiteY1546" fmla="*/ 10931113 h 11747497"/>
              <a:gd name="connsiteX1547" fmla="*/ 4784706 w 4838702"/>
              <a:gd name="connsiteY1547" fmla="*/ 10888333 h 11747497"/>
              <a:gd name="connsiteX1548" fmla="*/ 4782793 w 4838702"/>
              <a:gd name="connsiteY1548" fmla="*/ 10859813 h 11747497"/>
              <a:gd name="connsiteX1549" fmla="*/ 4785378 w 4838702"/>
              <a:gd name="connsiteY1549" fmla="*/ 10802773 h 11747497"/>
              <a:gd name="connsiteX1550" fmla="*/ 4785637 w 4838702"/>
              <a:gd name="connsiteY1550" fmla="*/ 10760093 h 11747497"/>
              <a:gd name="connsiteX1551" fmla="*/ 4783723 w 4838702"/>
              <a:gd name="connsiteY1551" fmla="*/ 10731573 h 11747497"/>
              <a:gd name="connsiteX1552" fmla="*/ 4786103 w 4838702"/>
              <a:gd name="connsiteY1552" fmla="*/ 10688992 h 11747497"/>
              <a:gd name="connsiteX1553" fmla="*/ 4788844 w 4838702"/>
              <a:gd name="connsiteY1553" fmla="*/ 10589372 h 11747497"/>
              <a:gd name="connsiteX1554" fmla="*/ 4789103 w 4838702"/>
              <a:gd name="connsiteY1554" fmla="*/ 10546692 h 11747497"/>
              <a:gd name="connsiteX1555" fmla="*/ 4791585 w 4838702"/>
              <a:gd name="connsiteY1555" fmla="*/ 10489852 h 11747497"/>
              <a:gd name="connsiteX1556" fmla="*/ 4785327 w 4838702"/>
              <a:gd name="connsiteY1556" fmla="*/ 10475491 h 11747497"/>
              <a:gd name="connsiteX1557" fmla="*/ 4789723 w 4838702"/>
              <a:gd name="connsiteY1557" fmla="*/ 10447171 h 11747497"/>
              <a:gd name="connsiteX1558" fmla="*/ 4792206 w 4838702"/>
              <a:gd name="connsiteY1558" fmla="*/ 10390331 h 11747497"/>
              <a:gd name="connsiteX1559" fmla="*/ 4790809 w 4838702"/>
              <a:gd name="connsiteY1559" fmla="*/ 10276351 h 11747497"/>
              <a:gd name="connsiteX1560" fmla="*/ 4796861 w 4838702"/>
              <a:gd name="connsiteY1560" fmla="*/ 10319231 h 11747497"/>
              <a:gd name="connsiteX1561" fmla="*/ 4799343 w 4838702"/>
              <a:gd name="connsiteY1561" fmla="*/ 10262389 h 11747497"/>
              <a:gd name="connsiteX1562" fmla="*/ 4801618 w 4838702"/>
              <a:gd name="connsiteY1562" fmla="*/ 10233970 h 11747497"/>
              <a:gd name="connsiteX1563" fmla="*/ 4799601 w 4838702"/>
              <a:gd name="connsiteY1563" fmla="*/ 10219611 h 11747497"/>
              <a:gd name="connsiteX1564" fmla="*/ 4803998 w 4838702"/>
              <a:gd name="connsiteY1564" fmla="*/ 10191289 h 11747497"/>
              <a:gd name="connsiteX1565" fmla="*/ 4802343 w 4838702"/>
              <a:gd name="connsiteY1565" fmla="*/ 10120090 h 11747497"/>
              <a:gd name="connsiteX1566" fmla="*/ 4804567 w 4838702"/>
              <a:gd name="connsiteY1566" fmla="*/ 10105929 h 11747497"/>
              <a:gd name="connsiteX1567" fmla="*/ 4806933 w 4838702"/>
              <a:gd name="connsiteY1567" fmla="*/ 10146752 h 11747497"/>
              <a:gd name="connsiteX1568" fmla="*/ 4808394 w 4838702"/>
              <a:gd name="connsiteY1568" fmla="*/ 4625117 h 11747497"/>
              <a:gd name="connsiteX1569" fmla="*/ 4802963 w 4838702"/>
              <a:gd name="connsiteY1569" fmla="*/ 4482617 h 11747497"/>
              <a:gd name="connsiteX1570" fmla="*/ 4796447 w 4838702"/>
              <a:gd name="connsiteY1570" fmla="*/ 4510938 h 11747497"/>
              <a:gd name="connsiteX1571" fmla="*/ 4795619 w 4838702"/>
              <a:gd name="connsiteY1571" fmla="*/ 4639077 h 11747497"/>
              <a:gd name="connsiteX1572" fmla="*/ 4808394 w 4838702"/>
              <a:gd name="connsiteY1572" fmla="*/ 4625117 h 11747497"/>
              <a:gd name="connsiteX1573" fmla="*/ 4811016 w 4838702"/>
              <a:gd name="connsiteY1573" fmla="*/ 9962793 h 11747497"/>
              <a:gd name="connsiteX1574" fmla="*/ 4807204 w 4838702"/>
              <a:gd name="connsiteY1574" fmla="*/ 10020569 h 11747497"/>
              <a:gd name="connsiteX1575" fmla="*/ 4796550 w 4838702"/>
              <a:gd name="connsiteY1575" fmla="*/ 10034529 h 11747497"/>
              <a:gd name="connsiteX1576" fmla="*/ 4794171 w 4838702"/>
              <a:gd name="connsiteY1576" fmla="*/ 10077210 h 11747497"/>
              <a:gd name="connsiteX1577" fmla="*/ 4794636 w 4838702"/>
              <a:gd name="connsiteY1577" fmla="*/ 10006011 h 11747497"/>
              <a:gd name="connsiteX1578" fmla="*/ 4805239 w 4838702"/>
              <a:gd name="connsiteY1578" fmla="*/ 9992049 h 11747497"/>
              <a:gd name="connsiteX1579" fmla="*/ 4809842 w 4838702"/>
              <a:gd name="connsiteY1579" fmla="*/ 9935208 h 11747497"/>
              <a:gd name="connsiteX1580" fmla="*/ 4811016 w 4838702"/>
              <a:gd name="connsiteY1580" fmla="*/ 9962793 h 11747497"/>
              <a:gd name="connsiteX1581" fmla="*/ 4811478 w 4838702"/>
              <a:gd name="connsiteY1581" fmla="*/ 9812827 h 11747497"/>
              <a:gd name="connsiteX1582" fmla="*/ 4806480 w 4838702"/>
              <a:gd name="connsiteY1582" fmla="*/ 9806969 h 11747497"/>
              <a:gd name="connsiteX1583" fmla="*/ 4810773 w 4838702"/>
              <a:gd name="connsiteY1583" fmla="*/ 9792808 h 11747497"/>
              <a:gd name="connsiteX1584" fmla="*/ 4811478 w 4838702"/>
              <a:gd name="connsiteY1584" fmla="*/ 9812827 h 11747497"/>
              <a:gd name="connsiteX1585" fmla="*/ 4811943 w 4838702"/>
              <a:gd name="connsiteY1585" fmla="*/ 11264240 h 11747497"/>
              <a:gd name="connsiteX1586" fmla="*/ 4811290 w 4838702"/>
              <a:gd name="connsiteY1586" fmla="*/ 11344452 h 11747497"/>
              <a:gd name="connsiteX1587" fmla="*/ 4808911 w 4838702"/>
              <a:gd name="connsiteY1587" fmla="*/ 11387132 h 11747497"/>
              <a:gd name="connsiteX1588" fmla="*/ 4808343 w 4838702"/>
              <a:gd name="connsiteY1588" fmla="*/ 11472492 h 11747497"/>
              <a:gd name="connsiteX1589" fmla="*/ 4805963 w 4838702"/>
              <a:gd name="connsiteY1589" fmla="*/ 11515173 h 11747497"/>
              <a:gd name="connsiteX1590" fmla="*/ 4805239 w 4838702"/>
              <a:gd name="connsiteY1590" fmla="*/ 11629053 h 11747497"/>
              <a:gd name="connsiteX1591" fmla="*/ 4798464 w 4838702"/>
              <a:gd name="connsiteY1591" fmla="*/ 11700054 h 11747497"/>
              <a:gd name="connsiteX1592" fmla="*/ 4785792 w 4838702"/>
              <a:gd name="connsiteY1592" fmla="*/ 11699754 h 11747497"/>
              <a:gd name="connsiteX1593" fmla="*/ 4784137 w 4838702"/>
              <a:gd name="connsiteY1593" fmla="*/ 11628553 h 11747497"/>
              <a:gd name="connsiteX1594" fmla="*/ 4797067 w 4838702"/>
              <a:gd name="connsiteY1594" fmla="*/ 11586172 h 11747497"/>
              <a:gd name="connsiteX1595" fmla="*/ 4800015 w 4838702"/>
              <a:gd name="connsiteY1595" fmla="*/ 11458132 h 11747497"/>
              <a:gd name="connsiteX1596" fmla="*/ 4800585 w 4838702"/>
              <a:gd name="connsiteY1596" fmla="*/ 11372772 h 11747497"/>
              <a:gd name="connsiteX1597" fmla="*/ 4804980 w 4838702"/>
              <a:gd name="connsiteY1597" fmla="*/ 11344252 h 11747497"/>
              <a:gd name="connsiteX1598" fmla="*/ 4809273 w 4838702"/>
              <a:gd name="connsiteY1598" fmla="*/ 11330192 h 11747497"/>
              <a:gd name="connsiteX1599" fmla="*/ 4807411 w 4838702"/>
              <a:gd name="connsiteY1599" fmla="*/ 11287412 h 11747497"/>
              <a:gd name="connsiteX1600" fmla="*/ 4809635 w 4838702"/>
              <a:gd name="connsiteY1600" fmla="*/ 11273251 h 11747497"/>
              <a:gd name="connsiteX1601" fmla="*/ 4809842 w 4838702"/>
              <a:gd name="connsiteY1601" fmla="*/ 11244832 h 11747497"/>
              <a:gd name="connsiteX1602" fmla="*/ 4811943 w 4838702"/>
              <a:gd name="connsiteY1602" fmla="*/ 11264240 h 11747497"/>
              <a:gd name="connsiteX1603" fmla="*/ 4811956 w 4838702"/>
              <a:gd name="connsiteY1603" fmla="*/ 9321506 h 11747497"/>
              <a:gd name="connsiteX1604" fmla="*/ 4811446 w 4838702"/>
              <a:gd name="connsiteY1604" fmla="*/ 9365707 h 11747497"/>
              <a:gd name="connsiteX1605" fmla="*/ 4809790 w 4838702"/>
              <a:gd name="connsiteY1605" fmla="*/ 9294508 h 11747497"/>
              <a:gd name="connsiteX1606" fmla="*/ 4811956 w 4838702"/>
              <a:gd name="connsiteY1606" fmla="*/ 9321506 h 11747497"/>
              <a:gd name="connsiteX1607" fmla="*/ 4813463 w 4838702"/>
              <a:gd name="connsiteY1607" fmla="*/ 10362409 h 11747497"/>
              <a:gd name="connsiteX1608" fmla="*/ 4809531 w 4838702"/>
              <a:gd name="connsiteY1608" fmla="*/ 10319529 h 11747497"/>
              <a:gd name="connsiteX1609" fmla="*/ 4813463 w 4838702"/>
              <a:gd name="connsiteY1609" fmla="*/ 10362409 h 11747497"/>
              <a:gd name="connsiteX1610" fmla="*/ 4815065 w 4838702"/>
              <a:gd name="connsiteY1610" fmla="*/ 9138046 h 11747497"/>
              <a:gd name="connsiteX1611" fmla="*/ 4807980 w 4838702"/>
              <a:gd name="connsiteY1611" fmla="*/ 9251728 h 11747497"/>
              <a:gd name="connsiteX1612" fmla="*/ 4815065 w 4838702"/>
              <a:gd name="connsiteY1612" fmla="*/ 9138046 h 11747497"/>
              <a:gd name="connsiteX1613" fmla="*/ 4815273 w 4838702"/>
              <a:gd name="connsiteY1613" fmla="*/ 7145043 h 11747497"/>
              <a:gd name="connsiteX1614" fmla="*/ 4814911 w 4838702"/>
              <a:gd name="connsiteY1614" fmla="*/ 7201982 h 11747497"/>
              <a:gd name="connsiteX1615" fmla="*/ 4810669 w 4838702"/>
              <a:gd name="connsiteY1615" fmla="*/ 7201883 h 11747497"/>
              <a:gd name="connsiteX1616" fmla="*/ 4811032 w 4838702"/>
              <a:gd name="connsiteY1616" fmla="*/ 7144942 h 11747497"/>
              <a:gd name="connsiteX1617" fmla="*/ 4820083 w 4838702"/>
              <a:gd name="connsiteY1617" fmla="*/ 6732401 h 11747497"/>
              <a:gd name="connsiteX1618" fmla="*/ 4809687 w 4838702"/>
              <a:gd name="connsiteY1618" fmla="*/ 6703681 h 11747497"/>
              <a:gd name="connsiteX1619" fmla="*/ 4809480 w 4838702"/>
              <a:gd name="connsiteY1619" fmla="*/ 6732202 h 11747497"/>
              <a:gd name="connsiteX1620" fmla="*/ 4813617 w 4838702"/>
              <a:gd name="connsiteY1620" fmla="*/ 6746562 h 11747497"/>
              <a:gd name="connsiteX1621" fmla="*/ 4813463 w 4838702"/>
              <a:gd name="connsiteY1621" fmla="*/ 6774882 h 11747497"/>
              <a:gd name="connsiteX1622" fmla="*/ 4819824 w 4838702"/>
              <a:gd name="connsiteY1622" fmla="*/ 6775081 h 11747497"/>
              <a:gd name="connsiteX1623" fmla="*/ 4821996 w 4838702"/>
              <a:gd name="connsiteY1623" fmla="*/ 7088201 h 11747497"/>
              <a:gd name="connsiteX1624" fmla="*/ 4807411 w 4838702"/>
              <a:gd name="connsiteY1624" fmla="*/ 7059383 h 11747497"/>
              <a:gd name="connsiteX1625" fmla="*/ 4802498 w 4838702"/>
              <a:gd name="connsiteY1625" fmla="*/ 7173263 h 11747497"/>
              <a:gd name="connsiteX1626" fmla="*/ 4805963 w 4838702"/>
              <a:gd name="connsiteY1626" fmla="*/ 7287243 h 11747497"/>
              <a:gd name="connsiteX1627" fmla="*/ 4812221 w 4838702"/>
              <a:gd name="connsiteY1627" fmla="*/ 7301602 h 11747497"/>
              <a:gd name="connsiteX1628" fmla="*/ 4811290 w 4838702"/>
              <a:gd name="connsiteY1628" fmla="*/ 7443904 h 11747497"/>
              <a:gd name="connsiteX1629" fmla="*/ 4814859 w 4838702"/>
              <a:gd name="connsiteY1629" fmla="*/ 7543623 h 11747497"/>
              <a:gd name="connsiteX1630" fmla="*/ 4814962 w 4838702"/>
              <a:gd name="connsiteY1630" fmla="*/ 7529363 h 11747497"/>
              <a:gd name="connsiteX1631" fmla="*/ 4821013 w 4838702"/>
              <a:gd name="connsiteY1631" fmla="*/ 7244762 h 11747497"/>
              <a:gd name="connsiteX1632" fmla="*/ 4817135 w 4838702"/>
              <a:gd name="connsiteY1632" fmla="*/ 7187722 h 11747497"/>
              <a:gd name="connsiteX1633" fmla="*/ 4821996 w 4838702"/>
              <a:gd name="connsiteY1633" fmla="*/ 7088201 h 11747497"/>
              <a:gd name="connsiteX1634" fmla="*/ 4822979 w 4838702"/>
              <a:gd name="connsiteY1634" fmla="*/ 7913983 h 11747497"/>
              <a:gd name="connsiteX1635" fmla="*/ 4818944 w 4838702"/>
              <a:gd name="connsiteY1635" fmla="*/ 7885463 h 11747497"/>
              <a:gd name="connsiteX1636" fmla="*/ 4821790 w 4838702"/>
              <a:gd name="connsiteY1636" fmla="*/ 7771683 h 11747497"/>
              <a:gd name="connsiteX1637" fmla="*/ 4811342 w 4838702"/>
              <a:gd name="connsiteY1637" fmla="*/ 7757123 h 11747497"/>
              <a:gd name="connsiteX1638" fmla="*/ 4804463 w 4838702"/>
              <a:gd name="connsiteY1638" fmla="*/ 7842384 h 11747497"/>
              <a:gd name="connsiteX1639" fmla="*/ 4801618 w 4838702"/>
              <a:gd name="connsiteY1639" fmla="*/ 7956165 h 11747497"/>
              <a:gd name="connsiteX1640" fmla="*/ 4807670 w 4838702"/>
              <a:gd name="connsiteY1640" fmla="*/ 7999045 h 11747497"/>
              <a:gd name="connsiteX1641" fmla="*/ 4809480 w 4838702"/>
              <a:gd name="connsiteY1641" fmla="*/ 8041824 h 11747497"/>
              <a:gd name="connsiteX1642" fmla="*/ 4810669 w 4838702"/>
              <a:gd name="connsiteY1642" fmla="*/ 8184224 h 11747497"/>
              <a:gd name="connsiteX1643" fmla="*/ 4808445 w 4838702"/>
              <a:gd name="connsiteY1643" fmla="*/ 8198385 h 11747497"/>
              <a:gd name="connsiteX1644" fmla="*/ 4805239 w 4838702"/>
              <a:gd name="connsiteY1644" fmla="*/ 8369106 h 11747497"/>
              <a:gd name="connsiteX1645" fmla="*/ 4801205 w 4838702"/>
              <a:gd name="connsiteY1645" fmla="*/ 8340486 h 11747497"/>
              <a:gd name="connsiteX1646" fmla="*/ 4796963 w 4838702"/>
              <a:gd name="connsiteY1646" fmla="*/ 8340386 h 11747497"/>
              <a:gd name="connsiteX1647" fmla="*/ 4798051 w 4838702"/>
              <a:gd name="connsiteY1647" fmla="*/ 8169565 h 11747497"/>
              <a:gd name="connsiteX1648" fmla="*/ 4791429 w 4838702"/>
              <a:gd name="connsiteY1648" fmla="*/ 8212046 h 11747497"/>
              <a:gd name="connsiteX1649" fmla="*/ 4792361 w 4838702"/>
              <a:gd name="connsiteY1649" fmla="*/ 8397126 h 11747497"/>
              <a:gd name="connsiteX1650" fmla="*/ 4798051 w 4838702"/>
              <a:gd name="connsiteY1650" fmla="*/ 8496946 h 11747497"/>
              <a:gd name="connsiteX1651" fmla="*/ 4804205 w 4838702"/>
              <a:gd name="connsiteY1651" fmla="*/ 8525566 h 11747497"/>
              <a:gd name="connsiteX1652" fmla="*/ 4799601 w 4838702"/>
              <a:gd name="connsiteY1652" fmla="*/ 8582406 h 11747497"/>
              <a:gd name="connsiteX1653" fmla="*/ 4801412 w 4838702"/>
              <a:gd name="connsiteY1653" fmla="*/ 8625186 h 11747497"/>
              <a:gd name="connsiteX1654" fmla="*/ 4807359 w 4838702"/>
              <a:gd name="connsiteY1654" fmla="*/ 8682226 h 11747497"/>
              <a:gd name="connsiteX1655" fmla="*/ 4813307 w 4838702"/>
              <a:gd name="connsiteY1655" fmla="*/ 8739366 h 11747497"/>
              <a:gd name="connsiteX1656" fmla="*/ 4814135 w 4838702"/>
              <a:gd name="connsiteY1656" fmla="*/ 8611325 h 11747497"/>
              <a:gd name="connsiteX1657" fmla="*/ 4807876 w 4838702"/>
              <a:gd name="connsiteY1657" fmla="*/ 8596966 h 11747497"/>
              <a:gd name="connsiteX1658" fmla="*/ 4810566 w 4838702"/>
              <a:gd name="connsiteY1658" fmla="*/ 8511605 h 11747497"/>
              <a:gd name="connsiteX1659" fmla="*/ 4813411 w 4838702"/>
              <a:gd name="connsiteY1659" fmla="*/ 8397824 h 11747497"/>
              <a:gd name="connsiteX1660" fmla="*/ 4814031 w 4838702"/>
              <a:gd name="connsiteY1660" fmla="*/ 8298204 h 11747497"/>
              <a:gd name="connsiteX1661" fmla="*/ 4816255 w 4838702"/>
              <a:gd name="connsiteY1661" fmla="*/ 8284045 h 11747497"/>
              <a:gd name="connsiteX1662" fmla="*/ 4814445 w 4838702"/>
              <a:gd name="connsiteY1662" fmla="*/ 8241264 h 11747497"/>
              <a:gd name="connsiteX1663" fmla="*/ 4816928 w 4838702"/>
              <a:gd name="connsiteY1663" fmla="*/ 8184325 h 11747497"/>
              <a:gd name="connsiteX1664" fmla="*/ 4815273 w 4838702"/>
              <a:gd name="connsiteY1664" fmla="*/ 8113124 h 11747497"/>
              <a:gd name="connsiteX1665" fmla="*/ 4817755 w 4838702"/>
              <a:gd name="connsiteY1665" fmla="*/ 8056284 h 11747497"/>
              <a:gd name="connsiteX1666" fmla="*/ 4816204 w 4838702"/>
              <a:gd name="connsiteY1666" fmla="*/ 7970823 h 11747497"/>
              <a:gd name="connsiteX1667" fmla="*/ 4818583 w 4838702"/>
              <a:gd name="connsiteY1667" fmla="*/ 7942304 h 11747497"/>
              <a:gd name="connsiteX1668" fmla="*/ 4822979 w 4838702"/>
              <a:gd name="connsiteY1668" fmla="*/ 7913983 h 11747497"/>
              <a:gd name="connsiteX1669" fmla="*/ 4823651 w 4838702"/>
              <a:gd name="connsiteY1669" fmla="*/ 5849779 h 11747497"/>
              <a:gd name="connsiteX1670" fmla="*/ 4816980 w 4838702"/>
              <a:gd name="connsiteY1670" fmla="*/ 5906619 h 11747497"/>
              <a:gd name="connsiteX1671" fmla="*/ 4810721 w 4838702"/>
              <a:gd name="connsiteY1671" fmla="*/ 5892259 h 11747497"/>
              <a:gd name="connsiteX1672" fmla="*/ 4802550 w 4838702"/>
              <a:gd name="connsiteY1672" fmla="*/ 5849380 h 11747497"/>
              <a:gd name="connsiteX1673" fmla="*/ 4803998 w 4838702"/>
              <a:gd name="connsiteY1673" fmla="*/ 5949100 h 11747497"/>
              <a:gd name="connsiteX1674" fmla="*/ 4801774 w 4838702"/>
              <a:gd name="connsiteY1674" fmla="*/ 5963260 h 11747497"/>
              <a:gd name="connsiteX1675" fmla="*/ 4803532 w 4838702"/>
              <a:gd name="connsiteY1675" fmla="*/ 6020201 h 11747497"/>
              <a:gd name="connsiteX1676" fmla="*/ 4801308 w 4838702"/>
              <a:gd name="connsiteY1676" fmla="*/ 6034360 h 11747497"/>
              <a:gd name="connsiteX1677" fmla="*/ 4801101 w 4838702"/>
              <a:gd name="connsiteY1677" fmla="*/ 6062781 h 11747497"/>
              <a:gd name="connsiteX1678" fmla="*/ 4800843 w 4838702"/>
              <a:gd name="connsiteY1678" fmla="*/ 6105461 h 11747497"/>
              <a:gd name="connsiteX1679" fmla="*/ 4800636 w 4838702"/>
              <a:gd name="connsiteY1679" fmla="*/ 6133881 h 11747497"/>
              <a:gd name="connsiteX1680" fmla="*/ 4802498 w 4838702"/>
              <a:gd name="connsiteY1680" fmla="*/ 6176661 h 11747497"/>
              <a:gd name="connsiteX1681" fmla="*/ 4806326 w 4838702"/>
              <a:gd name="connsiteY1681" fmla="*/ 6233700 h 11747497"/>
              <a:gd name="connsiteX1682" fmla="*/ 4815118 w 4838702"/>
              <a:gd name="connsiteY1682" fmla="*/ 6176960 h 11747497"/>
              <a:gd name="connsiteX1683" fmla="*/ 4816410 w 4838702"/>
              <a:gd name="connsiteY1683" fmla="*/ 5977719 h 11747497"/>
              <a:gd name="connsiteX1684" fmla="*/ 4820342 w 4838702"/>
              <a:gd name="connsiteY1684" fmla="*/ 6020499 h 11747497"/>
              <a:gd name="connsiteX1685" fmla="*/ 4823651 w 4838702"/>
              <a:gd name="connsiteY1685" fmla="*/ 5849779 h 11747497"/>
              <a:gd name="connsiteX1686" fmla="*/ 4825255 w 4838702"/>
              <a:gd name="connsiteY1686" fmla="*/ 5000663 h 11747497"/>
              <a:gd name="connsiteX1687" fmla="*/ 4825255 w 4838702"/>
              <a:gd name="connsiteY1687" fmla="*/ 4965362 h 11747497"/>
              <a:gd name="connsiteX1688" fmla="*/ 4816824 w 4838702"/>
              <a:gd name="connsiteY1688" fmla="*/ 4952698 h 11747497"/>
              <a:gd name="connsiteX1689" fmla="*/ 4815376 w 4838702"/>
              <a:gd name="connsiteY1689" fmla="*/ 4852978 h 11747497"/>
              <a:gd name="connsiteX1690" fmla="*/ 4809584 w 4838702"/>
              <a:gd name="connsiteY1690" fmla="*/ 4767418 h 11747497"/>
              <a:gd name="connsiteX1691" fmla="*/ 4812221 w 4838702"/>
              <a:gd name="connsiteY1691" fmla="*/ 5009538 h 11747497"/>
              <a:gd name="connsiteX1692" fmla="*/ 4825255 w 4838702"/>
              <a:gd name="connsiteY1692" fmla="*/ 5000663 h 11747497"/>
              <a:gd name="connsiteX1693" fmla="*/ 4825255 w 4838702"/>
              <a:gd name="connsiteY1693" fmla="*/ 7006232 h 11747497"/>
              <a:gd name="connsiteX1694" fmla="*/ 4825255 w 4838702"/>
              <a:gd name="connsiteY1694" fmla="*/ 6559686 h 11747497"/>
              <a:gd name="connsiteX1695" fmla="*/ 4823289 w 4838702"/>
              <a:gd name="connsiteY1695" fmla="*/ 6561579 h 11747497"/>
              <a:gd name="connsiteX1696" fmla="*/ 4824582 w 4838702"/>
              <a:gd name="connsiteY1696" fmla="*/ 6689721 h 11747497"/>
              <a:gd name="connsiteX1697" fmla="*/ 4821996 w 4838702"/>
              <a:gd name="connsiteY1697" fmla="*/ 6760822 h 11747497"/>
              <a:gd name="connsiteX1698" fmla="*/ 4819256 w 4838702"/>
              <a:gd name="connsiteY1698" fmla="*/ 6860442 h 11747497"/>
              <a:gd name="connsiteX1699" fmla="*/ 4817600 w 4838702"/>
              <a:gd name="connsiteY1699" fmla="*/ 6789241 h 11747497"/>
              <a:gd name="connsiteX1700" fmla="*/ 4800688 w 4838702"/>
              <a:gd name="connsiteY1700" fmla="*/ 6788842 h 11747497"/>
              <a:gd name="connsiteX1701" fmla="*/ 4797842 w 4838702"/>
              <a:gd name="connsiteY1701" fmla="*/ 6902623 h 11747497"/>
              <a:gd name="connsiteX1702" fmla="*/ 4805549 w 4838702"/>
              <a:gd name="connsiteY1702" fmla="*/ 7016702 h 11747497"/>
              <a:gd name="connsiteX1703" fmla="*/ 4818221 w 4838702"/>
              <a:gd name="connsiteY1703" fmla="*/ 7017002 h 11747497"/>
              <a:gd name="connsiteX1704" fmla="*/ 4820600 w 4838702"/>
              <a:gd name="connsiteY1704" fmla="*/ 6974421 h 11747497"/>
              <a:gd name="connsiteX1705" fmla="*/ 4825255 w 4838702"/>
              <a:gd name="connsiteY1705" fmla="*/ 7006232 h 11747497"/>
              <a:gd name="connsiteX1706" fmla="*/ 4829044 w 4838702"/>
              <a:gd name="connsiteY1706" fmla="*/ 10750914 h 11747497"/>
              <a:gd name="connsiteX1707" fmla="*/ 4828468 w 4838702"/>
              <a:gd name="connsiteY1707" fmla="*/ 10714583 h 11747497"/>
              <a:gd name="connsiteX1708" fmla="*/ 4827892 w 4838702"/>
              <a:gd name="connsiteY1708" fmla="*/ 10685908 h 11747497"/>
              <a:gd name="connsiteX1709" fmla="*/ 4825203 w 4838702"/>
              <a:gd name="connsiteY1709" fmla="*/ 10831493 h 11747497"/>
              <a:gd name="connsiteX1710" fmla="*/ 4827479 w 4838702"/>
              <a:gd name="connsiteY1710" fmla="*/ 10803969 h 11747497"/>
              <a:gd name="connsiteX1711" fmla="*/ 4827686 w 4838702"/>
              <a:gd name="connsiteY1711" fmla="*/ 10775550 h 11747497"/>
              <a:gd name="connsiteX1712" fmla="*/ 4829044 w 4838702"/>
              <a:gd name="connsiteY1712" fmla="*/ 10750914 h 11747497"/>
              <a:gd name="connsiteX1713" fmla="*/ 4838702 w 4838702"/>
              <a:gd name="connsiteY1713" fmla="*/ 11048185 h 11747497"/>
              <a:gd name="connsiteX1714" fmla="*/ 4826185 w 4838702"/>
              <a:gd name="connsiteY1714" fmla="*/ 11047985 h 11747497"/>
              <a:gd name="connsiteX1715" fmla="*/ 4825824 w 4838702"/>
              <a:gd name="connsiteY1715" fmla="*/ 11060149 h 11747497"/>
              <a:gd name="connsiteX1716" fmla="*/ 4815065 w 4838702"/>
              <a:gd name="connsiteY1716" fmla="*/ 11088371 h 11747497"/>
              <a:gd name="connsiteX1717" fmla="*/ 4809997 w 4838702"/>
              <a:gd name="connsiteY1717" fmla="*/ 11216312 h 11747497"/>
              <a:gd name="connsiteX1718" fmla="*/ 4813307 w 4838702"/>
              <a:gd name="connsiteY1718" fmla="*/ 11031331 h 11747497"/>
              <a:gd name="connsiteX1719" fmla="*/ 4806997 w 4838702"/>
              <a:gd name="connsiteY1719" fmla="*/ 11031131 h 11747497"/>
              <a:gd name="connsiteX1720" fmla="*/ 4806532 w 4838702"/>
              <a:gd name="connsiteY1720" fmla="*/ 11102331 h 11747497"/>
              <a:gd name="connsiteX1721" fmla="*/ 4795877 w 4838702"/>
              <a:gd name="connsiteY1721" fmla="*/ 11116293 h 11747497"/>
              <a:gd name="connsiteX1722" fmla="*/ 4794223 w 4838702"/>
              <a:gd name="connsiteY1722" fmla="*/ 11045092 h 11747497"/>
              <a:gd name="connsiteX1723" fmla="*/ 4796602 w 4838702"/>
              <a:gd name="connsiteY1723" fmla="*/ 11002412 h 11747497"/>
              <a:gd name="connsiteX1724" fmla="*/ 4800843 w 4838702"/>
              <a:gd name="connsiteY1724" fmla="*/ 11002512 h 11747497"/>
              <a:gd name="connsiteX1725" fmla="*/ 4803326 w 4838702"/>
              <a:gd name="connsiteY1725" fmla="*/ 10945672 h 11747497"/>
              <a:gd name="connsiteX1726" fmla="*/ 4794895 w 4838702"/>
              <a:gd name="connsiteY1726" fmla="*/ 10945471 h 11747497"/>
              <a:gd name="connsiteX1727" fmla="*/ 4803636 w 4838702"/>
              <a:gd name="connsiteY1727" fmla="*/ 10902991 h 11747497"/>
              <a:gd name="connsiteX1728" fmla="*/ 4806222 w 4838702"/>
              <a:gd name="connsiteY1728" fmla="*/ 10831891 h 11747497"/>
              <a:gd name="connsiteX1729" fmla="*/ 4814652 w 4838702"/>
              <a:gd name="connsiteY1729" fmla="*/ 10832091 h 11747497"/>
              <a:gd name="connsiteX1730" fmla="*/ 4818324 w 4838702"/>
              <a:gd name="connsiteY1730" fmla="*/ 10917651 h 11747497"/>
              <a:gd name="connsiteX1731" fmla="*/ 4823082 w 4838702"/>
              <a:gd name="connsiteY1731" fmla="*/ 10832390 h 11747497"/>
              <a:gd name="connsiteX1732" fmla="*/ 4812738 w 4838702"/>
              <a:gd name="connsiteY1732" fmla="*/ 10803670 h 11747497"/>
              <a:gd name="connsiteX1733" fmla="*/ 4815118 w 4838702"/>
              <a:gd name="connsiteY1733" fmla="*/ 10760990 h 11747497"/>
              <a:gd name="connsiteX1734" fmla="*/ 4804722 w 4838702"/>
              <a:gd name="connsiteY1734" fmla="*/ 10732270 h 11747497"/>
              <a:gd name="connsiteX1735" fmla="*/ 4819617 w 4838702"/>
              <a:gd name="connsiteY1735" fmla="*/ 10718409 h 11747497"/>
              <a:gd name="connsiteX1736" fmla="*/ 4828513 w 4838702"/>
              <a:gd name="connsiteY1736" fmla="*/ 10647408 h 11747497"/>
              <a:gd name="connsiteX1737" fmla="*/ 4827707 w 4838702"/>
              <a:gd name="connsiteY1737" fmla="*/ 10676700 h 11747497"/>
              <a:gd name="connsiteX1738" fmla="*/ 4827892 w 4838702"/>
              <a:gd name="connsiteY1738" fmla="*/ 10685908 h 11747497"/>
              <a:gd name="connsiteX1739" fmla="*/ 4831668 w 4838702"/>
              <a:gd name="connsiteY1739" fmla="*/ 10481474 h 11747497"/>
              <a:gd name="connsiteX1740" fmla="*/ 4829134 w 4838702"/>
              <a:gd name="connsiteY1740" fmla="*/ 10560952 h 11747497"/>
              <a:gd name="connsiteX1741" fmla="*/ 4822875 w 4838702"/>
              <a:gd name="connsiteY1741" fmla="*/ 10546591 h 11747497"/>
              <a:gd name="connsiteX1742" fmla="*/ 4818014 w 4838702"/>
              <a:gd name="connsiteY1742" fmla="*/ 10646112 h 11747497"/>
              <a:gd name="connsiteX1743" fmla="*/ 4809584 w 4838702"/>
              <a:gd name="connsiteY1743" fmla="*/ 10645914 h 11747497"/>
              <a:gd name="connsiteX1744" fmla="*/ 4807722 w 4838702"/>
              <a:gd name="connsiteY1744" fmla="*/ 10603233 h 11747497"/>
              <a:gd name="connsiteX1745" fmla="*/ 4809997 w 4838702"/>
              <a:gd name="connsiteY1745" fmla="*/ 10574813 h 11747497"/>
              <a:gd name="connsiteX1746" fmla="*/ 4808239 w 4838702"/>
              <a:gd name="connsiteY1746" fmla="*/ 10517872 h 11747497"/>
              <a:gd name="connsiteX1747" fmla="*/ 4821013 w 4838702"/>
              <a:gd name="connsiteY1747" fmla="*/ 10504011 h 11747497"/>
              <a:gd name="connsiteX1748" fmla="*/ 4808549 w 4838702"/>
              <a:gd name="connsiteY1748" fmla="*/ 10475192 h 11747497"/>
              <a:gd name="connsiteX1749" fmla="*/ 4825306 w 4838702"/>
              <a:gd name="connsiteY1749" fmla="*/ 10460135 h 11747497"/>
              <a:gd name="connsiteX1750" fmla="*/ 4825306 w 4838702"/>
              <a:gd name="connsiteY1750" fmla="*/ 10322920 h 11747497"/>
              <a:gd name="connsiteX1751" fmla="*/ 4818324 w 4838702"/>
              <a:gd name="connsiteY1751" fmla="*/ 10276151 h 11747497"/>
              <a:gd name="connsiteX1752" fmla="*/ 4821375 w 4838702"/>
              <a:gd name="connsiteY1752" fmla="*/ 10133851 h 11747497"/>
              <a:gd name="connsiteX1753" fmla="*/ 4825358 w 4838702"/>
              <a:gd name="connsiteY1753" fmla="*/ 10146415 h 11747497"/>
              <a:gd name="connsiteX1754" fmla="*/ 4825358 w 4838702"/>
              <a:gd name="connsiteY1754" fmla="*/ 10073720 h 11747497"/>
              <a:gd name="connsiteX1755" fmla="*/ 4821738 w 4838702"/>
              <a:gd name="connsiteY1755" fmla="*/ 10077010 h 11747497"/>
              <a:gd name="connsiteX1756" fmla="*/ 4822359 w 4838702"/>
              <a:gd name="connsiteY1756" fmla="*/ 9977390 h 11747497"/>
              <a:gd name="connsiteX1757" fmla="*/ 4816100 w 4838702"/>
              <a:gd name="connsiteY1757" fmla="*/ 9963030 h 11747497"/>
              <a:gd name="connsiteX1758" fmla="*/ 4822617 w 4838702"/>
              <a:gd name="connsiteY1758" fmla="*/ 9934710 h 11747497"/>
              <a:gd name="connsiteX1759" fmla="*/ 4825255 w 4838702"/>
              <a:gd name="connsiteY1759" fmla="*/ 9849350 h 11747497"/>
              <a:gd name="connsiteX1760" fmla="*/ 4825255 w 4838702"/>
              <a:gd name="connsiteY1760" fmla="*/ 9749031 h 11747497"/>
              <a:gd name="connsiteX1761" fmla="*/ 4823755 w 4838702"/>
              <a:gd name="connsiteY1761" fmla="*/ 9749629 h 11747497"/>
              <a:gd name="connsiteX1762" fmla="*/ 4825255 w 4838702"/>
              <a:gd name="connsiteY1762" fmla="*/ 9701165 h 11747497"/>
              <a:gd name="connsiteX1763" fmla="*/ 4825255 w 4838702"/>
              <a:gd name="connsiteY1763" fmla="*/ 9671847 h 11747497"/>
              <a:gd name="connsiteX1764" fmla="*/ 4822203 w 4838702"/>
              <a:gd name="connsiteY1764" fmla="*/ 9664169 h 11747497"/>
              <a:gd name="connsiteX1765" fmla="*/ 4825255 w 4838702"/>
              <a:gd name="connsiteY1765" fmla="*/ 9648314 h 11747497"/>
              <a:gd name="connsiteX1766" fmla="*/ 4825255 w 4838702"/>
              <a:gd name="connsiteY1766" fmla="*/ 9547997 h 11747497"/>
              <a:gd name="connsiteX1767" fmla="*/ 4822772 w 4838702"/>
              <a:gd name="connsiteY1767" fmla="*/ 9578809 h 11747497"/>
              <a:gd name="connsiteX1768" fmla="*/ 4818531 w 4838702"/>
              <a:gd name="connsiteY1768" fmla="*/ 9578710 h 11747497"/>
              <a:gd name="connsiteX1769" fmla="*/ 4818324 w 4838702"/>
              <a:gd name="connsiteY1769" fmla="*/ 9607129 h 11747497"/>
              <a:gd name="connsiteX1770" fmla="*/ 4811911 w 4838702"/>
              <a:gd name="connsiteY1770" fmla="*/ 9621190 h 11747497"/>
              <a:gd name="connsiteX1771" fmla="*/ 4818066 w 4838702"/>
              <a:gd name="connsiteY1771" fmla="*/ 9649810 h 11747497"/>
              <a:gd name="connsiteX1772" fmla="*/ 4805291 w 4838702"/>
              <a:gd name="connsiteY1772" fmla="*/ 9663671 h 11747497"/>
              <a:gd name="connsiteX1773" fmla="*/ 4803532 w 4838702"/>
              <a:gd name="connsiteY1773" fmla="*/ 9606730 h 11747497"/>
              <a:gd name="connsiteX1774" fmla="*/ 4807929 w 4838702"/>
              <a:gd name="connsiteY1774" fmla="*/ 9578410 h 11747497"/>
              <a:gd name="connsiteX1775" fmla="*/ 4806635 w 4838702"/>
              <a:gd name="connsiteY1775" fmla="*/ 9450270 h 11747497"/>
              <a:gd name="connsiteX1776" fmla="*/ 4808445 w 4838702"/>
              <a:gd name="connsiteY1776" fmla="*/ 9493050 h 11747497"/>
              <a:gd name="connsiteX1777" fmla="*/ 4812377 w 4838702"/>
              <a:gd name="connsiteY1777" fmla="*/ 9535830 h 11747497"/>
              <a:gd name="connsiteX1778" fmla="*/ 4814290 w 4838702"/>
              <a:gd name="connsiteY1778" fmla="*/ 9564349 h 11747497"/>
              <a:gd name="connsiteX1779" fmla="*/ 4818531 w 4838702"/>
              <a:gd name="connsiteY1779" fmla="*/ 9564450 h 11747497"/>
              <a:gd name="connsiteX1780" fmla="*/ 4819152 w 4838702"/>
              <a:gd name="connsiteY1780" fmla="*/ 9464829 h 11747497"/>
              <a:gd name="connsiteX1781" fmla="*/ 4819979 w 4838702"/>
              <a:gd name="connsiteY1781" fmla="*/ 9336689 h 11747497"/>
              <a:gd name="connsiteX1782" fmla="*/ 4818221 w 4838702"/>
              <a:gd name="connsiteY1782" fmla="*/ 9279748 h 11747497"/>
              <a:gd name="connsiteX1783" fmla="*/ 4822099 w 4838702"/>
              <a:gd name="connsiteY1783" fmla="*/ 9009308 h 11747497"/>
              <a:gd name="connsiteX1784" fmla="*/ 4805032 w 4838702"/>
              <a:gd name="connsiteY1784" fmla="*/ 9037330 h 11747497"/>
              <a:gd name="connsiteX1785" fmla="*/ 4806480 w 4838702"/>
              <a:gd name="connsiteY1785" fmla="*/ 9137050 h 11747497"/>
              <a:gd name="connsiteX1786" fmla="*/ 4804101 w 4838702"/>
              <a:gd name="connsiteY1786" fmla="*/ 9179730 h 11747497"/>
              <a:gd name="connsiteX1787" fmla="*/ 4803894 w 4838702"/>
              <a:gd name="connsiteY1787" fmla="*/ 9208150 h 11747497"/>
              <a:gd name="connsiteX1788" fmla="*/ 4803636 w 4838702"/>
              <a:gd name="connsiteY1788" fmla="*/ 9250829 h 11747497"/>
              <a:gd name="connsiteX1789" fmla="*/ 4800791 w 4838702"/>
              <a:gd name="connsiteY1789" fmla="*/ 9364610 h 11747497"/>
              <a:gd name="connsiteX1790" fmla="*/ 4798308 w 4838702"/>
              <a:gd name="connsiteY1790" fmla="*/ 9421452 h 11747497"/>
              <a:gd name="connsiteX1791" fmla="*/ 4786206 w 4838702"/>
              <a:gd name="connsiteY1791" fmla="*/ 9335792 h 11747497"/>
              <a:gd name="connsiteX1792" fmla="*/ 4785844 w 4838702"/>
              <a:gd name="connsiteY1792" fmla="*/ 9392731 h 11747497"/>
              <a:gd name="connsiteX1793" fmla="*/ 4783465 w 4838702"/>
              <a:gd name="connsiteY1793" fmla="*/ 9435412 h 11747497"/>
              <a:gd name="connsiteX1794" fmla="*/ 4785327 w 4838702"/>
              <a:gd name="connsiteY1794" fmla="*/ 9478092 h 11747497"/>
              <a:gd name="connsiteX1795" fmla="*/ 4784034 w 4838702"/>
              <a:gd name="connsiteY1795" fmla="*/ 9677433 h 11747497"/>
              <a:gd name="connsiteX1796" fmla="*/ 4785690 w 4838702"/>
              <a:gd name="connsiteY1796" fmla="*/ 9748632 h 11747497"/>
              <a:gd name="connsiteX1797" fmla="*/ 4783465 w 4838702"/>
              <a:gd name="connsiteY1797" fmla="*/ 9762793 h 11747497"/>
              <a:gd name="connsiteX1798" fmla="*/ 4780155 w 4838702"/>
              <a:gd name="connsiteY1798" fmla="*/ 9947774 h 11747497"/>
              <a:gd name="connsiteX1799" fmla="*/ 4774310 w 4838702"/>
              <a:gd name="connsiteY1799" fmla="*/ 9876473 h 11747497"/>
              <a:gd name="connsiteX1800" fmla="*/ 4769914 w 4838702"/>
              <a:gd name="connsiteY1800" fmla="*/ 9904894 h 11747497"/>
              <a:gd name="connsiteX1801" fmla="*/ 4759364 w 4838702"/>
              <a:gd name="connsiteY1801" fmla="*/ 9904595 h 11747497"/>
              <a:gd name="connsiteX1802" fmla="*/ 4761019 w 4838702"/>
              <a:gd name="connsiteY1802" fmla="*/ 9975794 h 11747497"/>
              <a:gd name="connsiteX1803" fmla="*/ 4771776 w 4838702"/>
              <a:gd name="connsiteY1803" fmla="*/ 9947574 h 11747497"/>
              <a:gd name="connsiteX1804" fmla="*/ 4769036 w 4838702"/>
              <a:gd name="connsiteY1804" fmla="*/ 10047194 h 11747497"/>
              <a:gd name="connsiteX1805" fmla="*/ 4762777 w 4838702"/>
              <a:gd name="connsiteY1805" fmla="*/ 10032834 h 11747497"/>
              <a:gd name="connsiteX1806" fmla="*/ 4758174 w 4838702"/>
              <a:gd name="connsiteY1806" fmla="*/ 10089675 h 11747497"/>
              <a:gd name="connsiteX1807" fmla="*/ 4756622 w 4838702"/>
              <a:gd name="connsiteY1807" fmla="*/ 10004215 h 11747497"/>
              <a:gd name="connsiteX1808" fmla="*/ 4749537 w 4838702"/>
              <a:gd name="connsiteY1808" fmla="*/ 10117895 h 11747497"/>
              <a:gd name="connsiteX1809" fmla="*/ 4768363 w 4838702"/>
              <a:gd name="connsiteY1809" fmla="*/ 10146814 h 11747497"/>
              <a:gd name="connsiteX1810" fmla="*/ 4774879 w 4838702"/>
              <a:gd name="connsiteY1810" fmla="*/ 10118494 h 11747497"/>
              <a:gd name="connsiteX1811" fmla="*/ 4784965 w 4838702"/>
              <a:gd name="connsiteY1811" fmla="*/ 10189894 h 11747497"/>
              <a:gd name="connsiteX1812" fmla="*/ 4782120 w 4838702"/>
              <a:gd name="connsiteY1812" fmla="*/ 10303774 h 11747497"/>
              <a:gd name="connsiteX1813" fmla="*/ 4763036 w 4838702"/>
              <a:gd name="connsiteY1813" fmla="*/ 10317535 h 11747497"/>
              <a:gd name="connsiteX1814" fmla="*/ 4763656 w 4838702"/>
              <a:gd name="connsiteY1814" fmla="*/ 10217914 h 11747497"/>
              <a:gd name="connsiteX1815" fmla="*/ 4755278 w 4838702"/>
              <a:gd name="connsiteY1815" fmla="*/ 10203456 h 11747497"/>
              <a:gd name="connsiteX1816" fmla="*/ 4750882 w 4838702"/>
              <a:gd name="connsiteY1816" fmla="*/ 10231776 h 11747497"/>
              <a:gd name="connsiteX1817" fmla="*/ 4754812 w 4838702"/>
              <a:gd name="connsiteY1817" fmla="*/ 10274556 h 11747497"/>
              <a:gd name="connsiteX1818" fmla="*/ 4758018 w 4838702"/>
              <a:gd name="connsiteY1818" fmla="*/ 10431216 h 11747497"/>
              <a:gd name="connsiteX1819" fmla="*/ 4760501 w 4838702"/>
              <a:gd name="connsiteY1819" fmla="*/ 10374275 h 11747497"/>
              <a:gd name="connsiteX1820" fmla="*/ 4762156 w 4838702"/>
              <a:gd name="connsiteY1820" fmla="*/ 10445576 h 11747497"/>
              <a:gd name="connsiteX1821" fmla="*/ 4772810 w 4838702"/>
              <a:gd name="connsiteY1821" fmla="*/ 10431614 h 11747497"/>
              <a:gd name="connsiteX1822" fmla="*/ 4777311 w 4838702"/>
              <a:gd name="connsiteY1822" fmla="*/ 10389035 h 11747497"/>
              <a:gd name="connsiteX1823" fmla="*/ 4776948 w 4838702"/>
              <a:gd name="connsiteY1823" fmla="*/ 10445975 h 11747497"/>
              <a:gd name="connsiteX1824" fmla="*/ 4774569 w 4838702"/>
              <a:gd name="connsiteY1824" fmla="*/ 10488555 h 11747497"/>
              <a:gd name="connsiteX1825" fmla="*/ 4776379 w 4838702"/>
              <a:gd name="connsiteY1825" fmla="*/ 10531335 h 11747497"/>
              <a:gd name="connsiteX1826" fmla="*/ 4772914 w 4838702"/>
              <a:gd name="connsiteY1826" fmla="*/ 10744835 h 11747497"/>
              <a:gd name="connsiteX1827" fmla="*/ 4768673 w 4838702"/>
              <a:gd name="connsiteY1827" fmla="*/ 10744736 h 11747497"/>
              <a:gd name="connsiteX1828" fmla="*/ 4769966 w 4838702"/>
              <a:gd name="connsiteY1828" fmla="*/ 10872875 h 11747497"/>
              <a:gd name="connsiteX1829" fmla="*/ 4763812 w 4838702"/>
              <a:gd name="connsiteY1829" fmla="*/ 10844256 h 11747497"/>
              <a:gd name="connsiteX1830" fmla="*/ 4757398 w 4838702"/>
              <a:gd name="connsiteY1830" fmla="*/ 10858317 h 11747497"/>
              <a:gd name="connsiteX1831" fmla="*/ 4753260 w 4838702"/>
              <a:gd name="connsiteY1831" fmla="*/ 10843957 h 11747497"/>
              <a:gd name="connsiteX1832" fmla="*/ 4740486 w 4838702"/>
              <a:gd name="connsiteY1832" fmla="*/ 10857918 h 11747497"/>
              <a:gd name="connsiteX1833" fmla="*/ 4741778 w 4838702"/>
              <a:gd name="connsiteY1833" fmla="*/ 10986058 h 11747497"/>
              <a:gd name="connsiteX1834" fmla="*/ 4746278 w 4838702"/>
              <a:gd name="connsiteY1834" fmla="*/ 10943478 h 11747497"/>
              <a:gd name="connsiteX1835" fmla="*/ 4743640 w 4838702"/>
              <a:gd name="connsiteY1835" fmla="*/ 11028837 h 11747497"/>
              <a:gd name="connsiteX1836" fmla="*/ 4745193 w 4838702"/>
              <a:gd name="connsiteY1836" fmla="*/ 11114298 h 11747497"/>
              <a:gd name="connsiteX1837" fmla="*/ 4740796 w 4838702"/>
              <a:gd name="connsiteY1837" fmla="*/ 11142618 h 11747497"/>
              <a:gd name="connsiteX1838" fmla="*/ 4736400 w 4838702"/>
              <a:gd name="connsiteY1838" fmla="*/ 11171039 h 11747497"/>
              <a:gd name="connsiteX1839" fmla="*/ 4732624 w 4838702"/>
              <a:gd name="connsiteY1839" fmla="*/ 11099739 h 11747497"/>
              <a:gd name="connsiteX1840" fmla="*/ 4735314 w 4838702"/>
              <a:gd name="connsiteY1840" fmla="*/ 11014378 h 11747497"/>
              <a:gd name="connsiteX1841" fmla="*/ 4724763 w 4838702"/>
              <a:gd name="connsiteY1841" fmla="*/ 11014079 h 11747497"/>
              <a:gd name="connsiteX1842" fmla="*/ 4727246 w 4838702"/>
              <a:gd name="connsiteY1842" fmla="*/ 10957239 h 11747497"/>
              <a:gd name="connsiteX1843" fmla="*/ 4725487 w 4838702"/>
              <a:gd name="connsiteY1843" fmla="*/ 10900200 h 11747497"/>
              <a:gd name="connsiteX1844" fmla="*/ 4727711 w 4838702"/>
              <a:gd name="connsiteY1844" fmla="*/ 10886039 h 11747497"/>
              <a:gd name="connsiteX1845" fmla="*/ 4728331 w 4838702"/>
              <a:gd name="connsiteY1845" fmla="*/ 10786419 h 11747497"/>
              <a:gd name="connsiteX1846" fmla="*/ 4727039 w 4838702"/>
              <a:gd name="connsiteY1846" fmla="*/ 10658279 h 11747497"/>
              <a:gd name="connsiteX1847" fmla="*/ 4730090 w 4838702"/>
              <a:gd name="connsiteY1847" fmla="*/ 10515979 h 11747497"/>
              <a:gd name="connsiteX1848" fmla="*/ 4740641 w 4838702"/>
              <a:gd name="connsiteY1848" fmla="*/ 10516278 h 11747497"/>
              <a:gd name="connsiteX1849" fmla="*/ 4736710 w 4838702"/>
              <a:gd name="connsiteY1849" fmla="*/ 10800878 h 11747497"/>
              <a:gd name="connsiteX1850" fmla="*/ 4745451 w 4838702"/>
              <a:gd name="connsiteY1850" fmla="*/ 10758397 h 11747497"/>
              <a:gd name="connsiteX1851" fmla="*/ 4745916 w 4838702"/>
              <a:gd name="connsiteY1851" fmla="*/ 10687297 h 11747497"/>
              <a:gd name="connsiteX1852" fmla="*/ 4746175 w 4838702"/>
              <a:gd name="connsiteY1852" fmla="*/ 10644618 h 11747497"/>
              <a:gd name="connsiteX1853" fmla="*/ 4750468 w 4838702"/>
              <a:gd name="connsiteY1853" fmla="*/ 10630457 h 11747497"/>
              <a:gd name="connsiteX1854" fmla="*/ 4752226 w 4838702"/>
              <a:gd name="connsiteY1854" fmla="*/ 10687496 h 11747497"/>
              <a:gd name="connsiteX1855" fmla="*/ 4758484 w 4838702"/>
              <a:gd name="connsiteY1855" fmla="*/ 10701856 h 11747497"/>
              <a:gd name="connsiteX1856" fmla="*/ 4758018 w 4838702"/>
              <a:gd name="connsiteY1856" fmla="*/ 10773057 h 11747497"/>
              <a:gd name="connsiteX1857" fmla="*/ 4764381 w 4838702"/>
              <a:gd name="connsiteY1857" fmla="*/ 10773255 h 11747497"/>
              <a:gd name="connsiteX1858" fmla="*/ 4767225 w 4838702"/>
              <a:gd name="connsiteY1858" fmla="*/ 10659475 h 11747497"/>
              <a:gd name="connsiteX1859" fmla="*/ 4769914 w 4838702"/>
              <a:gd name="connsiteY1859" fmla="*/ 10574115 h 11747497"/>
              <a:gd name="connsiteX1860" fmla="*/ 4755226 w 4838702"/>
              <a:gd name="connsiteY1860" fmla="*/ 10559555 h 11747497"/>
              <a:gd name="connsiteX1861" fmla="*/ 4752744 w 4838702"/>
              <a:gd name="connsiteY1861" fmla="*/ 10616496 h 11747497"/>
              <a:gd name="connsiteX1862" fmla="*/ 4748347 w 4838702"/>
              <a:gd name="connsiteY1862" fmla="*/ 10317435 h 11747497"/>
              <a:gd name="connsiteX1863" fmla="*/ 4741572 w 4838702"/>
              <a:gd name="connsiteY1863" fmla="*/ 10388436 h 11747497"/>
              <a:gd name="connsiteX1864" fmla="*/ 4744519 w 4838702"/>
              <a:gd name="connsiteY1864" fmla="*/ 10260396 h 11747497"/>
              <a:gd name="connsiteX1865" fmla="*/ 4733866 w 4838702"/>
              <a:gd name="connsiteY1865" fmla="*/ 10274357 h 11747497"/>
              <a:gd name="connsiteX1866" fmla="*/ 4736451 w 4838702"/>
              <a:gd name="connsiteY1866" fmla="*/ 10203255 h 11747497"/>
              <a:gd name="connsiteX1867" fmla="*/ 4732573 w 4838702"/>
              <a:gd name="connsiteY1867" fmla="*/ 10146217 h 11747497"/>
              <a:gd name="connsiteX1868" fmla="*/ 4717677 w 4838702"/>
              <a:gd name="connsiteY1868" fmla="*/ 10160078 h 11747497"/>
              <a:gd name="connsiteX1869" fmla="*/ 4722281 w 4838702"/>
              <a:gd name="connsiteY1869" fmla="*/ 10103236 h 11747497"/>
              <a:gd name="connsiteX1870" fmla="*/ 4730556 w 4838702"/>
              <a:gd name="connsiteY1870" fmla="*/ 10131956 h 11747497"/>
              <a:gd name="connsiteX1871" fmla="*/ 4737176 w 4838702"/>
              <a:gd name="connsiteY1871" fmla="*/ 10089476 h 11747497"/>
              <a:gd name="connsiteX1872" fmla="*/ 4733142 w 4838702"/>
              <a:gd name="connsiteY1872" fmla="*/ 10060856 h 11747497"/>
              <a:gd name="connsiteX1873" fmla="*/ 4735779 w 4838702"/>
              <a:gd name="connsiteY1873" fmla="*/ 9975496 h 11747497"/>
              <a:gd name="connsiteX1874" fmla="*/ 4742399 w 4838702"/>
              <a:gd name="connsiteY1874" fmla="*/ 9932915 h 11747497"/>
              <a:gd name="connsiteX1875" fmla="*/ 4742606 w 4838702"/>
              <a:gd name="connsiteY1875" fmla="*/ 9904495 h 11747497"/>
              <a:gd name="connsiteX1876" fmla="*/ 4745089 w 4838702"/>
              <a:gd name="connsiteY1876" fmla="*/ 9847554 h 11747497"/>
              <a:gd name="connsiteX1877" fmla="*/ 4749486 w 4838702"/>
              <a:gd name="connsiteY1877" fmla="*/ 9819135 h 11747497"/>
              <a:gd name="connsiteX1878" fmla="*/ 4748295 w 4838702"/>
              <a:gd name="connsiteY1878" fmla="*/ 9676735 h 11747497"/>
              <a:gd name="connsiteX1879" fmla="*/ 4748502 w 4838702"/>
              <a:gd name="connsiteY1879" fmla="*/ 9648314 h 11747497"/>
              <a:gd name="connsiteX1880" fmla="*/ 4756933 w 4838702"/>
              <a:gd name="connsiteY1880" fmla="*/ 9648513 h 11747497"/>
              <a:gd name="connsiteX1881" fmla="*/ 4763295 w 4838702"/>
              <a:gd name="connsiteY1881" fmla="*/ 9648713 h 11747497"/>
              <a:gd name="connsiteX1882" fmla="*/ 4759984 w 4838702"/>
              <a:gd name="connsiteY1882" fmla="*/ 9833693 h 11747497"/>
              <a:gd name="connsiteX1883" fmla="*/ 4766035 w 4838702"/>
              <a:gd name="connsiteY1883" fmla="*/ 9876573 h 11747497"/>
              <a:gd name="connsiteX1884" fmla="*/ 4770432 w 4838702"/>
              <a:gd name="connsiteY1884" fmla="*/ 9848253 h 11747497"/>
              <a:gd name="connsiteX1885" fmla="*/ 4774569 w 4838702"/>
              <a:gd name="connsiteY1885" fmla="*/ 9862612 h 11747497"/>
              <a:gd name="connsiteX1886" fmla="*/ 4779897 w 4838702"/>
              <a:gd name="connsiteY1886" fmla="*/ 9691892 h 11747497"/>
              <a:gd name="connsiteX1887" fmla="*/ 4773742 w 4838702"/>
              <a:gd name="connsiteY1887" fmla="*/ 9663272 h 11747497"/>
              <a:gd name="connsiteX1888" fmla="*/ 4778138 w 4838702"/>
              <a:gd name="connsiteY1888" fmla="*/ 9634951 h 11747497"/>
              <a:gd name="connsiteX1889" fmla="*/ 4776379 w 4838702"/>
              <a:gd name="connsiteY1889" fmla="*/ 9578011 h 11747497"/>
              <a:gd name="connsiteX1890" fmla="*/ 4778500 w 4838702"/>
              <a:gd name="connsiteY1890" fmla="*/ 9578111 h 11747497"/>
              <a:gd name="connsiteX1891" fmla="*/ 4779069 w 4838702"/>
              <a:gd name="connsiteY1891" fmla="*/ 9492751 h 11747497"/>
              <a:gd name="connsiteX1892" fmla="*/ 4781448 w 4838702"/>
              <a:gd name="connsiteY1892" fmla="*/ 9450071 h 11747497"/>
              <a:gd name="connsiteX1893" fmla="*/ 4782172 w 4838702"/>
              <a:gd name="connsiteY1893" fmla="*/ 9336189 h 11747497"/>
              <a:gd name="connsiteX1894" fmla="*/ 4778603 w 4838702"/>
              <a:gd name="connsiteY1894" fmla="*/ 9236470 h 11747497"/>
              <a:gd name="connsiteX1895" fmla="*/ 4791378 w 4838702"/>
              <a:gd name="connsiteY1895" fmla="*/ 9222509 h 11747497"/>
              <a:gd name="connsiteX1896" fmla="*/ 4791844 w 4838702"/>
              <a:gd name="connsiteY1896" fmla="*/ 9151310 h 11747497"/>
              <a:gd name="connsiteX1897" fmla="*/ 4779172 w 4838702"/>
              <a:gd name="connsiteY1897" fmla="*/ 9151010 h 11747497"/>
              <a:gd name="connsiteX1898" fmla="*/ 4774310 w 4838702"/>
              <a:gd name="connsiteY1898" fmla="*/ 9250531 h 11747497"/>
              <a:gd name="connsiteX1899" fmla="*/ 4774104 w 4838702"/>
              <a:gd name="connsiteY1899" fmla="*/ 9278950 h 11747497"/>
              <a:gd name="connsiteX1900" fmla="*/ 4771983 w 4838702"/>
              <a:gd name="connsiteY1900" fmla="*/ 9278851 h 11747497"/>
              <a:gd name="connsiteX1901" fmla="*/ 4775655 w 4838702"/>
              <a:gd name="connsiteY1901" fmla="*/ 9364311 h 11747497"/>
              <a:gd name="connsiteX1902" fmla="*/ 4773173 w 4838702"/>
              <a:gd name="connsiteY1902" fmla="*/ 9421152 h 11747497"/>
              <a:gd name="connsiteX1903" fmla="*/ 4747727 w 4838702"/>
              <a:gd name="connsiteY1903" fmla="*/ 9434813 h 11747497"/>
              <a:gd name="connsiteX1904" fmla="*/ 4756106 w 4838702"/>
              <a:gd name="connsiteY1904" fmla="*/ 9449273 h 11747497"/>
              <a:gd name="connsiteX1905" fmla="*/ 4742813 w 4838702"/>
              <a:gd name="connsiteY1905" fmla="*/ 9548594 h 11747497"/>
              <a:gd name="connsiteX1906" fmla="*/ 4739710 w 4838702"/>
              <a:gd name="connsiteY1906" fmla="*/ 9705154 h 11747497"/>
              <a:gd name="connsiteX1907" fmla="*/ 4729521 w 4838702"/>
              <a:gd name="connsiteY1907" fmla="*/ 9648014 h 11747497"/>
              <a:gd name="connsiteX1908" fmla="*/ 4734021 w 4838702"/>
              <a:gd name="connsiteY1908" fmla="*/ 9605434 h 11747497"/>
              <a:gd name="connsiteX1909" fmla="*/ 4732469 w 4838702"/>
              <a:gd name="connsiteY1909" fmla="*/ 9519975 h 11747497"/>
              <a:gd name="connsiteX1910" fmla="*/ 4745244 w 4838702"/>
              <a:gd name="connsiteY1910" fmla="*/ 9506014 h 11747497"/>
              <a:gd name="connsiteX1911" fmla="*/ 4739452 w 4838702"/>
              <a:gd name="connsiteY1911" fmla="*/ 9420454 h 11747497"/>
              <a:gd name="connsiteX1912" fmla="*/ 4728901 w 4838702"/>
              <a:gd name="connsiteY1912" fmla="*/ 9420154 h 11747497"/>
              <a:gd name="connsiteX1913" fmla="*/ 4733296 w 4838702"/>
              <a:gd name="connsiteY1913" fmla="*/ 9391834 h 11747497"/>
              <a:gd name="connsiteX1914" fmla="*/ 4729521 w 4838702"/>
              <a:gd name="connsiteY1914" fmla="*/ 9320633 h 11747497"/>
              <a:gd name="connsiteX1915" fmla="*/ 4731694 w 4838702"/>
              <a:gd name="connsiteY1915" fmla="*/ 9306373 h 11747497"/>
              <a:gd name="connsiteX1916" fmla="*/ 4732055 w 4838702"/>
              <a:gd name="connsiteY1916" fmla="*/ 9249434 h 11747497"/>
              <a:gd name="connsiteX1917" fmla="*/ 4744830 w 4838702"/>
              <a:gd name="connsiteY1917" fmla="*/ 9235573 h 11747497"/>
              <a:gd name="connsiteX1918" fmla="*/ 4744365 w 4838702"/>
              <a:gd name="connsiteY1918" fmla="*/ 9306673 h 11747497"/>
              <a:gd name="connsiteX1919" fmla="*/ 4759053 w 4838702"/>
              <a:gd name="connsiteY1919" fmla="*/ 9321332 h 11747497"/>
              <a:gd name="connsiteX1920" fmla="*/ 4765932 w 4838702"/>
              <a:gd name="connsiteY1920" fmla="*/ 9236071 h 11747497"/>
              <a:gd name="connsiteX1921" fmla="*/ 4772449 w 4838702"/>
              <a:gd name="connsiteY1921" fmla="*/ 9207751 h 11747497"/>
              <a:gd name="connsiteX1922" fmla="*/ 4770535 w 4838702"/>
              <a:gd name="connsiteY1922" fmla="*/ 9179231 h 11747497"/>
              <a:gd name="connsiteX1923" fmla="*/ 4757967 w 4838702"/>
              <a:gd name="connsiteY1923" fmla="*/ 9164673 h 11747497"/>
              <a:gd name="connsiteX1924" fmla="*/ 4745502 w 4838702"/>
              <a:gd name="connsiteY1924" fmla="*/ 9135853 h 11747497"/>
              <a:gd name="connsiteX1925" fmla="*/ 4734745 w 4838702"/>
              <a:gd name="connsiteY1925" fmla="*/ 9164074 h 11747497"/>
              <a:gd name="connsiteX1926" fmla="*/ 4741158 w 4838702"/>
              <a:gd name="connsiteY1926" fmla="*/ 9150014 h 11747497"/>
              <a:gd name="connsiteX1927" fmla="*/ 4734900 w 4838702"/>
              <a:gd name="connsiteY1927" fmla="*/ 9135653 h 11747497"/>
              <a:gd name="connsiteX1928" fmla="*/ 4752071 w 4838702"/>
              <a:gd name="connsiteY1928" fmla="*/ 9093372 h 11747497"/>
              <a:gd name="connsiteX1929" fmla="*/ 4737279 w 4838702"/>
              <a:gd name="connsiteY1929" fmla="*/ 9092973 h 11747497"/>
              <a:gd name="connsiteX1930" fmla="*/ 4733348 w 4838702"/>
              <a:gd name="connsiteY1930" fmla="*/ 9050193 h 11747497"/>
              <a:gd name="connsiteX1931" fmla="*/ 4737589 w 4838702"/>
              <a:gd name="connsiteY1931" fmla="*/ 9050293 h 11747497"/>
              <a:gd name="connsiteX1932" fmla="*/ 4740072 w 4838702"/>
              <a:gd name="connsiteY1932" fmla="*/ 8993452 h 11747497"/>
              <a:gd name="connsiteX1933" fmla="*/ 4744572 w 4838702"/>
              <a:gd name="connsiteY1933" fmla="*/ 8950872 h 11747497"/>
              <a:gd name="connsiteX1934" fmla="*/ 4734176 w 4838702"/>
              <a:gd name="connsiteY1934" fmla="*/ 8922153 h 11747497"/>
              <a:gd name="connsiteX1935" fmla="*/ 4737020 w 4838702"/>
              <a:gd name="connsiteY1935" fmla="*/ 8808373 h 11747497"/>
              <a:gd name="connsiteX1936" fmla="*/ 4743537 w 4838702"/>
              <a:gd name="connsiteY1936" fmla="*/ 8780053 h 11747497"/>
              <a:gd name="connsiteX1937" fmla="*/ 4739296 w 4838702"/>
              <a:gd name="connsiteY1937" fmla="*/ 8779952 h 11747497"/>
              <a:gd name="connsiteX1938" fmla="*/ 4739555 w 4838702"/>
              <a:gd name="connsiteY1938" fmla="*/ 8737271 h 11747497"/>
              <a:gd name="connsiteX1939" fmla="*/ 4737796 w 4838702"/>
              <a:gd name="connsiteY1939" fmla="*/ 8680232 h 11747497"/>
              <a:gd name="connsiteX1940" fmla="*/ 4740072 w 4838702"/>
              <a:gd name="connsiteY1940" fmla="*/ 8651811 h 11747497"/>
              <a:gd name="connsiteX1941" fmla="*/ 4744365 w 4838702"/>
              <a:gd name="connsiteY1941" fmla="*/ 8637751 h 11747497"/>
              <a:gd name="connsiteX1942" fmla="*/ 4740330 w 4838702"/>
              <a:gd name="connsiteY1942" fmla="*/ 8609132 h 11747497"/>
              <a:gd name="connsiteX1943" fmla="*/ 4740537 w 4838702"/>
              <a:gd name="connsiteY1943" fmla="*/ 8580612 h 11747497"/>
              <a:gd name="connsiteX1944" fmla="*/ 4738417 w 4838702"/>
              <a:gd name="connsiteY1944" fmla="*/ 8580512 h 11747497"/>
              <a:gd name="connsiteX1945" fmla="*/ 4737020 w 4838702"/>
              <a:gd name="connsiteY1945" fmla="*/ 8466632 h 11747497"/>
              <a:gd name="connsiteX1946" fmla="*/ 4738934 w 4838702"/>
              <a:gd name="connsiteY1946" fmla="*/ 8495152 h 11747497"/>
              <a:gd name="connsiteX1947" fmla="*/ 4745451 w 4838702"/>
              <a:gd name="connsiteY1947" fmla="*/ 8466831 h 11747497"/>
              <a:gd name="connsiteX1948" fmla="*/ 4745554 w 4838702"/>
              <a:gd name="connsiteY1948" fmla="*/ 8452571 h 11747497"/>
              <a:gd name="connsiteX1949" fmla="*/ 4756001 w 4838702"/>
              <a:gd name="connsiteY1949" fmla="*/ 8467031 h 11747497"/>
              <a:gd name="connsiteX1950" fmla="*/ 4756570 w 4838702"/>
              <a:gd name="connsiteY1950" fmla="*/ 8381670 h 11747497"/>
              <a:gd name="connsiteX1951" fmla="*/ 4758794 w 4838702"/>
              <a:gd name="connsiteY1951" fmla="*/ 8367510 h 11747497"/>
              <a:gd name="connsiteX1952" fmla="*/ 4759053 w 4838702"/>
              <a:gd name="connsiteY1952" fmla="*/ 8324829 h 11747497"/>
              <a:gd name="connsiteX1953" fmla="*/ 4759519 w 4838702"/>
              <a:gd name="connsiteY1953" fmla="*/ 8253629 h 11747497"/>
              <a:gd name="connsiteX1954" fmla="*/ 4755485 w 4838702"/>
              <a:gd name="connsiteY1954" fmla="*/ 8225010 h 11747497"/>
              <a:gd name="connsiteX1955" fmla="*/ 4747519 w 4838702"/>
              <a:gd name="connsiteY1955" fmla="*/ 8153610 h 11747497"/>
              <a:gd name="connsiteX1956" fmla="*/ 4748347 w 4838702"/>
              <a:gd name="connsiteY1956" fmla="*/ 8025470 h 11747497"/>
              <a:gd name="connsiteX1957" fmla="*/ 4750209 w 4838702"/>
              <a:gd name="connsiteY1957" fmla="*/ 8068250 h 11747497"/>
              <a:gd name="connsiteX1958" fmla="*/ 4756829 w 4838702"/>
              <a:gd name="connsiteY1958" fmla="*/ 8025670 h 11747497"/>
              <a:gd name="connsiteX1959" fmla="*/ 4761328 w 4838702"/>
              <a:gd name="connsiteY1959" fmla="*/ 7983090 h 11747497"/>
              <a:gd name="connsiteX1960" fmla="*/ 4752899 w 4838702"/>
              <a:gd name="connsiteY1960" fmla="*/ 7982890 h 11747497"/>
              <a:gd name="connsiteX1961" fmla="*/ 4751089 w 4838702"/>
              <a:gd name="connsiteY1961" fmla="*/ 7940110 h 11747497"/>
              <a:gd name="connsiteX1962" fmla="*/ 4755381 w 4838702"/>
              <a:gd name="connsiteY1962" fmla="*/ 7926050 h 11747497"/>
              <a:gd name="connsiteX1963" fmla="*/ 4751450 w 4838702"/>
              <a:gd name="connsiteY1963" fmla="*/ 7883270 h 11747497"/>
              <a:gd name="connsiteX1964" fmla="*/ 4753623 w 4838702"/>
              <a:gd name="connsiteY1964" fmla="*/ 7869109 h 11747497"/>
              <a:gd name="connsiteX1965" fmla="*/ 4751605 w 4838702"/>
              <a:gd name="connsiteY1965" fmla="*/ 7854750 h 11747497"/>
              <a:gd name="connsiteX1966" fmla="*/ 4754243 w 4838702"/>
              <a:gd name="connsiteY1966" fmla="*/ 7769389 h 11747497"/>
              <a:gd name="connsiteX1967" fmla="*/ 4747933 w 4838702"/>
              <a:gd name="connsiteY1967" fmla="*/ 7769191 h 11747497"/>
              <a:gd name="connsiteX1968" fmla="*/ 4750674 w 4838702"/>
              <a:gd name="connsiteY1968" fmla="*/ 7669570 h 11747497"/>
              <a:gd name="connsiteX1969" fmla="*/ 4756933 w 4838702"/>
              <a:gd name="connsiteY1969" fmla="*/ 7684029 h 11747497"/>
              <a:gd name="connsiteX1970" fmla="*/ 4761795 w 4838702"/>
              <a:gd name="connsiteY1970" fmla="*/ 7584508 h 11747497"/>
              <a:gd name="connsiteX1971" fmla="*/ 4757657 w 4838702"/>
              <a:gd name="connsiteY1971" fmla="*/ 7570149 h 11747497"/>
              <a:gd name="connsiteX1972" fmla="*/ 4757915 w 4838702"/>
              <a:gd name="connsiteY1972" fmla="*/ 7527469 h 11747497"/>
              <a:gd name="connsiteX1973" fmla="*/ 4753881 w 4838702"/>
              <a:gd name="connsiteY1973" fmla="*/ 7498948 h 11747497"/>
              <a:gd name="connsiteX1974" fmla="*/ 4758278 w 4838702"/>
              <a:gd name="connsiteY1974" fmla="*/ 7470628 h 11747497"/>
              <a:gd name="connsiteX1975" fmla="*/ 4752123 w 4838702"/>
              <a:gd name="connsiteY1975" fmla="*/ 7442009 h 11747497"/>
              <a:gd name="connsiteX1976" fmla="*/ 4760759 w 4838702"/>
              <a:gd name="connsiteY1976" fmla="*/ 7413788 h 11747497"/>
              <a:gd name="connsiteX1977" fmla="*/ 4752484 w 4838702"/>
              <a:gd name="connsiteY1977" fmla="*/ 7385069 h 11747497"/>
              <a:gd name="connsiteX1978" fmla="*/ 4761122 w 4838702"/>
              <a:gd name="connsiteY1978" fmla="*/ 7356847 h 11747497"/>
              <a:gd name="connsiteX1979" fmla="*/ 4755071 w 4838702"/>
              <a:gd name="connsiteY1979" fmla="*/ 7313967 h 11747497"/>
              <a:gd name="connsiteX1980" fmla="*/ 4759673 w 4838702"/>
              <a:gd name="connsiteY1980" fmla="*/ 7257127 h 11747497"/>
              <a:gd name="connsiteX1981" fmla="*/ 4755743 w 4838702"/>
              <a:gd name="connsiteY1981" fmla="*/ 7214347 h 11747497"/>
              <a:gd name="connsiteX1982" fmla="*/ 4768776 w 4838702"/>
              <a:gd name="connsiteY1982" fmla="*/ 7157707 h 11747497"/>
              <a:gd name="connsiteX1983" fmla="*/ 4778965 w 4838702"/>
              <a:gd name="connsiteY1983" fmla="*/ 7214847 h 11747497"/>
              <a:gd name="connsiteX1984" fmla="*/ 4784086 w 4838702"/>
              <a:gd name="connsiteY1984" fmla="*/ 7072645 h 11747497"/>
              <a:gd name="connsiteX1985" fmla="*/ 4769138 w 4838702"/>
              <a:gd name="connsiteY1985" fmla="*/ 7100766 h 11747497"/>
              <a:gd name="connsiteX1986" fmla="*/ 4765208 w 4838702"/>
              <a:gd name="connsiteY1986" fmla="*/ 7057986 h 11747497"/>
              <a:gd name="connsiteX1987" fmla="*/ 4752433 w 4838702"/>
              <a:gd name="connsiteY1987" fmla="*/ 7071947 h 11747497"/>
              <a:gd name="connsiteX1988" fmla="*/ 4752899 w 4838702"/>
              <a:gd name="connsiteY1988" fmla="*/ 7000848 h 11747497"/>
              <a:gd name="connsiteX1989" fmla="*/ 4763346 w 4838702"/>
              <a:gd name="connsiteY1989" fmla="*/ 7015307 h 11747497"/>
              <a:gd name="connsiteX1990" fmla="*/ 4755381 w 4838702"/>
              <a:gd name="connsiteY1990" fmla="*/ 6943907 h 11747497"/>
              <a:gd name="connsiteX1991" fmla="*/ 4761795 w 4838702"/>
              <a:gd name="connsiteY1991" fmla="*/ 6929846 h 11747497"/>
              <a:gd name="connsiteX1992" fmla="*/ 4772241 w 4838702"/>
              <a:gd name="connsiteY1992" fmla="*/ 6944405 h 11747497"/>
              <a:gd name="connsiteX1993" fmla="*/ 4772810 w 4838702"/>
              <a:gd name="connsiteY1993" fmla="*/ 6859045 h 11747497"/>
              <a:gd name="connsiteX1994" fmla="*/ 4767018 w 4838702"/>
              <a:gd name="connsiteY1994" fmla="*/ 6773484 h 11747497"/>
              <a:gd name="connsiteX1995" fmla="*/ 4767588 w 4838702"/>
              <a:gd name="connsiteY1995" fmla="*/ 6688025 h 11747497"/>
              <a:gd name="connsiteX1996" fmla="*/ 4763553 w 4838702"/>
              <a:gd name="connsiteY1996" fmla="*/ 6659406 h 11747497"/>
              <a:gd name="connsiteX1997" fmla="*/ 4759415 w 4838702"/>
              <a:gd name="connsiteY1997" fmla="*/ 6645145 h 11747497"/>
              <a:gd name="connsiteX1998" fmla="*/ 4763915 w 4838702"/>
              <a:gd name="connsiteY1998" fmla="*/ 6602566 h 11747497"/>
              <a:gd name="connsiteX1999" fmla="*/ 4768518 w 4838702"/>
              <a:gd name="connsiteY1999" fmla="*/ 6545725 h 11747497"/>
              <a:gd name="connsiteX2000" fmla="*/ 4766863 w 4838702"/>
              <a:gd name="connsiteY2000" fmla="*/ 6474525 h 11747497"/>
              <a:gd name="connsiteX2001" fmla="*/ 4756208 w 4838702"/>
              <a:gd name="connsiteY2001" fmla="*/ 6488486 h 11747497"/>
              <a:gd name="connsiteX2002" fmla="*/ 4759260 w 4838702"/>
              <a:gd name="connsiteY2002" fmla="*/ 6346185 h 11747497"/>
              <a:gd name="connsiteX2003" fmla="*/ 4763656 w 4838702"/>
              <a:gd name="connsiteY2003" fmla="*/ 6317766 h 11747497"/>
              <a:gd name="connsiteX2004" fmla="*/ 4757812 w 4838702"/>
              <a:gd name="connsiteY2004" fmla="*/ 6246466 h 11747497"/>
              <a:gd name="connsiteX2005" fmla="*/ 4760294 w 4838702"/>
              <a:gd name="connsiteY2005" fmla="*/ 6189624 h 11747497"/>
              <a:gd name="connsiteX2006" fmla="*/ 4765052 w 4838702"/>
              <a:gd name="connsiteY2006" fmla="*/ 6104365 h 11747497"/>
              <a:gd name="connsiteX2007" fmla="*/ 4763036 w 4838702"/>
              <a:gd name="connsiteY2007" fmla="*/ 6090105 h 11747497"/>
              <a:gd name="connsiteX2008" fmla="*/ 4765156 w 4838702"/>
              <a:gd name="connsiteY2008" fmla="*/ 6090204 h 11747497"/>
              <a:gd name="connsiteX2009" fmla="*/ 4765363 w 4838702"/>
              <a:gd name="connsiteY2009" fmla="*/ 6061783 h 11747497"/>
              <a:gd name="connsiteX2010" fmla="*/ 4763346 w 4838702"/>
              <a:gd name="connsiteY2010" fmla="*/ 6047523 h 11747497"/>
              <a:gd name="connsiteX2011" fmla="*/ 4772345 w 4838702"/>
              <a:gd name="connsiteY2011" fmla="*/ 5962363 h 11747497"/>
              <a:gd name="connsiteX2012" fmla="*/ 4768208 w 4838702"/>
              <a:gd name="connsiteY2012" fmla="*/ 5948004 h 11747497"/>
              <a:gd name="connsiteX2013" fmla="*/ 4759933 w 4838702"/>
              <a:gd name="connsiteY2013" fmla="*/ 5919283 h 11747497"/>
              <a:gd name="connsiteX2014" fmla="*/ 4762570 w 4838702"/>
              <a:gd name="connsiteY2014" fmla="*/ 5833923 h 11747497"/>
              <a:gd name="connsiteX2015" fmla="*/ 4768828 w 4838702"/>
              <a:gd name="connsiteY2015" fmla="*/ 5848283 h 11747497"/>
              <a:gd name="connsiteX2016" fmla="*/ 4773535 w 4838702"/>
              <a:gd name="connsiteY2016" fmla="*/ 5777182 h 11747497"/>
              <a:gd name="connsiteX2017" fmla="*/ 4766449 w 4838702"/>
              <a:gd name="connsiteY2017" fmla="*/ 5563483 h 11747497"/>
              <a:gd name="connsiteX2018" fmla="*/ 4768259 w 4838702"/>
              <a:gd name="connsiteY2018" fmla="*/ 5606262 h 11747497"/>
              <a:gd name="connsiteX2019" fmla="*/ 4768828 w 4838702"/>
              <a:gd name="connsiteY2019" fmla="*/ 5520902 h 11747497"/>
              <a:gd name="connsiteX2020" fmla="*/ 4765001 w 4838702"/>
              <a:gd name="connsiteY2020" fmla="*/ 5463863 h 11747497"/>
              <a:gd name="connsiteX2021" fmla="*/ 4766914 w 4838702"/>
              <a:gd name="connsiteY2021" fmla="*/ 5492383 h 11747497"/>
              <a:gd name="connsiteX2022" fmla="*/ 4765467 w 4838702"/>
              <a:gd name="connsiteY2022" fmla="*/ 5392662 h 11747497"/>
              <a:gd name="connsiteX2023" fmla="*/ 4769863 w 4838702"/>
              <a:gd name="connsiteY2023" fmla="*/ 5364342 h 11747497"/>
              <a:gd name="connsiteX2024" fmla="*/ 4763915 w 4838702"/>
              <a:gd name="connsiteY2024" fmla="*/ 5307202 h 11747497"/>
              <a:gd name="connsiteX2025" fmla="*/ 4762518 w 4838702"/>
              <a:gd name="connsiteY2025" fmla="*/ 5193322 h 11747497"/>
              <a:gd name="connsiteX2026" fmla="*/ 4768931 w 4838702"/>
              <a:gd name="connsiteY2026" fmla="*/ 5179261 h 11747497"/>
              <a:gd name="connsiteX2027" fmla="*/ 4763346 w 4838702"/>
              <a:gd name="connsiteY2027" fmla="*/ 5065281 h 11747497"/>
              <a:gd name="connsiteX2028" fmla="*/ 4765105 w 4838702"/>
              <a:gd name="connsiteY2028" fmla="*/ 5122222 h 11747497"/>
              <a:gd name="connsiteX2029" fmla="*/ 4770070 w 4838702"/>
              <a:gd name="connsiteY2029" fmla="*/ 5008441 h 11747497"/>
              <a:gd name="connsiteX2030" fmla="*/ 4767690 w 4838702"/>
              <a:gd name="connsiteY2030" fmla="*/ 5051121 h 11747497"/>
              <a:gd name="connsiteX2031" fmla="*/ 4762208 w 4838702"/>
              <a:gd name="connsiteY2031" fmla="*/ 4922880 h 11747497"/>
              <a:gd name="connsiteX2032" fmla="*/ 4770845 w 4838702"/>
              <a:gd name="connsiteY2032" fmla="*/ 4894660 h 11747497"/>
              <a:gd name="connsiteX2033" fmla="*/ 4764587 w 4838702"/>
              <a:gd name="connsiteY2033" fmla="*/ 4880201 h 11747497"/>
              <a:gd name="connsiteX2034" fmla="*/ 4771207 w 4838702"/>
              <a:gd name="connsiteY2034" fmla="*/ 4837621 h 11747497"/>
              <a:gd name="connsiteX2035" fmla="*/ 4770018 w 4838702"/>
              <a:gd name="connsiteY2035" fmla="*/ 4695220 h 11747497"/>
              <a:gd name="connsiteX2036" fmla="*/ 4763759 w 4838702"/>
              <a:gd name="connsiteY2036" fmla="*/ 4680861 h 11747497"/>
              <a:gd name="connsiteX2037" fmla="*/ 4770276 w 4838702"/>
              <a:gd name="connsiteY2037" fmla="*/ 4652540 h 11747497"/>
              <a:gd name="connsiteX2038" fmla="*/ 4775397 w 4838702"/>
              <a:gd name="connsiteY2038" fmla="*/ 4510339 h 11747497"/>
              <a:gd name="connsiteX2039" fmla="*/ 4769138 w 4838702"/>
              <a:gd name="connsiteY2039" fmla="*/ 4495980 h 11747497"/>
              <a:gd name="connsiteX2040" fmla="*/ 4771880 w 4838702"/>
              <a:gd name="connsiteY2040" fmla="*/ 4396359 h 11747497"/>
              <a:gd name="connsiteX2041" fmla="*/ 4769863 w 4838702"/>
              <a:gd name="connsiteY2041" fmla="*/ 4382000 h 11747497"/>
              <a:gd name="connsiteX2042" fmla="*/ 4772087 w 4838702"/>
              <a:gd name="connsiteY2042" fmla="*/ 4367839 h 11747497"/>
              <a:gd name="connsiteX2043" fmla="*/ 4768052 w 4838702"/>
              <a:gd name="connsiteY2043" fmla="*/ 4339220 h 11747497"/>
              <a:gd name="connsiteX2044" fmla="*/ 4772655 w 4838702"/>
              <a:gd name="connsiteY2044" fmla="*/ 4282380 h 11747497"/>
              <a:gd name="connsiteX2045" fmla="*/ 4766708 w 4838702"/>
              <a:gd name="connsiteY2045" fmla="*/ 4225240 h 11747497"/>
              <a:gd name="connsiteX2046" fmla="*/ 4770742 w 4838702"/>
              <a:gd name="connsiteY2046" fmla="*/ 4253860 h 11747497"/>
              <a:gd name="connsiteX2047" fmla="*/ 4771207 w 4838702"/>
              <a:gd name="connsiteY2047" fmla="*/ 4182660 h 11747497"/>
              <a:gd name="connsiteX2048" fmla="*/ 4777827 w 4838702"/>
              <a:gd name="connsiteY2048" fmla="*/ 4140079 h 11747497"/>
              <a:gd name="connsiteX2049" fmla="*/ 4773898 w 4838702"/>
              <a:gd name="connsiteY2049" fmla="*/ 4097298 h 11747497"/>
              <a:gd name="connsiteX2050" fmla="*/ 4776638 w 4838702"/>
              <a:gd name="connsiteY2050" fmla="*/ 3997678 h 11747497"/>
              <a:gd name="connsiteX2051" fmla="*/ 4770380 w 4838702"/>
              <a:gd name="connsiteY2051" fmla="*/ 3983319 h 11747497"/>
              <a:gd name="connsiteX2052" fmla="*/ 4775138 w 4838702"/>
              <a:gd name="connsiteY2052" fmla="*/ 3898058 h 11747497"/>
              <a:gd name="connsiteX2053" fmla="*/ 4773121 w 4838702"/>
              <a:gd name="connsiteY2053" fmla="*/ 3883798 h 11747497"/>
              <a:gd name="connsiteX2054" fmla="*/ 4775345 w 4838702"/>
              <a:gd name="connsiteY2054" fmla="*/ 3869638 h 11747497"/>
              <a:gd name="connsiteX2055" fmla="*/ 4776276 w 4838702"/>
              <a:gd name="connsiteY2055" fmla="*/ 3727337 h 11747497"/>
              <a:gd name="connsiteX2056" fmla="*/ 4772397 w 4838702"/>
              <a:gd name="connsiteY2056" fmla="*/ 3670298 h 11747497"/>
              <a:gd name="connsiteX2057" fmla="*/ 4776896 w 4838702"/>
              <a:gd name="connsiteY2057" fmla="*/ 3627717 h 11747497"/>
              <a:gd name="connsiteX2058" fmla="*/ 4772966 w 4838702"/>
              <a:gd name="connsiteY2058" fmla="*/ 3584837 h 11747497"/>
              <a:gd name="connsiteX2059" fmla="*/ 4777259 w 4838702"/>
              <a:gd name="connsiteY2059" fmla="*/ 3570677 h 11747497"/>
              <a:gd name="connsiteX2060" fmla="*/ 4773224 w 4838702"/>
              <a:gd name="connsiteY2060" fmla="*/ 3542158 h 11747497"/>
              <a:gd name="connsiteX2061" fmla="*/ 4779586 w 4838702"/>
              <a:gd name="connsiteY2061" fmla="*/ 3214876 h 11747497"/>
              <a:gd name="connsiteX2062" fmla="*/ 4775552 w 4838702"/>
              <a:gd name="connsiteY2062" fmla="*/ 3186356 h 11747497"/>
              <a:gd name="connsiteX2063" fmla="*/ 4778603 w 4838702"/>
              <a:gd name="connsiteY2063" fmla="*/ 3044055 h 11747497"/>
              <a:gd name="connsiteX2064" fmla="*/ 4777155 w 4838702"/>
              <a:gd name="connsiteY2064" fmla="*/ 2944335 h 11747497"/>
              <a:gd name="connsiteX2065" fmla="*/ 4779430 w 4838702"/>
              <a:gd name="connsiteY2065" fmla="*/ 2915916 h 11747497"/>
              <a:gd name="connsiteX2066" fmla="*/ 4775397 w 4838702"/>
              <a:gd name="connsiteY2066" fmla="*/ 2887396 h 11747497"/>
              <a:gd name="connsiteX2067" fmla="*/ 4777982 w 4838702"/>
              <a:gd name="connsiteY2067" fmla="*/ 2816296 h 11747497"/>
              <a:gd name="connsiteX2068" fmla="*/ 4776225 w 4838702"/>
              <a:gd name="connsiteY2068" fmla="*/ 2759355 h 11747497"/>
              <a:gd name="connsiteX2069" fmla="*/ 4778707 w 4838702"/>
              <a:gd name="connsiteY2069" fmla="*/ 2702515 h 11747497"/>
              <a:gd name="connsiteX2070" fmla="*/ 4781397 w 4838702"/>
              <a:gd name="connsiteY2070" fmla="*/ 2617155 h 11747497"/>
              <a:gd name="connsiteX2071" fmla="*/ 4775448 w 4838702"/>
              <a:gd name="connsiteY2071" fmla="*/ 2560015 h 11747497"/>
              <a:gd name="connsiteX2072" fmla="*/ 4777724 w 4838702"/>
              <a:gd name="connsiteY2072" fmla="*/ 2531594 h 11747497"/>
              <a:gd name="connsiteX2073" fmla="*/ 4775811 w 4838702"/>
              <a:gd name="connsiteY2073" fmla="*/ 2503074 h 11747497"/>
              <a:gd name="connsiteX2074" fmla="*/ 4778190 w 4838702"/>
              <a:gd name="connsiteY2074" fmla="*/ 2460395 h 11747497"/>
              <a:gd name="connsiteX2075" fmla="*/ 4781034 w 4838702"/>
              <a:gd name="connsiteY2075" fmla="*/ 2346613 h 11747497"/>
              <a:gd name="connsiteX2076" fmla="*/ 4777155 w 4838702"/>
              <a:gd name="connsiteY2076" fmla="*/ 2289573 h 11747497"/>
              <a:gd name="connsiteX2077" fmla="*/ 4778551 w 4838702"/>
              <a:gd name="connsiteY2077" fmla="*/ 2076073 h 11747497"/>
              <a:gd name="connsiteX2078" fmla="*/ 4777000 w 4838702"/>
              <a:gd name="connsiteY2078" fmla="*/ 1990613 h 11747497"/>
              <a:gd name="connsiteX2079" fmla="*/ 4777466 w 4838702"/>
              <a:gd name="connsiteY2079" fmla="*/ 1919413 h 11747497"/>
              <a:gd name="connsiteX2080" fmla="*/ 4775707 w 4838702"/>
              <a:gd name="connsiteY2080" fmla="*/ 1862473 h 11747497"/>
              <a:gd name="connsiteX2081" fmla="*/ 4780000 w 4838702"/>
              <a:gd name="connsiteY2081" fmla="*/ 1848313 h 11747497"/>
              <a:gd name="connsiteX2082" fmla="*/ 4775862 w 4838702"/>
              <a:gd name="connsiteY2082" fmla="*/ 1833953 h 11747497"/>
              <a:gd name="connsiteX2083" fmla="*/ 4778241 w 4838702"/>
              <a:gd name="connsiteY2083" fmla="*/ 1791373 h 11747497"/>
              <a:gd name="connsiteX2084" fmla="*/ 4776225 w 4838702"/>
              <a:gd name="connsiteY2084" fmla="*/ 1777013 h 11747497"/>
              <a:gd name="connsiteX2085" fmla="*/ 4778448 w 4838702"/>
              <a:gd name="connsiteY2085" fmla="*/ 1762852 h 11747497"/>
              <a:gd name="connsiteX2086" fmla="*/ 4777155 w 4838702"/>
              <a:gd name="connsiteY2086" fmla="*/ 1634712 h 11747497"/>
              <a:gd name="connsiteX2087" fmla="*/ 4772397 w 4838702"/>
              <a:gd name="connsiteY2087" fmla="*/ 1392592 h 11747497"/>
              <a:gd name="connsiteX2088" fmla="*/ 4771001 w 4838702"/>
              <a:gd name="connsiteY2088" fmla="*/ 1278711 h 11747497"/>
              <a:gd name="connsiteX2089" fmla="*/ 4771362 w 4838702"/>
              <a:gd name="connsiteY2089" fmla="*/ 1221772 h 11747497"/>
              <a:gd name="connsiteX2090" fmla="*/ 4771725 w 4838702"/>
              <a:gd name="connsiteY2090" fmla="*/ 1164831 h 11747497"/>
              <a:gd name="connsiteX2091" fmla="*/ 4768052 w 4838702"/>
              <a:gd name="connsiteY2091" fmla="*/ 1079272 h 11747497"/>
              <a:gd name="connsiteX2092" fmla="*/ 4766760 w 4838702"/>
              <a:gd name="connsiteY2092" fmla="*/ 951132 h 11747497"/>
              <a:gd name="connsiteX2093" fmla="*/ 4766967 w 4838702"/>
              <a:gd name="connsiteY2093" fmla="*/ 922711 h 11747497"/>
              <a:gd name="connsiteX2094" fmla="*/ 4765208 w 4838702"/>
              <a:gd name="connsiteY2094" fmla="*/ 865771 h 11747497"/>
              <a:gd name="connsiteX2095" fmla="*/ 4760139 w 4838702"/>
              <a:gd name="connsiteY2095" fmla="*/ 666331 h 11747497"/>
              <a:gd name="connsiteX2096" fmla="*/ 4760398 w 4838702"/>
              <a:gd name="connsiteY2096" fmla="*/ 623651 h 11747497"/>
              <a:gd name="connsiteX2097" fmla="*/ 4758381 w 4838702"/>
              <a:gd name="connsiteY2097" fmla="*/ 609391 h 11747497"/>
              <a:gd name="connsiteX2098" fmla="*/ 4760863 w 4838702"/>
              <a:gd name="connsiteY2098" fmla="*/ 552551 h 11747497"/>
              <a:gd name="connsiteX2099" fmla="*/ 4757088 w 4838702"/>
              <a:gd name="connsiteY2099" fmla="*/ 481251 h 11747497"/>
              <a:gd name="connsiteX2100" fmla="*/ 4753778 w 4838702"/>
              <a:gd name="connsiteY2100" fmla="*/ 338850 h 11747497"/>
              <a:gd name="connsiteX2101" fmla="*/ 4743382 w 4838702"/>
              <a:gd name="connsiteY2101" fmla="*/ 310131 h 11747497"/>
              <a:gd name="connsiteX2102" fmla="*/ 4738779 w 4838702"/>
              <a:gd name="connsiteY2102" fmla="*/ 249103 h 11747497"/>
              <a:gd name="connsiteX2103" fmla="*/ 3984963 w 4838702"/>
              <a:gd name="connsiteY2103" fmla="*/ 249103 h 11747497"/>
              <a:gd name="connsiteX2104" fmla="*/ 3949741 w 4838702"/>
              <a:gd name="connsiteY2104" fmla="*/ 249103 h 11747497"/>
              <a:gd name="connsiteX2105" fmla="*/ 3910435 w 4838702"/>
              <a:gd name="connsiteY2105" fmla="*/ 249103 h 11747497"/>
              <a:gd name="connsiteX2106" fmla="*/ 3917106 w 4838702"/>
              <a:gd name="connsiteY2106" fmla="*/ 243718 h 11747497"/>
              <a:gd name="connsiteX2107" fmla="*/ 3811546 w 4838702"/>
              <a:gd name="connsiteY2107" fmla="*/ 237136 h 11747497"/>
              <a:gd name="connsiteX2108" fmla="*/ 3802392 w 4838702"/>
              <a:gd name="connsiteY2108" fmla="*/ 224073 h 11747497"/>
              <a:gd name="connsiteX2109" fmla="*/ 3765670 w 4838702"/>
              <a:gd name="connsiteY2109" fmla="*/ 230655 h 11747497"/>
              <a:gd name="connsiteX2110" fmla="*/ 3660110 w 4838702"/>
              <a:gd name="connsiteY2110" fmla="*/ 230655 h 11747497"/>
              <a:gd name="connsiteX2111" fmla="*/ 3655559 w 4838702"/>
              <a:gd name="connsiteY2111" fmla="*/ 230655 h 11747497"/>
              <a:gd name="connsiteX2112" fmla="*/ 3646353 w 4838702"/>
              <a:gd name="connsiteY2112" fmla="*/ 230655 h 11747497"/>
              <a:gd name="connsiteX2113" fmla="*/ 3623389 w 4838702"/>
              <a:gd name="connsiteY2113" fmla="*/ 230655 h 11747497"/>
              <a:gd name="connsiteX2114" fmla="*/ 3618786 w 4838702"/>
              <a:gd name="connsiteY2114" fmla="*/ 224073 h 11747497"/>
              <a:gd name="connsiteX2115" fmla="*/ 3600426 w 4838702"/>
              <a:gd name="connsiteY2115" fmla="*/ 237136 h 11747497"/>
              <a:gd name="connsiteX2116" fmla="*/ 3641698 w 4838702"/>
              <a:gd name="connsiteY2116" fmla="*/ 243718 h 11747497"/>
              <a:gd name="connsiteX2117" fmla="*/ 3660058 w 4838702"/>
              <a:gd name="connsiteY2117" fmla="*/ 243718 h 11747497"/>
              <a:gd name="connsiteX2118" fmla="*/ 3664662 w 4838702"/>
              <a:gd name="connsiteY2118" fmla="*/ 237136 h 11747497"/>
              <a:gd name="connsiteX2119" fmla="*/ 3678419 w 4838702"/>
              <a:gd name="connsiteY2119" fmla="*/ 243718 h 11747497"/>
              <a:gd name="connsiteX2120" fmla="*/ 3710537 w 4838702"/>
              <a:gd name="connsiteY2120" fmla="*/ 243718 h 11747497"/>
              <a:gd name="connsiteX2121" fmla="*/ 3715089 w 4838702"/>
              <a:gd name="connsiteY2121" fmla="*/ 249103 h 11747497"/>
              <a:gd name="connsiteX2122" fmla="*/ 3572238 w 4838702"/>
              <a:gd name="connsiteY2122" fmla="*/ 249103 h 11747497"/>
              <a:gd name="connsiteX2123" fmla="*/ 3595822 w 4838702"/>
              <a:gd name="connsiteY2123" fmla="*/ 243718 h 11747497"/>
              <a:gd name="connsiteX2124" fmla="*/ 3572859 w 4838702"/>
              <a:gd name="connsiteY2124" fmla="*/ 217491 h 11747497"/>
              <a:gd name="connsiteX2125" fmla="*/ 3568256 w 4838702"/>
              <a:gd name="connsiteY2125" fmla="*/ 224073 h 11747497"/>
              <a:gd name="connsiteX2126" fmla="*/ 3563653 w 4838702"/>
              <a:gd name="connsiteY2126" fmla="*/ 217491 h 11747497"/>
              <a:gd name="connsiteX2127" fmla="*/ 3536138 w 4838702"/>
              <a:gd name="connsiteY2127" fmla="*/ 224073 h 11747497"/>
              <a:gd name="connsiteX2128" fmla="*/ 3504020 w 4838702"/>
              <a:gd name="connsiteY2128" fmla="*/ 211009 h 11747497"/>
              <a:gd name="connsiteX2129" fmla="*/ 3494866 w 4838702"/>
              <a:gd name="connsiteY2129" fmla="*/ 224073 h 11747497"/>
              <a:gd name="connsiteX2130" fmla="*/ 3471902 w 4838702"/>
              <a:gd name="connsiteY2130" fmla="*/ 224073 h 11747497"/>
              <a:gd name="connsiteX2131" fmla="*/ 3467299 w 4838702"/>
              <a:gd name="connsiteY2131" fmla="*/ 230655 h 11747497"/>
              <a:gd name="connsiteX2132" fmla="*/ 3448938 w 4838702"/>
              <a:gd name="connsiteY2132" fmla="*/ 230655 h 11747497"/>
              <a:gd name="connsiteX2133" fmla="*/ 3421372 w 4838702"/>
              <a:gd name="connsiteY2133" fmla="*/ 230655 h 11747497"/>
              <a:gd name="connsiteX2134" fmla="*/ 3403011 w 4838702"/>
              <a:gd name="connsiteY2134" fmla="*/ 224073 h 11747497"/>
              <a:gd name="connsiteX2135" fmla="*/ 3398408 w 4838702"/>
              <a:gd name="connsiteY2135" fmla="*/ 230655 h 11747497"/>
              <a:gd name="connsiteX2136" fmla="*/ 3384650 w 4838702"/>
              <a:gd name="connsiteY2136" fmla="*/ 230655 h 11747497"/>
              <a:gd name="connsiteX2137" fmla="*/ 3366290 w 4838702"/>
              <a:gd name="connsiteY2137" fmla="*/ 230655 h 11747497"/>
              <a:gd name="connsiteX2138" fmla="*/ 3352532 w 4838702"/>
              <a:gd name="connsiteY2138" fmla="*/ 224073 h 11747497"/>
              <a:gd name="connsiteX2139" fmla="*/ 3320414 w 4838702"/>
              <a:gd name="connsiteY2139" fmla="*/ 237136 h 11747497"/>
              <a:gd name="connsiteX2140" fmla="*/ 3297451 w 4838702"/>
              <a:gd name="connsiteY2140" fmla="*/ 237136 h 11747497"/>
              <a:gd name="connsiteX2141" fmla="*/ 3296364 w 4838702"/>
              <a:gd name="connsiteY2141" fmla="*/ 249103 h 11747497"/>
              <a:gd name="connsiteX2142" fmla="*/ 3289124 w 4838702"/>
              <a:gd name="connsiteY2142" fmla="*/ 249103 h 11747497"/>
              <a:gd name="connsiteX2143" fmla="*/ 3288296 w 4838702"/>
              <a:gd name="connsiteY2143" fmla="*/ 237136 h 11747497"/>
              <a:gd name="connsiteX2144" fmla="*/ 3274539 w 4838702"/>
              <a:gd name="connsiteY2144" fmla="*/ 224073 h 11747497"/>
              <a:gd name="connsiteX2145" fmla="*/ 3242421 w 4838702"/>
              <a:gd name="connsiteY2145" fmla="*/ 243718 h 11747497"/>
              <a:gd name="connsiteX2146" fmla="*/ 3233266 w 4838702"/>
              <a:gd name="connsiteY2146" fmla="*/ 224073 h 11747497"/>
              <a:gd name="connsiteX2147" fmla="*/ 3224060 w 4838702"/>
              <a:gd name="connsiteY2147" fmla="*/ 243718 h 11747497"/>
              <a:gd name="connsiteX2148" fmla="*/ 3196545 w 4838702"/>
              <a:gd name="connsiteY2148" fmla="*/ 197847 h 11747497"/>
              <a:gd name="connsiteX2149" fmla="*/ 3233266 w 4838702"/>
              <a:gd name="connsiteY2149" fmla="*/ 184783 h 11747497"/>
              <a:gd name="connsiteX2150" fmla="*/ 3247024 w 4838702"/>
              <a:gd name="connsiteY2150" fmla="*/ 191365 h 11747497"/>
              <a:gd name="connsiteX2151" fmla="*/ 3265384 w 4838702"/>
              <a:gd name="connsiteY2151" fmla="*/ 184783 h 11747497"/>
              <a:gd name="connsiteX2152" fmla="*/ 3279142 w 4838702"/>
              <a:gd name="connsiteY2152" fmla="*/ 191365 h 11747497"/>
              <a:gd name="connsiteX2153" fmla="*/ 3292899 w 4838702"/>
              <a:gd name="connsiteY2153" fmla="*/ 184783 h 11747497"/>
              <a:gd name="connsiteX2154" fmla="*/ 3302054 w 4838702"/>
              <a:gd name="connsiteY2154" fmla="*/ 184783 h 11747497"/>
              <a:gd name="connsiteX2155" fmla="*/ 3311260 w 4838702"/>
              <a:gd name="connsiteY2155" fmla="*/ 184783 h 11747497"/>
              <a:gd name="connsiteX2156" fmla="*/ 3320414 w 4838702"/>
              <a:gd name="connsiteY2156" fmla="*/ 178201 h 11747497"/>
              <a:gd name="connsiteX2157" fmla="*/ 3361687 w 4838702"/>
              <a:gd name="connsiteY2157" fmla="*/ 184783 h 11747497"/>
              <a:gd name="connsiteX2158" fmla="*/ 3366290 w 4838702"/>
              <a:gd name="connsiteY2158" fmla="*/ 139012 h 11747497"/>
              <a:gd name="connsiteX2159" fmla="*/ 3361687 w 4838702"/>
              <a:gd name="connsiteY2159" fmla="*/ 165139 h 11747497"/>
              <a:gd name="connsiteX2160" fmla="*/ 3347929 w 4838702"/>
              <a:gd name="connsiteY2160" fmla="*/ 139012 h 11747497"/>
              <a:gd name="connsiteX2161" fmla="*/ 3324965 w 4838702"/>
              <a:gd name="connsiteY2161" fmla="*/ 158656 h 11747497"/>
              <a:gd name="connsiteX2162" fmla="*/ 3329569 w 4838702"/>
              <a:gd name="connsiteY2162" fmla="*/ 171720 h 11747497"/>
              <a:gd name="connsiteX2163" fmla="*/ 3283693 w 4838702"/>
              <a:gd name="connsiteY2163" fmla="*/ 165139 h 11747497"/>
              <a:gd name="connsiteX2164" fmla="*/ 3274539 w 4838702"/>
              <a:gd name="connsiteY2164" fmla="*/ 132430 h 11747497"/>
              <a:gd name="connsiteX2165" fmla="*/ 3256178 w 4838702"/>
              <a:gd name="connsiteY2165" fmla="*/ 145493 h 11747497"/>
              <a:gd name="connsiteX2166" fmla="*/ 3233266 w 4838702"/>
              <a:gd name="connsiteY2166" fmla="*/ 132430 h 11747497"/>
              <a:gd name="connsiteX2167" fmla="*/ 3269987 w 4838702"/>
              <a:gd name="connsiteY2167" fmla="*/ 119367 h 11747497"/>
              <a:gd name="connsiteX2168" fmla="*/ 3274591 w 4838702"/>
              <a:gd name="connsiteY2168" fmla="*/ 125949 h 11747497"/>
              <a:gd name="connsiteX2169" fmla="*/ 3283745 w 4838702"/>
              <a:gd name="connsiteY2169" fmla="*/ 119367 h 11747497"/>
              <a:gd name="connsiteX2170" fmla="*/ 3288348 w 4838702"/>
              <a:gd name="connsiteY2170" fmla="*/ 132430 h 11747497"/>
              <a:gd name="connsiteX2171" fmla="*/ 3297502 w 4838702"/>
              <a:gd name="connsiteY2171" fmla="*/ 112786 h 11747497"/>
              <a:gd name="connsiteX2172" fmla="*/ 3302105 w 4838702"/>
              <a:gd name="connsiteY2172" fmla="*/ 132430 h 11747497"/>
              <a:gd name="connsiteX2173" fmla="*/ 3315863 w 4838702"/>
              <a:gd name="connsiteY2173" fmla="*/ 106204 h 11747497"/>
              <a:gd name="connsiteX2174" fmla="*/ 3288348 w 4838702"/>
              <a:gd name="connsiteY2174" fmla="*/ 93140 h 11747497"/>
              <a:gd name="connsiteX2175" fmla="*/ 3306708 w 4838702"/>
              <a:gd name="connsiteY2175" fmla="*/ 73496 h 11747497"/>
              <a:gd name="connsiteX2176" fmla="*/ 3274591 w 4838702"/>
              <a:gd name="connsiteY2176" fmla="*/ 67013 h 11747497"/>
              <a:gd name="connsiteX2177" fmla="*/ 3292951 w 4838702"/>
              <a:gd name="connsiteY2177" fmla="*/ 53950 h 11747497"/>
              <a:gd name="connsiteX2178" fmla="*/ 3274591 w 4838702"/>
              <a:gd name="connsiteY2178" fmla="*/ 47369 h 11747497"/>
              <a:gd name="connsiteX2179" fmla="*/ 3233318 w 4838702"/>
              <a:gd name="connsiteY2179" fmla="*/ 53950 h 11747497"/>
              <a:gd name="connsiteX2180" fmla="*/ 3224112 w 4838702"/>
              <a:gd name="connsiteY2180" fmla="*/ 53950 h 11747497"/>
              <a:gd name="connsiteX2181" fmla="*/ 3214958 w 4838702"/>
              <a:gd name="connsiteY2181" fmla="*/ 53950 h 11747497"/>
              <a:gd name="connsiteX2182" fmla="*/ 3187442 w 4838702"/>
              <a:gd name="connsiteY2182" fmla="*/ 60433 h 11747497"/>
              <a:gd name="connsiteX2183" fmla="*/ 3201200 w 4838702"/>
              <a:gd name="connsiteY2183" fmla="*/ 86659 h 11747497"/>
              <a:gd name="connsiteX2184" fmla="*/ 3196597 w 4838702"/>
              <a:gd name="connsiteY2184" fmla="*/ 112786 h 11747497"/>
              <a:gd name="connsiteX2185" fmla="*/ 3214958 w 4838702"/>
              <a:gd name="connsiteY2185" fmla="*/ 119367 h 11747497"/>
              <a:gd name="connsiteX2186" fmla="*/ 3214958 w 4838702"/>
              <a:gd name="connsiteY2186" fmla="*/ 125949 h 11747497"/>
              <a:gd name="connsiteX2187" fmla="*/ 3210355 w 4838702"/>
              <a:gd name="connsiteY2187" fmla="*/ 152175 h 11747497"/>
              <a:gd name="connsiteX2188" fmla="*/ 3178237 w 4838702"/>
              <a:gd name="connsiteY2188" fmla="*/ 158756 h 11747497"/>
              <a:gd name="connsiteX2189" fmla="*/ 3210355 w 4838702"/>
              <a:gd name="connsiteY2189" fmla="*/ 171819 h 11747497"/>
              <a:gd name="connsiteX2190" fmla="*/ 3155273 w 4838702"/>
              <a:gd name="connsiteY2190" fmla="*/ 171819 h 11747497"/>
              <a:gd name="connsiteX2191" fmla="*/ 3141515 w 4838702"/>
              <a:gd name="connsiteY2191" fmla="*/ 191465 h 11747497"/>
              <a:gd name="connsiteX2192" fmla="*/ 3169082 w 4838702"/>
              <a:gd name="connsiteY2192" fmla="*/ 204528 h 11747497"/>
              <a:gd name="connsiteX2193" fmla="*/ 3159928 w 4838702"/>
              <a:gd name="connsiteY2193" fmla="*/ 217592 h 11747497"/>
              <a:gd name="connsiteX2194" fmla="*/ 3178288 w 4838702"/>
              <a:gd name="connsiteY2194" fmla="*/ 211009 h 11747497"/>
              <a:gd name="connsiteX2195" fmla="*/ 3187442 w 4838702"/>
              <a:gd name="connsiteY2195" fmla="*/ 243718 h 11747497"/>
              <a:gd name="connsiteX2196" fmla="*/ 3155324 w 4838702"/>
              <a:gd name="connsiteY2196" fmla="*/ 243718 h 11747497"/>
              <a:gd name="connsiteX2197" fmla="*/ 3150722 w 4838702"/>
              <a:gd name="connsiteY2197" fmla="*/ 237136 h 11747497"/>
              <a:gd name="connsiteX2198" fmla="*/ 3123206 w 4838702"/>
              <a:gd name="connsiteY2198" fmla="*/ 243718 h 11747497"/>
              <a:gd name="connsiteX2199" fmla="*/ 3118604 w 4838702"/>
              <a:gd name="connsiteY2199" fmla="*/ 237136 h 11747497"/>
              <a:gd name="connsiteX2200" fmla="*/ 3114001 w 4838702"/>
              <a:gd name="connsiteY2200" fmla="*/ 243718 h 11747497"/>
              <a:gd name="connsiteX2201" fmla="*/ 3100242 w 4838702"/>
              <a:gd name="connsiteY2201" fmla="*/ 230655 h 11747497"/>
              <a:gd name="connsiteX2202" fmla="*/ 3095640 w 4838702"/>
              <a:gd name="connsiteY2202" fmla="*/ 243718 h 11747497"/>
              <a:gd name="connsiteX2203" fmla="*/ 3086486 w 4838702"/>
              <a:gd name="connsiteY2203" fmla="*/ 237136 h 11747497"/>
              <a:gd name="connsiteX2204" fmla="*/ 3085193 w 4838702"/>
              <a:gd name="connsiteY2204" fmla="*/ 249103 h 11747497"/>
              <a:gd name="connsiteX2205" fmla="*/ 3068849 w 4838702"/>
              <a:gd name="connsiteY2205" fmla="*/ 249103 h 11747497"/>
              <a:gd name="connsiteX2206" fmla="*/ 3058919 w 4838702"/>
              <a:gd name="connsiteY2206" fmla="*/ 217491 h 11747497"/>
              <a:gd name="connsiteX2207" fmla="*/ 3081882 w 4838702"/>
              <a:gd name="connsiteY2207" fmla="*/ 210910 h 11747497"/>
              <a:gd name="connsiteX2208" fmla="*/ 2999234 w 4838702"/>
              <a:gd name="connsiteY2208" fmla="*/ 217491 h 11747497"/>
              <a:gd name="connsiteX2209" fmla="*/ 2999234 w 4838702"/>
              <a:gd name="connsiteY2209" fmla="*/ 191365 h 11747497"/>
              <a:gd name="connsiteX2210" fmla="*/ 2990079 w 4838702"/>
              <a:gd name="connsiteY2210" fmla="*/ 184783 h 11747497"/>
              <a:gd name="connsiteX2211" fmla="*/ 2944204 w 4838702"/>
              <a:gd name="connsiteY2211" fmla="*/ 191365 h 11747497"/>
              <a:gd name="connsiteX2212" fmla="*/ 2921241 w 4838702"/>
              <a:gd name="connsiteY2212" fmla="*/ 191365 h 11747497"/>
              <a:gd name="connsiteX2213" fmla="*/ 2889123 w 4838702"/>
              <a:gd name="connsiteY2213" fmla="*/ 191365 h 11747497"/>
              <a:gd name="connsiteX2214" fmla="*/ 2884520 w 4838702"/>
              <a:gd name="connsiteY2214" fmla="*/ 178302 h 11747497"/>
              <a:gd name="connsiteX2215" fmla="*/ 2921241 w 4838702"/>
              <a:gd name="connsiteY2215" fmla="*/ 178302 h 11747497"/>
              <a:gd name="connsiteX2216" fmla="*/ 2925843 w 4838702"/>
              <a:gd name="connsiteY2216" fmla="*/ 152076 h 11747497"/>
              <a:gd name="connsiteX2217" fmla="*/ 2902880 w 4838702"/>
              <a:gd name="connsiteY2217" fmla="*/ 158656 h 11747497"/>
              <a:gd name="connsiteX2218" fmla="*/ 2884520 w 4838702"/>
              <a:gd name="connsiteY2218" fmla="*/ 132430 h 11747497"/>
              <a:gd name="connsiteX2219" fmla="*/ 2902880 w 4838702"/>
              <a:gd name="connsiteY2219" fmla="*/ 145493 h 11747497"/>
              <a:gd name="connsiteX2220" fmla="*/ 2916637 w 4838702"/>
              <a:gd name="connsiteY2220" fmla="*/ 119267 h 11747497"/>
              <a:gd name="connsiteX2221" fmla="*/ 2893674 w 4838702"/>
              <a:gd name="connsiteY2221" fmla="*/ 112685 h 11747497"/>
              <a:gd name="connsiteX2222" fmla="*/ 2939549 w 4838702"/>
              <a:gd name="connsiteY2222" fmla="*/ 119267 h 11747497"/>
              <a:gd name="connsiteX2223" fmla="*/ 2939549 w 4838702"/>
              <a:gd name="connsiteY2223" fmla="*/ 145493 h 11747497"/>
              <a:gd name="connsiteX2224" fmla="*/ 2980873 w 4838702"/>
              <a:gd name="connsiteY2224" fmla="*/ 132430 h 11747497"/>
              <a:gd name="connsiteX2225" fmla="*/ 2985477 w 4838702"/>
              <a:gd name="connsiteY2225" fmla="*/ 145493 h 11747497"/>
              <a:gd name="connsiteX2226" fmla="*/ 3012992 w 4838702"/>
              <a:gd name="connsiteY2226" fmla="*/ 125849 h 11747497"/>
              <a:gd name="connsiteX2227" fmla="*/ 3035955 w 4838702"/>
              <a:gd name="connsiteY2227" fmla="*/ 119267 h 11747497"/>
              <a:gd name="connsiteX2228" fmla="*/ 3022198 w 4838702"/>
              <a:gd name="connsiteY2228" fmla="*/ 93140 h 11747497"/>
              <a:gd name="connsiteX2229" fmla="*/ 3035955 w 4838702"/>
              <a:gd name="connsiteY2229" fmla="*/ 80077 h 11747497"/>
              <a:gd name="connsiteX2230" fmla="*/ 3045110 w 4838702"/>
              <a:gd name="connsiteY2230" fmla="*/ 99722 h 11747497"/>
              <a:gd name="connsiteX2231" fmla="*/ 3035955 w 4838702"/>
              <a:gd name="connsiteY2231" fmla="*/ 112786 h 11747497"/>
              <a:gd name="connsiteX2232" fmla="*/ 3031352 w 4838702"/>
              <a:gd name="connsiteY2232" fmla="*/ 139012 h 11747497"/>
              <a:gd name="connsiteX2233" fmla="*/ 3045110 w 4838702"/>
              <a:gd name="connsiteY2233" fmla="*/ 165139 h 11747497"/>
              <a:gd name="connsiteX2234" fmla="*/ 3054315 w 4838702"/>
              <a:gd name="connsiteY2234" fmla="*/ 178201 h 11747497"/>
              <a:gd name="connsiteX2235" fmla="*/ 3035955 w 4838702"/>
              <a:gd name="connsiteY2235" fmla="*/ 184783 h 11747497"/>
              <a:gd name="connsiteX2236" fmla="*/ 3031352 w 4838702"/>
              <a:gd name="connsiteY2236" fmla="*/ 197847 h 11747497"/>
              <a:gd name="connsiteX2237" fmla="*/ 3026749 w 4838702"/>
              <a:gd name="connsiteY2237" fmla="*/ 197847 h 11747497"/>
              <a:gd name="connsiteX2238" fmla="*/ 3045110 w 4838702"/>
              <a:gd name="connsiteY2238" fmla="*/ 204429 h 11747497"/>
              <a:gd name="connsiteX2239" fmla="*/ 3058867 w 4838702"/>
              <a:gd name="connsiteY2239" fmla="*/ 197847 h 11747497"/>
              <a:gd name="connsiteX2240" fmla="*/ 3072625 w 4838702"/>
              <a:gd name="connsiteY2240" fmla="*/ 178201 h 11747497"/>
              <a:gd name="connsiteX2241" fmla="*/ 3077176 w 4838702"/>
              <a:gd name="connsiteY2241" fmla="*/ 197847 h 11747497"/>
              <a:gd name="connsiteX2242" fmla="*/ 3081779 w 4838702"/>
              <a:gd name="connsiteY2242" fmla="*/ 158557 h 11747497"/>
              <a:gd name="connsiteX2243" fmla="*/ 3146015 w 4838702"/>
              <a:gd name="connsiteY2243" fmla="*/ 158557 h 11747497"/>
              <a:gd name="connsiteX2244" fmla="*/ 3136861 w 4838702"/>
              <a:gd name="connsiteY2244" fmla="*/ 145493 h 11747497"/>
              <a:gd name="connsiteX2245" fmla="*/ 3173582 w 4838702"/>
              <a:gd name="connsiteY2245" fmla="*/ 125849 h 11747497"/>
              <a:gd name="connsiteX2246" fmla="*/ 3155221 w 4838702"/>
              <a:gd name="connsiteY2246" fmla="*/ 99622 h 11747497"/>
              <a:gd name="connsiteX2247" fmla="*/ 3168979 w 4838702"/>
              <a:gd name="connsiteY2247" fmla="*/ 86560 h 11747497"/>
              <a:gd name="connsiteX2248" fmla="*/ 3118500 w 4838702"/>
              <a:gd name="connsiteY2248" fmla="*/ 86560 h 11747497"/>
              <a:gd name="connsiteX2249" fmla="*/ 3109346 w 4838702"/>
              <a:gd name="connsiteY2249" fmla="*/ 86560 h 11747497"/>
              <a:gd name="connsiteX2250" fmla="*/ 3113949 w 4838702"/>
              <a:gd name="connsiteY2250" fmla="*/ 73395 h 11747497"/>
              <a:gd name="connsiteX2251" fmla="*/ 3155273 w 4838702"/>
              <a:gd name="connsiteY2251" fmla="*/ 73395 h 11747497"/>
              <a:gd name="connsiteX2252" fmla="*/ 3141515 w 4838702"/>
              <a:gd name="connsiteY2252" fmla="*/ 53751 h 11747497"/>
              <a:gd name="connsiteX2253" fmla="*/ 3123155 w 4838702"/>
              <a:gd name="connsiteY2253" fmla="*/ 53751 h 11747497"/>
              <a:gd name="connsiteX2254" fmla="*/ 3109397 w 4838702"/>
              <a:gd name="connsiteY2254" fmla="*/ 60233 h 11747497"/>
              <a:gd name="connsiteX2255" fmla="*/ 2980873 w 4838702"/>
              <a:gd name="connsiteY2255" fmla="*/ 53751 h 11747497"/>
              <a:gd name="connsiteX2256" fmla="*/ 2925792 w 4838702"/>
              <a:gd name="connsiteY2256" fmla="*/ 79878 h 11747497"/>
              <a:gd name="connsiteX2257" fmla="*/ 2898277 w 4838702"/>
              <a:gd name="connsiteY2257" fmla="*/ 66815 h 11747497"/>
              <a:gd name="connsiteX2258" fmla="*/ 2870762 w 4838702"/>
              <a:gd name="connsiteY2258" fmla="*/ 86459 h 11747497"/>
              <a:gd name="connsiteX2259" fmla="*/ 2847798 w 4838702"/>
              <a:gd name="connsiteY2259" fmla="*/ 66815 h 11747497"/>
              <a:gd name="connsiteX2260" fmla="*/ 2797320 w 4838702"/>
              <a:gd name="connsiteY2260" fmla="*/ 66815 h 11747497"/>
              <a:gd name="connsiteX2261" fmla="*/ 2783562 w 4838702"/>
              <a:gd name="connsiteY2261" fmla="*/ 66815 h 11747497"/>
              <a:gd name="connsiteX2262" fmla="*/ 2746841 w 4838702"/>
              <a:gd name="connsiteY2262" fmla="*/ 73296 h 11747497"/>
              <a:gd name="connsiteX2263" fmla="*/ 2714723 w 4838702"/>
              <a:gd name="connsiteY2263" fmla="*/ 73296 h 11747497"/>
              <a:gd name="connsiteX2264" fmla="*/ 2710120 w 4838702"/>
              <a:gd name="connsiteY2264" fmla="*/ 66815 h 11747497"/>
              <a:gd name="connsiteX2265" fmla="*/ 2691759 w 4838702"/>
              <a:gd name="connsiteY2265" fmla="*/ 66815 h 11747497"/>
              <a:gd name="connsiteX2266" fmla="*/ 2682605 w 4838702"/>
              <a:gd name="connsiteY2266" fmla="*/ 66815 h 11747497"/>
              <a:gd name="connsiteX2267" fmla="*/ 2595405 w 4838702"/>
              <a:gd name="connsiteY2267" fmla="*/ 66815 h 11747497"/>
              <a:gd name="connsiteX2268" fmla="*/ 2590802 w 4838702"/>
              <a:gd name="connsiteY2268" fmla="*/ 60233 h 11747497"/>
              <a:gd name="connsiteX2269" fmla="*/ 2572442 w 4838702"/>
              <a:gd name="connsiteY2269" fmla="*/ 66815 h 11747497"/>
              <a:gd name="connsiteX2270" fmla="*/ 2554081 w 4838702"/>
              <a:gd name="connsiteY2270" fmla="*/ 66815 h 11747497"/>
              <a:gd name="connsiteX2271" fmla="*/ 2531118 w 4838702"/>
              <a:gd name="connsiteY2271" fmla="*/ 66815 h 11747497"/>
              <a:gd name="connsiteX2272" fmla="*/ 2521912 w 4838702"/>
              <a:gd name="connsiteY2272" fmla="*/ 66815 h 11747497"/>
              <a:gd name="connsiteX2273" fmla="*/ 2503551 w 4838702"/>
              <a:gd name="connsiteY2273" fmla="*/ 60233 h 11747497"/>
              <a:gd name="connsiteX2274" fmla="*/ 2480587 w 4838702"/>
              <a:gd name="connsiteY2274" fmla="*/ 53751 h 11747497"/>
              <a:gd name="connsiteX2275" fmla="*/ 2462227 w 4838702"/>
              <a:gd name="connsiteY2275" fmla="*/ 66815 h 11747497"/>
              <a:gd name="connsiteX2276" fmla="*/ 2361269 w 4838702"/>
              <a:gd name="connsiteY2276" fmla="*/ 53751 h 11747497"/>
              <a:gd name="connsiteX2277" fmla="*/ 2347512 w 4838702"/>
              <a:gd name="connsiteY2277" fmla="*/ 47169 h 11747497"/>
              <a:gd name="connsiteX2278" fmla="*/ 2329151 w 4838702"/>
              <a:gd name="connsiteY2278" fmla="*/ 53751 h 11747497"/>
              <a:gd name="connsiteX2279" fmla="*/ 2255710 w 4838702"/>
              <a:gd name="connsiteY2279" fmla="*/ 53751 h 11747497"/>
              <a:gd name="connsiteX2280" fmla="*/ 2237349 w 4838702"/>
              <a:gd name="connsiteY2280" fmla="*/ 47169 h 11747497"/>
              <a:gd name="connsiteX2281" fmla="*/ 2214385 w 4838702"/>
              <a:gd name="connsiteY2281" fmla="*/ 53751 h 11747497"/>
              <a:gd name="connsiteX2282" fmla="*/ 2200628 w 4838702"/>
              <a:gd name="connsiteY2282" fmla="*/ 47169 h 11747497"/>
              <a:gd name="connsiteX2283" fmla="*/ 2186819 w 4838702"/>
              <a:gd name="connsiteY2283" fmla="*/ 53751 h 11747497"/>
              <a:gd name="connsiteX2284" fmla="*/ 2136340 w 4838702"/>
              <a:gd name="connsiteY2284" fmla="*/ 47169 h 11747497"/>
              <a:gd name="connsiteX2285" fmla="*/ 2113376 w 4838702"/>
              <a:gd name="connsiteY2285" fmla="*/ 53751 h 11747497"/>
              <a:gd name="connsiteX2286" fmla="*/ 2081258 w 4838702"/>
              <a:gd name="connsiteY2286" fmla="*/ 47169 h 11747497"/>
              <a:gd name="connsiteX2287" fmla="*/ 2062898 w 4838702"/>
              <a:gd name="connsiteY2287" fmla="*/ 47169 h 11747497"/>
              <a:gd name="connsiteX2288" fmla="*/ 2017022 w 4838702"/>
              <a:gd name="connsiteY2288" fmla="*/ 47169 h 11747497"/>
              <a:gd name="connsiteX2289" fmla="*/ 1998662 w 4838702"/>
              <a:gd name="connsiteY2289" fmla="*/ 40588 h 11747497"/>
              <a:gd name="connsiteX2290" fmla="*/ 1989507 w 4838702"/>
              <a:gd name="connsiteY2290" fmla="*/ 47169 h 11747497"/>
              <a:gd name="connsiteX2291" fmla="*/ 1975750 w 4838702"/>
              <a:gd name="connsiteY2291" fmla="*/ 40588 h 11747497"/>
              <a:gd name="connsiteX2292" fmla="*/ 1971147 w 4838702"/>
              <a:gd name="connsiteY2292" fmla="*/ 47169 h 11747497"/>
              <a:gd name="connsiteX2293" fmla="*/ 1966544 w 4838702"/>
              <a:gd name="connsiteY2293" fmla="*/ 40588 h 11747497"/>
              <a:gd name="connsiteX2294" fmla="*/ 1952786 w 4838702"/>
              <a:gd name="connsiteY2294" fmla="*/ 47169 h 11747497"/>
              <a:gd name="connsiteX2295" fmla="*/ 1911462 w 4838702"/>
              <a:gd name="connsiteY2295" fmla="*/ 47169 h 11747497"/>
              <a:gd name="connsiteX2296" fmla="*/ 1897705 w 4838702"/>
              <a:gd name="connsiteY2296" fmla="*/ 40588 h 11747497"/>
              <a:gd name="connsiteX2297" fmla="*/ 1883948 w 4838702"/>
              <a:gd name="connsiteY2297" fmla="*/ 53652 h 11747497"/>
              <a:gd name="connsiteX2298" fmla="*/ 1847226 w 4838702"/>
              <a:gd name="connsiteY2298" fmla="*/ 47070 h 11747497"/>
              <a:gd name="connsiteX2299" fmla="*/ 1842623 w 4838702"/>
              <a:gd name="connsiteY2299" fmla="*/ 40488 h 11747497"/>
              <a:gd name="connsiteX2300" fmla="*/ 1833417 w 4838702"/>
              <a:gd name="connsiteY2300" fmla="*/ 40488 h 11747497"/>
              <a:gd name="connsiteX2301" fmla="*/ 1759975 w 4838702"/>
              <a:gd name="connsiteY2301" fmla="*/ 33907 h 11747497"/>
              <a:gd name="connsiteX2302" fmla="*/ 1732408 w 4838702"/>
              <a:gd name="connsiteY2302" fmla="*/ 33907 h 11747497"/>
              <a:gd name="connsiteX2303" fmla="*/ 1718650 w 4838702"/>
              <a:gd name="connsiteY2303" fmla="*/ 53551 h 11747497"/>
              <a:gd name="connsiteX2304" fmla="*/ 1709496 w 4838702"/>
              <a:gd name="connsiteY2304" fmla="*/ 33907 h 11747497"/>
              <a:gd name="connsiteX2305" fmla="*/ 1672775 w 4838702"/>
              <a:gd name="connsiteY2305" fmla="*/ 33907 h 11747497"/>
              <a:gd name="connsiteX2306" fmla="*/ 1645260 w 4838702"/>
              <a:gd name="connsiteY2306" fmla="*/ 33907 h 11747497"/>
              <a:gd name="connsiteX2307" fmla="*/ 1622296 w 4838702"/>
              <a:gd name="connsiteY2307" fmla="*/ 33907 h 11747497"/>
              <a:gd name="connsiteX2308" fmla="*/ 1613142 w 4838702"/>
              <a:gd name="connsiteY2308" fmla="*/ 40488 h 11747497"/>
              <a:gd name="connsiteX2309" fmla="*/ 1581024 w 4838702"/>
              <a:gd name="connsiteY2309" fmla="*/ 33907 h 11747497"/>
              <a:gd name="connsiteX2310" fmla="*/ 1548906 w 4838702"/>
              <a:gd name="connsiteY2310" fmla="*/ 27325 h 11747497"/>
              <a:gd name="connsiteX2311" fmla="*/ 1544303 w 4838702"/>
              <a:gd name="connsiteY2311" fmla="*/ 33907 h 11747497"/>
              <a:gd name="connsiteX2312" fmla="*/ 1535097 w 4838702"/>
              <a:gd name="connsiteY2312" fmla="*/ 33907 h 11747497"/>
              <a:gd name="connsiteX2313" fmla="*/ 1512185 w 4838702"/>
              <a:gd name="connsiteY2313" fmla="*/ 27325 h 11747497"/>
              <a:gd name="connsiteX2314" fmla="*/ 1424986 w 4838702"/>
              <a:gd name="connsiteY2314" fmla="*/ 14261 h 11747497"/>
              <a:gd name="connsiteX2315" fmla="*/ 1397419 w 4838702"/>
              <a:gd name="connsiteY2315" fmla="*/ 27325 h 11747497"/>
              <a:gd name="connsiteX2316" fmla="*/ 1365301 w 4838702"/>
              <a:gd name="connsiteY2316" fmla="*/ 7681 h 11747497"/>
              <a:gd name="connsiteX2317" fmla="*/ 1328579 w 4838702"/>
              <a:gd name="connsiteY2317" fmla="*/ 20744 h 11747497"/>
              <a:gd name="connsiteX2318" fmla="*/ 1314822 w 4838702"/>
              <a:gd name="connsiteY2318" fmla="*/ 7681 h 11747497"/>
              <a:gd name="connsiteX2319" fmla="*/ 1287307 w 4838702"/>
              <a:gd name="connsiteY2319" fmla="*/ 20744 h 11747497"/>
              <a:gd name="connsiteX2320" fmla="*/ 1273550 w 4838702"/>
              <a:gd name="connsiteY2320" fmla="*/ 14162 h 11747497"/>
              <a:gd name="connsiteX2321" fmla="*/ 1245983 w 4838702"/>
              <a:gd name="connsiteY2321" fmla="*/ 7581 h 11747497"/>
              <a:gd name="connsiteX2322" fmla="*/ 1241380 w 4838702"/>
              <a:gd name="connsiteY2322" fmla="*/ 14162 h 11747497"/>
              <a:gd name="connsiteX2323" fmla="*/ 1236777 w 4838702"/>
              <a:gd name="connsiteY2323" fmla="*/ 1099 h 11747497"/>
              <a:gd name="connsiteX2324" fmla="*/ 1218416 w 4838702"/>
              <a:gd name="connsiteY2324" fmla="*/ 1099 h 11747497"/>
              <a:gd name="connsiteX2325" fmla="*/ 1213813 w 4838702"/>
              <a:gd name="connsiteY2325" fmla="*/ 20744 h 11747497"/>
              <a:gd name="connsiteX2326" fmla="*/ 1181695 w 4838702"/>
              <a:gd name="connsiteY2326" fmla="*/ 14162 h 11747497"/>
              <a:gd name="connsiteX2327" fmla="*/ 1158731 w 4838702"/>
              <a:gd name="connsiteY2327" fmla="*/ 1099 h 11747497"/>
              <a:gd name="connsiteX2328" fmla="*/ 1144974 w 4838702"/>
              <a:gd name="connsiteY2328" fmla="*/ 14162 h 11747497"/>
              <a:gd name="connsiteX2329" fmla="*/ 1099099 w 4838702"/>
              <a:gd name="connsiteY2329" fmla="*/ 7581 h 11747497"/>
              <a:gd name="connsiteX2330" fmla="*/ 1080738 w 4838702"/>
              <a:gd name="connsiteY2330" fmla="*/ 14162 h 11747497"/>
              <a:gd name="connsiteX2331" fmla="*/ 1076135 w 4838702"/>
              <a:gd name="connsiteY2331" fmla="*/ 7581 h 11747497"/>
              <a:gd name="connsiteX2332" fmla="*/ 1053172 w 4838702"/>
              <a:gd name="connsiteY2332" fmla="*/ 14162 h 11747497"/>
              <a:gd name="connsiteX2333" fmla="*/ 1021053 w 4838702"/>
              <a:gd name="connsiteY2333" fmla="*/ 7581 h 11747497"/>
              <a:gd name="connsiteX2334" fmla="*/ 952214 w 4838702"/>
              <a:gd name="connsiteY2334" fmla="*/ 7581 h 11747497"/>
              <a:gd name="connsiteX2335" fmla="*/ 933854 w 4838702"/>
              <a:gd name="connsiteY2335" fmla="*/ 1099 h 11747497"/>
              <a:gd name="connsiteX2336" fmla="*/ 915493 w 4838702"/>
              <a:gd name="connsiteY2336" fmla="*/ 14162 h 11747497"/>
              <a:gd name="connsiteX2337" fmla="*/ 910890 w 4838702"/>
              <a:gd name="connsiteY2337" fmla="*/ 7581 h 11747497"/>
              <a:gd name="connsiteX2338" fmla="*/ 819087 w 4838702"/>
              <a:gd name="connsiteY2338" fmla="*/ 7581 h 11747497"/>
              <a:gd name="connsiteX2339" fmla="*/ 805330 w 4838702"/>
              <a:gd name="connsiteY2339" fmla="*/ 1099 h 11747497"/>
              <a:gd name="connsiteX2340" fmla="*/ 786969 w 4838702"/>
              <a:gd name="connsiteY2340" fmla="*/ 7581 h 11747497"/>
              <a:gd name="connsiteX2341" fmla="*/ 764006 w 4838702"/>
              <a:gd name="connsiteY2341" fmla="*/ 1099 h 11747497"/>
              <a:gd name="connsiteX2342" fmla="*/ 759402 w 4838702"/>
              <a:gd name="connsiteY2342" fmla="*/ 7581 h 11747497"/>
              <a:gd name="connsiteX2343" fmla="*/ 708924 w 4838702"/>
              <a:gd name="connsiteY2343" fmla="*/ 1099 h 11747497"/>
              <a:gd name="connsiteX2344" fmla="*/ 690564 w 4838702"/>
              <a:gd name="connsiteY2344" fmla="*/ 7581 h 11747497"/>
              <a:gd name="connsiteX2345" fmla="*/ 644637 w 4838702"/>
              <a:gd name="connsiteY2345" fmla="*/ 7581 h 11747497"/>
              <a:gd name="connsiteX2346" fmla="*/ 626276 w 4838702"/>
              <a:gd name="connsiteY2346" fmla="*/ 7581 h 11747497"/>
              <a:gd name="connsiteX2347" fmla="*/ 575797 w 4838702"/>
              <a:gd name="connsiteY2347" fmla="*/ 14162 h 11747497"/>
              <a:gd name="connsiteX2348" fmla="*/ 557437 w 4838702"/>
              <a:gd name="connsiteY2348" fmla="*/ 7581 h 11747497"/>
              <a:gd name="connsiteX2349" fmla="*/ 539076 w 4838702"/>
              <a:gd name="connsiteY2349" fmla="*/ 14162 h 11747497"/>
              <a:gd name="connsiteX2350" fmla="*/ 525319 w 4838702"/>
              <a:gd name="connsiteY2350" fmla="*/ 7581 h 11747497"/>
              <a:gd name="connsiteX2351" fmla="*/ 506958 w 4838702"/>
              <a:gd name="connsiteY2351" fmla="*/ 14162 h 11747497"/>
              <a:gd name="connsiteX2352" fmla="*/ 497803 w 4838702"/>
              <a:gd name="connsiteY2352" fmla="*/ 14162 h 11747497"/>
              <a:gd name="connsiteX2353" fmla="*/ 474840 w 4838702"/>
              <a:gd name="connsiteY2353" fmla="*/ 14162 h 11747497"/>
              <a:gd name="connsiteX2354" fmla="*/ 470237 w 4838702"/>
              <a:gd name="connsiteY2354" fmla="*/ 7581 h 11747497"/>
              <a:gd name="connsiteX2355" fmla="*/ 470237 w 4838702"/>
              <a:gd name="connsiteY2355" fmla="*/ 14162 h 11747497"/>
              <a:gd name="connsiteX2356" fmla="*/ 461031 w 4838702"/>
              <a:gd name="connsiteY2356" fmla="*/ 14162 h 11747497"/>
              <a:gd name="connsiteX2357" fmla="*/ 350920 w 4838702"/>
              <a:gd name="connsiteY2357" fmla="*/ 14162 h 11747497"/>
              <a:gd name="connsiteX2358" fmla="*/ 337162 w 4838702"/>
              <a:gd name="connsiteY2358" fmla="*/ 20744 h 11747497"/>
              <a:gd name="connsiteX2359" fmla="*/ 360126 w 4838702"/>
              <a:gd name="connsiteY2359" fmla="*/ 46970 h 11747497"/>
              <a:gd name="connsiteX2360" fmla="*/ 282080 w 4838702"/>
              <a:gd name="connsiteY2360" fmla="*/ 66615 h 11747497"/>
              <a:gd name="connsiteX2361" fmla="*/ 249962 w 4838702"/>
              <a:gd name="connsiteY2361" fmla="*/ 66615 h 11747497"/>
              <a:gd name="connsiteX2362" fmla="*/ 213241 w 4838702"/>
              <a:gd name="connsiteY2362" fmla="*/ 66615 h 11747497"/>
              <a:gd name="connsiteX2363" fmla="*/ 199484 w 4838702"/>
              <a:gd name="connsiteY2363" fmla="*/ 73097 h 11747497"/>
              <a:gd name="connsiteX2364" fmla="*/ 135248 w 4838702"/>
              <a:gd name="connsiteY2364" fmla="*/ 73097 h 11747497"/>
              <a:gd name="connsiteX2365" fmla="*/ 126041 w 4838702"/>
              <a:gd name="connsiteY2365" fmla="*/ 79678 h 11747497"/>
              <a:gd name="connsiteX2366" fmla="*/ 120663 w 4838702"/>
              <a:gd name="connsiteY2366" fmla="*/ 76088 h 11747497"/>
              <a:gd name="connsiteX2367" fmla="*/ 123145 w 4838702"/>
              <a:gd name="connsiteY2367" fmla="*/ 101717 h 11747497"/>
              <a:gd name="connsiteX2368" fmla="*/ 121697 w 4838702"/>
              <a:gd name="connsiteY2368" fmla="*/ 351215 h 11747497"/>
              <a:gd name="connsiteX2369" fmla="*/ 112594 w 4838702"/>
              <a:gd name="connsiteY2369" fmla="*/ 350917 h 11747497"/>
              <a:gd name="connsiteX2370" fmla="*/ 112181 w 4838702"/>
              <a:gd name="connsiteY2370" fmla="*/ 420222 h 11747497"/>
              <a:gd name="connsiteX2371" fmla="*/ 117559 w 4838702"/>
              <a:gd name="connsiteY2371" fmla="*/ 434283 h 11747497"/>
              <a:gd name="connsiteX2372" fmla="*/ 114767 w 4838702"/>
              <a:gd name="connsiteY2372" fmla="*/ 600517 h 11747497"/>
              <a:gd name="connsiteX2373" fmla="*/ 92837 w 4838702"/>
              <a:gd name="connsiteY2373" fmla="*/ 627640 h 11747497"/>
              <a:gd name="connsiteX2374" fmla="*/ 93562 w 4838702"/>
              <a:gd name="connsiteY2374" fmla="*/ 502891 h 11747497"/>
              <a:gd name="connsiteX2375" fmla="*/ 100906 w 4838702"/>
              <a:gd name="connsiteY2375" fmla="*/ 489228 h 11747497"/>
              <a:gd name="connsiteX2376" fmla="*/ 101319 w 4838702"/>
              <a:gd name="connsiteY2376" fmla="*/ 419924 h 11747497"/>
              <a:gd name="connsiteX2377" fmla="*/ 103285 w 4838702"/>
              <a:gd name="connsiteY2377" fmla="*/ 392301 h 11747497"/>
              <a:gd name="connsiteX2378" fmla="*/ 103388 w 4838702"/>
              <a:gd name="connsiteY2378" fmla="*/ 378440 h 11747497"/>
              <a:gd name="connsiteX2379" fmla="*/ 103699 w 4838702"/>
              <a:gd name="connsiteY2379" fmla="*/ 322995 h 11747497"/>
              <a:gd name="connsiteX2380" fmla="*/ 105923 w 4838702"/>
              <a:gd name="connsiteY2380" fmla="*/ 253790 h 11747497"/>
              <a:gd name="connsiteX2381" fmla="*/ 106077 w 4838702"/>
              <a:gd name="connsiteY2381" fmla="*/ 226067 h 11747497"/>
              <a:gd name="connsiteX2382" fmla="*/ 106491 w 4838702"/>
              <a:gd name="connsiteY2382" fmla="*/ 156761 h 11747497"/>
              <a:gd name="connsiteX2383" fmla="*/ 110267 w 4838702"/>
              <a:gd name="connsiteY2383" fmla="*/ 129140 h 11747497"/>
              <a:gd name="connsiteX2384" fmla="*/ 114042 w 4838702"/>
              <a:gd name="connsiteY2384" fmla="*/ 101517 h 11747497"/>
              <a:gd name="connsiteX2385" fmla="*/ 115956 w 4838702"/>
              <a:gd name="connsiteY2385" fmla="*/ 87756 h 11747497"/>
              <a:gd name="connsiteX2386" fmla="*/ 116060 w 4838702"/>
              <a:gd name="connsiteY2386" fmla="*/ 73596 h 11747497"/>
              <a:gd name="connsiteX2387" fmla="*/ 107629 w 4838702"/>
              <a:gd name="connsiteY2387" fmla="*/ 79777 h 11747497"/>
              <a:gd name="connsiteX2388" fmla="*/ 93872 w 4838702"/>
              <a:gd name="connsiteY2388" fmla="*/ 73197 h 11747497"/>
              <a:gd name="connsiteX2389" fmla="*/ 89269 w 4838702"/>
              <a:gd name="connsiteY2389" fmla="*/ 79777 h 11747497"/>
              <a:gd name="connsiteX2390" fmla="*/ 61805 w 4838702"/>
              <a:gd name="connsiteY2390" fmla="*/ 86359 h 11747497"/>
              <a:gd name="connsiteX2391" fmla="*/ 59323 w 4838702"/>
              <a:gd name="connsiteY2391" fmla="*/ 141604 h 11747497"/>
              <a:gd name="connsiteX2392" fmla="*/ 61443 w 4838702"/>
              <a:gd name="connsiteY2392" fmla="*/ 86260 h 11747497"/>
              <a:gd name="connsiteX2393" fmla="*/ 52547 w 4838702"/>
              <a:gd name="connsiteY2393" fmla="*/ 79777 h 11747497"/>
              <a:gd name="connsiteX2394" fmla="*/ 47996 w 4838702"/>
              <a:gd name="connsiteY2394" fmla="*/ 86359 h 11747497"/>
              <a:gd name="connsiteX2395" fmla="*/ 36204 w 4838702"/>
              <a:gd name="connsiteY2395" fmla="*/ 88753 h 11747497"/>
              <a:gd name="connsiteX2396" fmla="*/ 36049 w 4838702"/>
              <a:gd name="connsiteY2396" fmla="*/ 112685 h 11747497"/>
              <a:gd name="connsiteX2397" fmla="*/ 30049 w 4838702"/>
              <a:gd name="connsiteY2397" fmla="*/ 133926 h 11747497"/>
              <a:gd name="connsiteX2398" fmla="*/ 34394 w 4838702"/>
              <a:gd name="connsiteY2398" fmla="*/ 138214 h 11747497"/>
              <a:gd name="connsiteX2399" fmla="*/ 29739 w 4838702"/>
              <a:gd name="connsiteY2399" fmla="*/ 137018 h 11747497"/>
              <a:gd name="connsiteX2400" fmla="*/ 26429 w 4838702"/>
              <a:gd name="connsiteY2400" fmla="*/ 209513 h 11747497"/>
              <a:gd name="connsiteX2401" fmla="*/ 35273 w 4838702"/>
              <a:gd name="connsiteY2401" fmla="*/ 251297 h 11747497"/>
              <a:gd name="connsiteX2402" fmla="*/ 34498 w 4838702"/>
              <a:gd name="connsiteY2402" fmla="*/ 389907 h 11747497"/>
              <a:gd name="connsiteX2403" fmla="*/ 41428 w 4838702"/>
              <a:gd name="connsiteY2403" fmla="*/ 445551 h 11747497"/>
              <a:gd name="connsiteX2404" fmla="*/ 41169 w 4838702"/>
              <a:gd name="connsiteY2404" fmla="*/ 487135 h 11747497"/>
              <a:gd name="connsiteX2405" fmla="*/ 40755 w 4838702"/>
              <a:gd name="connsiteY2405" fmla="*/ 556439 h 11747497"/>
              <a:gd name="connsiteX2406" fmla="*/ 35015 w 4838702"/>
              <a:gd name="connsiteY2406" fmla="*/ 611685 h 11747497"/>
              <a:gd name="connsiteX2407" fmla="*/ 34859 w 4838702"/>
              <a:gd name="connsiteY2407" fmla="*/ 639407 h 11747497"/>
              <a:gd name="connsiteX2408" fmla="*/ 32946 w 4838702"/>
              <a:gd name="connsiteY2408" fmla="*/ 653168 h 11747497"/>
              <a:gd name="connsiteX2409" fmla="*/ 34601 w 4838702"/>
              <a:gd name="connsiteY2409" fmla="*/ 680890 h 11747497"/>
              <a:gd name="connsiteX2410" fmla="*/ 35946 w 4838702"/>
              <a:gd name="connsiteY2410" fmla="*/ 764057 h 11747497"/>
              <a:gd name="connsiteX2411" fmla="*/ 29636 w 4838702"/>
              <a:gd name="connsiteY2411" fmla="*/ 916430 h 11747497"/>
              <a:gd name="connsiteX2412" fmla="*/ 20482 w 4838702"/>
              <a:gd name="connsiteY2412" fmla="*/ 929991 h 11747497"/>
              <a:gd name="connsiteX2413" fmla="*/ 20067 w 4838702"/>
              <a:gd name="connsiteY2413" fmla="*/ 999296 h 11747497"/>
              <a:gd name="connsiteX2414" fmla="*/ 16447 w 4838702"/>
              <a:gd name="connsiteY2414" fmla="*/ 999197 h 11747497"/>
              <a:gd name="connsiteX2415" fmla="*/ 14016 w 4838702"/>
              <a:gd name="connsiteY2415" fmla="*/ 1109985 h 11747497"/>
              <a:gd name="connsiteX2416" fmla="*/ 8586 w 4838702"/>
              <a:gd name="connsiteY2416" fmla="*/ 1109787 h 11747497"/>
              <a:gd name="connsiteX2417" fmla="*/ 10086 w 4838702"/>
              <a:gd name="connsiteY2417" fmla="*/ 1165230 h 11747497"/>
              <a:gd name="connsiteX2418" fmla="*/ 6155 w 4838702"/>
              <a:gd name="connsiteY2418" fmla="*/ 1220575 h 11747497"/>
              <a:gd name="connsiteX2419" fmla="*/ 11378 w 4838702"/>
              <a:gd name="connsiteY2419" fmla="*/ 1262358 h 11747497"/>
              <a:gd name="connsiteX2420" fmla="*/ 10810 w 4838702"/>
              <a:gd name="connsiteY2420" fmla="*/ 1359386 h 11747497"/>
              <a:gd name="connsiteX2421" fmla="*/ 6465 w 4838702"/>
              <a:gd name="connsiteY2421" fmla="*/ 1369457 h 11747497"/>
              <a:gd name="connsiteX2422" fmla="*/ 6879 w 4838702"/>
              <a:gd name="connsiteY2422" fmla="*/ 1368759 h 11747497"/>
              <a:gd name="connsiteX2423" fmla="*/ 20636 w 4838702"/>
              <a:gd name="connsiteY2423" fmla="*/ 1368759 h 11747497"/>
              <a:gd name="connsiteX2424" fmla="*/ 25240 w 4838702"/>
              <a:gd name="connsiteY2424" fmla="*/ 1375341 h 11747497"/>
              <a:gd name="connsiteX2425" fmla="*/ 31342 w 4838702"/>
              <a:gd name="connsiteY2425" fmla="*/ 1375839 h 11747497"/>
              <a:gd name="connsiteX2426" fmla="*/ 31342 w 4838702"/>
              <a:gd name="connsiteY2426" fmla="*/ 1410243 h 11747497"/>
              <a:gd name="connsiteX2427" fmla="*/ 25240 w 4838702"/>
              <a:gd name="connsiteY2427" fmla="*/ 1421211 h 11747497"/>
              <a:gd name="connsiteX2428" fmla="*/ 31342 w 4838702"/>
              <a:gd name="connsiteY2428" fmla="*/ 1425001 h 11747497"/>
              <a:gd name="connsiteX2429" fmla="*/ 31342 w 4838702"/>
              <a:gd name="connsiteY2429" fmla="*/ 1433477 h 11747497"/>
              <a:gd name="connsiteX2430" fmla="*/ 3982 w 4838702"/>
              <a:gd name="connsiteY2430" fmla="*/ 1430486 h 11747497"/>
              <a:gd name="connsiteX2431" fmla="*/ 3052 w 4838702"/>
              <a:gd name="connsiteY2431" fmla="*/ 1451726 h 11747497"/>
              <a:gd name="connsiteX2432" fmla="*/ 20689 w 4838702"/>
              <a:gd name="connsiteY2432" fmla="*/ 1473564 h 11747497"/>
              <a:gd name="connsiteX2433" fmla="*/ 23274 w 4838702"/>
              <a:gd name="connsiteY2433" fmla="*/ 1473066 h 11747497"/>
              <a:gd name="connsiteX2434" fmla="*/ 28032 w 4838702"/>
              <a:gd name="connsiteY2434" fmla="*/ 1472469 h 11747497"/>
              <a:gd name="connsiteX2435" fmla="*/ 31395 w 4838702"/>
              <a:gd name="connsiteY2435" fmla="*/ 1472568 h 11747497"/>
              <a:gd name="connsiteX2436" fmla="*/ 31395 w 4838702"/>
              <a:gd name="connsiteY2436" fmla="*/ 1511359 h 11747497"/>
              <a:gd name="connsiteX2437" fmla="*/ 16137 w 4838702"/>
              <a:gd name="connsiteY2437" fmla="*/ 1506273 h 11747497"/>
              <a:gd name="connsiteX2438" fmla="*/ 725 w 4838702"/>
              <a:gd name="connsiteY2438" fmla="*/ 1498993 h 11747497"/>
              <a:gd name="connsiteX2439" fmla="*/ 0 w 4838702"/>
              <a:gd name="connsiteY2439" fmla="*/ 1526118 h 11747497"/>
              <a:gd name="connsiteX2440" fmla="*/ 2431 w 4838702"/>
              <a:gd name="connsiteY2440" fmla="*/ 1525917 h 11747497"/>
              <a:gd name="connsiteX2441" fmla="*/ 7034 w 4838702"/>
              <a:gd name="connsiteY2441" fmla="*/ 1532500 h 11747497"/>
              <a:gd name="connsiteX2442" fmla="*/ 29998 w 4838702"/>
              <a:gd name="connsiteY2442" fmla="*/ 1539082 h 11747497"/>
              <a:gd name="connsiteX2443" fmla="*/ 31498 w 4838702"/>
              <a:gd name="connsiteY2443" fmla="*/ 1539679 h 11747497"/>
              <a:gd name="connsiteX2444" fmla="*/ 31498 w 4838702"/>
              <a:gd name="connsiteY2444" fmla="*/ 1739319 h 11747497"/>
              <a:gd name="connsiteX2445" fmla="*/ 34135 w 4838702"/>
              <a:gd name="connsiteY2445" fmla="*/ 1748294 h 11747497"/>
              <a:gd name="connsiteX2446" fmla="*/ 31498 w 4838702"/>
              <a:gd name="connsiteY2446" fmla="*/ 1784292 h 11747497"/>
              <a:gd name="connsiteX2447" fmla="*/ 31498 w 4838702"/>
              <a:gd name="connsiteY2447" fmla="*/ 2150564 h 11747497"/>
              <a:gd name="connsiteX2448" fmla="*/ 31704 w 4838702"/>
              <a:gd name="connsiteY2448" fmla="*/ 2113767 h 11747497"/>
              <a:gd name="connsiteX2449" fmla="*/ 35066 w 4838702"/>
              <a:gd name="connsiteY2449" fmla="*/ 2023620 h 11747497"/>
              <a:gd name="connsiteX2450" fmla="*/ 35428 w 4838702"/>
              <a:gd name="connsiteY2450" fmla="*/ 1958603 h 11747497"/>
              <a:gd name="connsiteX2451" fmla="*/ 40497 w 4838702"/>
              <a:gd name="connsiteY2451" fmla="*/ 1900965 h 11747497"/>
              <a:gd name="connsiteX2452" fmla="*/ 46548 w 4838702"/>
              <a:gd name="connsiteY2452" fmla="*/ 1836246 h 11747497"/>
              <a:gd name="connsiteX2453" fmla="*/ 47634 w 4838702"/>
              <a:gd name="connsiteY2453" fmla="*/ 1928887 h 11747497"/>
              <a:gd name="connsiteX2454" fmla="*/ 45048 w 4838702"/>
              <a:gd name="connsiteY2454" fmla="*/ 2067498 h 11747497"/>
              <a:gd name="connsiteX2455" fmla="*/ 43135 w 4838702"/>
              <a:gd name="connsiteY2455" fmla="*/ 2081259 h 11747497"/>
              <a:gd name="connsiteX2456" fmla="*/ 44635 w 4838702"/>
              <a:gd name="connsiteY2456" fmla="*/ 2136703 h 11747497"/>
              <a:gd name="connsiteX2457" fmla="*/ 42721 w 4838702"/>
              <a:gd name="connsiteY2457" fmla="*/ 2150465 h 11747497"/>
              <a:gd name="connsiteX2458" fmla="*/ 43962 w 4838702"/>
              <a:gd name="connsiteY2458" fmla="*/ 2247592 h 11747497"/>
              <a:gd name="connsiteX2459" fmla="*/ 43652 w 4838702"/>
              <a:gd name="connsiteY2459" fmla="*/ 2303036 h 11747497"/>
              <a:gd name="connsiteX2460" fmla="*/ 37962 w 4838702"/>
              <a:gd name="connsiteY2460" fmla="*/ 2344421 h 11747497"/>
              <a:gd name="connsiteX2461" fmla="*/ 35532 w 4838702"/>
              <a:gd name="connsiteY2461" fmla="*/ 2455309 h 11747497"/>
              <a:gd name="connsiteX2462" fmla="*/ 31498 w 4838702"/>
              <a:gd name="connsiteY2462" fmla="*/ 2453015 h 11747497"/>
              <a:gd name="connsiteX2463" fmla="*/ 31498 w 4838702"/>
              <a:gd name="connsiteY2463" fmla="*/ 2489911 h 11747497"/>
              <a:gd name="connsiteX2464" fmla="*/ 35377 w 4838702"/>
              <a:gd name="connsiteY2464" fmla="*/ 2483031 h 11747497"/>
              <a:gd name="connsiteX2465" fmla="*/ 34911 w 4838702"/>
              <a:gd name="connsiteY2465" fmla="*/ 2566197 h 11747497"/>
              <a:gd name="connsiteX2466" fmla="*/ 31498 w 4838702"/>
              <a:gd name="connsiteY2466" fmla="*/ 2568491 h 11747497"/>
              <a:gd name="connsiteX2467" fmla="*/ 31498 w 4838702"/>
              <a:gd name="connsiteY2467" fmla="*/ 2621542 h 11747497"/>
              <a:gd name="connsiteX2468" fmla="*/ 34601 w 4838702"/>
              <a:gd name="connsiteY2468" fmla="*/ 2621641 h 11747497"/>
              <a:gd name="connsiteX2469" fmla="*/ 34445 w 4838702"/>
              <a:gd name="connsiteY2469" fmla="*/ 2649364 h 11747497"/>
              <a:gd name="connsiteX2470" fmla="*/ 31498 w 4838702"/>
              <a:gd name="connsiteY2470" fmla="*/ 2649265 h 11747497"/>
              <a:gd name="connsiteX2471" fmla="*/ 31498 w 4838702"/>
              <a:gd name="connsiteY2471" fmla="*/ 2722957 h 11747497"/>
              <a:gd name="connsiteX2472" fmla="*/ 33980 w 4838702"/>
              <a:gd name="connsiteY2472" fmla="*/ 2732531 h 11747497"/>
              <a:gd name="connsiteX2473" fmla="*/ 31498 w 4838702"/>
              <a:gd name="connsiteY2473" fmla="*/ 2792463 h 11747497"/>
              <a:gd name="connsiteX2474" fmla="*/ 31498 w 4838702"/>
              <a:gd name="connsiteY2474" fmla="*/ 3407136 h 11747497"/>
              <a:gd name="connsiteX2475" fmla="*/ 35377 w 4838702"/>
              <a:gd name="connsiteY2475" fmla="*/ 3439645 h 11747497"/>
              <a:gd name="connsiteX2476" fmla="*/ 31498 w 4838702"/>
              <a:gd name="connsiteY2476" fmla="*/ 3505959 h 11747497"/>
              <a:gd name="connsiteX2477" fmla="*/ 31498 w 4838702"/>
              <a:gd name="connsiteY2477" fmla="*/ 3592017 h 11747497"/>
              <a:gd name="connsiteX2478" fmla="*/ 40031 w 4838702"/>
              <a:gd name="connsiteY2478" fmla="*/ 3578455 h 11747497"/>
              <a:gd name="connsiteX2479" fmla="*/ 34652 w 4838702"/>
              <a:gd name="connsiteY2479" fmla="*/ 3564396 h 11747497"/>
              <a:gd name="connsiteX2480" fmla="*/ 45721 w 4838702"/>
              <a:gd name="connsiteY2480" fmla="*/ 3536973 h 11747497"/>
              <a:gd name="connsiteX2481" fmla="*/ 42307 w 4838702"/>
              <a:gd name="connsiteY2481" fmla="*/ 3495288 h 11747497"/>
              <a:gd name="connsiteX2482" fmla="*/ 53375 w 4838702"/>
              <a:gd name="connsiteY2482" fmla="*/ 3467865 h 11747497"/>
              <a:gd name="connsiteX2483" fmla="*/ 51151 w 4838702"/>
              <a:gd name="connsiteY2483" fmla="*/ 3537072 h 11747497"/>
              <a:gd name="connsiteX2484" fmla="*/ 54720 w 4838702"/>
              <a:gd name="connsiteY2484" fmla="*/ 3551033 h 11747497"/>
              <a:gd name="connsiteX2485" fmla="*/ 49134 w 4838702"/>
              <a:gd name="connsiteY2485" fmla="*/ 3578555 h 11747497"/>
              <a:gd name="connsiteX2486" fmla="*/ 50479 w 4838702"/>
              <a:gd name="connsiteY2486" fmla="*/ 3661821 h 11747497"/>
              <a:gd name="connsiteX2487" fmla="*/ 54255 w 4838702"/>
              <a:gd name="connsiteY2487" fmla="*/ 3634200 h 11747497"/>
              <a:gd name="connsiteX2488" fmla="*/ 57875 w 4838702"/>
              <a:gd name="connsiteY2488" fmla="*/ 3634299 h 11747497"/>
              <a:gd name="connsiteX2489" fmla="*/ 58030 w 4838702"/>
              <a:gd name="connsiteY2489" fmla="*/ 3606577 h 11747497"/>
              <a:gd name="connsiteX2490" fmla="*/ 63564 w 4838702"/>
              <a:gd name="connsiteY2490" fmla="*/ 3592815 h 11747497"/>
              <a:gd name="connsiteX2491" fmla="*/ 58288 w 4838702"/>
              <a:gd name="connsiteY2491" fmla="*/ 3564993 h 11747497"/>
              <a:gd name="connsiteX2492" fmla="*/ 69253 w 4838702"/>
              <a:gd name="connsiteY2492" fmla="*/ 3551431 h 11747497"/>
              <a:gd name="connsiteX2493" fmla="*/ 70753 w 4838702"/>
              <a:gd name="connsiteY2493" fmla="*/ 3606876 h 11747497"/>
              <a:gd name="connsiteX2494" fmla="*/ 66977 w 4838702"/>
              <a:gd name="connsiteY2494" fmla="*/ 3634498 h 11747497"/>
              <a:gd name="connsiteX2495" fmla="*/ 68064 w 4838702"/>
              <a:gd name="connsiteY2495" fmla="*/ 3759249 h 11747497"/>
              <a:gd name="connsiteX2496" fmla="*/ 66460 w 4838702"/>
              <a:gd name="connsiteY2496" fmla="*/ 3717566 h 11747497"/>
              <a:gd name="connsiteX2497" fmla="*/ 63047 w 4838702"/>
              <a:gd name="connsiteY2497" fmla="*/ 3675883 h 11747497"/>
              <a:gd name="connsiteX2498" fmla="*/ 61392 w 4838702"/>
              <a:gd name="connsiteY2498" fmla="*/ 3648160 h 11747497"/>
              <a:gd name="connsiteX2499" fmla="*/ 57772 w 4838702"/>
              <a:gd name="connsiteY2499" fmla="*/ 3648060 h 11747497"/>
              <a:gd name="connsiteX2500" fmla="*/ 57202 w 4838702"/>
              <a:gd name="connsiteY2500" fmla="*/ 3745088 h 11747497"/>
              <a:gd name="connsiteX2501" fmla="*/ 56478 w 4838702"/>
              <a:gd name="connsiteY2501" fmla="*/ 3869837 h 11747497"/>
              <a:gd name="connsiteX2502" fmla="*/ 57978 w 4838702"/>
              <a:gd name="connsiteY2502" fmla="*/ 3925282 h 11747497"/>
              <a:gd name="connsiteX2503" fmla="*/ 54668 w 4838702"/>
              <a:gd name="connsiteY2503" fmla="*/ 4188542 h 11747497"/>
              <a:gd name="connsiteX2504" fmla="*/ 69357 w 4838702"/>
              <a:gd name="connsiteY2504" fmla="*/ 4161219 h 11747497"/>
              <a:gd name="connsiteX2505" fmla="*/ 68115 w 4838702"/>
              <a:gd name="connsiteY2505" fmla="*/ 4064092 h 11747497"/>
              <a:gd name="connsiteX2506" fmla="*/ 70184 w 4838702"/>
              <a:gd name="connsiteY2506" fmla="*/ 4022509 h 11747497"/>
              <a:gd name="connsiteX2507" fmla="*/ 70339 w 4838702"/>
              <a:gd name="connsiteY2507" fmla="*/ 3994787 h 11747497"/>
              <a:gd name="connsiteX2508" fmla="*/ 70598 w 4838702"/>
              <a:gd name="connsiteY2508" fmla="*/ 3953203 h 11747497"/>
              <a:gd name="connsiteX2509" fmla="*/ 73029 w 4838702"/>
              <a:gd name="connsiteY2509" fmla="*/ 3842414 h 11747497"/>
              <a:gd name="connsiteX2510" fmla="*/ 75149 w 4838702"/>
              <a:gd name="connsiteY2510" fmla="*/ 3787070 h 11747497"/>
              <a:gd name="connsiteX2511" fmla="*/ 85545 w 4838702"/>
              <a:gd name="connsiteY2511" fmla="*/ 3870535 h 11747497"/>
              <a:gd name="connsiteX2512" fmla="*/ 85855 w 4838702"/>
              <a:gd name="connsiteY2512" fmla="*/ 3815091 h 11747497"/>
              <a:gd name="connsiteX2513" fmla="*/ 87924 w 4838702"/>
              <a:gd name="connsiteY2513" fmla="*/ 3773509 h 11747497"/>
              <a:gd name="connsiteX2514" fmla="*/ 86320 w 4838702"/>
              <a:gd name="connsiteY2514" fmla="*/ 3731925 h 11747497"/>
              <a:gd name="connsiteX2515" fmla="*/ 87407 w 4838702"/>
              <a:gd name="connsiteY2515" fmla="*/ 3537870 h 11747497"/>
              <a:gd name="connsiteX2516" fmla="*/ 86010 w 4838702"/>
              <a:gd name="connsiteY2516" fmla="*/ 3468564 h 11747497"/>
              <a:gd name="connsiteX2517" fmla="*/ 87924 w 4838702"/>
              <a:gd name="connsiteY2517" fmla="*/ 3454703 h 11747497"/>
              <a:gd name="connsiteX2518" fmla="*/ 90769 w 4838702"/>
              <a:gd name="connsiteY2518" fmla="*/ 3274608 h 11747497"/>
              <a:gd name="connsiteX2519" fmla="*/ 95837 w 4838702"/>
              <a:gd name="connsiteY2519" fmla="*/ 3344013 h 11747497"/>
              <a:gd name="connsiteX2520" fmla="*/ 99613 w 4838702"/>
              <a:gd name="connsiteY2520" fmla="*/ 3316391 h 11747497"/>
              <a:gd name="connsiteX2521" fmla="*/ 108715 w 4838702"/>
              <a:gd name="connsiteY2521" fmla="*/ 3316690 h 11747497"/>
              <a:gd name="connsiteX2522" fmla="*/ 107267 w 4838702"/>
              <a:gd name="connsiteY2522" fmla="*/ 3247385 h 11747497"/>
              <a:gd name="connsiteX2523" fmla="*/ 98009 w 4838702"/>
              <a:gd name="connsiteY2523" fmla="*/ 3274907 h 11747497"/>
              <a:gd name="connsiteX2524" fmla="*/ 100389 w 4838702"/>
              <a:gd name="connsiteY2524" fmla="*/ 3177980 h 11747497"/>
              <a:gd name="connsiteX2525" fmla="*/ 105767 w 4838702"/>
              <a:gd name="connsiteY2525" fmla="*/ 3191940 h 11747497"/>
              <a:gd name="connsiteX2526" fmla="*/ 109698 w 4838702"/>
              <a:gd name="connsiteY2526" fmla="*/ 3136596 h 11747497"/>
              <a:gd name="connsiteX2527" fmla="*/ 111042 w 4838702"/>
              <a:gd name="connsiteY2527" fmla="*/ 3219762 h 11747497"/>
              <a:gd name="connsiteX2528" fmla="*/ 117094 w 4838702"/>
              <a:gd name="connsiteY2528" fmla="*/ 3109073 h 11747497"/>
              <a:gd name="connsiteX2529" fmla="*/ 100906 w 4838702"/>
              <a:gd name="connsiteY2529" fmla="*/ 3080852 h 11747497"/>
              <a:gd name="connsiteX2530" fmla="*/ 95320 w 4838702"/>
              <a:gd name="connsiteY2530" fmla="*/ 3108376 h 11747497"/>
              <a:gd name="connsiteX2531" fmla="*/ 86631 w 4838702"/>
              <a:gd name="connsiteY2531" fmla="*/ 3038870 h 11747497"/>
              <a:gd name="connsiteX2532" fmla="*/ 89062 w 4838702"/>
              <a:gd name="connsiteY2532" fmla="*/ 2927981 h 11747497"/>
              <a:gd name="connsiteX2533" fmla="*/ 105509 w 4838702"/>
              <a:gd name="connsiteY2533" fmla="*/ 2914619 h 11747497"/>
              <a:gd name="connsiteX2534" fmla="*/ 104940 w 4838702"/>
              <a:gd name="connsiteY2534" fmla="*/ 3011647 h 11747497"/>
              <a:gd name="connsiteX2535" fmla="*/ 112129 w 4838702"/>
              <a:gd name="connsiteY2535" fmla="*/ 3025707 h 11747497"/>
              <a:gd name="connsiteX2536" fmla="*/ 115904 w 4838702"/>
              <a:gd name="connsiteY2536" fmla="*/ 2998085 h 11747497"/>
              <a:gd name="connsiteX2537" fmla="*/ 112491 w 4838702"/>
              <a:gd name="connsiteY2537" fmla="*/ 2956402 h 11747497"/>
              <a:gd name="connsiteX2538" fmla="*/ 109698 w 4838702"/>
              <a:gd name="connsiteY2538" fmla="*/ 2803830 h 11747497"/>
              <a:gd name="connsiteX2539" fmla="*/ 107578 w 4838702"/>
              <a:gd name="connsiteY2539" fmla="*/ 2859275 h 11747497"/>
              <a:gd name="connsiteX2540" fmla="*/ 106130 w 4838702"/>
              <a:gd name="connsiteY2540" fmla="*/ 2789869 h 11747497"/>
              <a:gd name="connsiteX2541" fmla="*/ 96975 w 4838702"/>
              <a:gd name="connsiteY2541" fmla="*/ 2803530 h 11747497"/>
              <a:gd name="connsiteX2542" fmla="*/ 93096 w 4838702"/>
              <a:gd name="connsiteY2542" fmla="*/ 2845015 h 11747497"/>
              <a:gd name="connsiteX2543" fmla="*/ 93406 w 4838702"/>
              <a:gd name="connsiteY2543" fmla="*/ 2789570 h 11747497"/>
              <a:gd name="connsiteX2544" fmla="*/ 95475 w 4838702"/>
              <a:gd name="connsiteY2544" fmla="*/ 2748087 h 11747497"/>
              <a:gd name="connsiteX2545" fmla="*/ 93923 w 4838702"/>
              <a:gd name="connsiteY2545" fmla="*/ 2706404 h 11747497"/>
              <a:gd name="connsiteX2546" fmla="*/ 96923 w 4838702"/>
              <a:gd name="connsiteY2546" fmla="*/ 2498587 h 11747497"/>
              <a:gd name="connsiteX2547" fmla="*/ 100543 w 4838702"/>
              <a:gd name="connsiteY2547" fmla="*/ 2498686 h 11747497"/>
              <a:gd name="connsiteX2548" fmla="*/ 99457 w 4838702"/>
              <a:gd name="connsiteY2548" fmla="*/ 2373937 h 11747497"/>
              <a:gd name="connsiteX2549" fmla="*/ 104733 w 4838702"/>
              <a:gd name="connsiteY2549" fmla="*/ 2401759 h 11747497"/>
              <a:gd name="connsiteX2550" fmla="*/ 110267 w 4838702"/>
              <a:gd name="connsiteY2550" fmla="*/ 2387997 h 11747497"/>
              <a:gd name="connsiteX2551" fmla="*/ 113836 w 4838702"/>
              <a:gd name="connsiteY2551" fmla="*/ 2401959 h 11747497"/>
              <a:gd name="connsiteX2552" fmla="*/ 124800 w 4838702"/>
              <a:gd name="connsiteY2552" fmla="*/ 2388396 h 11747497"/>
              <a:gd name="connsiteX2553" fmla="*/ 123714 w 4838702"/>
              <a:gd name="connsiteY2553" fmla="*/ 2263647 h 11747497"/>
              <a:gd name="connsiteX2554" fmla="*/ 119835 w 4838702"/>
              <a:gd name="connsiteY2554" fmla="*/ 2305131 h 11747497"/>
              <a:gd name="connsiteX2555" fmla="*/ 122111 w 4838702"/>
              <a:gd name="connsiteY2555" fmla="*/ 2222063 h 11747497"/>
              <a:gd name="connsiteX2556" fmla="*/ 120766 w 4838702"/>
              <a:gd name="connsiteY2556" fmla="*/ 2138798 h 11747497"/>
              <a:gd name="connsiteX2557" fmla="*/ 124542 w 4838702"/>
              <a:gd name="connsiteY2557" fmla="*/ 2111175 h 11747497"/>
              <a:gd name="connsiteX2558" fmla="*/ 128317 w 4838702"/>
              <a:gd name="connsiteY2558" fmla="*/ 2083552 h 11747497"/>
              <a:gd name="connsiteX2559" fmla="*/ 131575 w 4838702"/>
              <a:gd name="connsiteY2559" fmla="*/ 2152957 h 11747497"/>
              <a:gd name="connsiteX2560" fmla="*/ 129300 w 4838702"/>
              <a:gd name="connsiteY2560" fmla="*/ 2236025 h 11747497"/>
              <a:gd name="connsiteX2561" fmla="*/ 138402 w 4838702"/>
              <a:gd name="connsiteY2561" fmla="*/ 2236323 h 11747497"/>
              <a:gd name="connsiteX2562" fmla="*/ 136282 w 4838702"/>
              <a:gd name="connsiteY2562" fmla="*/ 2291669 h 11747497"/>
              <a:gd name="connsiteX2563" fmla="*/ 137782 w 4838702"/>
              <a:gd name="connsiteY2563" fmla="*/ 2347213 h 11747497"/>
              <a:gd name="connsiteX2564" fmla="*/ 135868 w 4838702"/>
              <a:gd name="connsiteY2564" fmla="*/ 2360973 h 11747497"/>
              <a:gd name="connsiteX2565" fmla="*/ 135299 w 4838702"/>
              <a:gd name="connsiteY2565" fmla="*/ 2458001 h 11747497"/>
              <a:gd name="connsiteX2566" fmla="*/ 136386 w 4838702"/>
              <a:gd name="connsiteY2566" fmla="*/ 2582751 h 11747497"/>
              <a:gd name="connsiteX2567" fmla="*/ 133748 w 4838702"/>
              <a:gd name="connsiteY2567" fmla="*/ 2721361 h 11747497"/>
              <a:gd name="connsiteX2568" fmla="*/ 124645 w 4838702"/>
              <a:gd name="connsiteY2568" fmla="*/ 2721063 h 11747497"/>
              <a:gd name="connsiteX2569" fmla="*/ 128058 w 4838702"/>
              <a:gd name="connsiteY2569" fmla="*/ 2443940 h 11747497"/>
              <a:gd name="connsiteX2570" fmla="*/ 120559 w 4838702"/>
              <a:gd name="connsiteY2570" fmla="*/ 2485325 h 11747497"/>
              <a:gd name="connsiteX2571" fmla="*/ 120146 w 4838702"/>
              <a:gd name="connsiteY2571" fmla="*/ 2554629 h 11747497"/>
              <a:gd name="connsiteX2572" fmla="*/ 119887 w 4838702"/>
              <a:gd name="connsiteY2572" fmla="*/ 2596213 h 11747497"/>
              <a:gd name="connsiteX2573" fmla="*/ 116163 w 4838702"/>
              <a:gd name="connsiteY2573" fmla="*/ 2609975 h 11747497"/>
              <a:gd name="connsiteX2574" fmla="*/ 114663 w 4838702"/>
              <a:gd name="connsiteY2574" fmla="*/ 2554431 h 11747497"/>
              <a:gd name="connsiteX2575" fmla="*/ 109284 w 4838702"/>
              <a:gd name="connsiteY2575" fmla="*/ 2540470 h 11747497"/>
              <a:gd name="connsiteX2576" fmla="*/ 109698 w 4838702"/>
              <a:gd name="connsiteY2576" fmla="*/ 2471164 h 11747497"/>
              <a:gd name="connsiteX2577" fmla="*/ 104268 w 4838702"/>
              <a:gd name="connsiteY2577" fmla="*/ 2470965 h 11747497"/>
              <a:gd name="connsiteX2578" fmla="*/ 101837 w 4838702"/>
              <a:gd name="connsiteY2578" fmla="*/ 2581754 h 11747497"/>
              <a:gd name="connsiteX2579" fmla="*/ 99561 w 4838702"/>
              <a:gd name="connsiteY2579" fmla="*/ 2664920 h 11747497"/>
              <a:gd name="connsiteX2580" fmla="*/ 112181 w 4838702"/>
              <a:gd name="connsiteY2580" fmla="*/ 2679081 h 11747497"/>
              <a:gd name="connsiteX2581" fmla="*/ 114301 w 4838702"/>
              <a:gd name="connsiteY2581" fmla="*/ 2623636 h 11747497"/>
              <a:gd name="connsiteX2582" fmla="*/ 118077 w 4838702"/>
              <a:gd name="connsiteY2582" fmla="*/ 2914819 h 11747497"/>
              <a:gd name="connsiteX2583" fmla="*/ 123921 w 4838702"/>
              <a:gd name="connsiteY2583" fmla="*/ 2845612 h 11747497"/>
              <a:gd name="connsiteX2584" fmla="*/ 121387 w 4838702"/>
              <a:gd name="connsiteY2584" fmla="*/ 2970263 h 11747497"/>
              <a:gd name="connsiteX2585" fmla="*/ 130541 w 4838702"/>
              <a:gd name="connsiteY2585" fmla="*/ 2956702 h 11747497"/>
              <a:gd name="connsiteX2586" fmla="*/ 128317 w 4838702"/>
              <a:gd name="connsiteY2586" fmla="*/ 3025907 h 11747497"/>
              <a:gd name="connsiteX2587" fmla="*/ 131627 w 4838702"/>
              <a:gd name="connsiteY2587" fmla="*/ 3081451 h 11747497"/>
              <a:gd name="connsiteX2588" fmla="*/ 144402 w 4838702"/>
              <a:gd name="connsiteY2588" fmla="*/ 3067989 h 11747497"/>
              <a:gd name="connsiteX2589" fmla="*/ 140471 w 4838702"/>
              <a:gd name="connsiteY2589" fmla="*/ 3123333 h 11747497"/>
              <a:gd name="connsiteX2590" fmla="*/ 133386 w 4838702"/>
              <a:gd name="connsiteY2590" fmla="*/ 3095412 h 11747497"/>
              <a:gd name="connsiteX2591" fmla="*/ 127696 w 4838702"/>
              <a:gd name="connsiteY2591" fmla="*/ 3136795 h 11747497"/>
              <a:gd name="connsiteX2592" fmla="*/ 131162 w 4838702"/>
              <a:gd name="connsiteY2592" fmla="*/ 3164617 h 11747497"/>
              <a:gd name="connsiteX2593" fmla="*/ 128886 w 4838702"/>
              <a:gd name="connsiteY2593" fmla="*/ 3247685 h 11747497"/>
              <a:gd name="connsiteX2594" fmla="*/ 123197 w 4838702"/>
              <a:gd name="connsiteY2594" fmla="*/ 3289167 h 11747497"/>
              <a:gd name="connsiteX2595" fmla="*/ 123042 w 4838702"/>
              <a:gd name="connsiteY2595" fmla="*/ 3316890 h 11747497"/>
              <a:gd name="connsiteX2596" fmla="*/ 120921 w 4838702"/>
              <a:gd name="connsiteY2596" fmla="*/ 3372335 h 11747497"/>
              <a:gd name="connsiteX2597" fmla="*/ 117146 w 4838702"/>
              <a:gd name="connsiteY2597" fmla="*/ 3399956 h 11747497"/>
              <a:gd name="connsiteX2598" fmla="*/ 118180 w 4838702"/>
              <a:gd name="connsiteY2598" fmla="*/ 3538567 h 11747497"/>
              <a:gd name="connsiteX2599" fmla="*/ 118025 w 4838702"/>
              <a:gd name="connsiteY2599" fmla="*/ 3566289 h 11747497"/>
              <a:gd name="connsiteX2600" fmla="*/ 110784 w 4838702"/>
              <a:gd name="connsiteY2600" fmla="*/ 3566090 h 11747497"/>
              <a:gd name="connsiteX2601" fmla="*/ 105354 w 4838702"/>
              <a:gd name="connsiteY2601" fmla="*/ 3565890 h 11747497"/>
              <a:gd name="connsiteX2602" fmla="*/ 108198 w 4838702"/>
              <a:gd name="connsiteY2602" fmla="*/ 3385797 h 11747497"/>
              <a:gd name="connsiteX2603" fmla="*/ 102974 w 4838702"/>
              <a:gd name="connsiteY2603" fmla="*/ 3344013 h 11747497"/>
              <a:gd name="connsiteX2604" fmla="*/ 99199 w 4838702"/>
              <a:gd name="connsiteY2604" fmla="*/ 3371636 h 11747497"/>
              <a:gd name="connsiteX2605" fmla="*/ 95631 w 4838702"/>
              <a:gd name="connsiteY2605" fmla="*/ 3357675 h 11747497"/>
              <a:gd name="connsiteX2606" fmla="*/ 91027 w 4838702"/>
              <a:gd name="connsiteY2606" fmla="*/ 3523908 h 11747497"/>
              <a:gd name="connsiteX2607" fmla="*/ 96303 w 4838702"/>
              <a:gd name="connsiteY2607" fmla="*/ 3551830 h 11747497"/>
              <a:gd name="connsiteX2608" fmla="*/ 92527 w 4838702"/>
              <a:gd name="connsiteY2608" fmla="*/ 3579453 h 11747497"/>
              <a:gd name="connsiteX2609" fmla="*/ 94027 w 4838702"/>
              <a:gd name="connsiteY2609" fmla="*/ 3634897 h 11747497"/>
              <a:gd name="connsiteX2610" fmla="*/ 92217 w 4838702"/>
              <a:gd name="connsiteY2610" fmla="*/ 3634797 h 11747497"/>
              <a:gd name="connsiteX2611" fmla="*/ 91751 w 4838702"/>
              <a:gd name="connsiteY2611" fmla="*/ 3717964 h 11747497"/>
              <a:gd name="connsiteX2612" fmla="*/ 89683 w 4838702"/>
              <a:gd name="connsiteY2612" fmla="*/ 3759547 h 11747497"/>
              <a:gd name="connsiteX2613" fmla="*/ 89062 w 4838702"/>
              <a:gd name="connsiteY2613" fmla="*/ 3870436 h 11747497"/>
              <a:gd name="connsiteX2614" fmla="*/ 92165 w 4838702"/>
              <a:gd name="connsiteY2614" fmla="*/ 3967564 h 11747497"/>
              <a:gd name="connsiteX2615" fmla="*/ 81200 w 4838702"/>
              <a:gd name="connsiteY2615" fmla="*/ 3981125 h 11747497"/>
              <a:gd name="connsiteX2616" fmla="*/ 80786 w 4838702"/>
              <a:gd name="connsiteY2616" fmla="*/ 4050430 h 11747497"/>
              <a:gd name="connsiteX2617" fmla="*/ 91699 w 4838702"/>
              <a:gd name="connsiteY2617" fmla="*/ 4050730 h 11747497"/>
              <a:gd name="connsiteX2618" fmla="*/ 95889 w 4838702"/>
              <a:gd name="connsiteY2618" fmla="*/ 3953802 h 11747497"/>
              <a:gd name="connsiteX2619" fmla="*/ 96044 w 4838702"/>
              <a:gd name="connsiteY2619" fmla="*/ 3926080 h 11747497"/>
              <a:gd name="connsiteX2620" fmla="*/ 97854 w 4838702"/>
              <a:gd name="connsiteY2620" fmla="*/ 3926179 h 11747497"/>
              <a:gd name="connsiteX2621" fmla="*/ 94699 w 4838702"/>
              <a:gd name="connsiteY2621" fmla="*/ 3842912 h 11747497"/>
              <a:gd name="connsiteX2622" fmla="*/ 96820 w 4838702"/>
              <a:gd name="connsiteY2622" fmla="*/ 3787569 h 11747497"/>
              <a:gd name="connsiteX2623" fmla="*/ 118698 w 4838702"/>
              <a:gd name="connsiteY2623" fmla="*/ 3774306 h 11747497"/>
              <a:gd name="connsiteX2624" fmla="*/ 111508 w 4838702"/>
              <a:gd name="connsiteY2624" fmla="*/ 3760245 h 11747497"/>
              <a:gd name="connsiteX2625" fmla="*/ 122990 w 4838702"/>
              <a:gd name="connsiteY2625" fmla="*/ 3663516 h 11747497"/>
              <a:gd name="connsiteX2626" fmla="*/ 125680 w 4838702"/>
              <a:gd name="connsiteY2626" fmla="*/ 3511045 h 11747497"/>
              <a:gd name="connsiteX2627" fmla="*/ 134472 w 4838702"/>
              <a:gd name="connsiteY2627" fmla="*/ 3566688 h 11747497"/>
              <a:gd name="connsiteX2628" fmla="*/ 130593 w 4838702"/>
              <a:gd name="connsiteY2628" fmla="*/ 3608172 h 11747497"/>
              <a:gd name="connsiteX2629" fmla="*/ 131938 w 4838702"/>
              <a:gd name="connsiteY2629" fmla="*/ 3691439 h 11747497"/>
              <a:gd name="connsiteX2630" fmla="*/ 120973 w 4838702"/>
              <a:gd name="connsiteY2630" fmla="*/ 3705000 h 11747497"/>
              <a:gd name="connsiteX2631" fmla="*/ 125938 w 4838702"/>
              <a:gd name="connsiteY2631" fmla="*/ 3788366 h 11747497"/>
              <a:gd name="connsiteX2632" fmla="*/ 134989 w 4838702"/>
              <a:gd name="connsiteY2632" fmla="*/ 3788666 h 11747497"/>
              <a:gd name="connsiteX2633" fmla="*/ 131213 w 4838702"/>
              <a:gd name="connsiteY2633" fmla="*/ 3816287 h 11747497"/>
              <a:gd name="connsiteX2634" fmla="*/ 134420 w 4838702"/>
              <a:gd name="connsiteY2634" fmla="*/ 3885693 h 11747497"/>
              <a:gd name="connsiteX2635" fmla="*/ 132507 w 4838702"/>
              <a:gd name="connsiteY2635" fmla="*/ 3899554 h 11747497"/>
              <a:gd name="connsiteX2636" fmla="*/ 132196 w 4838702"/>
              <a:gd name="connsiteY2636" fmla="*/ 3954999 h 11747497"/>
              <a:gd name="connsiteX2637" fmla="*/ 121232 w 4838702"/>
              <a:gd name="connsiteY2637" fmla="*/ 3968560 h 11747497"/>
              <a:gd name="connsiteX2638" fmla="*/ 121645 w 4838702"/>
              <a:gd name="connsiteY2638" fmla="*/ 3899355 h 11747497"/>
              <a:gd name="connsiteX2639" fmla="*/ 109026 w 4838702"/>
              <a:gd name="connsiteY2639" fmla="*/ 3885095 h 11747497"/>
              <a:gd name="connsiteX2640" fmla="*/ 103078 w 4838702"/>
              <a:gd name="connsiteY2640" fmla="*/ 3968062 h 11747497"/>
              <a:gd name="connsiteX2641" fmla="*/ 97492 w 4838702"/>
              <a:gd name="connsiteY2641" fmla="*/ 3995684 h 11747497"/>
              <a:gd name="connsiteX2642" fmla="*/ 99147 w 4838702"/>
              <a:gd name="connsiteY2642" fmla="*/ 4023406 h 11747497"/>
              <a:gd name="connsiteX2643" fmla="*/ 109957 w 4838702"/>
              <a:gd name="connsiteY2643" fmla="*/ 4037567 h 11747497"/>
              <a:gd name="connsiteX2644" fmla="*/ 120714 w 4838702"/>
              <a:gd name="connsiteY2644" fmla="*/ 4065587 h 11747497"/>
              <a:gd name="connsiteX2645" fmla="*/ 129972 w 4838702"/>
              <a:gd name="connsiteY2645" fmla="*/ 4038164 h 11747497"/>
              <a:gd name="connsiteX2646" fmla="*/ 124439 w 4838702"/>
              <a:gd name="connsiteY2646" fmla="*/ 4051926 h 11747497"/>
              <a:gd name="connsiteX2647" fmla="*/ 129817 w 4838702"/>
              <a:gd name="connsiteY2647" fmla="*/ 4065887 h 11747497"/>
              <a:gd name="connsiteX2648" fmla="*/ 115025 w 4838702"/>
              <a:gd name="connsiteY2648" fmla="*/ 4107071 h 11747497"/>
              <a:gd name="connsiteX2649" fmla="*/ 127749 w 4838702"/>
              <a:gd name="connsiteY2649" fmla="*/ 4107470 h 11747497"/>
              <a:gd name="connsiteX2650" fmla="*/ 131162 w 4838702"/>
              <a:gd name="connsiteY2650" fmla="*/ 4149153 h 11747497"/>
              <a:gd name="connsiteX2651" fmla="*/ 127542 w 4838702"/>
              <a:gd name="connsiteY2651" fmla="*/ 4149054 h 11747497"/>
              <a:gd name="connsiteX2652" fmla="*/ 125421 w 4838702"/>
              <a:gd name="connsiteY2652" fmla="*/ 4204398 h 11747497"/>
              <a:gd name="connsiteX2653" fmla="*/ 121542 w 4838702"/>
              <a:gd name="connsiteY2653" fmla="*/ 4245882 h 11747497"/>
              <a:gd name="connsiteX2654" fmla="*/ 130489 w 4838702"/>
              <a:gd name="connsiteY2654" fmla="*/ 4273903 h 11747497"/>
              <a:gd name="connsiteX2655" fmla="*/ 128058 w 4838702"/>
              <a:gd name="connsiteY2655" fmla="*/ 4384691 h 11747497"/>
              <a:gd name="connsiteX2656" fmla="*/ 122473 w 4838702"/>
              <a:gd name="connsiteY2656" fmla="*/ 4412215 h 11747497"/>
              <a:gd name="connsiteX2657" fmla="*/ 126094 w 4838702"/>
              <a:gd name="connsiteY2657" fmla="*/ 4412314 h 11747497"/>
              <a:gd name="connsiteX2658" fmla="*/ 125834 w 4838702"/>
              <a:gd name="connsiteY2658" fmla="*/ 4453898 h 11747497"/>
              <a:gd name="connsiteX2659" fmla="*/ 127335 w 4838702"/>
              <a:gd name="connsiteY2659" fmla="*/ 4509442 h 11747497"/>
              <a:gd name="connsiteX2660" fmla="*/ 125369 w 4838702"/>
              <a:gd name="connsiteY2660" fmla="*/ 4537064 h 11747497"/>
              <a:gd name="connsiteX2661" fmla="*/ 121645 w 4838702"/>
              <a:gd name="connsiteY2661" fmla="*/ 4550826 h 11747497"/>
              <a:gd name="connsiteX2662" fmla="*/ 125111 w 4838702"/>
              <a:gd name="connsiteY2662" fmla="*/ 4578647 h 11747497"/>
              <a:gd name="connsiteX2663" fmla="*/ 124955 w 4838702"/>
              <a:gd name="connsiteY2663" fmla="*/ 4606370 h 11747497"/>
              <a:gd name="connsiteX2664" fmla="*/ 126766 w 4838702"/>
              <a:gd name="connsiteY2664" fmla="*/ 4606469 h 11747497"/>
              <a:gd name="connsiteX2665" fmla="*/ 127955 w 4838702"/>
              <a:gd name="connsiteY2665" fmla="*/ 4717458 h 11747497"/>
              <a:gd name="connsiteX2666" fmla="*/ 126300 w 4838702"/>
              <a:gd name="connsiteY2666" fmla="*/ 4689736 h 11747497"/>
              <a:gd name="connsiteX2667" fmla="*/ 120714 w 4838702"/>
              <a:gd name="connsiteY2667" fmla="*/ 4717258 h 11747497"/>
              <a:gd name="connsiteX2668" fmla="*/ 120611 w 4838702"/>
              <a:gd name="connsiteY2668" fmla="*/ 4731119 h 11747497"/>
              <a:gd name="connsiteX2669" fmla="*/ 111612 w 4838702"/>
              <a:gd name="connsiteY2669" fmla="*/ 4717059 h 11747497"/>
              <a:gd name="connsiteX2670" fmla="*/ 111146 w 4838702"/>
              <a:gd name="connsiteY2670" fmla="*/ 4800226 h 11747497"/>
              <a:gd name="connsiteX2671" fmla="*/ 109233 w 4838702"/>
              <a:gd name="connsiteY2671" fmla="*/ 4813987 h 11747497"/>
              <a:gd name="connsiteX2672" fmla="*/ 108974 w 4838702"/>
              <a:gd name="connsiteY2672" fmla="*/ 4853775 h 11747497"/>
              <a:gd name="connsiteX2673" fmla="*/ 108560 w 4838702"/>
              <a:gd name="connsiteY2673" fmla="*/ 4924876 h 11747497"/>
              <a:gd name="connsiteX2674" fmla="*/ 112025 w 4838702"/>
              <a:gd name="connsiteY2674" fmla="*/ 4952698 h 11747497"/>
              <a:gd name="connsiteX2675" fmla="*/ 118904 w 4838702"/>
              <a:gd name="connsiteY2675" fmla="*/ 5022203 h 11747497"/>
              <a:gd name="connsiteX2676" fmla="*/ 118180 w 4838702"/>
              <a:gd name="connsiteY2676" fmla="*/ 5146952 h 11747497"/>
              <a:gd name="connsiteX2677" fmla="*/ 116577 w 4838702"/>
              <a:gd name="connsiteY2677" fmla="*/ 5105269 h 11747497"/>
              <a:gd name="connsiteX2678" fmla="*/ 110888 w 4838702"/>
              <a:gd name="connsiteY2678" fmla="*/ 5146752 h 11747497"/>
              <a:gd name="connsiteX2679" fmla="*/ 107009 w 4838702"/>
              <a:gd name="connsiteY2679" fmla="*/ 5188236 h 11747497"/>
              <a:gd name="connsiteX2680" fmla="*/ 114301 w 4838702"/>
              <a:gd name="connsiteY2680" fmla="*/ 5188436 h 11747497"/>
              <a:gd name="connsiteX2681" fmla="*/ 115853 w 4838702"/>
              <a:gd name="connsiteY2681" fmla="*/ 5230119 h 11747497"/>
              <a:gd name="connsiteX2682" fmla="*/ 112129 w 4838702"/>
              <a:gd name="connsiteY2682" fmla="*/ 5243881 h 11747497"/>
              <a:gd name="connsiteX2683" fmla="*/ 115542 w 4838702"/>
              <a:gd name="connsiteY2683" fmla="*/ 5285564 h 11747497"/>
              <a:gd name="connsiteX2684" fmla="*/ 113629 w 4838702"/>
              <a:gd name="connsiteY2684" fmla="*/ 5299324 h 11747497"/>
              <a:gd name="connsiteX2685" fmla="*/ 115335 w 4838702"/>
              <a:gd name="connsiteY2685" fmla="*/ 5313285 h 11747497"/>
              <a:gd name="connsiteX2686" fmla="*/ 113060 w 4838702"/>
              <a:gd name="connsiteY2686" fmla="*/ 5396352 h 11747497"/>
              <a:gd name="connsiteX2687" fmla="*/ 118491 w 4838702"/>
              <a:gd name="connsiteY2687" fmla="*/ 5396551 h 11747497"/>
              <a:gd name="connsiteX2688" fmla="*/ 116111 w 4838702"/>
              <a:gd name="connsiteY2688" fmla="*/ 5493579 h 11747497"/>
              <a:gd name="connsiteX2689" fmla="*/ 110732 w 4838702"/>
              <a:gd name="connsiteY2689" fmla="*/ 5479518 h 11747497"/>
              <a:gd name="connsiteX2690" fmla="*/ 106543 w 4838702"/>
              <a:gd name="connsiteY2690" fmla="*/ 5576446 h 11747497"/>
              <a:gd name="connsiteX2691" fmla="*/ 110112 w 4838702"/>
              <a:gd name="connsiteY2691" fmla="*/ 5590408 h 11747497"/>
              <a:gd name="connsiteX2692" fmla="*/ 109853 w 4838702"/>
              <a:gd name="connsiteY2692" fmla="*/ 5631990 h 11747497"/>
              <a:gd name="connsiteX2693" fmla="*/ 113319 w 4838702"/>
              <a:gd name="connsiteY2693" fmla="*/ 5659812 h 11747497"/>
              <a:gd name="connsiteX2694" fmla="*/ 109543 w 4838702"/>
              <a:gd name="connsiteY2694" fmla="*/ 5687435 h 11747497"/>
              <a:gd name="connsiteX2695" fmla="*/ 114818 w 4838702"/>
              <a:gd name="connsiteY2695" fmla="*/ 5715356 h 11747497"/>
              <a:gd name="connsiteX2696" fmla="*/ 107371 w 4838702"/>
              <a:gd name="connsiteY2696" fmla="*/ 5742879 h 11747497"/>
              <a:gd name="connsiteX2697" fmla="*/ 114456 w 4838702"/>
              <a:gd name="connsiteY2697" fmla="*/ 5770800 h 11747497"/>
              <a:gd name="connsiteX2698" fmla="*/ 107009 w 4838702"/>
              <a:gd name="connsiteY2698" fmla="*/ 5798323 h 11747497"/>
              <a:gd name="connsiteX2699" fmla="*/ 112232 w 4838702"/>
              <a:gd name="connsiteY2699" fmla="*/ 5840106 h 11747497"/>
              <a:gd name="connsiteX2700" fmla="*/ 108301 w 4838702"/>
              <a:gd name="connsiteY2700" fmla="*/ 5895450 h 11747497"/>
              <a:gd name="connsiteX2701" fmla="*/ 111715 w 4838702"/>
              <a:gd name="connsiteY2701" fmla="*/ 5937133 h 11747497"/>
              <a:gd name="connsiteX2702" fmla="*/ 100492 w 4838702"/>
              <a:gd name="connsiteY2702" fmla="*/ 5992279 h 11747497"/>
              <a:gd name="connsiteX2703" fmla="*/ 91751 w 4838702"/>
              <a:gd name="connsiteY2703" fmla="*/ 5936635 h 11747497"/>
              <a:gd name="connsiteX2704" fmla="*/ 87303 w 4838702"/>
              <a:gd name="connsiteY2704" fmla="*/ 6075146 h 11747497"/>
              <a:gd name="connsiteX2705" fmla="*/ 100182 w 4838702"/>
              <a:gd name="connsiteY2705" fmla="*/ 6047823 h 11747497"/>
              <a:gd name="connsiteX2706" fmla="*/ 103595 w 4838702"/>
              <a:gd name="connsiteY2706" fmla="*/ 6089506 h 11747497"/>
              <a:gd name="connsiteX2707" fmla="*/ 114560 w 4838702"/>
              <a:gd name="connsiteY2707" fmla="*/ 6075944 h 11747497"/>
              <a:gd name="connsiteX2708" fmla="*/ 114146 w 4838702"/>
              <a:gd name="connsiteY2708" fmla="*/ 6145249 h 11747497"/>
              <a:gd name="connsiteX2709" fmla="*/ 105147 w 4838702"/>
              <a:gd name="connsiteY2709" fmla="*/ 6131189 h 11747497"/>
              <a:gd name="connsiteX2710" fmla="*/ 112025 w 4838702"/>
              <a:gd name="connsiteY2710" fmla="*/ 6200693 h 11747497"/>
              <a:gd name="connsiteX2711" fmla="*/ 106491 w 4838702"/>
              <a:gd name="connsiteY2711" fmla="*/ 6214455 h 11747497"/>
              <a:gd name="connsiteX2712" fmla="*/ 97492 w 4838702"/>
              <a:gd name="connsiteY2712" fmla="*/ 6200294 h 11747497"/>
              <a:gd name="connsiteX2713" fmla="*/ 97026 w 4838702"/>
              <a:gd name="connsiteY2713" fmla="*/ 6283462 h 11747497"/>
              <a:gd name="connsiteX2714" fmla="*/ 101991 w 4838702"/>
              <a:gd name="connsiteY2714" fmla="*/ 6366728 h 11747497"/>
              <a:gd name="connsiteX2715" fmla="*/ 101526 w 4838702"/>
              <a:gd name="connsiteY2715" fmla="*/ 6449894 h 11747497"/>
              <a:gd name="connsiteX2716" fmla="*/ 104991 w 4838702"/>
              <a:gd name="connsiteY2716" fmla="*/ 6477715 h 11747497"/>
              <a:gd name="connsiteX2717" fmla="*/ 108560 w 4838702"/>
              <a:gd name="connsiteY2717" fmla="*/ 6491676 h 11747497"/>
              <a:gd name="connsiteX2718" fmla="*/ 104682 w 4838702"/>
              <a:gd name="connsiteY2718" fmla="*/ 6533160 h 11747497"/>
              <a:gd name="connsiteX2719" fmla="*/ 100750 w 4838702"/>
              <a:gd name="connsiteY2719" fmla="*/ 6588504 h 11747497"/>
              <a:gd name="connsiteX2720" fmla="*/ 102147 w 4838702"/>
              <a:gd name="connsiteY2720" fmla="*/ 6657810 h 11747497"/>
              <a:gd name="connsiteX2721" fmla="*/ 111302 w 4838702"/>
              <a:gd name="connsiteY2721" fmla="*/ 6644248 h 11747497"/>
              <a:gd name="connsiteX2722" fmla="*/ 108715 w 4838702"/>
              <a:gd name="connsiteY2722" fmla="*/ 6782760 h 11747497"/>
              <a:gd name="connsiteX2723" fmla="*/ 104940 w 4838702"/>
              <a:gd name="connsiteY2723" fmla="*/ 6810381 h 11747497"/>
              <a:gd name="connsiteX2724" fmla="*/ 110008 w 4838702"/>
              <a:gd name="connsiteY2724" fmla="*/ 6879887 h 11747497"/>
              <a:gd name="connsiteX2725" fmla="*/ 107888 w 4838702"/>
              <a:gd name="connsiteY2725" fmla="*/ 6935332 h 11747497"/>
              <a:gd name="connsiteX2726" fmla="*/ 103802 w 4838702"/>
              <a:gd name="connsiteY2726" fmla="*/ 7018397 h 11747497"/>
              <a:gd name="connsiteX2727" fmla="*/ 105509 w 4838702"/>
              <a:gd name="connsiteY2727" fmla="*/ 7032260 h 11747497"/>
              <a:gd name="connsiteX2728" fmla="*/ 103699 w 4838702"/>
              <a:gd name="connsiteY2728" fmla="*/ 7032159 h 11747497"/>
              <a:gd name="connsiteX2729" fmla="*/ 103543 w 4838702"/>
              <a:gd name="connsiteY2729" fmla="*/ 7059881 h 11747497"/>
              <a:gd name="connsiteX2730" fmla="*/ 105250 w 4838702"/>
              <a:gd name="connsiteY2730" fmla="*/ 7073841 h 11747497"/>
              <a:gd name="connsiteX2731" fmla="*/ 97492 w 4838702"/>
              <a:gd name="connsiteY2731" fmla="*/ 7156809 h 11747497"/>
              <a:gd name="connsiteX2732" fmla="*/ 101061 w 4838702"/>
              <a:gd name="connsiteY2732" fmla="*/ 7170771 h 11747497"/>
              <a:gd name="connsiteX2733" fmla="*/ 108146 w 4838702"/>
              <a:gd name="connsiteY2733" fmla="*/ 7198692 h 11747497"/>
              <a:gd name="connsiteX2734" fmla="*/ 105871 w 4838702"/>
              <a:gd name="connsiteY2734" fmla="*/ 7281758 h 11747497"/>
              <a:gd name="connsiteX2735" fmla="*/ 100492 w 4838702"/>
              <a:gd name="connsiteY2735" fmla="*/ 7267798 h 11747497"/>
              <a:gd name="connsiteX2736" fmla="*/ 96458 w 4838702"/>
              <a:gd name="connsiteY2736" fmla="*/ 7337003 h 11747497"/>
              <a:gd name="connsiteX2737" fmla="*/ 102509 w 4838702"/>
              <a:gd name="connsiteY2737" fmla="*/ 7545119 h 11747497"/>
              <a:gd name="connsiteX2738" fmla="*/ 100957 w 4838702"/>
              <a:gd name="connsiteY2738" fmla="*/ 7503436 h 11747497"/>
              <a:gd name="connsiteX2739" fmla="*/ 100492 w 4838702"/>
              <a:gd name="connsiteY2739" fmla="*/ 7586602 h 11747497"/>
              <a:gd name="connsiteX2740" fmla="*/ 103802 w 4838702"/>
              <a:gd name="connsiteY2740" fmla="*/ 7642146 h 11747497"/>
              <a:gd name="connsiteX2741" fmla="*/ 102147 w 4838702"/>
              <a:gd name="connsiteY2741" fmla="*/ 7614324 h 11747497"/>
              <a:gd name="connsiteX2742" fmla="*/ 103388 w 4838702"/>
              <a:gd name="connsiteY2742" fmla="*/ 7711452 h 11747497"/>
              <a:gd name="connsiteX2743" fmla="*/ 99613 w 4838702"/>
              <a:gd name="connsiteY2743" fmla="*/ 7739073 h 11747497"/>
              <a:gd name="connsiteX2744" fmla="*/ 104733 w 4838702"/>
              <a:gd name="connsiteY2744" fmla="*/ 7794718 h 11747497"/>
              <a:gd name="connsiteX2745" fmla="*/ 105923 w 4838702"/>
              <a:gd name="connsiteY2745" fmla="*/ 7905606 h 11747497"/>
              <a:gd name="connsiteX2746" fmla="*/ 100389 w 4838702"/>
              <a:gd name="connsiteY2746" fmla="*/ 7919368 h 11747497"/>
              <a:gd name="connsiteX2747" fmla="*/ 105198 w 4838702"/>
              <a:gd name="connsiteY2747" fmla="*/ 8030357 h 11747497"/>
              <a:gd name="connsiteX2748" fmla="*/ 103699 w 4838702"/>
              <a:gd name="connsiteY2748" fmla="*/ 7974912 h 11747497"/>
              <a:gd name="connsiteX2749" fmla="*/ 99457 w 4838702"/>
              <a:gd name="connsiteY2749" fmla="*/ 8085701 h 11747497"/>
              <a:gd name="connsiteX2750" fmla="*/ 101526 w 4838702"/>
              <a:gd name="connsiteY2750" fmla="*/ 8044217 h 11747497"/>
              <a:gd name="connsiteX2751" fmla="*/ 106284 w 4838702"/>
              <a:gd name="connsiteY2751" fmla="*/ 8169067 h 11747497"/>
              <a:gd name="connsiteX2752" fmla="*/ 98837 w 4838702"/>
              <a:gd name="connsiteY2752" fmla="*/ 8196589 h 11747497"/>
              <a:gd name="connsiteX2753" fmla="*/ 104216 w 4838702"/>
              <a:gd name="connsiteY2753" fmla="*/ 8210650 h 11747497"/>
              <a:gd name="connsiteX2754" fmla="*/ 98527 w 4838702"/>
              <a:gd name="connsiteY2754" fmla="*/ 8252134 h 11747497"/>
              <a:gd name="connsiteX2755" fmla="*/ 99561 w 4838702"/>
              <a:gd name="connsiteY2755" fmla="*/ 8390744 h 11747497"/>
              <a:gd name="connsiteX2756" fmla="*/ 104940 w 4838702"/>
              <a:gd name="connsiteY2756" fmla="*/ 8404805 h 11747497"/>
              <a:gd name="connsiteX2757" fmla="*/ 99354 w 4838702"/>
              <a:gd name="connsiteY2757" fmla="*/ 8432328 h 11747497"/>
              <a:gd name="connsiteX2758" fmla="*/ 94906 w 4838702"/>
              <a:gd name="connsiteY2758" fmla="*/ 8570839 h 11747497"/>
              <a:gd name="connsiteX2759" fmla="*/ 100285 w 4838702"/>
              <a:gd name="connsiteY2759" fmla="*/ 8584900 h 11747497"/>
              <a:gd name="connsiteX2760" fmla="*/ 97906 w 4838702"/>
              <a:gd name="connsiteY2760" fmla="*/ 8681828 h 11747497"/>
              <a:gd name="connsiteX2761" fmla="*/ 99664 w 4838702"/>
              <a:gd name="connsiteY2761" fmla="*/ 8695788 h 11747497"/>
              <a:gd name="connsiteX2762" fmla="*/ 97751 w 4838702"/>
              <a:gd name="connsiteY2762" fmla="*/ 8709550 h 11747497"/>
              <a:gd name="connsiteX2763" fmla="*/ 101216 w 4838702"/>
              <a:gd name="connsiteY2763" fmla="*/ 8737372 h 11747497"/>
              <a:gd name="connsiteX2764" fmla="*/ 97286 w 4838702"/>
              <a:gd name="connsiteY2764" fmla="*/ 8792716 h 11747497"/>
              <a:gd name="connsiteX2765" fmla="*/ 102406 w 4838702"/>
              <a:gd name="connsiteY2765" fmla="*/ 8848359 h 11747497"/>
              <a:gd name="connsiteX2766" fmla="*/ 98941 w 4838702"/>
              <a:gd name="connsiteY2766" fmla="*/ 8820537 h 11747497"/>
              <a:gd name="connsiteX2767" fmla="*/ 98527 w 4838702"/>
              <a:gd name="connsiteY2767" fmla="*/ 8889843 h 11747497"/>
              <a:gd name="connsiteX2768" fmla="*/ 92837 w 4838702"/>
              <a:gd name="connsiteY2768" fmla="*/ 8931328 h 11747497"/>
              <a:gd name="connsiteX2769" fmla="*/ 96251 w 4838702"/>
              <a:gd name="connsiteY2769" fmla="*/ 8973011 h 11747497"/>
              <a:gd name="connsiteX2770" fmla="*/ 93872 w 4838702"/>
              <a:gd name="connsiteY2770" fmla="*/ 9070037 h 11747497"/>
              <a:gd name="connsiteX2771" fmla="*/ 99251 w 4838702"/>
              <a:gd name="connsiteY2771" fmla="*/ 9083998 h 11747497"/>
              <a:gd name="connsiteX2772" fmla="*/ 95165 w 4838702"/>
              <a:gd name="connsiteY2772" fmla="*/ 9167066 h 11747497"/>
              <a:gd name="connsiteX2773" fmla="*/ 96923 w 4838702"/>
              <a:gd name="connsiteY2773" fmla="*/ 9181026 h 11747497"/>
              <a:gd name="connsiteX2774" fmla="*/ 95010 w 4838702"/>
              <a:gd name="connsiteY2774" fmla="*/ 9194887 h 11747497"/>
              <a:gd name="connsiteX2775" fmla="*/ 94234 w 4838702"/>
              <a:gd name="connsiteY2775" fmla="*/ 9333498 h 11747497"/>
              <a:gd name="connsiteX2776" fmla="*/ 97544 w 4838702"/>
              <a:gd name="connsiteY2776" fmla="*/ 9389042 h 11747497"/>
              <a:gd name="connsiteX2777" fmla="*/ 93665 w 4838702"/>
              <a:gd name="connsiteY2777" fmla="*/ 9430525 h 11747497"/>
              <a:gd name="connsiteX2778" fmla="*/ 97079 w 4838702"/>
              <a:gd name="connsiteY2778" fmla="*/ 9472208 h 11747497"/>
              <a:gd name="connsiteX2779" fmla="*/ 93355 w 4838702"/>
              <a:gd name="connsiteY2779" fmla="*/ 9485970 h 11747497"/>
              <a:gd name="connsiteX2780" fmla="*/ 96820 w 4838702"/>
              <a:gd name="connsiteY2780" fmla="*/ 9513791 h 11747497"/>
              <a:gd name="connsiteX2781" fmla="*/ 91338 w 4838702"/>
              <a:gd name="connsiteY2781" fmla="*/ 9832497 h 11747497"/>
              <a:gd name="connsiteX2782" fmla="*/ 94803 w 4838702"/>
              <a:gd name="connsiteY2782" fmla="*/ 9860320 h 11747497"/>
              <a:gd name="connsiteX2783" fmla="*/ 92165 w 4838702"/>
              <a:gd name="connsiteY2783" fmla="*/ 9998930 h 11747497"/>
              <a:gd name="connsiteX2784" fmla="*/ 93406 w 4838702"/>
              <a:gd name="connsiteY2784" fmla="*/ 10095957 h 11747497"/>
              <a:gd name="connsiteX2785" fmla="*/ 91441 w 4838702"/>
              <a:gd name="connsiteY2785" fmla="*/ 10123580 h 11747497"/>
              <a:gd name="connsiteX2786" fmla="*/ 94906 w 4838702"/>
              <a:gd name="connsiteY2786" fmla="*/ 10151402 h 11747497"/>
              <a:gd name="connsiteX2787" fmla="*/ 92682 w 4838702"/>
              <a:gd name="connsiteY2787" fmla="*/ 10220708 h 11747497"/>
              <a:gd name="connsiteX2788" fmla="*/ 94182 w 4838702"/>
              <a:gd name="connsiteY2788" fmla="*/ 10276151 h 11747497"/>
              <a:gd name="connsiteX2789" fmla="*/ 92061 w 4838702"/>
              <a:gd name="connsiteY2789" fmla="*/ 10331596 h 11747497"/>
              <a:gd name="connsiteX2790" fmla="*/ 89786 w 4838702"/>
              <a:gd name="connsiteY2790" fmla="*/ 10414662 h 11747497"/>
              <a:gd name="connsiteX2791" fmla="*/ 94906 w 4838702"/>
              <a:gd name="connsiteY2791" fmla="*/ 10470306 h 11747497"/>
              <a:gd name="connsiteX2792" fmla="*/ 92941 w 4838702"/>
              <a:gd name="connsiteY2792" fmla="*/ 10497929 h 11747497"/>
              <a:gd name="connsiteX2793" fmla="*/ 94596 w 4838702"/>
              <a:gd name="connsiteY2793" fmla="*/ 10525751 h 11747497"/>
              <a:gd name="connsiteX2794" fmla="*/ 92527 w 4838702"/>
              <a:gd name="connsiteY2794" fmla="*/ 10567235 h 11747497"/>
              <a:gd name="connsiteX2795" fmla="*/ 90096 w 4838702"/>
              <a:gd name="connsiteY2795" fmla="*/ 10678023 h 11747497"/>
              <a:gd name="connsiteX2796" fmla="*/ 93406 w 4838702"/>
              <a:gd name="connsiteY2796" fmla="*/ 10733566 h 11747497"/>
              <a:gd name="connsiteX2797" fmla="*/ 92217 w 4838702"/>
              <a:gd name="connsiteY2797" fmla="*/ 10941483 h 11747497"/>
              <a:gd name="connsiteX2798" fmla="*/ 93562 w 4838702"/>
              <a:gd name="connsiteY2798" fmla="*/ 11024650 h 11747497"/>
              <a:gd name="connsiteX2799" fmla="*/ 93148 w 4838702"/>
              <a:gd name="connsiteY2799" fmla="*/ 11093956 h 11747497"/>
              <a:gd name="connsiteX2800" fmla="*/ 94648 w 4838702"/>
              <a:gd name="connsiteY2800" fmla="*/ 11149400 h 11747497"/>
              <a:gd name="connsiteX2801" fmla="*/ 90924 w 4838702"/>
              <a:gd name="connsiteY2801" fmla="*/ 11163161 h 11747497"/>
              <a:gd name="connsiteX2802" fmla="*/ 94492 w 4838702"/>
              <a:gd name="connsiteY2802" fmla="*/ 11177121 h 11747497"/>
              <a:gd name="connsiteX2803" fmla="*/ 92424 w 4838702"/>
              <a:gd name="connsiteY2803" fmla="*/ 11218606 h 11747497"/>
              <a:gd name="connsiteX2804" fmla="*/ 94182 w 4838702"/>
              <a:gd name="connsiteY2804" fmla="*/ 11232566 h 11747497"/>
              <a:gd name="connsiteX2805" fmla="*/ 92268 w 4838702"/>
              <a:gd name="connsiteY2805" fmla="*/ 11246328 h 11747497"/>
              <a:gd name="connsiteX2806" fmla="*/ 93355 w 4838702"/>
              <a:gd name="connsiteY2806" fmla="*/ 11371077 h 11747497"/>
              <a:gd name="connsiteX2807" fmla="*/ 97440 w 4838702"/>
              <a:gd name="connsiteY2807" fmla="*/ 11606915 h 11747497"/>
              <a:gd name="connsiteX2808" fmla="*/ 98630 w 4838702"/>
              <a:gd name="connsiteY2808" fmla="*/ 11717804 h 11747497"/>
              <a:gd name="connsiteX2809" fmla="*/ 98203 w 4838702"/>
              <a:gd name="connsiteY2809" fmla="*/ 11746685 h 11747497"/>
              <a:gd name="connsiteX2810" fmla="*/ 98207 w 4838702"/>
              <a:gd name="connsiteY2810" fmla="*/ 11747497 h 11747497"/>
              <a:gd name="connsiteX2811" fmla="*/ 4729484 w 4838702"/>
              <a:gd name="connsiteY2811" fmla="*/ 11747497 h 11747497"/>
              <a:gd name="connsiteX2812" fmla="*/ 4729573 w 4838702"/>
              <a:gd name="connsiteY2812" fmla="*/ 11735255 h 11747497"/>
              <a:gd name="connsiteX2813" fmla="*/ 4733814 w 4838702"/>
              <a:gd name="connsiteY2813" fmla="*/ 11735355 h 11747497"/>
              <a:gd name="connsiteX2814" fmla="*/ 4733726 w 4838702"/>
              <a:gd name="connsiteY2814" fmla="*/ 11747497 h 11747497"/>
              <a:gd name="connsiteX2815" fmla="*/ 4762499 w 4838702"/>
              <a:gd name="connsiteY2815" fmla="*/ 11747497 h 11747497"/>
              <a:gd name="connsiteX2816" fmla="*/ 4764245 w 4838702"/>
              <a:gd name="connsiteY2816" fmla="*/ 11718850 h 11747497"/>
              <a:gd name="connsiteX2817" fmla="*/ 4767380 w 4838702"/>
              <a:gd name="connsiteY2817" fmla="*/ 11659268 h 11747497"/>
              <a:gd name="connsiteX2818" fmla="*/ 4775707 w 4838702"/>
              <a:gd name="connsiteY2818" fmla="*/ 11673727 h 11747497"/>
              <a:gd name="connsiteX2819" fmla="*/ 4772126 w 4838702"/>
              <a:gd name="connsiteY2819" fmla="*/ 11730392 h 11747497"/>
              <a:gd name="connsiteX2820" fmla="*/ 4769917 w 4838702"/>
              <a:gd name="connsiteY2820" fmla="*/ 11747497 h 11747497"/>
              <a:gd name="connsiteX2821" fmla="*/ 4783288 w 4838702"/>
              <a:gd name="connsiteY2821" fmla="*/ 11747497 h 11747497"/>
              <a:gd name="connsiteX2822" fmla="*/ 4785741 w 4838702"/>
              <a:gd name="connsiteY2822" fmla="*/ 11714014 h 11747497"/>
              <a:gd name="connsiteX2823" fmla="*/ 4788870 w 4838702"/>
              <a:gd name="connsiteY2823" fmla="*/ 11738868 h 11747497"/>
              <a:gd name="connsiteX2824" fmla="*/ 4788768 w 4838702"/>
              <a:gd name="connsiteY2824" fmla="*/ 11747497 h 11747497"/>
              <a:gd name="connsiteX2825" fmla="*/ 4820676 w 4838702"/>
              <a:gd name="connsiteY2825" fmla="*/ 11747497 h 11747497"/>
              <a:gd name="connsiteX2826" fmla="*/ 4820755 w 4838702"/>
              <a:gd name="connsiteY2826" fmla="*/ 11746659 h 11747497"/>
              <a:gd name="connsiteX2827" fmla="*/ 4825255 w 4838702"/>
              <a:gd name="connsiteY2827" fmla="*/ 11729370 h 11747497"/>
              <a:gd name="connsiteX2828" fmla="*/ 4825255 w 4838702"/>
              <a:gd name="connsiteY2828" fmla="*/ 11631645 h 11747497"/>
              <a:gd name="connsiteX2829" fmla="*/ 4824272 w 4838702"/>
              <a:gd name="connsiteY2829" fmla="*/ 11629551 h 11747497"/>
              <a:gd name="connsiteX2830" fmla="*/ 4825255 w 4838702"/>
              <a:gd name="connsiteY2830" fmla="*/ 11613896 h 11747497"/>
              <a:gd name="connsiteX2831" fmla="*/ 4825255 w 4838702"/>
              <a:gd name="connsiteY2831" fmla="*/ 11133744 h 11747497"/>
              <a:gd name="connsiteX2832" fmla="*/ 4833892 w 4838702"/>
              <a:gd name="connsiteY2832" fmla="*/ 11129356 h 11747497"/>
              <a:gd name="connsiteX2833" fmla="*/ 4833943 w 4838702"/>
              <a:gd name="connsiteY2833" fmla="*/ 11117388 h 11747497"/>
              <a:gd name="connsiteX2834" fmla="*/ 4835547 w 4838702"/>
              <a:gd name="connsiteY2834" fmla="*/ 11111407 h 11747497"/>
              <a:gd name="connsiteX2835" fmla="*/ 4825255 w 4838702"/>
              <a:gd name="connsiteY2835" fmla="*/ 11110609 h 11747497"/>
              <a:gd name="connsiteX2836" fmla="*/ 4825255 w 4838702"/>
              <a:gd name="connsiteY2836" fmla="*/ 11102531 h 11747497"/>
              <a:gd name="connsiteX2837" fmla="*/ 4836271 w 4838702"/>
              <a:gd name="connsiteY2837" fmla="*/ 11098941 h 11747497"/>
              <a:gd name="connsiteX2838" fmla="*/ 4837409 w 4838702"/>
              <a:gd name="connsiteY2838" fmla="*/ 11075907 h 11747497"/>
              <a:gd name="connsiteX2839" fmla="*/ 4832495 w 4838702"/>
              <a:gd name="connsiteY2839" fmla="*/ 11074908 h 11747497"/>
              <a:gd name="connsiteX2840" fmla="*/ 4827944 w 4838702"/>
              <a:gd name="connsiteY2840" fmla="*/ 11085679 h 11747497"/>
              <a:gd name="connsiteX2841" fmla="*/ 4825203 w 4838702"/>
              <a:gd name="connsiteY2841" fmla="*/ 11083484 h 11747497"/>
              <a:gd name="connsiteX2842" fmla="*/ 4825203 w 4838702"/>
              <a:gd name="connsiteY2842" fmla="*/ 11066831 h 11747497"/>
              <a:gd name="connsiteX2843" fmla="*/ 4837978 w 4838702"/>
              <a:gd name="connsiteY2843" fmla="*/ 11066133 h 11747497"/>
              <a:gd name="connsiteX2844" fmla="*/ 4838702 w 4838702"/>
              <a:gd name="connsiteY2844" fmla="*/ 11048185 h 117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Lst>
            <a:rect l="l" t="t" r="r" b="b"/>
            <a:pathLst>
              <a:path w="4838702" h="11747497">
                <a:moveTo>
                  <a:pt x="19499" y="279879"/>
                </a:moveTo>
                <a:cubicBezTo>
                  <a:pt x="18878" y="263163"/>
                  <a:pt x="17042" y="248505"/>
                  <a:pt x="15051" y="265258"/>
                </a:cubicBezTo>
                <a:cubicBezTo>
                  <a:pt x="13603" y="277423"/>
                  <a:pt x="15930" y="304847"/>
                  <a:pt x="16654" y="306841"/>
                </a:cubicBezTo>
                <a:cubicBezTo>
                  <a:pt x="19525" y="315367"/>
                  <a:pt x="20119" y="296594"/>
                  <a:pt x="19499" y="279879"/>
                </a:cubicBezTo>
                <a:close/>
                <a:moveTo>
                  <a:pt x="31653" y="6254243"/>
                </a:moveTo>
                <a:cubicBezTo>
                  <a:pt x="31498" y="6253546"/>
                  <a:pt x="31342" y="6253146"/>
                  <a:pt x="31135" y="6252848"/>
                </a:cubicBezTo>
                <a:lnTo>
                  <a:pt x="31135" y="6323448"/>
                </a:lnTo>
                <a:cubicBezTo>
                  <a:pt x="31188" y="6323549"/>
                  <a:pt x="31188" y="6323549"/>
                  <a:pt x="31239" y="6323549"/>
                </a:cubicBezTo>
                <a:close/>
                <a:moveTo>
                  <a:pt x="32894" y="6670175"/>
                </a:moveTo>
                <a:cubicBezTo>
                  <a:pt x="30101" y="6595884"/>
                  <a:pt x="33722" y="6523288"/>
                  <a:pt x="32170" y="6476120"/>
                </a:cubicBezTo>
                <a:cubicBezTo>
                  <a:pt x="31704" y="6461064"/>
                  <a:pt x="32429" y="6441718"/>
                  <a:pt x="31135" y="6435435"/>
                </a:cubicBezTo>
                <a:lnTo>
                  <a:pt x="31135" y="6679249"/>
                </a:lnTo>
                <a:cubicBezTo>
                  <a:pt x="31601" y="6678053"/>
                  <a:pt x="32170" y="6675361"/>
                  <a:pt x="32894" y="6670175"/>
                </a:cubicBezTo>
                <a:close/>
                <a:moveTo>
                  <a:pt x="33308" y="6919775"/>
                </a:moveTo>
                <a:lnTo>
                  <a:pt x="31188" y="6919675"/>
                </a:lnTo>
                <a:lnTo>
                  <a:pt x="31188" y="6975019"/>
                </a:lnTo>
                <a:cubicBezTo>
                  <a:pt x="31756" y="6955574"/>
                  <a:pt x="34342" y="6952382"/>
                  <a:pt x="33308" y="6919775"/>
                </a:cubicBezTo>
                <a:close/>
                <a:moveTo>
                  <a:pt x="37342" y="4937539"/>
                </a:moveTo>
                <a:cubicBezTo>
                  <a:pt x="36721" y="4920088"/>
                  <a:pt x="35170" y="4909120"/>
                  <a:pt x="32067" y="4909718"/>
                </a:cubicBezTo>
                <a:cubicBezTo>
                  <a:pt x="31653" y="4911813"/>
                  <a:pt x="31446" y="4914605"/>
                  <a:pt x="31135" y="4917097"/>
                </a:cubicBezTo>
                <a:lnTo>
                  <a:pt x="31135" y="5039354"/>
                </a:lnTo>
                <a:cubicBezTo>
                  <a:pt x="31188" y="5042346"/>
                  <a:pt x="31239" y="5045437"/>
                  <a:pt x="31291" y="5048329"/>
                </a:cubicBezTo>
                <a:cubicBezTo>
                  <a:pt x="31395" y="5063685"/>
                  <a:pt x="31342" y="5076251"/>
                  <a:pt x="31135" y="5087020"/>
                </a:cubicBezTo>
                <a:lnTo>
                  <a:pt x="31135" y="5189533"/>
                </a:lnTo>
                <a:cubicBezTo>
                  <a:pt x="31395" y="5208979"/>
                  <a:pt x="31808" y="5218850"/>
                  <a:pt x="35739" y="5214762"/>
                </a:cubicBezTo>
                <a:cubicBezTo>
                  <a:pt x="38945" y="5196114"/>
                  <a:pt x="34705" y="5181056"/>
                  <a:pt x="34342" y="5145456"/>
                </a:cubicBezTo>
                <a:cubicBezTo>
                  <a:pt x="33773" y="5087320"/>
                  <a:pt x="36514" y="5013626"/>
                  <a:pt x="37187" y="4965262"/>
                </a:cubicBezTo>
                <a:cubicBezTo>
                  <a:pt x="37187" y="4965960"/>
                  <a:pt x="33670" y="4940133"/>
                  <a:pt x="37342" y="4937539"/>
                </a:cubicBezTo>
                <a:close/>
                <a:moveTo>
                  <a:pt x="37704" y="5838610"/>
                </a:moveTo>
                <a:cubicBezTo>
                  <a:pt x="36773" y="5792341"/>
                  <a:pt x="32584" y="5791143"/>
                  <a:pt x="36411" y="5741483"/>
                </a:cubicBezTo>
                <a:cubicBezTo>
                  <a:pt x="35739" y="5729118"/>
                  <a:pt x="33050" y="5731711"/>
                  <a:pt x="31188" y="5728220"/>
                </a:cubicBezTo>
                <a:lnTo>
                  <a:pt x="31188" y="5863739"/>
                </a:lnTo>
                <a:cubicBezTo>
                  <a:pt x="33670" y="5857856"/>
                  <a:pt x="35015" y="5842998"/>
                  <a:pt x="37704" y="5838610"/>
                </a:cubicBezTo>
                <a:close/>
                <a:moveTo>
                  <a:pt x="39463" y="5519806"/>
                </a:moveTo>
                <a:cubicBezTo>
                  <a:pt x="35842" y="5519506"/>
                  <a:pt x="37394" y="5481911"/>
                  <a:pt x="32377" y="5491883"/>
                </a:cubicBezTo>
                <a:lnTo>
                  <a:pt x="32118" y="5533367"/>
                </a:lnTo>
                <a:cubicBezTo>
                  <a:pt x="34859" y="5531074"/>
                  <a:pt x="38790" y="5538553"/>
                  <a:pt x="39463" y="5519806"/>
                </a:cubicBezTo>
                <a:close/>
                <a:moveTo>
                  <a:pt x="41169" y="3634597"/>
                </a:moveTo>
                <a:cubicBezTo>
                  <a:pt x="38583" y="3614754"/>
                  <a:pt x="34135" y="3620039"/>
                  <a:pt x="31135" y="3635994"/>
                </a:cubicBezTo>
                <a:lnTo>
                  <a:pt x="31135" y="3728135"/>
                </a:lnTo>
                <a:cubicBezTo>
                  <a:pt x="36721" y="3714972"/>
                  <a:pt x="41169" y="3692435"/>
                  <a:pt x="41169" y="3634597"/>
                </a:cubicBezTo>
                <a:close/>
                <a:moveTo>
                  <a:pt x="44085" y="6411589"/>
                </a:moveTo>
                <a:cubicBezTo>
                  <a:pt x="45074" y="6402377"/>
                  <a:pt x="45255" y="6391658"/>
                  <a:pt x="43652" y="6379392"/>
                </a:cubicBezTo>
                <a:cubicBezTo>
                  <a:pt x="38687" y="6387769"/>
                  <a:pt x="36307" y="6417285"/>
                  <a:pt x="35894" y="6462360"/>
                </a:cubicBezTo>
                <a:cubicBezTo>
                  <a:pt x="38118" y="6460863"/>
                  <a:pt x="40238" y="6458370"/>
                  <a:pt x="39670" y="6434737"/>
                </a:cubicBezTo>
                <a:cubicBezTo>
                  <a:pt x="41299" y="6428504"/>
                  <a:pt x="43096" y="6420801"/>
                  <a:pt x="44085" y="6411589"/>
                </a:cubicBezTo>
                <a:close/>
                <a:moveTo>
                  <a:pt x="45772" y="4185838"/>
                </a:moveTo>
                <a:cubicBezTo>
                  <a:pt x="45824" y="4170544"/>
                  <a:pt x="45695" y="4156284"/>
                  <a:pt x="45462" y="4147359"/>
                </a:cubicBezTo>
                <a:cubicBezTo>
                  <a:pt x="44945" y="4128112"/>
                  <a:pt x="42980" y="4132200"/>
                  <a:pt x="41997" y="4119536"/>
                </a:cubicBezTo>
                <a:cubicBezTo>
                  <a:pt x="40755" y="4103382"/>
                  <a:pt x="43445" y="4067283"/>
                  <a:pt x="38583" y="4077954"/>
                </a:cubicBezTo>
                <a:lnTo>
                  <a:pt x="38118" y="4161119"/>
                </a:lnTo>
                <a:cubicBezTo>
                  <a:pt x="38015" y="4179368"/>
                  <a:pt x="41221" y="4173883"/>
                  <a:pt x="41583" y="4188941"/>
                </a:cubicBezTo>
                <a:cubicBezTo>
                  <a:pt x="39256" y="4194526"/>
                  <a:pt x="37755" y="4206692"/>
                  <a:pt x="37704" y="4230425"/>
                </a:cubicBezTo>
                <a:cubicBezTo>
                  <a:pt x="36876" y="4223544"/>
                  <a:pt x="32946" y="4209284"/>
                  <a:pt x="31135" y="4218259"/>
                </a:cubicBezTo>
                <a:lnTo>
                  <a:pt x="31135" y="4258247"/>
                </a:lnTo>
                <a:cubicBezTo>
                  <a:pt x="32480" y="4267920"/>
                  <a:pt x="34963" y="4233416"/>
                  <a:pt x="37652" y="4244386"/>
                </a:cubicBezTo>
                <a:cubicBezTo>
                  <a:pt x="33929" y="4273206"/>
                  <a:pt x="40911" y="4300927"/>
                  <a:pt x="40807" y="4327653"/>
                </a:cubicBezTo>
                <a:cubicBezTo>
                  <a:pt x="40807" y="4328151"/>
                  <a:pt x="39100" y="4326954"/>
                  <a:pt x="38997" y="4327553"/>
                </a:cubicBezTo>
                <a:cubicBezTo>
                  <a:pt x="37755" y="4336527"/>
                  <a:pt x="37290" y="4353381"/>
                  <a:pt x="36928" y="4369036"/>
                </a:cubicBezTo>
                <a:cubicBezTo>
                  <a:pt x="35997" y="4408824"/>
                  <a:pt x="37704" y="4523004"/>
                  <a:pt x="35997" y="4535369"/>
                </a:cubicBezTo>
                <a:cubicBezTo>
                  <a:pt x="32584" y="4560398"/>
                  <a:pt x="36100" y="4555513"/>
                  <a:pt x="35687" y="4590814"/>
                </a:cubicBezTo>
                <a:cubicBezTo>
                  <a:pt x="33515" y="4588819"/>
                  <a:pt x="32429" y="4595600"/>
                  <a:pt x="31135" y="4600387"/>
                </a:cubicBezTo>
                <a:lnTo>
                  <a:pt x="31135" y="4799228"/>
                </a:lnTo>
                <a:cubicBezTo>
                  <a:pt x="32894" y="4799030"/>
                  <a:pt x="34705" y="4798230"/>
                  <a:pt x="36307" y="4798829"/>
                </a:cubicBezTo>
                <a:cubicBezTo>
                  <a:pt x="35273" y="4771008"/>
                  <a:pt x="38169" y="4743485"/>
                  <a:pt x="38583" y="4715662"/>
                </a:cubicBezTo>
                <a:cubicBezTo>
                  <a:pt x="39204" y="4671886"/>
                  <a:pt x="36618" y="4647055"/>
                  <a:pt x="39049" y="4632497"/>
                </a:cubicBezTo>
                <a:cubicBezTo>
                  <a:pt x="39514" y="4629704"/>
                  <a:pt x="38997" y="4609461"/>
                  <a:pt x="39204" y="4604774"/>
                </a:cubicBezTo>
                <a:cubicBezTo>
                  <a:pt x="41066" y="4561595"/>
                  <a:pt x="40342" y="4574359"/>
                  <a:pt x="39514" y="4549329"/>
                </a:cubicBezTo>
                <a:cubicBezTo>
                  <a:pt x="39204" y="4539458"/>
                  <a:pt x="39566" y="4518118"/>
                  <a:pt x="39773" y="4507746"/>
                </a:cubicBezTo>
                <a:cubicBezTo>
                  <a:pt x="40083" y="4492291"/>
                  <a:pt x="41014" y="4475338"/>
                  <a:pt x="41894" y="4452302"/>
                </a:cubicBezTo>
                <a:cubicBezTo>
                  <a:pt x="42048" y="4448512"/>
                  <a:pt x="43859" y="4432857"/>
                  <a:pt x="43807" y="4438441"/>
                </a:cubicBezTo>
                <a:cubicBezTo>
                  <a:pt x="44117" y="4412215"/>
                  <a:pt x="41894" y="4407627"/>
                  <a:pt x="42307" y="4382897"/>
                </a:cubicBezTo>
                <a:cubicBezTo>
                  <a:pt x="42566" y="4365047"/>
                  <a:pt x="44066" y="4363652"/>
                  <a:pt x="44376" y="4341413"/>
                </a:cubicBezTo>
                <a:cubicBezTo>
                  <a:pt x="44583" y="4323962"/>
                  <a:pt x="44893" y="4303320"/>
                  <a:pt x="44686" y="4285970"/>
                </a:cubicBezTo>
                <a:cubicBezTo>
                  <a:pt x="44117" y="4237804"/>
                  <a:pt x="43807" y="4261538"/>
                  <a:pt x="44997" y="4230525"/>
                </a:cubicBezTo>
                <a:cubicBezTo>
                  <a:pt x="45488" y="4217461"/>
                  <a:pt x="45720" y="4201132"/>
                  <a:pt x="45772" y="4185838"/>
                </a:cubicBezTo>
                <a:close/>
                <a:moveTo>
                  <a:pt x="46820" y="969580"/>
                </a:moveTo>
                <a:cubicBezTo>
                  <a:pt x="46328" y="1007948"/>
                  <a:pt x="44453" y="1054392"/>
                  <a:pt x="44790" y="1097820"/>
                </a:cubicBezTo>
                <a:cubicBezTo>
                  <a:pt x="40600" y="1093233"/>
                  <a:pt x="37808" y="1099815"/>
                  <a:pt x="35635" y="1111382"/>
                </a:cubicBezTo>
                <a:cubicBezTo>
                  <a:pt x="34808" y="1134916"/>
                  <a:pt x="36876" y="1137608"/>
                  <a:pt x="39100" y="1139204"/>
                </a:cubicBezTo>
                <a:cubicBezTo>
                  <a:pt x="38945" y="1157453"/>
                  <a:pt x="29429" y="1250890"/>
                  <a:pt x="38325" y="1277814"/>
                </a:cubicBezTo>
                <a:cubicBezTo>
                  <a:pt x="38221" y="1303741"/>
                  <a:pt x="34859" y="1294567"/>
                  <a:pt x="32739" y="1305437"/>
                </a:cubicBezTo>
                <a:cubicBezTo>
                  <a:pt x="29170" y="1323785"/>
                  <a:pt x="27670" y="1334954"/>
                  <a:pt x="26895" y="1374543"/>
                </a:cubicBezTo>
                <a:cubicBezTo>
                  <a:pt x="25136" y="1374144"/>
                  <a:pt x="25601" y="1357590"/>
                  <a:pt x="25240" y="1346821"/>
                </a:cubicBezTo>
                <a:cubicBezTo>
                  <a:pt x="21981" y="1344926"/>
                  <a:pt x="21309" y="1363673"/>
                  <a:pt x="17895" y="1360482"/>
                </a:cubicBezTo>
                <a:cubicBezTo>
                  <a:pt x="19550" y="1326478"/>
                  <a:pt x="21464" y="1280606"/>
                  <a:pt x="14741" y="1277217"/>
                </a:cubicBezTo>
                <a:cubicBezTo>
                  <a:pt x="13086" y="1263953"/>
                  <a:pt x="22084" y="1234835"/>
                  <a:pt x="20482" y="1221871"/>
                </a:cubicBezTo>
                <a:cubicBezTo>
                  <a:pt x="17119" y="1194748"/>
                  <a:pt x="22084" y="1218482"/>
                  <a:pt x="22550" y="1180389"/>
                </a:cubicBezTo>
                <a:cubicBezTo>
                  <a:pt x="22705" y="1166926"/>
                  <a:pt x="26895" y="1159945"/>
                  <a:pt x="28136" y="1152865"/>
                </a:cubicBezTo>
                <a:cubicBezTo>
                  <a:pt x="25033" y="1087249"/>
                  <a:pt x="31342" y="1025921"/>
                  <a:pt x="27412" y="958710"/>
                </a:cubicBezTo>
                <a:cubicBezTo>
                  <a:pt x="33256" y="966888"/>
                  <a:pt x="35894" y="949536"/>
                  <a:pt x="40238" y="945248"/>
                </a:cubicBezTo>
                <a:cubicBezTo>
                  <a:pt x="40600" y="907355"/>
                  <a:pt x="37342" y="917227"/>
                  <a:pt x="40549" y="889803"/>
                </a:cubicBezTo>
                <a:cubicBezTo>
                  <a:pt x="46419" y="900922"/>
                  <a:pt x="47311" y="931213"/>
                  <a:pt x="46820" y="969580"/>
                </a:cubicBezTo>
                <a:close/>
                <a:moveTo>
                  <a:pt x="48307" y="3967364"/>
                </a:moveTo>
                <a:cubicBezTo>
                  <a:pt x="42152" y="3981524"/>
                  <a:pt x="45772" y="3924284"/>
                  <a:pt x="45100" y="3898058"/>
                </a:cubicBezTo>
                <a:cubicBezTo>
                  <a:pt x="39876" y="3900552"/>
                  <a:pt x="34342" y="3877316"/>
                  <a:pt x="31135" y="3891576"/>
                </a:cubicBezTo>
                <a:lnTo>
                  <a:pt x="31135" y="3922988"/>
                </a:lnTo>
                <a:cubicBezTo>
                  <a:pt x="33773" y="3925082"/>
                  <a:pt x="34084" y="3943729"/>
                  <a:pt x="37601" y="3939342"/>
                </a:cubicBezTo>
                <a:cubicBezTo>
                  <a:pt x="38066" y="3928673"/>
                  <a:pt x="37808" y="3912018"/>
                  <a:pt x="39566" y="3911720"/>
                </a:cubicBezTo>
                <a:cubicBezTo>
                  <a:pt x="39566" y="3929469"/>
                  <a:pt x="41790" y="3930965"/>
                  <a:pt x="41169" y="3953403"/>
                </a:cubicBezTo>
                <a:lnTo>
                  <a:pt x="32067" y="3953104"/>
                </a:lnTo>
                <a:cubicBezTo>
                  <a:pt x="30774" y="3998077"/>
                  <a:pt x="32946" y="4017623"/>
                  <a:pt x="33308" y="4050231"/>
                </a:cubicBezTo>
                <a:cubicBezTo>
                  <a:pt x="39566" y="4044746"/>
                  <a:pt x="35842" y="4012837"/>
                  <a:pt x="42462" y="4036569"/>
                </a:cubicBezTo>
                <a:cubicBezTo>
                  <a:pt x="43703" y="4007751"/>
                  <a:pt x="46548" y="3991895"/>
                  <a:pt x="48307" y="3967364"/>
                </a:cubicBezTo>
                <a:close/>
                <a:moveTo>
                  <a:pt x="48617" y="5506143"/>
                </a:moveTo>
                <a:cubicBezTo>
                  <a:pt x="41635" y="5490786"/>
                  <a:pt x="40859" y="5588513"/>
                  <a:pt x="46341" y="5589310"/>
                </a:cubicBezTo>
                <a:cubicBezTo>
                  <a:pt x="48514" y="5572957"/>
                  <a:pt x="48668" y="5540347"/>
                  <a:pt x="48617" y="5506143"/>
                </a:cubicBezTo>
                <a:close/>
                <a:moveTo>
                  <a:pt x="49703" y="557237"/>
                </a:moveTo>
                <a:lnTo>
                  <a:pt x="49289" y="626543"/>
                </a:lnTo>
                <a:cubicBezTo>
                  <a:pt x="46186" y="613878"/>
                  <a:pt x="43135" y="600616"/>
                  <a:pt x="44272" y="557038"/>
                </a:cubicBezTo>
                <a:close/>
                <a:moveTo>
                  <a:pt x="49910" y="1791073"/>
                </a:moveTo>
                <a:lnTo>
                  <a:pt x="42669" y="1790874"/>
                </a:lnTo>
                <a:cubicBezTo>
                  <a:pt x="45048" y="1729546"/>
                  <a:pt x="40497" y="1703020"/>
                  <a:pt x="48668" y="1694046"/>
                </a:cubicBezTo>
                <a:cubicBezTo>
                  <a:pt x="46910" y="1742012"/>
                  <a:pt x="51048" y="1747296"/>
                  <a:pt x="49910" y="1791073"/>
                </a:cubicBezTo>
                <a:close/>
                <a:moveTo>
                  <a:pt x="50220" y="779014"/>
                </a:moveTo>
                <a:cubicBezTo>
                  <a:pt x="49755" y="801551"/>
                  <a:pt x="45100" y="820299"/>
                  <a:pt x="44324" y="862082"/>
                </a:cubicBezTo>
                <a:cubicBezTo>
                  <a:pt x="41169" y="851811"/>
                  <a:pt x="44221" y="836852"/>
                  <a:pt x="44583" y="820499"/>
                </a:cubicBezTo>
                <a:cubicBezTo>
                  <a:pt x="43600" y="792278"/>
                  <a:pt x="35377" y="816411"/>
                  <a:pt x="37601" y="764754"/>
                </a:cubicBezTo>
                <a:cubicBezTo>
                  <a:pt x="41945" y="770638"/>
                  <a:pt x="41687" y="739625"/>
                  <a:pt x="46755" y="751193"/>
                </a:cubicBezTo>
                <a:cubicBezTo>
                  <a:pt x="46962" y="727459"/>
                  <a:pt x="45565" y="715294"/>
                  <a:pt x="43342" y="709510"/>
                </a:cubicBezTo>
                <a:cubicBezTo>
                  <a:pt x="44635" y="695450"/>
                  <a:pt x="47634" y="695250"/>
                  <a:pt x="47220" y="668027"/>
                </a:cubicBezTo>
                <a:cubicBezTo>
                  <a:pt x="51461" y="679495"/>
                  <a:pt x="47427" y="726861"/>
                  <a:pt x="48461" y="765054"/>
                </a:cubicBezTo>
                <a:cubicBezTo>
                  <a:pt x="48565" y="768844"/>
                  <a:pt x="50065" y="785696"/>
                  <a:pt x="50220" y="779014"/>
                </a:cubicBezTo>
                <a:close/>
                <a:moveTo>
                  <a:pt x="52600" y="1638701"/>
                </a:moveTo>
                <a:cubicBezTo>
                  <a:pt x="51979" y="1663133"/>
                  <a:pt x="49289" y="1670213"/>
                  <a:pt x="45151" y="1666224"/>
                </a:cubicBezTo>
                <a:lnTo>
                  <a:pt x="45411" y="1624641"/>
                </a:lnTo>
                <a:cubicBezTo>
                  <a:pt x="49237" y="1618858"/>
                  <a:pt x="50169" y="1634214"/>
                  <a:pt x="52600" y="1638701"/>
                </a:cubicBezTo>
                <a:close/>
                <a:moveTo>
                  <a:pt x="53498" y="424460"/>
                </a:moveTo>
                <a:cubicBezTo>
                  <a:pt x="53453" y="437573"/>
                  <a:pt x="52392" y="451085"/>
                  <a:pt x="50323" y="446448"/>
                </a:cubicBezTo>
                <a:cubicBezTo>
                  <a:pt x="48151" y="441562"/>
                  <a:pt x="49082" y="409452"/>
                  <a:pt x="50582" y="404866"/>
                </a:cubicBezTo>
                <a:cubicBezTo>
                  <a:pt x="52574" y="398633"/>
                  <a:pt x="53543" y="411347"/>
                  <a:pt x="53498" y="424460"/>
                </a:cubicBezTo>
                <a:close/>
                <a:moveTo>
                  <a:pt x="57719" y="2955803"/>
                </a:moveTo>
                <a:cubicBezTo>
                  <a:pt x="55651" y="2992201"/>
                  <a:pt x="55082" y="3040765"/>
                  <a:pt x="55134" y="3094315"/>
                </a:cubicBezTo>
                <a:cubicBezTo>
                  <a:pt x="52651" y="3072775"/>
                  <a:pt x="45927" y="3081850"/>
                  <a:pt x="40704" y="3080054"/>
                </a:cubicBezTo>
                <a:cubicBezTo>
                  <a:pt x="38531" y="3054725"/>
                  <a:pt x="44428" y="3056122"/>
                  <a:pt x="44428" y="3052532"/>
                </a:cubicBezTo>
                <a:cubicBezTo>
                  <a:pt x="44738" y="3040167"/>
                  <a:pt x="42566" y="3023115"/>
                  <a:pt x="43031" y="2983127"/>
                </a:cubicBezTo>
                <a:cubicBezTo>
                  <a:pt x="43600" y="2935560"/>
                  <a:pt x="48410" y="2907439"/>
                  <a:pt x="47376" y="2858477"/>
                </a:cubicBezTo>
                <a:cubicBezTo>
                  <a:pt x="49341" y="2867252"/>
                  <a:pt x="49600" y="2885600"/>
                  <a:pt x="50789" y="2900160"/>
                </a:cubicBezTo>
                <a:cubicBezTo>
                  <a:pt x="52703" y="2923793"/>
                  <a:pt x="54823" y="2938053"/>
                  <a:pt x="57719" y="2955803"/>
                </a:cubicBezTo>
                <a:close/>
                <a:moveTo>
                  <a:pt x="58429" y="1481566"/>
                </a:moveTo>
                <a:cubicBezTo>
                  <a:pt x="58189" y="1510001"/>
                  <a:pt x="54086" y="1548405"/>
                  <a:pt x="49548" y="1541374"/>
                </a:cubicBezTo>
                <a:cubicBezTo>
                  <a:pt x="47324" y="1506672"/>
                  <a:pt x="56944" y="1498296"/>
                  <a:pt x="51668" y="1486030"/>
                </a:cubicBezTo>
                <a:cubicBezTo>
                  <a:pt x="52186" y="1466087"/>
                  <a:pt x="57099" y="1481443"/>
                  <a:pt x="57254" y="1458507"/>
                </a:cubicBezTo>
                <a:cubicBezTo>
                  <a:pt x="58159" y="1463717"/>
                  <a:pt x="58509" y="1472088"/>
                  <a:pt x="58429" y="1481566"/>
                </a:cubicBezTo>
                <a:close/>
                <a:moveTo>
                  <a:pt x="59685" y="3260748"/>
                </a:moveTo>
                <a:cubicBezTo>
                  <a:pt x="58754" y="3277799"/>
                  <a:pt x="57202" y="3289167"/>
                  <a:pt x="53996" y="3288370"/>
                </a:cubicBezTo>
                <a:cubicBezTo>
                  <a:pt x="54048" y="3322474"/>
                  <a:pt x="53892" y="3355082"/>
                  <a:pt x="51720" y="3371436"/>
                </a:cubicBezTo>
                <a:cubicBezTo>
                  <a:pt x="46496" y="3356479"/>
                  <a:pt x="42566" y="3331848"/>
                  <a:pt x="33722" y="3343215"/>
                </a:cubicBezTo>
                <a:cubicBezTo>
                  <a:pt x="35428" y="3313300"/>
                  <a:pt x="38687" y="3296148"/>
                  <a:pt x="37911" y="3246288"/>
                </a:cubicBezTo>
                <a:lnTo>
                  <a:pt x="48824" y="3246587"/>
                </a:lnTo>
                <a:cubicBezTo>
                  <a:pt x="50892" y="3205004"/>
                  <a:pt x="44945" y="3221957"/>
                  <a:pt x="41738" y="3218665"/>
                </a:cubicBezTo>
                <a:cubicBezTo>
                  <a:pt x="40911" y="3187951"/>
                  <a:pt x="45307" y="3199021"/>
                  <a:pt x="45617" y="3177182"/>
                </a:cubicBezTo>
                <a:cubicBezTo>
                  <a:pt x="45255" y="3162124"/>
                  <a:pt x="42048" y="3167709"/>
                  <a:pt x="42152" y="3149360"/>
                </a:cubicBezTo>
                <a:cubicBezTo>
                  <a:pt x="36670" y="3131211"/>
                  <a:pt x="46134" y="3140984"/>
                  <a:pt x="45721" y="3163321"/>
                </a:cubicBezTo>
                <a:cubicBezTo>
                  <a:pt x="50789" y="3174888"/>
                  <a:pt x="50530" y="3143875"/>
                  <a:pt x="54875" y="3149660"/>
                </a:cubicBezTo>
                <a:cubicBezTo>
                  <a:pt x="54048" y="3207097"/>
                  <a:pt x="56944" y="3203708"/>
                  <a:pt x="54306" y="3246687"/>
                </a:cubicBezTo>
                <a:cubicBezTo>
                  <a:pt x="54513" y="3262941"/>
                  <a:pt x="57565" y="3258553"/>
                  <a:pt x="59685" y="3260748"/>
                </a:cubicBezTo>
                <a:close/>
                <a:moveTo>
                  <a:pt x="64288" y="5950197"/>
                </a:moveTo>
                <a:lnTo>
                  <a:pt x="63978" y="6005642"/>
                </a:lnTo>
                <a:lnTo>
                  <a:pt x="60357" y="6005541"/>
                </a:lnTo>
                <a:lnTo>
                  <a:pt x="60668" y="5950097"/>
                </a:lnTo>
                <a:close/>
                <a:moveTo>
                  <a:pt x="65271" y="2914321"/>
                </a:moveTo>
                <a:cubicBezTo>
                  <a:pt x="61340" y="2920703"/>
                  <a:pt x="61909" y="2894476"/>
                  <a:pt x="61858" y="2872636"/>
                </a:cubicBezTo>
                <a:cubicBezTo>
                  <a:pt x="64081" y="2878720"/>
                  <a:pt x="65478" y="2890487"/>
                  <a:pt x="65271" y="2914321"/>
                </a:cubicBezTo>
                <a:close/>
                <a:moveTo>
                  <a:pt x="65322" y="6407713"/>
                </a:moveTo>
                <a:cubicBezTo>
                  <a:pt x="64702" y="6387269"/>
                  <a:pt x="63253" y="6405619"/>
                  <a:pt x="61754" y="6393752"/>
                </a:cubicBezTo>
                <a:cubicBezTo>
                  <a:pt x="61133" y="6388966"/>
                  <a:pt x="62426" y="6371116"/>
                  <a:pt x="61909" y="6366030"/>
                </a:cubicBezTo>
                <a:cubicBezTo>
                  <a:pt x="61133" y="6359149"/>
                  <a:pt x="57409" y="6371414"/>
                  <a:pt x="56478" y="6365830"/>
                </a:cubicBezTo>
                <a:lnTo>
                  <a:pt x="56220" y="6407413"/>
                </a:lnTo>
                <a:cubicBezTo>
                  <a:pt x="60771" y="6405418"/>
                  <a:pt x="61702" y="6429351"/>
                  <a:pt x="65168" y="6435435"/>
                </a:cubicBezTo>
                <a:cubicBezTo>
                  <a:pt x="64961" y="6426659"/>
                  <a:pt x="65581" y="6416288"/>
                  <a:pt x="65322" y="6407713"/>
                </a:cubicBezTo>
                <a:close/>
                <a:moveTo>
                  <a:pt x="66616" y="3954101"/>
                </a:moveTo>
                <a:cubicBezTo>
                  <a:pt x="63202" y="4009646"/>
                  <a:pt x="68943" y="4049233"/>
                  <a:pt x="60512" y="4064789"/>
                </a:cubicBezTo>
                <a:cubicBezTo>
                  <a:pt x="65478" y="4051228"/>
                  <a:pt x="58806" y="3944727"/>
                  <a:pt x="66616" y="3954101"/>
                </a:cubicBezTo>
                <a:close/>
                <a:moveTo>
                  <a:pt x="67120" y="2695011"/>
                </a:moveTo>
                <a:cubicBezTo>
                  <a:pt x="67947" y="2703886"/>
                  <a:pt x="68270" y="2711939"/>
                  <a:pt x="66357" y="2720265"/>
                </a:cubicBezTo>
                <a:cubicBezTo>
                  <a:pt x="63150" y="2728142"/>
                  <a:pt x="55806" y="2703213"/>
                  <a:pt x="55392" y="2733827"/>
                </a:cubicBezTo>
                <a:cubicBezTo>
                  <a:pt x="53996" y="2806622"/>
                  <a:pt x="66047" y="2719567"/>
                  <a:pt x="66150" y="2761847"/>
                </a:cubicBezTo>
                <a:cubicBezTo>
                  <a:pt x="64392" y="2843020"/>
                  <a:pt x="49134" y="2728542"/>
                  <a:pt x="47686" y="2802933"/>
                </a:cubicBezTo>
                <a:cubicBezTo>
                  <a:pt x="42307" y="2772718"/>
                  <a:pt x="49910" y="2724951"/>
                  <a:pt x="48410" y="2678183"/>
                </a:cubicBezTo>
                <a:cubicBezTo>
                  <a:pt x="49858" y="2685562"/>
                  <a:pt x="51306" y="2692741"/>
                  <a:pt x="53789" y="2692243"/>
                </a:cubicBezTo>
                <a:cubicBezTo>
                  <a:pt x="56633" y="2671302"/>
                  <a:pt x="57047" y="2631514"/>
                  <a:pt x="57978" y="2595316"/>
                </a:cubicBezTo>
                <a:lnTo>
                  <a:pt x="65219" y="2595515"/>
                </a:lnTo>
                <a:cubicBezTo>
                  <a:pt x="66150" y="2606683"/>
                  <a:pt x="67029" y="2618051"/>
                  <a:pt x="66823" y="2637098"/>
                </a:cubicBezTo>
                <a:cubicBezTo>
                  <a:pt x="66719" y="2648665"/>
                  <a:pt x="64857" y="2666914"/>
                  <a:pt x="64857" y="2664821"/>
                </a:cubicBezTo>
                <a:cubicBezTo>
                  <a:pt x="64960" y="2676438"/>
                  <a:pt x="66292" y="2686136"/>
                  <a:pt x="67120" y="2695011"/>
                </a:cubicBezTo>
                <a:close/>
                <a:moveTo>
                  <a:pt x="67857" y="3413519"/>
                </a:moveTo>
                <a:cubicBezTo>
                  <a:pt x="68012" y="3421696"/>
                  <a:pt x="65219" y="3430770"/>
                  <a:pt x="64133" y="3427280"/>
                </a:cubicBezTo>
                <a:cubicBezTo>
                  <a:pt x="57875" y="3406139"/>
                  <a:pt x="67650" y="3401054"/>
                  <a:pt x="67857" y="3413519"/>
                </a:cubicBezTo>
                <a:close/>
                <a:moveTo>
                  <a:pt x="68484" y="3869314"/>
                </a:moveTo>
                <a:cubicBezTo>
                  <a:pt x="68193" y="3884347"/>
                  <a:pt x="66512" y="3902197"/>
                  <a:pt x="65012" y="3912419"/>
                </a:cubicBezTo>
                <a:cubicBezTo>
                  <a:pt x="61082" y="3914711"/>
                  <a:pt x="64495" y="3863256"/>
                  <a:pt x="63616" y="3843113"/>
                </a:cubicBezTo>
                <a:cubicBezTo>
                  <a:pt x="67676" y="3842066"/>
                  <a:pt x="68775" y="3854282"/>
                  <a:pt x="68484" y="3869314"/>
                </a:cubicBezTo>
                <a:close/>
                <a:moveTo>
                  <a:pt x="71425" y="5978118"/>
                </a:moveTo>
                <a:cubicBezTo>
                  <a:pt x="68632" y="5955981"/>
                  <a:pt x="68425" y="5899340"/>
                  <a:pt x="68425" y="5867130"/>
                </a:cubicBezTo>
                <a:cubicBezTo>
                  <a:pt x="66305" y="5864837"/>
                  <a:pt x="63253" y="5869324"/>
                  <a:pt x="63047" y="5853069"/>
                </a:cubicBezTo>
                <a:cubicBezTo>
                  <a:pt x="65581" y="5799620"/>
                  <a:pt x="64081" y="5747765"/>
                  <a:pt x="63822" y="5714459"/>
                </a:cubicBezTo>
                <a:cubicBezTo>
                  <a:pt x="63564" y="5680852"/>
                  <a:pt x="66977" y="5610949"/>
                  <a:pt x="60719" y="5617331"/>
                </a:cubicBezTo>
                <a:cubicBezTo>
                  <a:pt x="59685" y="5617232"/>
                  <a:pt x="58547" y="5628499"/>
                  <a:pt x="60616" y="5631192"/>
                </a:cubicBezTo>
                <a:cubicBezTo>
                  <a:pt x="57616" y="5713461"/>
                  <a:pt x="59220" y="5832727"/>
                  <a:pt x="55392" y="5908314"/>
                </a:cubicBezTo>
                <a:cubicBezTo>
                  <a:pt x="58754" y="5910508"/>
                  <a:pt x="56220" y="5955283"/>
                  <a:pt x="58702" y="5963858"/>
                </a:cubicBezTo>
                <a:cubicBezTo>
                  <a:pt x="53944" y="6001653"/>
                  <a:pt x="57616" y="6022892"/>
                  <a:pt x="54513" y="6060787"/>
                </a:cubicBezTo>
                <a:cubicBezTo>
                  <a:pt x="59633" y="6063279"/>
                  <a:pt x="61961" y="6086414"/>
                  <a:pt x="67081" y="6088908"/>
                </a:cubicBezTo>
                <a:cubicBezTo>
                  <a:pt x="64495" y="6038549"/>
                  <a:pt x="74580" y="6003747"/>
                  <a:pt x="71425" y="5978118"/>
                </a:cubicBezTo>
                <a:close/>
                <a:moveTo>
                  <a:pt x="73475" y="7032496"/>
                </a:moveTo>
                <a:cubicBezTo>
                  <a:pt x="73598" y="7026325"/>
                  <a:pt x="73442" y="7022187"/>
                  <a:pt x="72770" y="7017799"/>
                </a:cubicBezTo>
                <a:cubicBezTo>
                  <a:pt x="72408" y="7015406"/>
                  <a:pt x="72977" y="6994266"/>
                  <a:pt x="72925" y="6990077"/>
                </a:cubicBezTo>
                <a:cubicBezTo>
                  <a:pt x="72718" y="6967341"/>
                  <a:pt x="73029" y="6959564"/>
                  <a:pt x="71322" y="6948394"/>
                </a:cubicBezTo>
                <a:cubicBezTo>
                  <a:pt x="69201" y="6934533"/>
                  <a:pt x="73080" y="6878491"/>
                  <a:pt x="68012" y="6892850"/>
                </a:cubicBezTo>
                <a:cubicBezTo>
                  <a:pt x="64547" y="6922467"/>
                  <a:pt x="67857" y="6983496"/>
                  <a:pt x="60409" y="6948095"/>
                </a:cubicBezTo>
                <a:cubicBezTo>
                  <a:pt x="57926" y="7036546"/>
                  <a:pt x="66667" y="7092789"/>
                  <a:pt x="59323" y="7142151"/>
                </a:cubicBezTo>
                <a:cubicBezTo>
                  <a:pt x="58547" y="7125796"/>
                  <a:pt x="57565" y="7110639"/>
                  <a:pt x="55910" y="7100468"/>
                </a:cubicBezTo>
                <a:cubicBezTo>
                  <a:pt x="55547" y="7160898"/>
                  <a:pt x="55754" y="7225317"/>
                  <a:pt x="53116" y="7266901"/>
                </a:cubicBezTo>
                <a:cubicBezTo>
                  <a:pt x="60150" y="7289337"/>
                  <a:pt x="54099" y="7207068"/>
                  <a:pt x="58857" y="7211555"/>
                </a:cubicBezTo>
                <a:cubicBezTo>
                  <a:pt x="59064" y="7227710"/>
                  <a:pt x="61651" y="7226712"/>
                  <a:pt x="64236" y="7225616"/>
                </a:cubicBezTo>
                <a:cubicBezTo>
                  <a:pt x="62167" y="7271786"/>
                  <a:pt x="66512" y="7271088"/>
                  <a:pt x="71270" y="7267398"/>
                </a:cubicBezTo>
                <a:cubicBezTo>
                  <a:pt x="70856" y="7231200"/>
                  <a:pt x="69770" y="7189518"/>
                  <a:pt x="70029" y="7170271"/>
                </a:cubicBezTo>
                <a:cubicBezTo>
                  <a:pt x="70133" y="7160199"/>
                  <a:pt x="71943" y="7156709"/>
                  <a:pt x="71943" y="7156410"/>
                </a:cubicBezTo>
                <a:cubicBezTo>
                  <a:pt x="72564" y="7130184"/>
                  <a:pt x="69926" y="7125697"/>
                  <a:pt x="70443" y="7100967"/>
                </a:cubicBezTo>
                <a:cubicBezTo>
                  <a:pt x="70443" y="7102062"/>
                  <a:pt x="72046" y="7094684"/>
                  <a:pt x="72357" y="7087105"/>
                </a:cubicBezTo>
                <a:cubicBezTo>
                  <a:pt x="72667" y="7078430"/>
                  <a:pt x="72201" y="7068158"/>
                  <a:pt x="72511" y="7059383"/>
                </a:cubicBezTo>
                <a:cubicBezTo>
                  <a:pt x="72951" y="7046868"/>
                  <a:pt x="73352" y="7038666"/>
                  <a:pt x="73475" y="7032496"/>
                </a:cubicBezTo>
                <a:close/>
                <a:moveTo>
                  <a:pt x="75046" y="900673"/>
                </a:moveTo>
                <a:cubicBezTo>
                  <a:pt x="74684" y="903765"/>
                  <a:pt x="72304" y="967186"/>
                  <a:pt x="72046" y="969180"/>
                </a:cubicBezTo>
                <a:cubicBezTo>
                  <a:pt x="70546" y="979951"/>
                  <a:pt x="72253" y="1017944"/>
                  <a:pt x="72098" y="1043173"/>
                </a:cubicBezTo>
                <a:cubicBezTo>
                  <a:pt x="71943" y="1068503"/>
                  <a:pt x="72718" y="1055838"/>
                  <a:pt x="73598" y="1070297"/>
                </a:cubicBezTo>
                <a:cubicBezTo>
                  <a:pt x="74012" y="1077577"/>
                  <a:pt x="73494" y="1119060"/>
                  <a:pt x="72718" y="1138904"/>
                </a:cubicBezTo>
                <a:cubicBezTo>
                  <a:pt x="72460" y="1138007"/>
                  <a:pt x="69822" y="1150472"/>
                  <a:pt x="69563" y="1149674"/>
                </a:cubicBezTo>
                <a:cubicBezTo>
                  <a:pt x="66150" y="1144588"/>
                  <a:pt x="71218" y="1186171"/>
                  <a:pt x="69667" y="1195345"/>
                </a:cubicBezTo>
                <a:cubicBezTo>
                  <a:pt x="68115" y="1204620"/>
                  <a:pt x="68374" y="1206016"/>
                  <a:pt x="67702" y="1223068"/>
                </a:cubicBezTo>
                <a:cubicBezTo>
                  <a:pt x="67495" y="1228553"/>
                  <a:pt x="65788" y="1240918"/>
                  <a:pt x="65788" y="1236929"/>
                </a:cubicBezTo>
                <a:cubicBezTo>
                  <a:pt x="65684" y="1258768"/>
                  <a:pt x="69305" y="1263455"/>
                  <a:pt x="65478" y="1292374"/>
                </a:cubicBezTo>
                <a:cubicBezTo>
                  <a:pt x="63150" y="1310224"/>
                  <a:pt x="61909" y="1390996"/>
                  <a:pt x="59167" y="1444746"/>
                </a:cubicBezTo>
                <a:cubicBezTo>
                  <a:pt x="55910" y="1446441"/>
                  <a:pt x="55444" y="1427694"/>
                  <a:pt x="51979" y="1430685"/>
                </a:cubicBezTo>
                <a:cubicBezTo>
                  <a:pt x="54772" y="1362676"/>
                  <a:pt x="56271" y="1322489"/>
                  <a:pt x="54823" y="1250591"/>
                </a:cubicBezTo>
                <a:cubicBezTo>
                  <a:pt x="58599" y="1262957"/>
                  <a:pt x="57358" y="1230448"/>
                  <a:pt x="58702" y="1222669"/>
                </a:cubicBezTo>
                <a:cubicBezTo>
                  <a:pt x="58909" y="1221473"/>
                  <a:pt x="60409" y="1224364"/>
                  <a:pt x="60512" y="1222768"/>
                </a:cubicBezTo>
                <a:cubicBezTo>
                  <a:pt x="63978" y="1164134"/>
                  <a:pt x="62323" y="1055739"/>
                  <a:pt x="65012" y="961802"/>
                </a:cubicBezTo>
                <a:cubicBezTo>
                  <a:pt x="70494" y="954722"/>
                  <a:pt x="68839" y="848021"/>
                  <a:pt x="73701" y="850115"/>
                </a:cubicBezTo>
                <a:cubicBezTo>
                  <a:pt x="74580" y="850513"/>
                  <a:pt x="73959" y="901172"/>
                  <a:pt x="75046" y="900673"/>
                </a:cubicBezTo>
                <a:close/>
                <a:moveTo>
                  <a:pt x="75356" y="6241679"/>
                </a:moveTo>
                <a:cubicBezTo>
                  <a:pt x="71943" y="6206178"/>
                  <a:pt x="63460" y="6192616"/>
                  <a:pt x="68736" y="6130591"/>
                </a:cubicBezTo>
                <a:cubicBezTo>
                  <a:pt x="64443" y="6140861"/>
                  <a:pt x="60357" y="6115432"/>
                  <a:pt x="57823" y="6130291"/>
                </a:cubicBezTo>
                <a:cubicBezTo>
                  <a:pt x="56582" y="6137771"/>
                  <a:pt x="58599" y="6176461"/>
                  <a:pt x="55754" y="6171776"/>
                </a:cubicBezTo>
                <a:cubicBezTo>
                  <a:pt x="52910" y="6165791"/>
                  <a:pt x="54409" y="6128097"/>
                  <a:pt x="48617" y="6143853"/>
                </a:cubicBezTo>
                <a:cubicBezTo>
                  <a:pt x="46859" y="6320358"/>
                  <a:pt x="49134" y="6423568"/>
                  <a:pt x="46393" y="6531964"/>
                </a:cubicBezTo>
                <a:cubicBezTo>
                  <a:pt x="49858" y="6537748"/>
                  <a:pt x="47531" y="6585714"/>
                  <a:pt x="53427" y="6573746"/>
                </a:cubicBezTo>
                <a:cubicBezTo>
                  <a:pt x="51927" y="6515410"/>
                  <a:pt x="55030" y="6466348"/>
                  <a:pt x="52341" y="6448997"/>
                </a:cubicBezTo>
                <a:cubicBezTo>
                  <a:pt x="50323" y="6435834"/>
                  <a:pt x="54409" y="6387269"/>
                  <a:pt x="54565" y="6379691"/>
                </a:cubicBezTo>
                <a:cubicBezTo>
                  <a:pt x="55185" y="6352667"/>
                  <a:pt x="53013" y="6310984"/>
                  <a:pt x="56944" y="6282664"/>
                </a:cubicBezTo>
                <a:cubicBezTo>
                  <a:pt x="60875" y="6280469"/>
                  <a:pt x="57461" y="6331826"/>
                  <a:pt x="58392" y="6352069"/>
                </a:cubicBezTo>
                <a:cubicBezTo>
                  <a:pt x="66667" y="6354462"/>
                  <a:pt x="65426" y="6363736"/>
                  <a:pt x="72925" y="6352468"/>
                </a:cubicBezTo>
                <a:cubicBezTo>
                  <a:pt x="76804" y="6310186"/>
                  <a:pt x="71012" y="6280171"/>
                  <a:pt x="75356" y="6241679"/>
                </a:cubicBezTo>
                <a:close/>
                <a:moveTo>
                  <a:pt x="78356" y="2207703"/>
                </a:moveTo>
                <a:cubicBezTo>
                  <a:pt x="75667" y="2207604"/>
                  <a:pt x="77373" y="2236025"/>
                  <a:pt x="76287" y="2249287"/>
                </a:cubicBezTo>
                <a:cubicBezTo>
                  <a:pt x="75977" y="2253476"/>
                  <a:pt x="73184" y="2245497"/>
                  <a:pt x="72667" y="2249188"/>
                </a:cubicBezTo>
                <a:cubicBezTo>
                  <a:pt x="71063" y="2260954"/>
                  <a:pt x="72873" y="2298749"/>
                  <a:pt x="70546" y="2304532"/>
                </a:cubicBezTo>
                <a:cubicBezTo>
                  <a:pt x="71477" y="2346016"/>
                  <a:pt x="74477" y="2291369"/>
                  <a:pt x="77787" y="2304732"/>
                </a:cubicBezTo>
                <a:cubicBezTo>
                  <a:pt x="79184" y="2349505"/>
                  <a:pt x="71736" y="2324077"/>
                  <a:pt x="70287" y="2346115"/>
                </a:cubicBezTo>
                <a:cubicBezTo>
                  <a:pt x="67960" y="2389593"/>
                  <a:pt x="70598" y="2382812"/>
                  <a:pt x="68064" y="2415421"/>
                </a:cubicBezTo>
                <a:lnTo>
                  <a:pt x="60822" y="2415221"/>
                </a:lnTo>
                <a:cubicBezTo>
                  <a:pt x="58392" y="2397371"/>
                  <a:pt x="60099" y="2349705"/>
                  <a:pt x="57668" y="2331955"/>
                </a:cubicBezTo>
                <a:cubicBezTo>
                  <a:pt x="50169" y="2342825"/>
                  <a:pt x="58288" y="2388995"/>
                  <a:pt x="53582" y="2415023"/>
                </a:cubicBezTo>
                <a:cubicBezTo>
                  <a:pt x="53634" y="2445237"/>
                  <a:pt x="57978" y="2444839"/>
                  <a:pt x="62478" y="2442943"/>
                </a:cubicBezTo>
                <a:cubicBezTo>
                  <a:pt x="61443" y="2454112"/>
                  <a:pt x="60461" y="2465380"/>
                  <a:pt x="60409" y="2484527"/>
                </a:cubicBezTo>
                <a:cubicBezTo>
                  <a:pt x="60719" y="2513345"/>
                  <a:pt x="68374" y="2488516"/>
                  <a:pt x="69357" y="2512547"/>
                </a:cubicBezTo>
                <a:cubicBezTo>
                  <a:pt x="67702" y="2563006"/>
                  <a:pt x="63564" y="2511051"/>
                  <a:pt x="56582" y="2526010"/>
                </a:cubicBezTo>
                <a:cubicBezTo>
                  <a:pt x="48048" y="2533589"/>
                  <a:pt x="56271" y="2591226"/>
                  <a:pt x="48927" y="2595116"/>
                </a:cubicBezTo>
                <a:cubicBezTo>
                  <a:pt x="51410" y="2567095"/>
                  <a:pt x="46341" y="2490310"/>
                  <a:pt x="49600" y="2470267"/>
                </a:cubicBezTo>
                <a:cubicBezTo>
                  <a:pt x="51824" y="2456805"/>
                  <a:pt x="49651" y="2463784"/>
                  <a:pt x="49755" y="2442545"/>
                </a:cubicBezTo>
                <a:cubicBezTo>
                  <a:pt x="49806" y="2431376"/>
                  <a:pt x="51720" y="2428983"/>
                  <a:pt x="51720" y="2415719"/>
                </a:cubicBezTo>
                <a:cubicBezTo>
                  <a:pt x="51617" y="2414124"/>
                  <a:pt x="50582" y="2347213"/>
                  <a:pt x="50323" y="2345516"/>
                </a:cubicBezTo>
                <a:cubicBezTo>
                  <a:pt x="47531" y="2327168"/>
                  <a:pt x="51565" y="2278605"/>
                  <a:pt x="49237" y="2220767"/>
                </a:cubicBezTo>
                <a:cubicBezTo>
                  <a:pt x="50996" y="2220368"/>
                  <a:pt x="50737" y="2203814"/>
                  <a:pt x="51203" y="2193045"/>
                </a:cubicBezTo>
                <a:cubicBezTo>
                  <a:pt x="53686" y="2178985"/>
                  <a:pt x="57978" y="2179582"/>
                  <a:pt x="60461" y="2165523"/>
                </a:cubicBezTo>
                <a:cubicBezTo>
                  <a:pt x="62323" y="2127229"/>
                  <a:pt x="57461" y="2035288"/>
                  <a:pt x="64805" y="2040873"/>
                </a:cubicBezTo>
                <a:cubicBezTo>
                  <a:pt x="64857" y="2108881"/>
                  <a:pt x="61029" y="2145777"/>
                  <a:pt x="61961" y="2221067"/>
                </a:cubicBezTo>
                <a:lnTo>
                  <a:pt x="67391" y="2221265"/>
                </a:lnTo>
                <a:cubicBezTo>
                  <a:pt x="70339" y="2227548"/>
                  <a:pt x="70805" y="2145777"/>
                  <a:pt x="67805" y="2151961"/>
                </a:cubicBezTo>
                <a:cubicBezTo>
                  <a:pt x="67650" y="2121945"/>
                  <a:pt x="74270" y="2145877"/>
                  <a:pt x="76959" y="2138399"/>
                </a:cubicBezTo>
                <a:cubicBezTo>
                  <a:pt x="75201" y="2177489"/>
                  <a:pt x="79287" y="2174297"/>
                  <a:pt x="78356" y="2207703"/>
                </a:cubicBezTo>
                <a:close/>
                <a:moveTo>
                  <a:pt x="78459" y="3150357"/>
                </a:moveTo>
                <a:lnTo>
                  <a:pt x="78045" y="3219663"/>
                </a:lnTo>
                <a:cubicBezTo>
                  <a:pt x="72977" y="3208095"/>
                  <a:pt x="73236" y="3239108"/>
                  <a:pt x="68891" y="3233324"/>
                </a:cubicBezTo>
                <a:cubicBezTo>
                  <a:pt x="68374" y="3257855"/>
                  <a:pt x="70339" y="3302729"/>
                  <a:pt x="64961" y="3288669"/>
                </a:cubicBezTo>
                <a:cubicBezTo>
                  <a:pt x="62064" y="3239507"/>
                  <a:pt x="66357" y="3254664"/>
                  <a:pt x="67236" y="3205603"/>
                </a:cubicBezTo>
                <a:cubicBezTo>
                  <a:pt x="71425" y="3210090"/>
                  <a:pt x="74219" y="3203508"/>
                  <a:pt x="76390" y="3191940"/>
                </a:cubicBezTo>
                <a:cubicBezTo>
                  <a:pt x="75925" y="3174888"/>
                  <a:pt x="77166" y="3106281"/>
                  <a:pt x="78459" y="3150357"/>
                </a:cubicBezTo>
                <a:close/>
                <a:moveTo>
                  <a:pt x="78718" y="8506881"/>
                </a:moveTo>
                <a:cubicBezTo>
                  <a:pt x="79132" y="8483409"/>
                  <a:pt x="78925" y="8460398"/>
                  <a:pt x="77218" y="8445889"/>
                </a:cubicBezTo>
                <a:cubicBezTo>
                  <a:pt x="72977" y="8445391"/>
                  <a:pt x="71736" y="8469524"/>
                  <a:pt x="66253" y="8459352"/>
                </a:cubicBezTo>
                <a:cubicBezTo>
                  <a:pt x="66305" y="8516392"/>
                  <a:pt x="65891" y="8577221"/>
                  <a:pt x="70908" y="8598162"/>
                </a:cubicBezTo>
                <a:cubicBezTo>
                  <a:pt x="70805" y="8573331"/>
                  <a:pt x="72873" y="8565754"/>
                  <a:pt x="76494" y="8570640"/>
                </a:cubicBezTo>
                <a:cubicBezTo>
                  <a:pt x="77270" y="8554285"/>
                  <a:pt x="78304" y="8530352"/>
                  <a:pt x="78718" y="8506881"/>
                </a:cubicBezTo>
                <a:close/>
                <a:moveTo>
                  <a:pt x="79545" y="3594012"/>
                </a:moveTo>
                <a:lnTo>
                  <a:pt x="79390" y="3621734"/>
                </a:lnTo>
                <a:cubicBezTo>
                  <a:pt x="77839" y="3619142"/>
                  <a:pt x="77632" y="3627119"/>
                  <a:pt x="77476" y="3635595"/>
                </a:cubicBezTo>
                <a:cubicBezTo>
                  <a:pt x="73959" y="3640981"/>
                  <a:pt x="75201" y="3572373"/>
                  <a:pt x="79545" y="3594012"/>
                </a:cubicBezTo>
                <a:close/>
                <a:moveTo>
                  <a:pt x="80786" y="4966458"/>
                </a:moveTo>
                <a:cubicBezTo>
                  <a:pt x="81666" y="4893663"/>
                  <a:pt x="76080" y="4842507"/>
                  <a:pt x="80011" y="4786264"/>
                </a:cubicBezTo>
                <a:cubicBezTo>
                  <a:pt x="72718" y="4795140"/>
                  <a:pt x="75098" y="4733413"/>
                  <a:pt x="75098" y="4689138"/>
                </a:cubicBezTo>
                <a:cubicBezTo>
                  <a:pt x="72977" y="4682356"/>
                  <a:pt x="71063" y="4674179"/>
                  <a:pt x="69822" y="4661215"/>
                </a:cubicBezTo>
                <a:cubicBezTo>
                  <a:pt x="68736" y="4623322"/>
                  <a:pt x="73598" y="4633394"/>
                  <a:pt x="73753" y="4605871"/>
                </a:cubicBezTo>
                <a:cubicBezTo>
                  <a:pt x="71632" y="4603478"/>
                  <a:pt x="71891" y="4583833"/>
                  <a:pt x="72201" y="4564188"/>
                </a:cubicBezTo>
                <a:cubicBezTo>
                  <a:pt x="70494" y="4545640"/>
                  <a:pt x="67443" y="4536865"/>
                  <a:pt x="67081" y="4508644"/>
                </a:cubicBezTo>
                <a:cubicBezTo>
                  <a:pt x="71425" y="4478229"/>
                  <a:pt x="66926" y="4453299"/>
                  <a:pt x="61961" y="4453001"/>
                </a:cubicBezTo>
                <a:cubicBezTo>
                  <a:pt x="58547" y="4499071"/>
                  <a:pt x="62530" y="4514528"/>
                  <a:pt x="61236" y="4577750"/>
                </a:cubicBezTo>
                <a:cubicBezTo>
                  <a:pt x="63357" y="4579945"/>
                  <a:pt x="66409" y="4575556"/>
                  <a:pt x="66616" y="4591810"/>
                </a:cubicBezTo>
                <a:cubicBezTo>
                  <a:pt x="59892" y="4593107"/>
                  <a:pt x="64133" y="4647354"/>
                  <a:pt x="64340" y="4674977"/>
                </a:cubicBezTo>
                <a:cubicBezTo>
                  <a:pt x="64702" y="4732316"/>
                  <a:pt x="62271" y="4755251"/>
                  <a:pt x="61909" y="4785766"/>
                </a:cubicBezTo>
                <a:cubicBezTo>
                  <a:pt x="61495" y="4817876"/>
                  <a:pt x="61495" y="4871624"/>
                  <a:pt x="61340" y="4882794"/>
                </a:cubicBezTo>
                <a:cubicBezTo>
                  <a:pt x="61236" y="4892068"/>
                  <a:pt x="59427" y="4897352"/>
                  <a:pt x="59427" y="4896555"/>
                </a:cubicBezTo>
                <a:cubicBezTo>
                  <a:pt x="59116" y="4914206"/>
                  <a:pt x="61495" y="4915502"/>
                  <a:pt x="61029" y="4938138"/>
                </a:cubicBezTo>
                <a:cubicBezTo>
                  <a:pt x="60616" y="4958780"/>
                  <a:pt x="58909" y="4962769"/>
                  <a:pt x="58909" y="4993583"/>
                </a:cubicBezTo>
                <a:cubicBezTo>
                  <a:pt x="58909" y="5019510"/>
                  <a:pt x="60461" y="5038755"/>
                  <a:pt x="60306" y="5062888"/>
                </a:cubicBezTo>
                <a:cubicBezTo>
                  <a:pt x="60202" y="5080539"/>
                  <a:pt x="58547" y="5090709"/>
                  <a:pt x="58185" y="5118233"/>
                </a:cubicBezTo>
                <a:cubicBezTo>
                  <a:pt x="57772" y="5150941"/>
                  <a:pt x="58702" y="5169689"/>
                  <a:pt x="59530" y="5201399"/>
                </a:cubicBezTo>
                <a:cubicBezTo>
                  <a:pt x="57099" y="5198108"/>
                  <a:pt x="58444" y="5221144"/>
                  <a:pt x="57512" y="5229220"/>
                </a:cubicBezTo>
                <a:cubicBezTo>
                  <a:pt x="56427" y="5238395"/>
                  <a:pt x="52341" y="5227327"/>
                  <a:pt x="53737" y="5256843"/>
                </a:cubicBezTo>
                <a:cubicBezTo>
                  <a:pt x="55754" y="5259836"/>
                  <a:pt x="56478" y="5272300"/>
                  <a:pt x="57202" y="5284665"/>
                </a:cubicBezTo>
                <a:cubicBezTo>
                  <a:pt x="58288" y="5336919"/>
                  <a:pt x="54616" y="5350880"/>
                  <a:pt x="54772" y="5395454"/>
                </a:cubicBezTo>
                <a:cubicBezTo>
                  <a:pt x="59995" y="5384186"/>
                  <a:pt x="59374" y="5415099"/>
                  <a:pt x="63771" y="5409615"/>
                </a:cubicBezTo>
                <a:cubicBezTo>
                  <a:pt x="61082" y="5348685"/>
                  <a:pt x="68684" y="5345095"/>
                  <a:pt x="69667" y="5326548"/>
                </a:cubicBezTo>
                <a:cubicBezTo>
                  <a:pt x="71322" y="5295834"/>
                  <a:pt x="69822" y="5258639"/>
                  <a:pt x="72098" y="5215759"/>
                </a:cubicBezTo>
                <a:cubicBezTo>
                  <a:pt x="72822" y="5183848"/>
                  <a:pt x="66926" y="5200202"/>
                  <a:pt x="66874" y="5174077"/>
                </a:cubicBezTo>
                <a:cubicBezTo>
                  <a:pt x="67081" y="5155029"/>
                  <a:pt x="66202" y="5143562"/>
                  <a:pt x="65322" y="5132392"/>
                </a:cubicBezTo>
                <a:cubicBezTo>
                  <a:pt x="67495" y="5082632"/>
                  <a:pt x="64029" y="5039654"/>
                  <a:pt x="64288" y="4993782"/>
                </a:cubicBezTo>
                <a:cubicBezTo>
                  <a:pt x="64288" y="4997770"/>
                  <a:pt x="65995" y="4985405"/>
                  <a:pt x="66202" y="4979921"/>
                </a:cubicBezTo>
                <a:cubicBezTo>
                  <a:pt x="68529" y="4919790"/>
                  <a:pt x="63978" y="4840612"/>
                  <a:pt x="68943" y="4813588"/>
                </a:cubicBezTo>
                <a:cubicBezTo>
                  <a:pt x="71322" y="4813887"/>
                  <a:pt x="70443" y="4837919"/>
                  <a:pt x="72408" y="4841409"/>
                </a:cubicBezTo>
                <a:cubicBezTo>
                  <a:pt x="72511" y="4827449"/>
                  <a:pt x="75718" y="4824058"/>
                  <a:pt x="76028" y="4841509"/>
                </a:cubicBezTo>
                <a:cubicBezTo>
                  <a:pt x="77735" y="4911214"/>
                  <a:pt x="70701" y="4962271"/>
                  <a:pt x="75098" y="5007843"/>
                </a:cubicBezTo>
                <a:cubicBezTo>
                  <a:pt x="79907" y="5017515"/>
                  <a:pt x="78770" y="4979323"/>
                  <a:pt x="80786" y="4966458"/>
                </a:cubicBezTo>
                <a:close/>
                <a:moveTo>
                  <a:pt x="81614" y="696746"/>
                </a:moveTo>
                <a:cubicBezTo>
                  <a:pt x="78873" y="740523"/>
                  <a:pt x="80942" y="743116"/>
                  <a:pt x="81045" y="793774"/>
                </a:cubicBezTo>
                <a:cubicBezTo>
                  <a:pt x="75098" y="801651"/>
                  <a:pt x="72667" y="784200"/>
                  <a:pt x="68425" y="779613"/>
                </a:cubicBezTo>
                <a:cubicBezTo>
                  <a:pt x="68374" y="748799"/>
                  <a:pt x="80425" y="742417"/>
                  <a:pt x="74270" y="710407"/>
                </a:cubicBezTo>
                <a:cubicBezTo>
                  <a:pt x="74942" y="691561"/>
                  <a:pt x="78873" y="699040"/>
                  <a:pt x="81614" y="696746"/>
                </a:cubicBezTo>
                <a:close/>
                <a:moveTo>
                  <a:pt x="81976" y="1902860"/>
                </a:moveTo>
                <a:cubicBezTo>
                  <a:pt x="77580" y="1930781"/>
                  <a:pt x="82183" y="1955810"/>
                  <a:pt x="81511" y="1986027"/>
                </a:cubicBezTo>
                <a:cubicBezTo>
                  <a:pt x="81459" y="1986426"/>
                  <a:pt x="79700" y="1989516"/>
                  <a:pt x="79597" y="1999787"/>
                </a:cubicBezTo>
                <a:cubicBezTo>
                  <a:pt x="79545" y="2003478"/>
                  <a:pt x="79700" y="2010259"/>
                  <a:pt x="79494" y="2013648"/>
                </a:cubicBezTo>
                <a:cubicBezTo>
                  <a:pt x="78718" y="2027011"/>
                  <a:pt x="76546" y="2040773"/>
                  <a:pt x="77269" y="2082855"/>
                </a:cubicBezTo>
                <a:cubicBezTo>
                  <a:pt x="74166" y="2082157"/>
                  <a:pt x="72511" y="2093025"/>
                  <a:pt x="71684" y="2110477"/>
                </a:cubicBezTo>
                <a:cubicBezTo>
                  <a:pt x="70287" y="2136903"/>
                  <a:pt x="68943" y="2095419"/>
                  <a:pt x="71788" y="2096615"/>
                </a:cubicBezTo>
                <a:cubicBezTo>
                  <a:pt x="68684" y="2060517"/>
                  <a:pt x="72822" y="2054932"/>
                  <a:pt x="70443" y="2013450"/>
                </a:cubicBezTo>
                <a:cubicBezTo>
                  <a:pt x="71943" y="2006169"/>
                  <a:pt x="73494" y="1999089"/>
                  <a:pt x="75977" y="1999787"/>
                </a:cubicBezTo>
                <a:cubicBezTo>
                  <a:pt x="74166" y="1961994"/>
                  <a:pt x="73184" y="1893287"/>
                  <a:pt x="81976" y="1902860"/>
                </a:cubicBezTo>
                <a:close/>
                <a:moveTo>
                  <a:pt x="82623" y="6824068"/>
                </a:moveTo>
                <a:cubicBezTo>
                  <a:pt x="82765" y="6799288"/>
                  <a:pt x="80580" y="6774433"/>
                  <a:pt x="75874" y="6782261"/>
                </a:cubicBezTo>
                <a:cubicBezTo>
                  <a:pt x="73546" y="6819855"/>
                  <a:pt x="74787" y="6816765"/>
                  <a:pt x="75408" y="6865427"/>
                </a:cubicBezTo>
                <a:cubicBezTo>
                  <a:pt x="80011" y="6873554"/>
                  <a:pt x="82480" y="6848849"/>
                  <a:pt x="82623" y="6824068"/>
                </a:cubicBezTo>
                <a:close/>
                <a:moveTo>
                  <a:pt x="83631" y="4162516"/>
                </a:moveTo>
                <a:cubicBezTo>
                  <a:pt x="85286" y="4091615"/>
                  <a:pt x="75718" y="4185750"/>
                  <a:pt x="74735" y="4134494"/>
                </a:cubicBezTo>
                <a:cubicBezTo>
                  <a:pt x="75408" y="4083038"/>
                  <a:pt x="82080" y="3971253"/>
                  <a:pt x="75770" y="3954300"/>
                </a:cubicBezTo>
                <a:cubicBezTo>
                  <a:pt x="71632" y="4026696"/>
                  <a:pt x="73701" y="4120633"/>
                  <a:pt x="72511" y="4203700"/>
                </a:cubicBezTo>
                <a:cubicBezTo>
                  <a:pt x="72253" y="4220353"/>
                  <a:pt x="70960" y="4224742"/>
                  <a:pt x="70443" y="4245283"/>
                </a:cubicBezTo>
                <a:cubicBezTo>
                  <a:pt x="69563" y="4279189"/>
                  <a:pt x="70598" y="4310400"/>
                  <a:pt x="69873" y="4342311"/>
                </a:cubicBezTo>
                <a:cubicBezTo>
                  <a:pt x="71839" y="4363053"/>
                  <a:pt x="77269" y="4358864"/>
                  <a:pt x="76804" y="4397955"/>
                </a:cubicBezTo>
                <a:cubicBezTo>
                  <a:pt x="73959" y="4399152"/>
                  <a:pt x="70494" y="4395961"/>
                  <a:pt x="71218" y="4425477"/>
                </a:cubicBezTo>
                <a:cubicBezTo>
                  <a:pt x="75511" y="4425278"/>
                  <a:pt x="76442" y="4449510"/>
                  <a:pt x="82028" y="4439638"/>
                </a:cubicBezTo>
                <a:cubicBezTo>
                  <a:pt x="80425" y="4350887"/>
                  <a:pt x="82442" y="4313591"/>
                  <a:pt x="83321" y="4217860"/>
                </a:cubicBezTo>
                <a:cubicBezTo>
                  <a:pt x="80735" y="4205695"/>
                  <a:pt x="76339" y="4206692"/>
                  <a:pt x="78201" y="4162316"/>
                </a:cubicBezTo>
                <a:cubicBezTo>
                  <a:pt x="80839" y="4162117"/>
                  <a:pt x="83631" y="4220952"/>
                  <a:pt x="83631" y="4162516"/>
                </a:cubicBezTo>
                <a:close/>
                <a:moveTo>
                  <a:pt x="84918" y="3329192"/>
                </a:moveTo>
                <a:cubicBezTo>
                  <a:pt x="84614" y="3349099"/>
                  <a:pt x="83916" y="3371836"/>
                  <a:pt x="84355" y="3386196"/>
                </a:cubicBezTo>
                <a:cubicBezTo>
                  <a:pt x="74891" y="3368644"/>
                  <a:pt x="83321" y="3342519"/>
                  <a:pt x="83114" y="3289167"/>
                </a:cubicBezTo>
                <a:cubicBezTo>
                  <a:pt x="85131" y="3292209"/>
                  <a:pt x="85221" y="3309285"/>
                  <a:pt x="84918" y="3329192"/>
                </a:cubicBezTo>
                <a:close/>
                <a:moveTo>
                  <a:pt x="86218" y="571261"/>
                </a:moveTo>
                <a:cubicBezTo>
                  <a:pt x="85804" y="585035"/>
                  <a:pt x="84408" y="596777"/>
                  <a:pt x="82235" y="585957"/>
                </a:cubicBezTo>
                <a:cubicBezTo>
                  <a:pt x="81873" y="563519"/>
                  <a:pt x="84097" y="562124"/>
                  <a:pt x="84304" y="544373"/>
                </a:cubicBezTo>
                <a:cubicBezTo>
                  <a:pt x="86062" y="541681"/>
                  <a:pt x="86631" y="557487"/>
                  <a:pt x="86218" y="571261"/>
                </a:cubicBezTo>
                <a:close/>
                <a:moveTo>
                  <a:pt x="87096" y="1639599"/>
                </a:moveTo>
                <a:cubicBezTo>
                  <a:pt x="85390" y="1669415"/>
                  <a:pt x="79028" y="1661736"/>
                  <a:pt x="75925" y="1680983"/>
                </a:cubicBezTo>
                <a:cubicBezTo>
                  <a:pt x="74787" y="1740017"/>
                  <a:pt x="77269" y="1776116"/>
                  <a:pt x="73391" y="1805633"/>
                </a:cubicBezTo>
                <a:cubicBezTo>
                  <a:pt x="70080" y="1830962"/>
                  <a:pt x="74477" y="1835250"/>
                  <a:pt x="72925" y="1888800"/>
                </a:cubicBezTo>
                <a:cubicBezTo>
                  <a:pt x="69150" y="1878429"/>
                  <a:pt x="70391" y="1906150"/>
                  <a:pt x="69150" y="1916421"/>
                </a:cubicBezTo>
                <a:cubicBezTo>
                  <a:pt x="68736" y="1919912"/>
                  <a:pt x="65633" y="1927091"/>
                  <a:pt x="65426" y="1930183"/>
                </a:cubicBezTo>
                <a:cubicBezTo>
                  <a:pt x="64288" y="1949529"/>
                  <a:pt x="67184" y="1956409"/>
                  <a:pt x="67029" y="1971866"/>
                </a:cubicBezTo>
                <a:cubicBezTo>
                  <a:pt x="67081" y="1965683"/>
                  <a:pt x="65271" y="1982237"/>
                  <a:pt x="65115" y="1985628"/>
                </a:cubicBezTo>
                <a:cubicBezTo>
                  <a:pt x="64805" y="1994302"/>
                  <a:pt x="65219" y="2004574"/>
                  <a:pt x="64961" y="2013349"/>
                </a:cubicBezTo>
                <a:cubicBezTo>
                  <a:pt x="62219" y="2056429"/>
                  <a:pt x="63357" y="1952121"/>
                  <a:pt x="63719" y="1916322"/>
                </a:cubicBezTo>
                <a:cubicBezTo>
                  <a:pt x="63978" y="1893685"/>
                  <a:pt x="65374" y="1892788"/>
                  <a:pt x="65788" y="1874738"/>
                </a:cubicBezTo>
                <a:cubicBezTo>
                  <a:pt x="66409" y="1849111"/>
                  <a:pt x="65529" y="1820990"/>
                  <a:pt x="66253" y="1791573"/>
                </a:cubicBezTo>
                <a:cubicBezTo>
                  <a:pt x="66823" y="1770232"/>
                  <a:pt x="67908" y="1767440"/>
                  <a:pt x="68322" y="1749989"/>
                </a:cubicBezTo>
                <a:cubicBezTo>
                  <a:pt x="69305" y="1711198"/>
                  <a:pt x="67702" y="1674401"/>
                  <a:pt x="68943" y="1639101"/>
                </a:cubicBezTo>
                <a:cubicBezTo>
                  <a:pt x="70080" y="1607489"/>
                  <a:pt x="73132" y="1593827"/>
                  <a:pt x="74787" y="1569994"/>
                </a:cubicBezTo>
                <a:cubicBezTo>
                  <a:pt x="78045" y="1597218"/>
                  <a:pt x="81407" y="1574482"/>
                  <a:pt x="85700" y="1570293"/>
                </a:cubicBezTo>
                <a:cubicBezTo>
                  <a:pt x="86527" y="1590437"/>
                  <a:pt x="83114" y="1641893"/>
                  <a:pt x="87096" y="1639599"/>
                </a:cubicBezTo>
                <a:close/>
                <a:moveTo>
                  <a:pt x="87096" y="5451796"/>
                </a:moveTo>
                <a:cubicBezTo>
                  <a:pt x="80786" y="5440827"/>
                  <a:pt x="81459" y="5497967"/>
                  <a:pt x="81355" y="5507040"/>
                </a:cubicBezTo>
                <a:cubicBezTo>
                  <a:pt x="80942" y="5537755"/>
                  <a:pt x="76080" y="5525489"/>
                  <a:pt x="77425" y="5562386"/>
                </a:cubicBezTo>
                <a:lnTo>
                  <a:pt x="77269" y="5590108"/>
                </a:lnTo>
                <a:lnTo>
                  <a:pt x="84511" y="5590307"/>
                </a:lnTo>
                <a:cubicBezTo>
                  <a:pt x="84200" y="5534864"/>
                  <a:pt x="88182" y="5513523"/>
                  <a:pt x="87096" y="5451796"/>
                </a:cubicBezTo>
                <a:close/>
                <a:moveTo>
                  <a:pt x="88286" y="2388197"/>
                </a:moveTo>
                <a:cubicBezTo>
                  <a:pt x="88286" y="2390690"/>
                  <a:pt x="84407" y="2432273"/>
                  <a:pt x="86217" y="2443541"/>
                </a:cubicBezTo>
                <a:cubicBezTo>
                  <a:pt x="89217" y="2463187"/>
                  <a:pt x="85907" y="2461891"/>
                  <a:pt x="85959" y="2485125"/>
                </a:cubicBezTo>
                <a:cubicBezTo>
                  <a:pt x="85959" y="2496692"/>
                  <a:pt x="87821" y="2498787"/>
                  <a:pt x="87614" y="2512947"/>
                </a:cubicBezTo>
                <a:cubicBezTo>
                  <a:pt x="87252" y="2535184"/>
                  <a:pt x="86062" y="2536481"/>
                  <a:pt x="85545" y="2554431"/>
                </a:cubicBezTo>
                <a:cubicBezTo>
                  <a:pt x="84252" y="2598307"/>
                  <a:pt x="85079" y="2601797"/>
                  <a:pt x="83166" y="2651457"/>
                </a:cubicBezTo>
                <a:cubicBezTo>
                  <a:pt x="82131" y="2678083"/>
                  <a:pt x="82338" y="2665319"/>
                  <a:pt x="82907" y="2693041"/>
                </a:cubicBezTo>
                <a:cubicBezTo>
                  <a:pt x="83528" y="2721960"/>
                  <a:pt x="81459" y="2729638"/>
                  <a:pt x="80786" y="2748385"/>
                </a:cubicBezTo>
                <a:cubicBezTo>
                  <a:pt x="80993" y="2764639"/>
                  <a:pt x="84045" y="2760153"/>
                  <a:pt x="86166" y="2762347"/>
                </a:cubicBezTo>
                <a:cubicBezTo>
                  <a:pt x="87821" y="2791465"/>
                  <a:pt x="83166" y="2781294"/>
                  <a:pt x="82390" y="2789969"/>
                </a:cubicBezTo>
                <a:cubicBezTo>
                  <a:pt x="80786" y="2808417"/>
                  <a:pt x="82597" y="2834743"/>
                  <a:pt x="80269" y="2845413"/>
                </a:cubicBezTo>
                <a:cubicBezTo>
                  <a:pt x="81200" y="2878720"/>
                  <a:pt x="82545" y="2908736"/>
                  <a:pt x="81459" y="2956402"/>
                </a:cubicBezTo>
                <a:cubicBezTo>
                  <a:pt x="77063" y="2961687"/>
                  <a:pt x="82804" y="2893279"/>
                  <a:pt x="76235" y="2914619"/>
                </a:cubicBezTo>
                <a:cubicBezTo>
                  <a:pt x="72873" y="2910231"/>
                  <a:pt x="75667" y="2960590"/>
                  <a:pt x="74115" y="2969964"/>
                </a:cubicBezTo>
                <a:cubicBezTo>
                  <a:pt x="73236" y="2975249"/>
                  <a:pt x="71736" y="2983325"/>
                  <a:pt x="72150" y="2997686"/>
                </a:cubicBezTo>
                <a:cubicBezTo>
                  <a:pt x="72304" y="3001973"/>
                  <a:pt x="73805" y="3017431"/>
                  <a:pt x="73908" y="3011647"/>
                </a:cubicBezTo>
                <a:cubicBezTo>
                  <a:pt x="73753" y="3023414"/>
                  <a:pt x="70184" y="3036377"/>
                  <a:pt x="70133" y="3039270"/>
                </a:cubicBezTo>
                <a:cubicBezTo>
                  <a:pt x="69770" y="3071279"/>
                  <a:pt x="75408" y="3058815"/>
                  <a:pt x="71528" y="3108575"/>
                </a:cubicBezTo>
                <a:cubicBezTo>
                  <a:pt x="71270" y="3111666"/>
                  <a:pt x="68788" y="3109672"/>
                  <a:pt x="69615" y="3122436"/>
                </a:cubicBezTo>
                <a:cubicBezTo>
                  <a:pt x="66563" y="3104685"/>
                  <a:pt x="67702" y="3062006"/>
                  <a:pt x="68271" y="3039270"/>
                </a:cubicBezTo>
                <a:cubicBezTo>
                  <a:pt x="68994" y="3011647"/>
                  <a:pt x="71528" y="3009254"/>
                  <a:pt x="70494" y="2969964"/>
                </a:cubicBezTo>
                <a:cubicBezTo>
                  <a:pt x="69667" y="2938951"/>
                  <a:pt x="70701" y="2946828"/>
                  <a:pt x="70960" y="2886797"/>
                </a:cubicBezTo>
                <a:cubicBezTo>
                  <a:pt x="71012" y="2864460"/>
                  <a:pt x="69770" y="2862765"/>
                  <a:pt x="69357" y="2845114"/>
                </a:cubicBezTo>
                <a:cubicBezTo>
                  <a:pt x="69098" y="2834644"/>
                  <a:pt x="70546" y="2796749"/>
                  <a:pt x="69667" y="2789671"/>
                </a:cubicBezTo>
                <a:cubicBezTo>
                  <a:pt x="68581" y="2780795"/>
                  <a:pt x="68425" y="2777703"/>
                  <a:pt x="69822" y="2761948"/>
                </a:cubicBezTo>
                <a:cubicBezTo>
                  <a:pt x="71322" y="2745194"/>
                  <a:pt x="71167" y="2716874"/>
                  <a:pt x="70287" y="2678781"/>
                </a:cubicBezTo>
                <a:cubicBezTo>
                  <a:pt x="74891" y="2683169"/>
                  <a:pt x="74942" y="2645675"/>
                  <a:pt x="76080" y="2623437"/>
                </a:cubicBezTo>
                <a:cubicBezTo>
                  <a:pt x="77890" y="2588037"/>
                  <a:pt x="77580" y="2554131"/>
                  <a:pt x="76804" y="2498686"/>
                </a:cubicBezTo>
                <a:lnTo>
                  <a:pt x="82235" y="2498887"/>
                </a:lnTo>
                <a:cubicBezTo>
                  <a:pt x="83321" y="2439852"/>
                  <a:pt x="81304" y="2356087"/>
                  <a:pt x="85079" y="2318792"/>
                </a:cubicBezTo>
                <a:cubicBezTo>
                  <a:pt x="88803" y="2326670"/>
                  <a:pt x="88803" y="2340432"/>
                  <a:pt x="86631" y="2360375"/>
                </a:cubicBezTo>
                <a:cubicBezTo>
                  <a:pt x="85131" y="2377029"/>
                  <a:pt x="88286" y="2384508"/>
                  <a:pt x="88286" y="2388197"/>
                </a:cubicBezTo>
                <a:close/>
                <a:moveTo>
                  <a:pt x="92010" y="5230119"/>
                </a:moveTo>
                <a:cubicBezTo>
                  <a:pt x="93044" y="5206086"/>
                  <a:pt x="90148" y="5199005"/>
                  <a:pt x="88700" y="5174575"/>
                </a:cubicBezTo>
                <a:cubicBezTo>
                  <a:pt x="87614" y="5155727"/>
                  <a:pt x="89993" y="5106765"/>
                  <a:pt x="83579" y="5119031"/>
                </a:cubicBezTo>
                <a:cubicBezTo>
                  <a:pt x="83114" y="5177666"/>
                  <a:pt x="78718" y="5257542"/>
                  <a:pt x="90044" y="5257840"/>
                </a:cubicBezTo>
                <a:cubicBezTo>
                  <a:pt x="90510" y="5247070"/>
                  <a:pt x="90251" y="5230518"/>
                  <a:pt x="92010" y="5230119"/>
                </a:cubicBezTo>
                <a:close/>
                <a:moveTo>
                  <a:pt x="92682" y="2249686"/>
                </a:moveTo>
                <a:cubicBezTo>
                  <a:pt x="92114" y="2274117"/>
                  <a:pt x="89372" y="2281197"/>
                  <a:pt x="85234" y="2277208"/>
                </a:cubicBezTo>
                <a:cubicBezTo>
                  <a:pt x="86580" y="2258561"/>
                  <a:pt x="89269" y="2251480"/>
                  <a:pt x="92682" y="2249686"/>
                </a:cubicBezTo>
                <a:close/>
                <a:moveTo>
                  <a:pt x="94234" y="3247883"/>
                </a:moveTo>
                <a:cubicBezTo>
                  <a:pt x="89683" y="3253168"/>
                  <a:pt x="89372" y="3161128"/>
                  <a:pt x="92993" y="3150857"/>
                </a:cubicBezTo>
                <a:cubicBezTo>
                  <a:pt x="95527" y="3104486"/>
                  <a:pt x="90975" y="3223651"/>
                  <a:pt x="94234" y="3247883"/>
                </a:cubicBezTo>
                <a:close/>
                <a:moveTo>
                  <a:pt x="94699" y="1903259"/>
                </a:moveTo>
                <a:cubicBezTo>
                  <a:pt x="91545" y="1899869"/>
                  <a:pt x="90717" y="1879326"/>
                  <a:pt x="91389" y="1847714"/>
                </a:cubicBezTo>
                <a:cubicBezTo>
                  <a:pt x="94544" y="1851105"/>
                  <a:pt x="95371" y="1871647"/>
                  <a:pt x="94699" y="1903259"/>
                </a:cubicBezTo>
                <a:close/>
                <a:moveTo>
                  <a:pt x="97389" y="1750787"/>
                </a:moveTo>
                <a:lnTo>
                  <a:pt x="97130" y="1792370"/>
                </a:lnTo>
                <a:lnTo>
                  <a:pt x="93510" y="1792270"/>
                </a:lnTo>
                <a:lnTo>
                  <a:pt x="93769" y="1750687"/>
                </a:lnTo>
                <a:close/>
                <a:moveTo>
                  <a:pt x="97970" y="1965571"/>
                </a:moveTo>
                <a:cubicBezTo>
                  <a:pt x="98074" y="1984680"/>
                  <a:pt x="97544" y="2008414"/>
                  <a:pt x="97595" y="2028008"/>
                </a:cubicBezTo>
                <a:cubicBezTo>
                  <a:pt x="88441" y="2022225"/>
                  <a:pt x="89890" y="2101503"/>
                  <a:pt x="87821" y="2152459"/>
                </a:cubicBezTo>
                <a:cubicBezTo>
                  <a:pt x="82028" y="2149567"/>
                  <a:pt x="86166" y="2121446"/>
                  <a:pt x="86320" y="2097014"/>
                </a:cubicBezTo>
                <a:cubicBezTo>
                  <a:pt x="86786" y="2034391"/>
                  <a:pt x="87303" y="1980042"/>
                  <a:pt x="90924" y="1930781"/>
                </a:cubicBezTo>
                <a:cubicBezTo>
                  <a:pt x="92475" y="1939357"/>
                  <a:pt x="94079" y="1947634"/>
                  <a:pt x="94544" y="1930881"/>
                </a:cubicBezTo>
                <a:cubicBezTo>
                  <a:pt x="97130" y="1931978"/>
                  <a:pt x="97867" y="1946463"/>
                  <a:pt x="97970" y="1965571"/>
                </a:cubicBezTo>
                <a:close/>
                <a:moveTo>
                  <a:pt x="98009" y="1002288"/>
                </a:moveTo>
                <a:lnTo>
                  <a:pt x="90769" y="1002088"/>
                </a:lnTo>
                <a:cubicBezTo>
                  <a:pt x="91648" y="1026421"/>
                  <a:pt x="88079" y="1083460"/>
                  <a:pt x="92114" y="1085255"/>
                </a:cubicBezTo>
                <a:cubicBezTo>
                  <a:pt x="93303" y="1051450"/>
                  <a:pt x="99302" y="1055937"/>
                  <a:pt x="98009" y="1002288"/>
                </a:cubicBezTo>
                <a:close/>
                <a:moveTo>
                  <a:pt x="100492" y="4689736"/>
                </a:moveTo>
                <a:cubicBezTo>
                  <a:pt x="90872" y="4670689"/>
                  <a:pt x="94492" y="4757545"/>
                  <a:pt x="89114" y="4772603"/>
                </a:cubicBezTo>
                <a:cubicBezTo>
                  <a:pt x="89890" y="4797333"/>
                  <a:pt x="86838" y="4798730"/>
                  <a:pt x="85648" y="4809001"/>
                </a:cubicBezTo>
                <a:cubicBezTo>
                  <a:pt x="85997" y="4811245"/>
                  <a:pt x="85794" y="4845741"/>
                  <a:pt x="85474" y="4868066"/>
                </a:cubicBezTo>
                <a:lnTo>
                  <a:pt x="85135" y="4884490"/>
                </a:lnTo>
                <a:lnTo>
                  <a:pt x="85131" y="4884688"/>
                </a:lnTo>
                <a:cubicBezTo>
                  <a:pt x="85907" y="4887680"/>
                  <a:pt x="88441" y="4893464"/>
                  <a:pt x="88441" y="4897352"/>
                </a:cubicBezTo>
                <a:cubicBezTo>
                  <a:pt x="88907" y="4886583"/>
                  <a:pt x="88648" y="4870029"/>
                  <a:pt x="90406" y="4869731"/>
                </a:cubicBezTo>
                <a:cubicBezTo>
                  <a:pt x="92372" y="4910815"/>
                  <a:pt x="87459" y="4994579"/>
                  <a:pt x="91182" y="5049925"/>
                </a:cubicBezTo>
                <a:cubicBezTo>
                  <a:pt x="100543" y="5057105"/>
                  <a:pt x="95061" y="4945816"/>
                  <a:pt x="99251" y="4911513"/>
                </a:cubicBezTo>
                <a:cubicBezTo>
                  <a:pt x="97854" y="4908322"/>
                  <a:pt x="95682" y="4911015"/>
                  <a:pt x="95682" y="4897553"/>
                </a:cubicBezTo>
                <a:cubicBezTo>
                  <a:pt x="99768" y="4856967"/>
                  <a:pt x="95217" y="4844202"/>
                  <a:pt x="97958" y="4814385"/>
                </a:cubicBezTo>
                <a:cubicBezTo>
                  <a:pt x="101009" y="4781678"/>
                  <a:pt x="97286" y="4747175"/>
                  <a:pt x="100492" y="4689736"/>
                </a:cubicBezTo>
                <a:close/>
                <a:moveTo>
                  <a:pt x="101203" y="4154787"/>
                </a:moveTo>
                <a:cubicBezTo>
                  <a:pt x="101242" y="4141674"/>
                  <a:pt x="100259" y="4128960"/>
                  <a:pt x="98268" y="4135193"/>
                </a:cubicBezTo>
                <a:cubicBezTo>
                  <a:pt x="96768" y="4139880"/>
                  <a:pt x="95889" y="4171990"/>
                  <a:pt x="98009" y="4176776"/>
                </a:cubicBezTo>
                <a:cubicBezTo>
                  <a:pt x="100104" y="4181413"/>
                  <a:pt x="101164" y="4167901"/>
                  <a:pt x="101203" y="4154787"/>
                </a:cubicBezTo>
                <a:close/>
                <a:moveTo>
                  <a:pt x="101319" y="4232320"/>
                </a:moveTo>
                <a:cubicBezTo>
                  <a:pt x="99871" y="4207688"/>
                  <a:pt x="98578" y="4197917"/>
                  <a:pt x="94234" y="4204398"/>
                </a:cubicBezTo>
                <a:cubicBezTo>
                  <a:pt x="95113" y="4283775"/>
                  <a:pt x="91596" y="4328151"/>
                  <a:pt x="91285" y="4398453"/>
                </a:cubicBezTo>
                <a:lnTo>
                  <a:pt x="87665" y="4398354"/>
                </a:lnTo>
                <a:cubicBezTo>
                  <a:pt x="86114" y="4436147"/>
                  <a:pt x="91131" y="4426374"/>
                  <a:pt x="90975" y="4453898"/>
                </a:cubicBezTo>
                <a:cubicBezTo>
                  <a:pt x="88182" y="4453997"/>
                  <a:pt x="84769" y="4491592"/>
                  <a:pt x="90820" y="4481620"/>
                </a:cubicBezTo>
                <a:lnTo>
                  <a:pt x="90562" y="4523204"/>
                </a:lnTo>
                <a:cubicBezTo>
                  <a:pt x="91545" y="4539458"/>
                  <a:pt x="87200" y="4532277"/>
                  <a:pt x="86889" y="4536865"/>
                </a:cubicBezTo>
                <a:cubicBezTo>
                  <a:pt x="84149" y="4576055"/>
                  <a:pt x="87562" y="4646058"/>
                  <a:pt x="91699" y="4647953"/>
                </a:cubicBezTo>
                <a:cubicBezTo>
                  <a:pt x="92424" y="4630403"/>
                  <a:pt x="93458" y="4628508"/>
                  <a:pt x="93769" y="4606370"/>
                </a:cubicBezTo>
                <a:cubicBezTo>
                  <a:pt x="94079" y="4582038"/>
                  <a:pt x="98734" y="4562891"/>
                  <a:pt x="99613" y="4537264"/>
                </a:cubicBezTo>
                <a:cubicBezTo>
                  <a:pt x="99561" y="4538859"/>
                  <a:pt x="97699" y="4522804"/>
                  <a:pt x="97958" y="4509541"/>
                </a:cubicBezTo>
                <a:cubicBezTo>
                  <a:pt x="98165" y="4497276"/>
                  <a:pt x="99975" y="4491392"/>
                  <a:pt x="99923" y="4481819"/>
                </a:cubicBezTo>
                <a:cubicBezTo>
                  <a:pt x="99923" y="4484212"/>
                  <a:pt x="98371" y="4474639"/>
                  <a:pt x="98165" y="4467859"/>
                </a:cubicBezTo>
                <a:cubicBezTo>
                  <a:pt x="96768" y="4416702"/>
                  <a:pt x="102974" y="4427073"/>
                  <a:pt x="98578" y="4398553"/>
                </a:cubicBezTo>
                <a:cubicBezTo>
                  <a:pt x="98216" y="4396159"/>
                  <a:pt x="98785" y="4375019"/>
                  <a:pt x="98734" y="4370832"/>
                </a:cubicBezTo>
                <a:cubicBezTo>
                  <a:pt x="98216" y="4317082"/>
                  <a:pt x="101164" y="4317681"/>
                  <a:pt x="101112" y="4273903"/>
                </a:cubicBezTo>
                <a:cubicBezTo>
                  <a:pt x="101112" y="4265328"/>
                  <a:pt x="99354" y="4258247"/>
                  <a:pt x="99354" y="4259942"/>
                </a:cubicBezTo>
                <a:cubicBezTo>
                  <a:pt x="99354" y="4250669"/>
                  <a:pt x="101630" y="4237405"/>
                  <a:pt x="101319" y="4232320"/>
                </a:cubicBezTo>
                <a:close/>
                <a:moveTo>
                  <a:pt x="104371" y="1649172"/>
                </a:moveTo>
                <a:lnTo>
                  <a:pt x="104216" y="1676895"/>
                </a:lnTo>
                <a:lnTo>
                  <a:pt x="100596" y="1676794"/>
                </a:lnTo>
                <a:lnTo>
                  <a:pt x="100750" y="1649073"/>
                </a:lnTo>
                <a:close/>
                <a:moveTo>
                  <a:pt x="106957" y="640104"/>
                </a:moveTo>
                <a:cubicBezTo>
                  <a:pt x="106077" y="666531"/>
                  <a:pt x="105974" y="699738"/>
                  <a:pt x="101216" y="695349"/>
                </a:cubicBezTo>
                <a:cubicBezTo>
                  <a:pt x="98061" y="671516"/>
                  <a:pt x="102095" y="640902"/>
                  <a:pt x="106957" y="640104"/>
                </a:cubicBezTo>
                <a:close/>
                <a:moveTo>
                  <a:pt x="107086" y="772271"/>
                </a:moveTo>
                <a:cubicBezTo>
                  <a:pt x="107862" y="792602"/>
                  <a:pt x="107733" y="815164"/>
                  <a:pt x="105974" y="831368"/>
                </a:cubicBezTo>
                <a:cubicBezTo>
                  <a:pt x="102923" y="831268"/>
                  <a:pt x="102251" y="808233"/>
                  <a:pt x="99199" y="808134"/>
                </a:cubicBezTo>
                <a:cubicBezTo>
                  <a:pt x="99251" y="842337"/>
                  <a:pt x="99095" y="874945"/>
                  <a:pt x="96923" y="891299"/>
                </a:cubicBezTo>
                <a:cubicBezTo>
                  <a:pt x="97182" y="915731"/>
                  <a:pt x="99820" y="922911"/>
                  <a:pt x="104009" y="919222"/>
                </a:cubicBezTo>
                <a:lnTo>
                  <a:pt x="103699" y="974665"/>
                </a:lnTo>
                <a:cubicBezTo>
                  <a:pt x="105819" y="1000693"/>
                  <a:pt x="100078" y="997601"/>
                  <a:pt x="99923" y="1002288"/>
                </a:cubicBezTo>
                <a:cubicBezTo>
                  <a:pt x="100026" y="998299"/>
                  <a:pt x="101112" y="1052947"/>
                  <a:pt x="101319" y="1071693"/>
                </a:cubicBezTo>
                <a:cubicBezTo>
                  <a:pt x="101423" y="1081465"/>
                  <a:pt x="103440" y="1087349"/>
                  <a:pt x="102974" y="1099515"/>
                </a:cubicBezTo>
                <a:cubicBezTo>
                  <a:pt x="102820" y="1103304"/>
                  <a:pt x="100647" y="1098916"/>
                  <a:pt x="101061" y="1113277"/>
                </a:cubicBezTo>
                <a:cubicBezTo>
                  <a:pt x="101578" y="1129530"/>
                  <a:pt x="103543" y="1134816"/>
                  <a:pt x="104216" y="1149475"/>
                </a:cubicBezTo>
                <a:cubicBezTo>
                  <a:pt x="103130" y="1160743"/>
                  <a:pt x="101888" y="1172510"/>
                  <a:pt x="101164" y="1174305"/>
                </a:cubicBezTo>
                <a:cubicBezTo>
                  <a:pt x="99716" y="1177895"/>
                  <a:pt x="101009" y="1203224"/>
                  <a:pt x="101371" y="1221274"/>
                </a:cubicBezTo>
                <a:cubicBezTo>
                  <a:pt x="101785" y="1239322"/>
                  <a:pt x="102044" y="1271831"/>
                  <a:pt x="102044" y="1271831"/>
                </a:cubicBezTo>
                <a:lnTo>
                  <a:pt x="101371" y="1292374"/>
                </a:lnTo>
                <a:cubicBezTo>
                  <a:pt x="100802" y="1289083"/>
                  <a:pt x="100336" y="1285293"/>
                  <a:pt x="100130" y="1279709"/>
                </a:cubicBezTo>
                <a:cubicBezTo>
                  <a:pt x="97440" y="1287387"/>
                  <a:pt x="95578" y="1301149"/>
                  <a:pt x="94441" y="1321093"/>
                </a:cubicBezTo>
                <a:cubicBezTo>
                  <a:pt x="91131" y="1294966"/>
                  <a:pt x="89890" y="1319398"/>
                  <a:pt x="85338" y="1320793"/>
                </a:cubicBezTo>
                <a:cubicBezTo>
                  <a:pt x="84511" y="1349014"/>
                  <a:pt x="87355" y="1350710"/>
                  <a:pt x="88751" y="1362476"/>
                </a:cubicBezTo>
                <a:cubicBezTo>
                  <a:pt x="89837" y="1371850"/>
                  <a:pt x="90458" y="1385511"/>
                  <a:pt x="92217" y="1390298"/>
                </a:cubicBezTo>
                <a:cubicBezTo>
                  <a:pt x="91182" y="1469278"/>
                  <a:pt x="90665" y="1491615"/>
                  <a:pt x="85804" y="1556432"/>
                </a:cubicBezTo>
                <a:cubicBezTo>
                  <a:pt x="79131" y="1546161"/>
                  <a:pt x="86786" y="1514749"/>
                  <a:pt x="82545" y="1487027"/>
                </a:cubicBezTo>
                <a:cubicBezTo>
                  <a:pt x="79287" y="1485133"/>
                  <a:pt x="78614" y="1503880"/>
                  <a:pt x="75201" y="1500689"/>
                </a:cubicBezTo>
                <a:cubicBezTo>
                  <a:pt x="77218" y="1442252"/>
                  <a:pt x="77011" y="1430786"/>
                  <a:pt x="77890" y="1348216"/>
                </a:cubicBezTo>
                <a:lnTo>
                  <a:pt x="83321" y="1348416"/>
                </a:lnTo>
                <a:cubicBezTo>
                  <a:pt x="82080" y="1335353"/>
                  <a:pt x="80166" y="1327276"/>
                  <a:pt x="78045" y="1320495"/>
                </a:cubicBezTo>
                <a:cubicBezTo>
                  <a:pt x="80786" y="1279509"/>
                  <a:pt x="77322" y="1260165"/>
                  <a:pt x="78770" y="1195744"/>
                </a:cubicBezTo>
                <a:cubicBezTo>
                  <a:pt x="78149" y="1181984"/>
                  <a:pt x="76959" y="1172211"/>
                  <a:pt x="75563" y="1164233"/>
                </a:cubicBezTo>
                <a:lnTo>
                  <a:pt x="77839" y="1105000"/>
                </a:lnTo>
                <a:cubicBezTo>
                  <a:pt x="77839" y="1105000"/>
                  <a:pt x="77269" y="1032803"/>
                  <a:pt x="77373" y="1018343"/>
                </a:cubicBezTo>
                <a:cubicBezTo>
                  <a:pt x="77425" y="1003884"/>
                  <a:pt x="81924" y="964295"/>
                  <a:pt x="81924" y="964295"/>
                </a:cubicBezTo>
                <a:lnTo>
                  <a:pt x="81614" y="958212"/>
                </a:lnTo>
                <a:cubicBezTo>
                  <a:pt x="83476" y="959409"/>
                  <a:pt x="84925" y="963397"/>
                  <a:pt x="85441" y="974167"/>
                </a:cubicBezTo>
                <a:cubicBezTo>
                  <a:pt x="90717" y="971474"/>
                  <a:pt x="88751" y="922113"/>
                  <a:pt x="89579" y="891101"/>
                </a:cubicBezTo>
                <a:cubicBezTo>
                  <a:pt x="89579" y="891200"/>
                  <a:pt x="91285" y="886314"/>
                  <a:pt x="91492" y="877239"/>
                </a:cubicBezTo>
                <a:cubicBezTo>
                  <a:pt x="92268" y="842637"/>
                  <a:pt x="91545" y="792876"/>
                  <a:pt x="92217" y="752489"/>
                </a:cubicBezTo>
                <a:cubicBezTo>
                  <a:pt x="97699" y="752689"/>
                  <a:pt x="97337" y="726363"/>
                  <a:pt x="102767" y="726562"/>
                </a:cubicBezTo>
                <a:cubicBezTo>
                  <a:pt x="104629" y="733842"/>
                  <a:pt x="106310" y="751941"/>
                  <a:pt x="107086" y="772271"/>
                </a:cubicBezTo>
                <a:close/>
                <a:moveTo>
                  <a:pt x="109139" y="1229499"/>
                </a:moveTo>
                <a:cubicBezTo>
                  <a:pt x="109604" y="1254717"/>
                  <a:pt x="106259" y="1300226"/>
                  <a:pt x="106957" y="1243311"/>
                </a:cubicBezTo>
                <a:lnTo>
                  <a:pt x="107112" y="1215589"/>
                </a:lnTo>
                <a:cubicBezTo>
                  <a:pt x="108405" y="1214941"/>
                  <a:pt x="108983" y="1221093"/>
                  <a:pt x="109139" y="1229499"/>
                </a:cubicBezTo>
                <a:close/>
                <a:moveTo>
                  <a:pt x="111489" y="4601982"/>
                </a:moveTo>
                <a:cubicBezTo>
                  <a:pt x="112646" y="4563017"/>
                  <a:pt x="110345" y="4520960"/>
                  <a:pt x="101423" y="4537264"/>
                </a:cubicBezTo>
                <a:cubicBezTo>
                  <a:pt x="101785" y="4587124"/>
                  <a:pt x="103802" y="4604177"/>
                  <a:pt x="100802" y="4648152"/>
                </a:cubicBezTo>
                <a:cubicBezTo>
                  <a:pt x="105715" y="4676822"/>
                  <a:pt x="110331" y="4640948"/>
                  <a:pt x="111489" y="4601982"/>
                </a:cubicBezTo>
                <a:close/>
                <a:moveTo>
                  <a:pt x="111715" y="6228815"/>
                </a:moveTo>
                <a:cubicBezTo>
                  <a:pt x="112439" y="6234599"/>
                  <a:pt x="107112" y="6245168"/>
                  <a:pt x="107939" y="6256438"/>
                </a:cubicBezTo>
                <a:cubicBezTo>
                  <a:pt x="101837" y="6232604"/>
                  <a:pt x="110370" y="6218045"/>
                  <a:pt x="111715" y="6228815"/>
                </a:cubicBezTo>
                <a:close/>
                <a:moveTo>
                  <a:pt x="111974" y="1152067"/>
                </a:moveTo>
                <a:cubicBezTo>
                  <a:pt x="117611" y="1184875"/>
                  <a:pt x="105250" y="1207911"/>
                  <a:pt x="111974" y="1152067"/>
                </a:cubicBezTo>
                <a:close/>
                <a:moveTo>
                  <a:pt x="112885" y="2248801"/>
                </a:moveTo>
                <a:cubicBezTo>
                  <a:pt x="112633" y="2263895"/>
                  <a:pt x="111999" y="2281795"/>
                  <a:pt x="112439" y="2291867"/>
                </a:cubicBezTo>
                <a:cubicBezTo>
                  <a:pt x="109181" y="2264645"/>
                  <a:pt x="105819" y="2287380"/>
                  <a:pt x="101526" y="2291568"/>
                </a:cubicBezTo>
                <a:lnTo>
                  <a:pt x="101681" y="2263847"/>
                </a:lnTo>
                <a:cubicBezTo>
                  <a:pt x="103233" y="2266439"/>
                  <a:pt x="103440" y="2258561"/>
                  <a:pt x="103595" y="2250085"/>
                </a:cubicBezTo>
                <a:cubicBezTo>
                  <a:pt x="105043" y="2257364"/>
                  <a:pt x="106491" y="2264544"/>
                  <a:pt x="108974" y="2264045"/>
                </a:cubicBezTo>
                <a:cubicBezTo>
                  <a:pt x="113112" y="2256467"/>
                  <a:pt x="106905" y="2242407"/>
                  <a:pt x="111042" y="2222563"/>
                </a:cubicBezTo>
                <a:cubicBezTo>
                  <a:pt x="113008" y="2221416"/>
                  <a:pt x="113137" y="2233706"/>
                  <a:pt x="112885" y="2248801"/>
                </a:cubicBezTo>
                <a:close/>
                <a:moveTo>
                  <a:pt x="113526" y="2124537"/>
                </a:moveTo>
                <a:cubicBezTo>
                  <a:pt x="113319" y="2152559"/>
                  <a:pt x="112750" y="2183223"/>
                  <a:pt x="112905" y="2208701"/>
                </a:cubicBezTo>
                <a:cubicBezTo>
                  <a:pt x="107526" y="2187859"/>
                  <a:pt x="105819" y="2213089"/>
                  <a:pt x="102095" y="2194541"/>
                </a:cubicBezTo>
                <a:lnTo>
                  <a:pt x="102871" y="2055930"/>
                </a:lnTo>
                <a:lnTo>
                  <a:pt x="111974" y="2056228"/>
                </a:lnTo>
                <a:cubicBezTo>
                  <a:pt x="113577" y="2071137"/>
                  <a:pt x="113732" y="2096516"/>
                  <a:pt x="113526" y="2124537"/>
                </a:cubicBezTo>
                <a:close/>
                <a:moveTo>
                  <a:pt x="113887" y="1359485"/>
                </a:moveTo>
                <a:cubicBezTo>
                  <a:pt x="113370" y="1371751"/>
                  <a:pt x="113112" y="1390099"/>
                  <a:pt x="113060" y="1397080"/>
                </a:cubicBezTo>
                <a:cubicBezTo>
                  <a:pt x="113008" y="1406753"/>
                  <a:pt x="112543" y="1425998"/>
                  <a:pt x="112181" y="1437965"/>
                </a:cubicBezTo>
                <a:cubicBezTo>
                  <a:pt x="111974" y="1445643"/>
                  <a:pt x="110732" y="1468180"/>
                  <a:pt x="109853" y="1485233"/>
                </a:cubicBezTo>
                <a:cubicBezTo>
                  <a:pt x="109750" y="1485133"/>
                  <a:pt x="109647" y="1485233"/>
                  <a:pt x="109543" y="1485032"/>
                </a:cubicBezTo>
                <a:cubicBezTo>
                  <a:pt x="103492" y="1499193"/>
                  <a:pt x="105095" y="1575080"/>
                  <a:pt x="101578" y="1609583"/>
                </a:cubicBezTo>
                <a:cubicBezTo>
                  <a:pt x="100026" y="1598813"/>
                  <a:pt x="97544" y="1594525"/>
                  <a:pt x="94389" y="1595523"/>
                </a:cubicBezTo>
                <a:cubicBezTo>
                  <a:pt x="95320" y="1549851"/>
                  <a:pt x="98992" y="1526316"/>
                  <a:pt x="102198" y="1498695"/>
                </a:cubicBezTo>
                <a:cubicBezTo>
                  <a:pt x="101991" y="1480345"/>
                  <a:pt x="102716" y="1469975"/>
                  <a:pt x="100802" y="1464690"/>
                </a:cubicBezTo>
                <a:lnTo>
                  <a:pt x="100543" y="1373446"/>
                </a:lnTo>
                <a:cubicBezTo>
                  <a:pt x="100543" y="1373446"/>
                  <a:pt x="102302" y="1343031"/>
                  <a:pt x="102613" y="1316207"/>
                </a:cubicBezTo>
                <a:cubicBezTo>
                  <a:pt x="107371" y="1316406"/>
                  <a:pt x="106595" y="1296163"/>
                  <a:pt x="112387" y="1304838"/>
                </a:cubicBezTo>
                <a:cubicBezTo>
                  <a:pt x="107474" y="1340838"/>
                  <a:pt x="115128" y="1316406"/>
                  <a:pt x="113887" y="1359485"/>
                </a:cubicBezTo>
                <a:close/>
                <a:moveTo>
                  <a:pt x="117456" y="1099815"/>
                </a:moveTo>
                <a:cubicBezTo>
                  <a:pt x="116525" y="1130429"/>
                  <a:pt x="106698" y="1118063"/>
                  <a:pt x="110370" y="1071892"/>
                </a:cubicBezTo>
                <a:cubicBezTo>
                  <a:pt x="113939" y="1072092"/>
                  <a:pt x="112439" y="1109787"/>
                  <a:pt x="117456" y="1099815"/>
                </a:cubicBezTo>
                <a:close/>
                <a:moveTo>
                  <a:pt x="118542" y="826482"/>
                </a:moveTo>
                <a:lnTo>
                  <a:pt x="118387" y="854204"/>
                </a:lnTo>
                <a:lnTo>
                  <a:pt x="114767" y="854103"/>
                </a:lnTo>
                <a:lnTo>
                  <a:pt x="114922" y="826382"/>
                </a:lnTo>
                <a:close/>
                <a:moveTo>
                  <a:pt x="120353" y="4399152"/>
                </a:moveTo>
                <a:cubicBezTo>
                  <a:pt x="115491" y="4403440"/>
                  <a:pt x="122473" y="4321569"/>
                  <a:pt x="115232" y="4343607"/>
                </a:cubicBezTo>
                <a:cubicBezTo>
                  <a:pt x="112387" y="4345901"/>
                  <a:pt x="113577" y="4377214"/>
                  <a:pt x="113112" y="4398951"/>
                </a:cubicBezTo>
                <a:cubicBezTo>
                  <a:pt x="112646" y="4419095"/>
                  <a:pt x="110474" y="4421988"/>
                  <a:pt x="112853" y="4440535"/>
                </a:cubicBezTo>
                <a:cubicBezTo>
                  <a:pt x="117404" y="4443028"/>
                  <a:pt x="118645" y="4419395"/>
                  <a:pt x="120353" y="4399152"/>
                </a:cubicBezTo>
                <a:close/>
                <a:moveTo>
                  <a:pt x="120611" y="4676473"/>
                </a:moveTo>
                <a:cubicBezTo>
                  <a:pt x="116370" y="4680760"/>
                  <a:pt x="113629" y="4674080"/>
                  <a:pt x="111612" y="4662313"/>
                </a:cubicBezTo>
                <a:cubicBezTo>
                  <a:pt x="111560" y="4681459"/>
                  <a:pt x="110577" y="4692728"/>
                  <a:pt x="109543" y="4703896"/>
                </a:cubicBezTo>
                <a:cubicBezTo>
                  <a:pt x="116473" y="4688239"/>
                  <a:pt x="117715" y="4717359"/>
                  <a:pt x="120611" y="4676473"/>
                </a:cubicBezTo>
                <a:close/>
                <a:moveTo>
                  <a:pt x="121361" y="1453907"/>
                </a:moveTo>
                <a:cubicBezTo>
                  <a:pt x="121154" y="1477105"/>
                  <a:pt x="119887" y="1497797"/>
                  <a:pt x="117043" y="1487925"/>
                </a:cubicBezTo>
                <a:cubicBezTo>
                  <a:pt x="115956" y="1445544"/>
                  <a:pt x="120404" y="1447239"/>
                  <a:pt x="119318" y="1404857"/>
                </a:cubicBezTo>
                <a:cubicBezTo>
                  <a:pt x="120714" y="1405007"/>
                  <a:pt x="121568" y="1430710"/>
                  <a:pt x="121361" y="1453907"/>
                </a:cubicBezTo>
                <a:close/>
                <a:moveTo>
                  <a:pt x="121665" y="4617563"/>
                </a:moveTo>
                <a:cubicBezTo>
                  <a:pt x="121658" y="4605896"/>
                  <a:pt x="120197" y="4595351"/>
                  <a:pt x="117301" y="4620929"/>
                </a:cubicBezTo>
                <a:cubicBezTo>
                  <a:pt x="120223" y="4642020"/>
                  <a:pt x="121671" y="4629231"/>
                  <a:pt x="121665" y="4617563"/>
                </a:cubicBezTo>
                <a:close/>
                <a:moveTo>
                  <a:pt x="122162" y="905958"/>
                </a:moveTo>
                <a:cubicBezTo>
                  <a:pt x="120611" y="957414"/>
                  <a:pt x="121076" y="942156"/>
                  <a:pt x="119783" y="1002886"/>
                </a:cubicBezTo>
                <a:lnTo>
                  <a:pt x="112543" y="1002687"/>
                </a:lnTo>
                <a:cubicBezTo>
                  <a:pt x="113112" y="985036"/>
                  <a:pt x="112181" y="964495"/>
                  <a:pt x="112853" y="947242"/>
                </a:cubicBezTo>
                <a:cubicBezTo>
                  <a:pt x="112905" y="945149"/>
                  <a:pt x="116422" y="949437"/>
                  <a:pt x="116473" y="947342"/>
                </a:cubicBezTo>
                <a:cubicBezTo>
                  <a:pt x="117043" y="930789"/>
                  <a:pt x="114818" y="939265"/>
                  <a:pt x="114715" y="933481"/>
                </a:cubicBezTo>
                <a:cubicBezTo>
                  <a:pt x="114405" y="916329"/>
                  <a:pt x="117456" y="901072"/>
                  <a:pt x="122162" y="905958"/>
                </a:cubicBezTo>
                <a:close/>
                <a:moveTo>
                  <a:pt x="126507" y="781209"/>
                </a:moveTo>
                <a:cubicBezTo>
                  <a:pt x="124852" y="791979"/>
                  <a:pt x="122318" y="795967"/>
                  <a:pt x="119163" y="794870"/>
                </a:cubicBezTo>
                <a:cubicBezTo>
                  <a:pt x="122887" y="754084"/>
                  <a:pt x="119163" y="709111"/>
                  <a:pt x="121594" y="684081"/>
                </a:cubicBezTo>
                <a:cubicBezTo>
                  <a:pt x="131059" y="699538"/>
                  <a:pt x="122990" y="731648"/>
                  <a:pt x="126507" y="781209"/>
                </a:cubicBezTo>
                <a:close/>
                <a:moveTo>
                  <a:pt x="129920" y="504087"/>
                </a:moveTo>
                <a:cubicBezTo>
                  <a:pt x="127283" y="522136"/>
                  <a:pt x="122990" y="577281"/>
                  <a:pt x="129455" y="587253"/>
                </a:cubicBezTo>
                <a:cubicBezTo>
                  <a:pt x="128938" y="602311"/>
                  <a:pt x="125783" y="596527"/>
                  <a:pt x="125680" y="614876"/>
                </a:cubicBezTo>
                <a:cubicBezTo>
                  <a:pt x="121232" y="583663"/>
                  <a:pt x="121232" y="519145"/>
                  <a:pt x="129920" y="504087"/>
                </a:cubicBezTo>
                <a:close/>
                <a:moveTo>
                  <a:pt x="132028" y="2042281"/>
                </a:moveTo>
                <a:cubicBezTo>
                  <a:pt x="132558" y="2055955"/>
                  <a:pt x="131886" y="2069791"/>
                  <a:pt x="128265" y="2070489"/>
                </a:cubicBezTo>
                <a:cubicBezTo>
                  <a:pt x="128472" y="2059421"/>
                  <a:pt x="130386" y="2056429"/>
                  <a:pt x="130231" y="2042767"/>
                </a:cubicBezTo>
                <a:cubicBezTo>
                  <a:pt x="130127" y="2034590"/>
                  <a:pt x="124645" y="2014944"/>
                  <a:pt x="128576" y="2015045"/>
                </a:cubicBezTo>
                <a:cubicBezTo>
                  <a:pt x="129766" y="2015095"/>
                  <a:pt x="131498" y="2028607"/>
                  <a:pt x="132028" y="2042281"/>
                </a:cubicBezTo>
                <a:close/>
                <a:moveTo>
                  <a:pt x="133024" y="1182981"/>
                </a:moveTo>
                <a:cubicBezTo>
                  <a:pt x="131059" y="1184576"/>
                  <a:pt x="129093" y="1186670"/>
                  <a:pt x="127800" y="1183379"/>
                </a:cubicBezTo>
                <a:cubicBezTo>
                  <a:pt x="125938" y="1207911"/>
                  <a:pt x="131213" y="1218281"/>
                  <a:pt x="131213" y="1225062"/>
                </a:cubicBezTo>
                <a:cubicBezTo>
                  <a:pt x="131265" y="1238126"/>
                  <a:pt x="122318" y="1293271"/>
                  <a:pt x="130748" y="1308229"/>
                </a:cubicBezTo>
                <a:cubicBezTo>
                  <a:pt x="130334" y="1339441"/>
                  <a:pt x="126041" y="1301249"/>
                  <a:pt x="125318" y="1308029"/>
                </a:cubicBezTo>
                <a:cubicBezTo>
                  <a:pt x="124955" y="1311720"/>
                  <a:pt x="123714" y="1318001"/>
                  <a:pt x="121852" y="1321591"/>
                </a:cubicBezTo>
                <a:cubicBezTo>
                  <a:pt x="121852" y="1313215"/>
                  <a:pt x="121748" y="1305138"/>
                  <a:pt x="121542" y="1298756"/>
                </a:cubicBezTo>
                <a:cubicBezTo>
                  <a:pt x="120714" y="1274623"/>
                  <a:pt x="122162" y="1241017"/>
                  <a:pt x="122576" y="1224066"/>
                </a:cubicBezTo>
                <a:cubicBezTo>
                  <a:pt x="122731" y="1216487"/>
                  <a:pt x="123093" y="1204121"/>
                  <a:pt x="123404" y="1192754"/>
                </a:cubicBezTo>
                <a:cubicBezTo>
                  <a:pt x="124542" y="1187069"/>
                  <a:pt x="125162" y="1177396"/>
                  <a:pt x="126094" y="1169319"/>
                </a:cubicBezTo>
                <a:cubicBezTo>
                  <a:pt x="128834" y="1146084"/>
                  <a:pt x="130696" y="1132223"/>
                  <a:pt x="128369" y="1086252"/>
                </a:cubicBezTo>
                <a:cubicBezTo>
                  <a:pt x="129869" y="1087847"/>
                  <a:pt x="131110" y="1087648"/>
                  <a:pt x="132300" y="1086751"/>
                </a:cubicBezTo>
                <a:cubicBezTo>
                  <a:pt x="132300" y="1087349"/>
                  <a:pt x="132300" y="1087847"/>
                  <a:pt x="132300" y="1088446"/>
                </a:cubicBezTo>
                <a:cubicBezTo>
                  <a:pt x="131938" y="1108291"/>
                  <a:pt x="132300" y="1126339"/>
                  <a:pt x="132454" y="1139004"/>
                </a:cubicBezTo>
                <a:cubicBezTo>
                  <a:pt x="132610" y="1148178"/>
                  <a:pt x="132868" y="1169119"/>
                  <a:pt x="133024" y="1182981"/>
                </a:cubicBezTo>
                <a:close/>
                <a:moveTo>
                  <a:pt x="134162" y="1507968"/>
                </a:moveTo>
                <a:lnTo>
                  <a:pt x="134006" y="1535691"/>
                </a:lnTo>
                <a:lnTo>
                  <a:pt x="130386" y="1535591"/>
                </a:lnTo>
                <a:lnTo>
                  <a:pt x="130541" y="1507869"/>
                </a:lnTo>
                <a:close/>
                <a:moveTo>
                  <a:pt x="134524" y="975564"/>
                </a:moveTo>
                <a:cubicBezTo>
                  <a:pt x="132507" y="988427"/>
                  <a:pt x="133644" y="1026619"/>
                  <a:pt x="128834" y="1016947"/>
                </a:cubicBezTo>
                <a:cubicBezTo>
                  <a:pt x="130852" y="1004082"/>
                  <a:pt x="129713" y="965890"/>
                  <a:pt x="134524" y="975564"/>
                </a:cubicBezTo>
                <a:close/>
                <a:moveTo>
                  <a:pt x="134938" y="1835050"/>
                </a:moveTo>
                <a:cubicBezTo>
                  <a:pt x="134524" y="1894283"/>
                  <a:pt x="131938" y="1936565"/>
                  <a:pt x="130438" y="1987422"/>
                </a:cubicBezTo>
                <a:cubicBezTo>
                  <a:pt x="126041" y="1970868"/>
                  <a:pt x="119163" y="1972364"/>
                  <a:pt x="121852" y="1903957"/>
                </a:cubicBezTo>
                <a:cubicBezTo>
                  <a:pt x="116370" y="1893685"/>
                  <a:pt x="116370" y="1927691"/>
                  <a:pt x="110888" y="1917519"/>
                </a:cubicBezTo>
                <a:cubicBezTo>
                  <a:pt x="109336" y="1959799"/>
                  <a:pt x="112439" y="1968076"/>
                  <a:pt x="112232" y="2000686"/>
                </a:cubicBezTo>
                <a:cubicBezTo>
                  <a:pt x="106388" y="2012551"/>
                  <a:pt x="108974" y="1955810"/>
                  <a:pt x="108922" y="1945141"/>
                </a:cubicBezTo>
                <a:cubicBezTo>
                  <a:pt x="108767" y="1912931"/>
                  <a:pt x="108560" y="1868855"/>
                  <a:pt x="111302" y="1848213"/>
                </a:cubicBezTo>
                <a:cubicBezTo>
                  <a:pt x="114042" y="1827771"/>
                  <a:pt x="111456" y="1828169"/>
                  <a:pt x="111560" y="1806630"/>
                </a:cubicBezTo>
                <a:cubicBezTo>
                  <a:pt x="111612" y="1796758"/>
                  <a:pt x="113215" y="1791373"/>
                  <a:pt x="113526" y="1779007"/>
                </a:cubicBezTo>
                <a:cubicBezTo>
                  <a:pt x="113887" y="1764747"/>
                  <a:pt x="112284" y="1679387"/>
                  <a:pt x="114146" y="1668119"/>
                </a:cubicBezTo>
                <a:cubicBezTo>
                  <a:pt x="114249" y="1667421"/>
                  <a:pt x="115956" y="1669016"/>
                  <a:pt x="115956" y="1668219"/>
                </a:cubicBezTo>
                <a:cubicBezTo>
                  <a:pt x="116473" y="1647876"/>
                  <a:pt x="114301" y="1647277"/>
                  <a:pt x="114301" y="1640397"/>
                </a:cubicBezTo>
                <a:cubicBezTo>
                  <a:pt x="114301" y="1628729"/>
                  <a:pt x="116215" y="1626735"/>
                  <a:pt x="116215" y="1626635"/>
                </a:cubicBezTo>
                <a:cubicBezTo>
                  <a:pt x="116163" y="1603201"/>
                  <a:pt x="113784" y="1590437"/>
                  <a:pt x="116473" y="1585051"/>
                </a:cubicBezTo>
                <a:cubicBezTo>
                  <a:pt x="121748" y="1583557"/>
                  <a:pt x="117818" y="1596619"/>
                  <a:pt x="118128" y="1612774"/>
                </a:cubicBezTo>
                <a:cubicBezTo>
                  <a:pt x="118542" y="1634513"/>
                  <a:pt x="121490" y="1653260"/>
                  <a:pt x="117715" y="1682080"/>
                </a:cubicBezTo>
                <a:cubicBezTo>
                  <a:pt x="115853" y="1696539"/>
                  <a:pt x="118128" y="1753778"/>
                  <a:pt x="116939" y="1820690"/>
                </a:cubicBezTo>
                <a:cubicBezTo>
                  <a:pt x="117404" y="1839537"/>
                  <a:pt x="121438" y="1832357"/>
                  <a:pt x="124128" y="1834750"/>
                </a:cubicBezTo>
                <a:cubicBezTo>
                  <a:pt x="123197" y="1863669"/>
                  <a:pt x="125162" y="1871448"/>
                  <a:pt x="125628" y="1890195"/>
                </a:cubicBezTo>
                <a:cubicBezTo>
                  <a:pt x="130489" y="1901264"/>
                  <a:pt x="127489" y="1850008"/>
                  <a:pt x="129558" y="1834851"/>
                </a:cubicBezTo>
                <a:cubicBezTo>
                  <a:pt x="132661" y="1812413"/>
                  <a:pt x="126610" y="1817400"/>
                  <a:pt x="129817" y="1793267"/>
                </a:cubicBezTo>
                <a:cubicBezTo>
                  <a:pt x="134575" y="1785090"/>
                  <a:pt x="136334" y="1799050"/>
                  <a:pt x="134938" y="1835050"/>
                </a:cubicBezTo>
                <a:close/>
                <a:moveTo>
                  <a:pt x="139550" y="252514"/>
                </a:moveTo>
                <a:cubicBezTo>
                  <a:pt x="138975" y="256507"/>
                  <a:pt x="137601" y="258402"/>
                  <a:pt x="134989" y="254687"/>
                </a:cubicBezTo>
                <a:cubicBezTo>
                  <a:pt x="135804" y="209664"/>
                  <a:pt x="141273" y="240534"/>
                  <a:pt x="139550" y="252514"/>
                </a:cubicBezTo>
                <a:close/>
                <a:moveTo>
                  <a:pt x="139844" y="2977418"/>
                </a:moveTo>
                <a:cubicBezTo>
                  <a:pt x="138312" y="2977966"/>
                  <a:pt x="136696" y="2967421"/>
                  <a:pt x="139592" y="2944137"/>
                </a:cubicBezTo>
                <a:cubicBezTo>
                  <a:pt x="142825" y="2965227"/>
                  <a:pt x="141377" y="2976869"/>
                  <a:pt x="139844" y="2977418"/>
                </a:cubicBezTo>
                <a:close/>
                <a:moveTo>
                  <a:pt x="139850" y="1627234"/>
                </a:moveTo>
                <a:cubicBezTo>
                  <a:pt x="140213" y="1702722"/>
                  <a:pt x="139178" y="1766841"/>
                  <a:pt x="128265" y="1751684"/>
                </a:cubicBezTo>
                <a:cubicBezTo>
                  <a:pt x="129869" y="1696539"/>
                  <a:pt x="129920" y="1696040"/>
                  <a:pt x="128886" y="1640796"/>
                </a:cubicBezTo>
                <a:cubicBezTo>
                  <a:pt x="133179" y="1641195"/>
                  <a:pt x="134369" y="1617062"/>
                  <a:pt x="139850" y="1627234"/>
                </a:cubicBezTo>
                <a:close/>
                <a:moveTo>
                  <a:pt x="140161" y="310330"/>
                </a:moveTo>
                <a:cubicBezTo>
                  <a:pt x="140006" y="323793"/>
                  <a:pt x="137885" y="321000"/>
                  <a:pt x="136437" y="324092"/>
                </a:cubicBezTo>
                <a:cubicBezTo>
                  <a:pt x="137368" y="374650"/>
                  <a:pt x="140523" y="357199"/>
                  <a:pt x="134938" y="391802"/>
                </a:cubicBezTo>
                <a:cubicBezTo>
                  <a:pt x="135765" y="392101"/>
                  <a:pt x="135713" y="402771"/>
                  <a:pt x="137679" y="406261"/>
                </a:cubicBezTo>
                <a:lnTo>
                  <a:pt x="135299" y="445950"/>
                </a:lnTo>
                <a:lnTo>
                  <a:pt x="133437" y="485140"/>
                </a:lnTo>
                <a:cubicBezTo>
                  <a:pt x="131524" y="484243"/>
                  <a:pt x="129455" y="481350"/>
                  <a:pt x="126455" y="476264"/>
                </a:cubicBezTo>
                <a:cubicBezTo>
                  <a:pt x="128369" y="418926"/>
                  <a:pt x="128110" y="344734"/>
                  <a:pt x="131162" y="296270"/>
                </a:cubicBezTo>
                <a:cubicBezTo>
                  <a:pt x="135558" y="290686"/>
                  <a:pt x="134938" y="321699"/>
                  <a:pt x="140161" y="310330"/>
                </a:cubicBezTo>
                <a:close/>
                <a:moveTo>
                  <a:pt x="140782" y="1460900"/>
                </a:moveTo>
                <a:cubicBezTo>
                  <a:pt x="146471" y="1493708"/>
                  <a:pt x="134110" y="1516743"/>
                  <a:pt x="140782" y="1460900"/>
                </a:cubicBezTo>
                <a:close/>
                <a:moveTo>
                  <a:pt x="140821" y="2140142"/>
                </a:moveTo>
                <a:cubicBezTo>
                  <a:pt x="141279" y="2165360"/>
                  <a:pt x="137963" y="2210870"/>
                  <a:pt x="138661" y="2153955"/>
                </a:cubicBezTo>
                <a:lnTo>
                  <a:pt x="138816" y="2126233"/>
                </a:lnTo>
                <a:cubicBezTo>
                  <a:pt x="140096" y="2125585"/>
                  <a:pt x="140668" y="2131736"/>
                  <a:pt x="140821" y="2140142"/>
                </a:cubicBezTo>
                <a:close/>
                <a:moveTo>
                  <a:pt x="142850" y="2057026"/>
                </a:moveTo>
                <a:lnTo>
                  <a:pt x="142592" y="2098610"/>
                </a:lnTo>
                <a:lnTo>
                  <a:pt x="137161" y="2098411"/>
                </a:lnTo>
                <a:lnTo>
                  <a:pt x="137420" y="2056827"/>
                </a:lnTo>
                <a:close/>
                <a:moveTo>
                  <a:pt x="142954" y="767846"/>
                </a:moveTo>
                <a:cubicBezTo>
                  <a:pt x="144092" y="821296"/>
                  <a:pt x="133955" y="820997"/>
                  <a:pt x="135713" y="767647"/>
                </a:cubicBezTo>
                <a:close/>
                <a:moveTo>
                  <a:pt x="146212" y="593835"/>
                </a:moveTo>
                <a:cubicBezTo>
                  <a:pt x="143575" y="609590"/>
                  <a:pt x="140885" y="706019"/>
                  <a:pt x="137834" y="664437"/>
                </a:cubicBezTo>
                <a:cubicBezTo>
                  <a:pt x="134782" y="622854"/>
                  <a:pt x="139230" y="547166"/>
                  <a:pt x="139230" y="547265"/>
                </a:cubicBezTo>
                <a:lnTo>
                  <a:pt x="144402" y="547366"/>
                </a:lnTo>
                <a:cubicBezTo>
                  <a:pt x="145023" y="561525"/>
                  <a:pt x="145695" y="579476"/>
                  <a:pt x="146212" y="593835"/>
                </a:cubicBezTo>
                <a:close/>
                <a:moveTo>
                  <a:pt x="146212" y="3374129"/>
                </a:moveTo>
                <a:cubicBezTo>
                  <a:pt x="138816" y="3374927"/>
                  <a:pt x="137885" y="3328657"/>
                  <a:pt x="128214" y="3345908"/>
                </a:cubicBezTo>
                <a:lnTo>
                  <a:pt x="128524" y="3290463"/>
                </a:lnTo>
                <a:cubicBezTo>
                  <a:pt x="132765" y="3332146"/>
                  <a:pt x="139334" y="3287971"/>
                  <a:pt x="140989" y="3332347"/>
                </a:cubicBezTo>
                <a:cubicBezTo>
                  <a:pt x="147143" y="3326861"/>
                  <a:pt x="136489" y="3278497"/>
                  <a:pt x="144868" y="3290862"/>
                </a:cubicBezTo>
                <a:cubicBezTo>
                  <a:pt x="143316" y="3333243"/>
                  <a:pt x="147764" y="3331747"/>
                  <a:pt x="146212" y="3374129"/>
                </a:cubicBezTo>
                <a:close/>
                <a:moveTo>
                  <a:pt x="148333" y="2680975"/>
                </a:moveTo>
                <a:lnTo>
                  <a:pt x="148178" y="2708697"/>
                </a:lnTo>
                <a:lnTo>
                  <a:pt x="144557" y="2708597"/>
                </a:lnTo>
                <a:lnTo>
                  <a:pt x="144712" y="2680875"/>
                </a:lnTo>
                <a:close/>
                <a:moveTo>
                  <a:pt x="149212" y="310530"/>
                </a:moveTo>
                <a:cubicBezTo>
                  <a:pt x="148436" y="328680"/>
                  <a:pt x="145902" y="332270"/>
                  <a:pt x="145333" y="352013"/>
                </a:cubicBezTo>
                <a:cubicBezTo>
                  <a:pt x="143368" y="348524"/>
                  <a:pt x="144247" y="324392"/>
                  <a:pt x="141868" y="324191"/>
                </a:cubicBezTo>
                <a:cubicBezTo>
                  <a:pt x="142540" y="305444"/>
                  <a:pt x="146471" y="312824"/>
                  <a:pt x="149212" y="310530"/>
                </a:cubicBezTo>
                <a:close/>
                <a:moveTo>
                  <a:pt x="150816" y="377741"/>
                </a:moveTo>
                <a:cubicBezTo>
                  <a:pt x="150609" y="380634"/>
                  <a:pt x="149212" y="426006"/>
                  <a:pt x="149108" y="428199"/>
                </a:cubicBezTo>
                <a:cubicBezTo>
                  <a:pt x="148591" y="440765"/>
                  <a:pt x="149781" y="475168"/>
                  <a:pt x="149264" y="484142"/>
                </a:cubicBezTo>
                <a:cubicBezTo>
                  <a:pt x="149057" y="488331"/>
                  <a:pt x="147453" y="511366"/>
                  <a:pt x="147195" y="519544"/>
                </a:cubicBezTo>
                <a:cubicBezTo>
                  <a:pt x="142902" y="513859"/>
                  <a:pt x="137782" y="516951"/>
                  <a:pt x="142799" y="476663"/>
                </a:cubicBezTo>
                <a:cubicBezTo>
                  <a:pt x="140678" y="480054"/>
                  <a:pt x="139075" y="482348"/>
                  <a:pt x="137627" y="483844"/>
                </a:cubicBezTo>
                <a:cubicBezTo>
                  <a:pt x="138351" y="471279"/>
                  <a:pt x="139178" y="448343"/>
                  <a:pt x="139799" y="442459"/>
                </a:cubicBezTo>
                <a:cubicBezTo>
                  <a:pt x="140419" y="436576"/>
                  <a:pt x="140368" y="411546"/>
                  <a:pt x="140316" y="402572"/>
                </a:cubicBezTo>
                <a:cubicBezTo>
                  <a:pt x="141351" y="390007"/>
                  <a:pt x="141919" y="374451"/>
                  <a:pt x="143420" y="365775"/>
                </a:cubicBezTo>
                <a:cubicBezTo>
                  <a:pt x="147919" y="373953"/>
                  <a:pt x="148850" y="351416"/>
                  <a:pt x="150816" y="377741"/>
                </a:cubicBezTo>
                <a:close/>
                <a:moveTo>
                  <a:pt x="150919" y="1918715"/>
                </a:moveTo>
                <a:cubicBezTo>
                  <a:pt x="147299" y="1944543"/>
                  <a:pt x="146316" y="1920011"/>
                  <a:pt x="141816" y="1918416"/>
                </a:cubicBezTo>
                <a:cubicBezTo>
                  <a:pt x="140368" y="1862473"/>
                  <a:pt x="152987" y="1862871"/>
                  <a:pt x="150919" y="1918715"/>
                </a:cubicBezTo>
                <a:close/>
                <a:moveTo>
                  <a:pt x="150970" y="2542465"/>
                </a:moveTo>
                <a:cubicBezTo>
                  <a:pt x="149988" y="2577266"/>
                  <a:pt x="147195" y="2519329"/>
                  <a:pt x="147557" y="2500781"/>
                </a:cubicBezTo>
                <a:cubicBezTo>
                  <a:pt x="149212" y="2511051"/>
                  <a:pt x="150195" y="2526109"/>
                  <a:pt x="150970" y="2542465"/>
                </a:cubicBezTo>
                <a:close/>
                <a:moveTo>
                  <a:pt x="153091" y="2805923"/>
                </a:moveTo>
                <a:cubicBezTo>
                  <a:pt x="150609" y="2824672"/>
                  <a:pt x="150298" y="2808318"/>
                  <a:pt x="147660" y="2805725"/>
                </a:cubicBezTo>
                <a:cubicBezTo>
                  <a:pt x="144816" y="2803032"/>
                  <a:pt x="140678" y="2813303"/>
                  <a:pt x="140471" y="2791663"/>
                </a:cubicBezTo>
                <a:cubicBezTo>
                  <a:pt x="139799" y="2765040"/>
                  <a:pt x="142178" y="2769527"/>
                  <a:pt x="144247" y="2764042"/>
                </a:cubicBezTo>
                <a:cubicBezTo>
                  <a:pt x="147299" y="2756065"/>
                  <a:pt x="154488" y="2741405"/>
                  <a:pt x="153091" y="2805923"/>
                </a:cubicBezTo>
                <a:close/>
                <a:moveTo>
                  <a:pt x="155211" y="2431575"/>
                </a:moveTo>
                <a:cubicBezTo>
                  <a:pt x="155832" y="2460593"/>
                  <a:pt x="153763" y="2468273"/>
                  <a:pt x="153091" y="2487020"/>
                </a:cubicBezTo>
                <a:cubicBezTo>
                  <a:pt x="151074" y="2484327"/>
                  <a:pt x="152211" y="2473059"/>
                  <a:pt x="153194" y="2473159"/>
                </a:cubicBezTo>
                <a:cubicBezTo>
                  <a:pt x="152522" y="2453015"/>
                  <a:pt x="151591" y="2474555"/>
                  <a:pt x="149522" y="2473059"/>
                </a:cubicBezTo>
                <a:cubicBezTo>
                  <a:pt x="148643" y="2493203"/>
                  <a:pt x="147971" y="2471563"/>
                  <a:pt x="145902" y="2472960"/>
                </a:cubicBezTo>
                <a:cubicBezTo>
                  <a:pt x="147299" y="2445636"/>
                  <a:pt x="150970" y="2436063"/>
                  <a:pt x="155211" y="2431575"/>
                </a:cubicBezTo>
                <a:close/>
                <a:moveTo>
                  <a:pt x="157384" y="2695135"/>
                </a:moveTo>
                <a:lnTo>
                  <a:pt x="157229" y="2722857"/>
                </a:lnTo>
                <a:lnTo>
                  <a:pt x="153608" y="2722758"/>
                </a:lnTo>
                <a:lnTo>
                  <a:pt x="153763" y="2695035"/>
                </a:lnTo>
                <a:close/>
                <a:moveTo>
                  <a:pt x="157849" y="807435"/>
                </a:moveTo>
                <a:cubicBezTo>
                  <a:pt x="157901" y="841141"/>
                  <a:pt x="155677" y="849817"/>
                  <a:pt x="155056" y="878934"/>
                </a:cubicBezTo>
                <a:cubicBezTo>
                  <a:pt x="154591" y="901870"/>
                  <a:pt x="157487" y="914435"/>
                  <a:pt x="154746" y="934379"/>
                </a:cubicBezTo>
                <a:cubicBezTo>
                  <a:pt x="154849" y="969081"/>
                  <a:pt x="154798" y="1044071"/>
                  <a:pt x="152057" y="1056037"/>
                </a:cubicBezTo>
                <a:cubicBezTo>
                  <a:pt x="150919" y="1176898"/>
                  <a:pt x="142902" y="1287687"/>
                  <a:pt x="145075" y="1388303"/>
                </a:cubicBezTo>
                <a:cubicBezTo>
                  <a:pt x="144454" y="1426597"/>
                  <a:pt x="144816" y="1438863"/>
                  <a:pt x="139178" y="1402265"/>
                </a:cubicBezTo>
                <a:cubicBezTo>
                  <a:pt x="139954" y="1355397"/>
                  <a:pt x="142488" y="1322788"/>
                  <a:pt x="141765" y="1263754"/>
                </a:cubicBezTo>
                <a:cubicBezTo>
                  <a:pt x="141765" y="1251588"/>
                  <a:pt x="140523" y="1248298"/>
                  <a:pt x="138868" y="1247998"/>
                </a:cubicBezTo>
                <a:cubicBezTo>
                  <a:pt x="139127" y="1236530"/>
                  <a:pt x="139437" y="1221274"/>
                  <a:pt x="139592" y="1218083"/>
                </a:cubicBezTo>
                <a:cubicBezTo>
                  <a:pt x="139850" y="1212697"/>
                  <a:pt x="139127" y="1171114"/>
                  <a:pt x="139178" y="1165730"/>
                </a:cubicBezTo>
                <a:cubicBezTo>
                  <a:pt x="139178" y="1163037"/>
                  <a:pt x="139178" y="1154361"/>
                  <a:pt x="139075" y="1145985"/>
                </a:cubicBezTo>
                <a:cubicBezTo>
                  <a:pt x="139644" y="1143990"/>
                  <a:pt x="140161" y="1141696"/>
                  <a:pt x="140678" y="1139004"/>
                </a:cubicBezTo>
                <a:cubicBezTo>
                  <a:pt x="140161" y="1076779"/>
                  <a:pt x="142178" y="1035196"/>
                  <a:pt x="143368" y="986631"/>
                </a:cubicBezTo>
                <a:cubicBezTo>
                  <a:pt x="153505" y="1014455"/>
                  <a:pt x="144402" y="846824"/>
                  <a:pt x="151591" y="851212"/>
                </a:cubicBezTo>
                <a:cubicBezTo>
                  <a:pt x="150298" y="802151"/>
                  <a:pt x="151539" y="817208"/>
                  <a:pt x="150246" y="768046"/>
                </a:cubicBezTo>
                <a:cubicBezTo>
                  <a:pt x="152471" y="769142"/>
                  <a:pt x="153815" y="762162"/>
                  <a:pt x="154642" y="751393"/>
                </a:cubicBezTo>
                <a:lnTo>
                  <a:pt x="157694" y="755082"/>
                </a:lnTo>
                <a:cubicBezTo>
                  <a:pt x="157746" y="757575"/>
                  <a:pt x="157849" y="798561"/>
                  <a:pt x="157849" y="807435"/>
                </a:cubicBezTo>
                <a:close/>
                <a:moveTo>
                  <a:pt x="158366" y="2279452"/>
                </a:moveTo>
                <a:cubicBezTo>
                  <a:pt x="156686" y="2288303"/>
                  <a:pt x="153970" y="2294760"/>
                  <a:pt x="152418" y="2292965"/>
                </a:cubicBezTo>
                <a:cubicBezTo>
                  <a:pt x="149884" y="2243603"/>
                  <a:pt x="158625" y="2284787"/>
                  <a:pt x="158108" y="2251581"/>
                </a:cubicBezTo>
                <a:cubicBezTo>
                  <a:pt x="160694" y="2259359"/>
                  <a:pt x="160047" y="2270602"/>
                  <a:pt x="158366" y="2279452"/>
                </a:cubicBezTo>
                <a:close/>
                <a:moveTo>
                  <a:pt x="161780" y="1918915"/>
                </a:moveTo>
                <a:cubicBezTo>
                  <a:pt x="158625" y="1969572"/>
                  <a:pt x="159246" y="1886605"/>
                  <a:pt x="154591" y="1904854"/>
                </a:cubicBezTo>
                <a:cubicBezTo>
                  <a:pt x="153298" y="1860578"/>
                  <a:pt x="157694" y="1862074"/>
                  <a:pt x="158625" y="1835649"/>
                </a:cubicBezTo>
                <a:cubicBezTo>
                  <a:pt x="165969" y="1834651"/>
                  <a:pt x="158625" y="1920011"/>
                  <a:pt x="161780" y="1918915"/>
                </a:cubicBezTo>
                <a:close/>
                <a:moveTo>
                  <a:pt x="162273" y="1654241"/>
                </a:moveTo>
                <a:cubicBezTo>
                  <a:pt x="162555" y="1661338"/>
                  <a:pt x="162387" y="1674826"/>
                  <a:pt x="161262" y="1697138"/>
                </a:cubicBezTo>
                <a:cubicBezTo>
                  <a:pt x="156530" y="1669166"/>
                  <a:pt x="161428" y="1632949"/>
                  <a:pt x="162273" y="1654241"/>
                </a:cubicBezTo>
                <a:close/>
                <a:moveTo>
                  <a:pt x="165025" y="506468"/>
                </a:moveTo>
                <a:cubicBezTo>
                  <a:pt x="165685" y="542255"/>
                  <a:pt x="165245" y="577580"/>
                  <a:pt x="162090" y="602112"/>
                </a:cubicBezTo>
                <a:cubicBezTo>
                  <a:pt x="158832" y="627541"/>
                  <a:pt x="159091" y="603607"/>
                  <a:pt x="160021" y="643694"/>
                </a:cubicBezTo>
                <a:cubicBezTo>
                  <a:pt x="160280" y="655063"/>
                  <a:pt x="160539" y="689267"/>
                  <a:pt x="159867" y="715193"/>
                </a:cubicBezTo>
                <a:cubicBezTo>
                  <a:pt x="156453" y="724568"/>
                  <a:pt x="155005" y="680890"/>
                  <a:pt x="152211" y="675705"/>
                </a:cubicBezTo>
                <a:cubicBezTo>
                  <a:pt x="151850" y="629934"/>
                  <a:pt x="155574" y="622455"/>
                  <a:pt x="152987" y="601813"/>
                </a:cubicBezTo>
                <a:cubicBezTo>
                  <a:pt x="152522" y="601114"/>
                  <a:pt x="152211" y="601713"/>
                  <a:pt x="151850" y="601613"/>
                </a:cubicBezTo>
                <a:lnTo>
                  <a:pt x="153763" y="567409"/>
                </a:lnTo>
                <a:cubicBezTo>
                  <a:pt x="153763" y="567409"/>
                  <a:pt x="155936" y="520541"/>
                  <a:pt x="155470" y="515355"/>
                </a:cubicBezTo>
                <a:cubicBezTo>
                  <a:pt x="155056" y="509870"/>
                  <a:pt x="154488" y="486436"/>
                  <a:pt x="153815" y="475567"/>
                </a:cubicBezTo>
                <a:cubicBezTo>
                  <a:pt x="153453" y="469683"/>
                  <a:pt x="153919" y="457418"/>
                  <a:pt x="154384" y="447047"/>
                </a:cubicBezTo>
                <a:cubicBezTo>
                  <a:pt x="156039" y="438570"/>
                  <a:pt x="158935" y="439568"/>
                  <a:pt x="159453" y="421918"/>
                </a:cubicBezTo>
                <a:cubicBezTo>
                  <a:pt x="158987" y="394095"/>
                  <a:pt x="160073" y="378539"/>
                  <a:pt x="163331" y="380434"/>
                </a:cubicBezTo>
                <a:cubicBezTo>
                  <a:pt x="163538" y="396488"/>
                  <a:pt x="162814" y="405065"/>
                  <a:pt x="161366" y="408057"/>
                </a:cubicBezTo>
                <a:cubicBezTo>
                  <a:pt x="162608" y="434433"/>
                  <a:pt x="164366" y="470681"/>
                  <a:pt x="165025" y="506468"/>
                </a:cubicBezTo>
                <a:close/>
                <a:moveTo>
                  <a:pt x="168607" y="1161640"/>
                </a:moveTo>
                <a:cubicBezTo>
                  <a:pt x="168193" y="1172909"/>
                  <a:pt x="166693" y="1175402"/>
                  <a:pt x="166642" y="1189263"/>
                </a:cubicBezTo>
                <a:lnTo>
                  <a:pt x="163021" y="1189164"/>
                </a:lnTo>
                <a:cubicBezTo>
                  <a:pt x="162297" y="1159646"/>
                  <a:pt x="165762" y="1162937"/>
                  <a:pt x="168607" y="1161640"/>
                </a:cubicBezTo>
                <a:close/>
                <a:moveTo>
                  <a:pt x="232584" y="249003"/>
                </a:moveTo>
                <a:lnTo>
                  <a:pt x="213241" y="249003"/>
                </a:lnTo>
                <a:cubicBezTo>
                  <a:pt x="213603" y="240427"/>
                  <a:pt x="230567" y="239230"/>
                  <a:pt x="232584" y="249003"/>
                </a:cubicBezTo>
                <a:close/>
                <a:moveTo>
                  <a:pt x="1167782" y="40588"/>
                </a:moveTo>
                <a:cubicBezTo>
                  <a:pt x="1167782" y="55646"/>
                  <a:pt x="1102978" y="42782"/>
                  <a:pt x="1149422" y="40588"/>
                </a:cubicBezTo>
                <a:cubicBezTo>
                  <a:pt x="1155525" y="40289"/>
                  <a:pt x="1161680" y="40787"/>
                  <a:pt x="1167782" y="40588"/>
                </a:cubicBezTo>
                <a:close/>
                <a:moveTo>
                  <a:pt x="1346785" y="99522"/>
                </a:moveTo>
                <a:cubicBezTo>
                  <a:pt x="1347664" y="117971"/>
                  <a:pt x="1312443" y="97728"/>
                  <a:pt x="1337630" y="99522"/>
                </a:cubicBezTo>
                <a:cubicBezTo>
                  <a:pt x="1340682" y="99522"/>
                  <a:pt x="1343733" y="99522"/>
                  <a:pt x="1346785" y="99522"/>
                </a:cubicBezTo>
                <a:close/>
                <a:moveTo>
                  <a:pt x="1612935" y="125649"/>
                </a:moveTo>
                <a:cubicBezTo>
                  <a:pt x="1609884" y="125649"/>
                  <a:pt x="1606832" y="125649"/>
                  <a:pt x="1603781" y="125649"/>
                </a:cubicBezTo>
                <a:cubicBezTo>
                  <a:pt x="1603781" y="121262"/>
                  <a:pt x="1603781" y="116973"/>
                  <a:pt x="1603781" y="112586"/>
                </a:cubicBezTo>
                <a:cubicBezTo>
                  <a:pt x="1606832" y="112586"/>
                  <a:pt x="1609884" y="112586"/>
                  <a:pt x="1612935" y="112586"/>
                </a:cubicBezTo>
                <a:cubicBezTo>
                  <a:pt x="1612935" y="116973"/>
                  <a:pt x="1612935" y="121361"/>
                  <a:pt x="1612935" y="125649"/>
                </a:cubicBezTo>
                <a:close/>
                <a:moveTo>
                  <a:pt x="1741459" y="125649"/>
                </a:moveTo>
                <a:cubicBezTo>
                  <a:pt x="1742132" y="134424"/>
                  <a:pt x="1722789" y="145493"/>
                  <a:pt x="1736856" y="151875"/>
                </a:cubicBezTo>
                <a:cubicBezTo>
                  <a:pt x="1725374" y="178102"/>
                  <a:pt x="1721909" y="112586"/>
                  <a:pt x="1741459" y="125649"/>
                </a:cubicBezTo>
                <a:close/>
                <a:moveTo>
                  <a:pt x="1892895" y="248904"/>
                </a:moveTo>
                <a:lnTo>
                  <a:pt x="1883741" y="248904"/>
                </a:lnTo>
                <a:cubicBezTo>
                  <a:pt x="1883741" y="244915"/>
                  <a:pt x="1883741" y="240925"/>
                  <a:pt x="1883741" y="236936"/>
                </a:cubicBezTo>
                <a:cubicBezTo>
                  <a:pt x="1886792" y="236936"/>
                  <a:pt x="1889843" y="236936"/>
                  <a:pt x="1892895" y="236936"/>
                </a:cubicBezTo>
                <a:cubicBezTo>
                  <a:pt x="1892895" y="241026"/>
                  <a:pt x="1892895" y="245014"/>
                  <a:pt x="1892895" y="248904"/>
                </a:cubicBezTo>
                <a:close/>
                <a:moveTo>
                  <a:pt x="1920410" y="99522"/>
                </a:moveTo>
                <a:cubicBezTo>
                  <a:pt x="1921185" y="118071"/>
                  <a:pt x="1892119" y="94037"/>
                  <a:pt x="1892843" y="112586"/>
                </a:cubicBezTo>
                <a:cubicBezTo>
                  <a:pt x="1878723" y="106005"/>
                  <a:pt x="1902825" y="101816"/>
                  <a:pt x="1902050" y="92942"/>
                </a:cubicBezTo>
                <a:cubicBezTo>
                  <a:pt x="1906135" y="98026"/>
                  <a:pt x="1912393" y="100021"/>
                  <a:pt x="1920410" y="99522"/>
                </a:cubicBezTo>
                <a:close/>
                <a:moveTo>
                  <a:pt x="1921651" y="249003"/>
                </a:moveTo>
                <a:lnTo>
                  <a:pt x="1906601" y="249003"/>
                </a:lnTo>
                <a:cubicBezTo>
                  <a:pt x="1906394" y="239928"/>
                  <a:pt x="1919996" y="240327"/>
                  <a:pt x="1921651" y="249003"/>
                </a:cubicBezTo>
                <a:close/>
                <a:moveTo>
                  <a:pt x="1925013" y="151875"/>
                </a:moveTo>
                <a:cubicBezTo>
                  <a:pt x="1923823" y="167233"/>
                  <a:pt x="1904842" y="155665"/>
                  <a:pt x="1902050" y="151875"/>
                </a:cubicBezTo>
                <a:cubicBezTo>
                  <a:pt x="1905980" y="132630"/>
                  <a:pt x="1913635" y="160452"/>
                  <a:pt x="1925013" y="151875"/>
                </a:cubicBezTo>
                <a:close/>
                <a:moveTo>
                  <a:pt x="1952528" y="158458"/>
                </a:moveTo>
                <a:cubicBezTo>
                  <a:pt x="1951131" y="167332"/>
                  <a:pt x="1941046" y="163842"/>
                  <a:pt x="1934219" y="165038"/>
                </a:cubicBezTo>
                <a:cubicBezTo>
                  <a:pt x="1934322" y="158656"/>
                  <a:pt x="1939805" y="159853"/>
                  <a:pt x="1943373" y="158458"/>
                </a:cubicBezTo>
                <a:cubicBezTo>
                  <a:pt x="1946425" y="158458"/>
                  <a:pt x="1949476" y="158458"/>
                  <a:pt x="1952528" y="158458"/>
                </a:cubicBezTo>
                <a:close/>
                <a:moveTo>
                  <a:pt x="2067294" y="125649"/>
                </a:moveTo>
                <a:cubicBezTo>
                  <a:pt x="2070656" y="130535"/>
                  <a:pt x="2048675" y="145095"/>
                  <a:pt x="2053536" y="132231"/>
                </a:cubicBezTo>
                <a:cubicBezTo>
                  <a:pt x="2054209" y="130436"/>
                  <a:pt x="2063415" y="120065"/>
                  <a:pt x="2067294" y="125649"/>
                </a:cubicBezTo>
                <a:close/>
                <a:moveTo>
                  <a:pt x="2094809" y="178102"/>
                </a:moveTo>
                <a:cubicBezTo>
                  <a:pt x="2095740" y="196551"/>
                  <a:pt x="2060519" y="176307"/>
                  <a:pt x="2085655" y="178102"/>
                </a:cubicBezTo>
                <a:cubicBezTo>
                  <a:pt x="2088706" y="178102"/>
                  <a:pt x="2091758" y="178102"/>
                  <a:pt x="2094809" y="178102"/>
                </a:cubicBezTo>
                <a:close/>
                <a:moveTo>
                  <a:pt x="2108567" y="99522"/>
                </a:moveTo>
                <a:cubicBezTo>
                  <a:pt x="2097757" y="120563"/>
                  <a:pt x="2090051" y="76487"/>
                  <a:pt x="2108567" y="99522"/>
                </a:cubicBezTo>
                <a:close/>
                <a:moveTo>
                  <a:pt x="2126927" y="132231"/>
                </a:moveTo>
                <a:cubicBezTo>
                  <a:pt x="2128168" y="136319"/>
                  <a:pt x="2122996" y="138014"/>
                  <a:pt x="2122376" y="132231"/>
                </a:cubicBezTo>
                <a:lnTo>
                  <a:pt x="2122376" y="127064"/>
                </a:lnTo>
                <a:lnTo>
                  <a:pt x="2121129" y="125649"/>
                </a:lnTo>
                <a:lnTo>
                  <a:pt x="2117772" y="125649"/>
                </a:lnTo>
                <a:cubicBezTo>
                  <a:pt x="2113170" y="121560"/>
                  <a:pt x="2114618" y="120413"/>
                  <a:pt x="2117637" y="121685"/>
                </a:cubicBezTo>
                <a:lnTo>
                  <a:pt x="2121129" y="125649"/>
                </a:lnTo>
                <a:lnTo>
                  <a:pt x="2122376" y="125649"/>
                </a:lnTo>
                <a:lnTo>
                  <a:pt x="2122376" y="127064"/>
                </a:lnTo>
                <a:close/>
                <a:moveTo>
                  <a:pt x="2159045" y="106104"/>
                </a:moveTo>
                <a:cubicBezTo>
                  <a:pt x="2155684" y="110792"/>
                  <a:pt x="2154442" y="99522"/>
                  <a:pt x="2154442" y="99522"/>
                </a:cubicBezTo>
                <a:cubicBezTo>
                  <a:pt x="2152477" y="99024"/>
                  <a:pt x="2146788" y="101217"/>
                  <a:pt x="2145287" y="99522"/>
                </a:cubicBezTo>
                <a:cubicBezTo>
                  <a:pt x="2139650" y="93240"/>
                  <a:pt x="2147305" y="88653"/>
                  <a:pt x="2154442" y="92942"/>
                </a:cubicBezTo>
                <a:cubicBezTo>
                  <a:pt x="2154804" y="93140"/>
                  <a:pt x="2160131" y="104509"/>
                  <a:pt x="2159045" y="106104"/>
                </a:cubicBezTo>
                <a:close/>
                <a:moveTo>
                  <a:pt x="2196363" y="110993"/>
                </a:moveTo>
                <a:cubicBezTo>
                  <a:pt x="2195488" y="118949"/>
                  <a:pt x="2180728" y="116051"/>
                  <a:pt x="2191163" y="99522"/>
                </a:cubicBezTo>
                <a:cubicBezTo>
                  <a:pt x="2195404" y="104483"/>
                  <a:pt x="2196655" y="108341"/>
                  <a:pt x="2196363" y="110993"/>
                </a:cubicBezTo>
                <a:close/>
                <a:moveTo>
                  <a:pt x="2200369" y="151875"/>
                </a:moveTo>
                <a:cubicBezTo>
                  <a:pt x="2194577" y="162546"/>
                  <a:pt x="2182112" y="162845"/>
                  <a:pt x="2177405" y="158458"/>
                </a:cubicBezTo>
                <a:cubicBezTo>
                  <a:pt x="2176733" y="157759"/>
                  <a:pt x="2189818" y="139111"/>
                  <a:pt x="2200369" y="151875"/>
                </a:cubicBezTo>
                <a:close/>
                <a:moveTo>
                  <a:pt x="2227884" y="165038"/>
                </a:moveTo>
                <a:cubicBezTo>
                  <a:pt x="2226333" y="166834"/>
                  <a:pt x="2211489" y="166135"/>
                  <a:pt x="2209523" y="165038"/>
                </a:cubicBezTo>
                <a:cubicBezTo>
                  <a:pt x="2209007" y="164740"/>
                  <a:pt x="2210041" y="158756"/>
                  <a:pt x="2209523" y="158458"/>
                </a:cubicBezTo>
                <a:cubicBezTo>
                  <a:pt x="2208489" y="157859"/>
                  <a:pt x="2202127" y="155964"/>
                  <a:pt x="2204921" y="151875"/>
                </a:cubicBezTo>
                <a:cubicBezTo>
                  <a:pt x="2208231" y="147188"/>
                  <a:pt x="2209679" y="158458"/>
                  <a:pt x="2209523" y="158458"/>
                </a:cubicBezTo>
                <a:cubicBezTo>
                  <a:pt x="2212524" y="158557"/>
                  <a:pt x="2232590" y="159654"/>
                  <a:pt x="2227884" y="165038"/>
                </a:cubicBezTo>
                <a:close/>
                <a:moveTo>
                  <a:pt x="2292172" y="158458"/>
                </a:moveTo>
                <a:cubicBezTo>
                  <a:pt x="2287828" y="183985"/>
                  <a:pt x="2269001" y="163942"/>
                  <a:pt x="2255451" y="165038"/>
                </a:cubicBezTo>
                <a:cubicBezTo>
                  <a:pt x="2261502" y="137417"/>
                  <a:pt x="2278466" y="175111"/>
                  <a:pt x="2292172" y="158458"/>
                </a:cubicBezTo>
                <a:close/>
                <a:moveTo>
                  <a:pt x="2356408" y="178002"/>
                </a:moveTo>
                <a:cubicBezTo>
                  <a:pt x="2354494" y="180794"/>
                  <a:pt x="2350926" y="161649"/>
                  <a:pt x="2347202" y="164939"/>
                </a:cubicBezTo>
                <a:cubicBezTo>
                  <a:pt x="2355063" y="142602"/>
                  <a:pt x="2359925" y="173016"/>
                  <a:pt x="2356408" y="178002"/>
                </a:cubicBezTo>
                <a:close/>
                <a:moveTo>
                  <a:pt x="2374888" y="141980"/>
                </a:moveTo>
                <a:cubicBezTo>
                  <a:pt x="2375858" y="142802"/>
                  <a:pt x="2376023" y="143874"/>
                  <a:pt x="2374769" y="145295"/>
                </a:cubicBezTo>
                <a:cubicBezTo>
                  <a:pt x="2368665" y="152274"/>
                  <a:pt x="2362149" y="139810"/>
                  <a:pt x="2361011" y="138713"/>
                </a:cubicBezTo>
                <a:cubicBezTo>
                  <a:pt x="2358891" y="136818"/>
                  <a:pt x="2353770" y="140806"/>
                  <a:pt x="2351805" y="138713"/>
                </a:cubicBezTo>
                <a:cubicBezTo>
                  <a:pt x="2352218" y="139211"/>
                  <a:pt x="2356667" y="125649"/>
                  <a:pt x="2356408" y="125649"/>
                </a:cubicBezTo>
                <a:cubicBezTo>
                  <a:pt x="2362666" y="124752"/>
                  <a:pt x="2357805" y="136518"/>
                  <a:pt x="2361011" y="138713"/>
                </a:cubicBezTo>
                <a:cubicBezTo>
                  <a:pt x="2361825" y="139311"/>
                  <a:pt x="2371979" y="139516"/>
                  <a:pt x="2374888" y="141980"/>
                </a:cubicBezTo>
                <a:close/>
                <a:moveTo>
                  <a:pt x="2440039" y="148001"/>
                </a:moveTo>
                <a:cubicBezTo>
                  <a:pt x="2433600" y="147968"/>
                  <a:pt x="2408309" y="141555"/>
                  <a:pt x="2397680" y="145295"/>
                </a:cubicBezTo>
                <a:cubicBezTo>
                  <a:pt x="2389095" y="115578"/>
                  <a:pt x="2415938" y="136419"/>
                  <a:pt x="2411438" y="112486"/>
                </a:cubicBezTo>
                <a:cubicBezTo>
                  <a:pt x="2417644" y="118968"/>
                  <a:pt x="2420593" y="130037"/>
                  <a:pt x="2425195" y="138713"/>
                </a:cubicBezTo>
                <a:cubicBezTo>
                  <a:pt x="2431712" y="138214"/>
                  <a:pt x="2438177" y="137615"/>
                  <a:pt x="2438953" y="145295"/>
                </a:cubicBezTo>
                <a:cubicBezTo>
                  <a:pt x="2442237" y="147314"/>
                  <a:pt x="2442185" y="148012"/>
                  <a:pt x="2440039" y="148001"/>
                </a:cubicBezTo>
                <a:close/>
                <a:moveTo>
                  <a:pt x="2443607" y="178102"/>
                </a:moveTo>
                <a:cubicBezTo>
                  <a:pt x="2446245" y="196350"/>
                  <a:pt x="2434660" y="183587"/>
                  <a:pt x="2429954" y="184783"/>
                </a:cubicBezTo>
                <a:cubicBezTo>
                  <a:pt x="2422196" y="186478"/>
                  <a:pt x="2419817" y="191963"/>
                  <a:pt x="2411593" y="191365"/>
                </a:cubicBezTo>
                <a:cubicBezTo>
                  <a:pt x="2412265" y="191365"/>
                  <a:pt x="2409783" y="184983"/>
                  <a:pt x="2406990" y="184783"/>
                </a:cubicBezTo>
                <a:cubicBezTo>
                  <a:pt x="2405748" y="184684"/>
                  <a:pt x="2403525" y="185382"/>
                  <a:pt x="2402387" y="184783"/>
                </a:cubicBezTo>
                <a:cubicBezTo>
                  <a:pt x="2401197" y="184085"/>
                  <a:pt x="2396387" y="178002"/>
                  <a:pt x="2397784" y="178201"/>
                </a:cubicBezTo>
                <a:cubicBezTo>
                  <a:pt x="2386044" y="176506"/>
                  <a:pt x="2384492" y="189869"/>
                  <a:pt x="2370217" y="178201"/>
                </a:cubicBezTo>
                <a:cubicBezTo>
                  <a:pt x="2370941" y="170523"/>
                  <a:pt x="2378544" y="172617"/>
                  <a:pt x="2383975" y="171620"/>
                </a:cubicBezTo>
                <a:cubicBezTo>
                  <a:pt x="2389250" y="166135"/>
                  <a:pt x="2396232" y="162945"/>
                  <a:pt x="2406887" y="165038"/>
                </a:cubicBezTo>
                <a:cubicBezTo>
                  <a:pt x="2405594" y="175609"/>
                  <a:pt x="2411231" y="176307"/>
                  <a:pt x="2411489" y="184684"/>
                </a:cubicBezTo>
                <a:cubicBezTo>
                  <a:pt x="2421316" y="179498"/>
                  <a:pt x="2437143" y="168729"/>
                  <a:pt x="2443607" y="178102"/>
                </a:cubicBezTo>
                <a:close/>
                <a:moveTo>
                  <a:pt x="2466520" y="184584"/>
                </a:moveTo>
                <a:cubicBezTo>
                  <a:pt x="2461193" y="202135"/>
                  <a:pt x="2442159" y="185182"/>
                  <a:pt x="2448159" y="164939"/>
                </a:cubicBezTo>
                <a:cubicBezTo>
                  <a:pt x="2466416" y="161448"/>
                  <a:pt x="2443194" y="188174"/>
                  <a:pt x="2466520" y="184584"/>
                </a:cubicBezTo>
                <a:close/>
                <a:moveTo>
                  <a:pt x="2471123" y="138812"/>
                </a:moveTo>
                <a:cubicBezTo>
                  <a:pt x="2466209" y="144896"/>
                  <a:pt x="2469674" y="162945"/>
                  <a:pt x="2457365" y="158458"/>
                </a:cubicBezTo>
                <a:cubicBezTo>
                  <a:pt x="2462278" y="152374"/>
                  <a:pt x="2458813" y="134325"/>
                  <a:pt x="2471123" y="138812"/>
                </a:cubicBezTo>
                <a:close/>
                <a:moveTo>
                  <a:pt x="2494086" y="125649"/>
                </a:moveTo>
                <a:cubicBezTo>
                  <a:pt x="2481984" y="127644"/>
                  <a:pt x="2479036" y="116574"/>
                  <a:pt x="2480329" y="99423"/>
                </a:cubicBezTo>
                <a:cubicBezTo>
                  <a:pt x="2487000" y="105207"/>
                  <a:pt x="2498069" y="104708"/>
                  <a:pt x="2494086" y="125649"/>
                </a:cubicBezTo>
                <a:close/>
                <a:moveTo>
                  <a:pt x="2507844" y="184584"/>
                </a:moveTo>
                <a:cubicBezTo>
                  <a:pt x="2503913" y="194356"/>
                  <a:pt x="2496310" y="198744"/>
                  <a:pt x="2484880" y="197646"/>
                </a:cubicBezTo>
                <a:cubicBezTo>
                  <a:pt x="2480174" y="175708"/>
                  <a:pt x="2499155" y="187476"/>
                  <a:pt x="2507844" y="184584"/>
                </a:cubicBezTo>
                <a:close/>
                <a:moveTo>
                  <a:pt x="2512447" y="138812"/>
                </a:moveTo>
                <a:cubicBezTo>
                  <a:pt x="2507017" y="150679"/>
                  <a:pt x="2488500" y="143898"/>
                  <a:pt x="2480329" y="151875"/>
                </a:cubicBezTo>
                <a:cubicBezTo>
                  <a:pt x="2476657" y="127046"/>
                  <a:pt x="2502051" y="143598"/>
                  <a:pt x="2512447" y="138812"/>
                </a:cubicBezTo>
                <a:close/>
                <a:moveTo>
                  <a:pt x="2558322" y="236936"/>
                </a:moveTo>
                <a:cubicBezTo>
                  <a:pt x="2551443" y="252194"/>
                  <a:pt x="2547099" y="247009"/>
                  <a:pt x="2535359" y="243518"/>
                </a:cubicBezTo>
                <a:cubicBezTo>
                  <a:pt x="2540996" y="234144"/>
                  <a:pt x="2552891" y="228661"/>
                  <a:pt x="2558322" y="236936"/>
                </a:cubicBezTo>
                <a:close/>
                <a:moveTo>
                  <a:pt x="2575219" y="141798"/>
                </a:moveTo>
                <a:cubicBezTo>
                  <a:pt x="2576987" y="148585"/>
                  <a:pt x="2563197" y="163618"/>
                  <a:pt x="2553771" y="158458"/>
                </a:cubicBezTo>
                <a:cubicBezTo>
                  <a:pt x="2549323" y="158557"/>
                  <a:pt x="2550202" y="166435"/>
                  <a:pt x="2549168" y="171521"/>
                </a:cubicBezTo>
                <a:cubicBezTo>
                  <a:pt x="2542910" y="169426"/>
                  <a:pt x="2545341" y="155066"/>
                  <a:pt x="2544565" y="145295"/>
                </a:cubicBezTo>
                <a:cubicBezTo>
                  <a:pt x="2556254" y="138114"/>
                  <a:pt x="2568201" y="167731"/>
                  <a:pt x="2567528" y="138812"/>
                </a:cubicBezTo>
                <a:cubicBezTo>
                  <a:pt x="2572312" y="138189"/>
                  <a:pt x="2574630" y="139535"/>
                  <a:pt x="2575219" y="141798"/>
                </a:cubicBezTo>
                <a:close/>
                <a:moveTo>
                  <a:pt x="2576683" y="197747"/>
                </a:moveTo>
                <a:cubicBezTo>
                  <a:pt x="2577459" y="211907"/>
                  <a:pt x="2560391" y="200639"/>
                  <a:pt x="2553771" y="204328"/>
                </a:cubicBezTo>
                <a:cubicBezTo>
                  <a:pt x="2554495" y="196650"/>
                  <a:pt x="2562149" y="198744"/>
                  <a:pt x="2567528" y="197747"/>
                </a:cubicBezTo>
                <a:cubicBezTo>
                  <a:pt x="2567528" y="193459"/>
                  <a:pt x="2567528" y="189071"/>
                  <a:pt x="2567528" y="184684"/>
                </a:cubicBezTo>
                <a:cubicBezTo>
                  <a:pt x="2572494" y="186279"/>
                  <a:pt x="2570632" y="197646"/>
                  <a:pt x="2576683" y="197747"/>
                </a:cubicBezTo>
                <a:close/>
                <a:moveTo>
                  <a:pt x="2595354" y="248904"/>
                </a:moveTo>
                <a:lnTo>
                  <a:pt x="2589509" y="248904"/>
                </a:lnTo>
                <a:cubicBezTo>
                  <a:pt x="2585475" y="246809"/>
                  <a:pt x="2582993" y="242421"/>
                  <a:pt x="2576683" y="243518"/>
                </a:cubicBezTo>
                <a:cubicBezTo>
                  <a:pt x="2575286" y="232250"/>
                  <a:pt x="2601146" y="231951"/>
                  <a:pt x="2595354" y="248904"/>
                </a:cubicBezTo>
                <a:close/>
                <a:moveTo>
                  <a:pt x="2636174" y="196429"/>
                </a:moveTo>
                <a:cubicBezTo>
                  <a:pt x="2635388" y="196195"/>
                  <a:pt x="2621976" y="183985"/>
                  <a:pt x="2622558" y="197747"/>
                </a:cubicBezTo>
                <a:cubicBezTo>
                  <a:pt x="2605180" y="194057"/>
                  <a:pt x="2632540" y="171122"/>
                  <a:pt x="2631765" y="191265"/>
                </a:cubicBezTo>
                <a:cubicBezTo>
                  <a:pt x="2635295" y="195254"/>
                  <a:pt x="2636436" y="196507"/>
                  <a:pt x="2636174" y="196429"/>
                </a:cubicBezTo>
                <a:close/>
                <a:moveTo>
                  <a:pt x="2636368" y="243518"/>
                </a:moveTo>
                <a:cubicBezTo>
                  <a:pt x="2636005" y="246211"/>
                  <a:pt x="2634816" y="247807"/>
                  <a:pt x="2633420" y="248904"/>
                </a:cubicBezTo>
                <a:lnTo>
                  <a:pt x="2604663" y="248904"/>
                </a:lnTo>
                <a:cubicBezTo>
                  <a:pt x="2607715" y="236438"/>
                  <a:pt x="2627161" y="247308"/>
                  <a:pt x="2636368" y="243518"/>
                </a:cubicBezTo>
                <a:close/>
                <a:moveTo>
                  <a:pt x="2643257" y="149324"/>
                </a:moveTo>
                <a:cubicBezTo>
                  <a:pt x="2644129" y="151489"/>
                  <a:pt x="2643686" y="154519"/>
                  <a:pt x="2640919" y="158458"/>
                </a:cubicBezTo>
                <a:cubicBezTo>
                  <a:pt x="2642677" y="155964"/>
                  <a:pt x="2627110" y="151377"/>
                  <a:pt x="2627161" y="151875"/>
                </a:cubicBezTo>
                <a:cubicBezTo>
                  <a:pt x="2626192" y="144098"/>
                  <a:pt x="2640641" y="142826"/>
                  <a:pt x="2643257" y="149324"/>
                </a:cubicBezTo>
                <a:close/>
                <a:moveTo>
                  <a:pt x="2645522" y="132231"/>
                </a:moveTo>
                <a:cubicBezTo>
                  <a:pt x="2641849" y="126647"/>
                  <a:pt x="2632954" y="128342"/>
                  <a:pt x="2631765" y="119168"/>
                </a:cubicBezTo>
                <a:cubicBezTo>
                  <a:pt x="2627110" y="123355"/>
                  <a:pt x="2627006" y="134226"/>
                  <a:pt x="2618007" y="132231"/>
                </a:cubicBezTo>
                <a:cubicBezTo>
                  <a:pt x="2614077" y="103312"/>
                  <a:pt x="2647746" y="108996"/>
                  <a:pt x="2645522" y="132231"/>
                </a:cubicBezTo>
                <a:close/>
                <a:moveTo>
                  <a:pt x="2673037" y="204229"/>
                </a:moveTo>
                <a:cubicBezTo>
                  <a:pt x="2666417" y="229059"/>
                  <a:pt x="2623075" y="216195"/>
                  <a:pt x="2608801" y="210710"/>
                </a:cubicBezTo>
                <a:cubicBezTo>
                  <a:pt x="2607197" y="206423"/>
                  <a:pt x="2620231" y="200837"/>
                  <a:pt x="2622558" y="204229"/>
                </a:cubicBezTo>
                <a:cubicBezTo>
                  <a:pt x="2627886" y="211807"/>
                  <a:pt x="2623282" y="205326"/>
                  <a:pt x="2627161" y="204229"/>
                </a:cubicBezTo>
                <a:cubicBezTo>
                  <a:pt x="2631196" y="203032"/>
                  <a:pt x="2631919" y="210710"/>
                  <a:pt x="2631765" y="210710"/>
                </a:cubicBezTo>
                <a:cubicBezTo>
                  <a:pt x="2635436" y="209813"/>
                  <a:pt x="2636368" y="203830"/>
                  <a:pt x="2640919" y="204229"/>
                </a:cubicBezTo>
                <a:cubicBezTo>
                  <a:pt x="2648522" y="204927"/>
                  <a:pt x="2659538" y="221979"/>
                  <a:pt x="2659279" y="197646"/>
                </a:cubicBezTo>
                <a:cubicBezTo>
                  <a:pt x="2662951" y="201137"/>
                  <a:pt x="2666727" y="204528"/>
                  <a:pt x="2673037" y="204229"/>
                </a:cubicBezTo>
                <a:close/>
                <a:moveTo>
                  <a:pt x="2691397" y="119168"/>
                </a:moveTo>
                <a:cubicBezTo>
                  <a:pt x="2692329" y="137615"/>
                  <a:pt x="2657107" y="117372"/>
                  <a:pt x="2682243" y="119168"/>
                </a:cubicBezTo>
                <a:cubicBezTo>
                  <a:pt x="2685295" y="119168"/>
                  <a:pt x="2688346" y="119168"/>
                  <a:pt x="2691397" y="119168"/>
                </a:cubicBezTo>
                <a:close/>
                <a:moveTo>
                  <a:pt x="2723515" y="145295"/>
                </a:moveTo>
                <a:cubicBezTo>
                  <a:pt x="2713637" y="157061"/>
                  <a:pt x="2702465" y="156862"/>
                  <a:pt x="2691397" y="151776"/>
                </a:cubicBezTo>
                <a:cubicBezTo>
                  <a:pt x="2699672" y="131533"/>
                  <a:pt x="2705465" y="148286"/>
                  <a:pt x="2723515" y="145295"/>
                </a:cubicBezTo>
                <a:close/>
                <a:moveTo>
                  <a:pt x="2741876" y="164939"/>
                </a:moveTo>
                <a:cubicBezTo>
                  <a:pt x="2742807" y="183388"/>
                  <a:pt x="2707586" y="163143"/>
                  <a:pt x="2732722" y="164939"/>
                </a:cubicBezTo>
                <a:cubicBezTo>
                  <a:pt x="2735773" y="164939"/>
                  <a:pt x="2738825" y="164939"/>
                  <a:pt x="2741876" y="164939"/>
                </a:cubicBezTo>
                <a:close/>
                <a:moveTo>
                  <a:pt x="2778597" y="145295"/>
                </a:moveTo>
                <a:cubicBezTo>
                  <a:pt x="2773270" y="144297"/>
                  <a:pt x="2770425" y="146789"/>
                  <a:pt x="2769391" y="151776"/>
                </a:cubicBezTo>
                <a:cubicBezTo>
                  <a:pt x="2752789" y="156563"/>
                  <a:pt x="2752789" y="140507"/>
                  <a:pt x="2769391" y="145295"/>
                </a:cubicBezTo>
                <a:cubicBezTo>
                  <a:pt x="2768563" y="139709"/>
                  <a:pt x="2771201" y="139111"/>
                  <a:pt x="2773994" y="138713"/>
                </a:cubicBezTo>
                <a:cubicBezTo>
                  <a:pt x="2777924" y="137516"/>
                  <a:pt x="2778339" y="141305"/>
                  <a:pt x="2778597" y="145295"/>
                </a:cubicBezTo>
                <a:close/>
                <a:moveTo>
                  <a:pt x="2810715" y="138812"/>
                </a:moveTo>
                <a:cubicBezTo>
                  <a:pt x="2811025" y="157261"/>
                  <a:pt x="2787183" y="150879"/>
                  <a:pt x="2787751" y="132231"/>
                </a:cubicBezTo>
                <a:cubicBezTo>
                  <a:pt x="2793078" y="137715"/>
                  <a:pt x="2800061" y="140906"/>
                  <a:pt x="2810715" y="138812"/>
                </a:cubicBezTo>
                <a:close/>
                <a:moveTo>
                  <a:pt x="2829076" y="92942"/>
                </a:moveTo>
                <a:cubicBezTo>
                  <a:pt x="2833627" y="97429"/>
                  <a:pt x="2815525" y="99223"/>
                  <a:pt x="2815318" y="99522"/>
                </a:cubicBezTo>
                <a:cubicBezTo>
                  <a:pt x="2810922" y="105805"/>
                  <a:pt x="2811232" y="99522"/>
                  <a:pt x="2801560" y="99522"/>
                </a:cubicBezTo>
                <a:cubicBezTo>
                  <a:pt x="2797734" y="92841"/>
                  <a:pt x="2822766" y="86659"/>
                  <a:pt x="2829076" y="92942"/>
                </a:cubicBezTo>
                <a:close/>
                <a:moveTo>
                  <a:pt x="2878397" y="114767"/>
                </a:moveTo>
                <a:cubicBezTo>
                  <a:pt x="2880252" y="117422"/>
                  <a:pt x="2878675" y="120414"/>
                  <a:pt x="2870400" y="119067"/>
                </a:cubicBezTo>
                <a:cubicBezTo>
                  <a:pt x="2869055" y="119267"/>
                  <a:pt x="2859901" y="130237"/>
                  <a:pt x="2856642" y="125649"/>
                </a:cubicBezTo>
                <a:cubicBezTo>
                  <a:pt x="2854729" y="122956"/>
                  <a:pt x="2868124" y="117870"/>
                  <a:pt x="2865796" y="112486"/>
                </a:cubicBezTo>
                <a:cubicBezTo>
                  <a:pt x="2871253" y="109794"/>
                  <a:pt x="2876541" y="112112"/>
                  <a:pt x="2878397" y="114767"/>
                </a:cubicBezTo>
                <a:close/>
                <a:moveTo>
                  <a:pt x="2884158" y="158458"/>
                </a:moveTo>
                <a:cubicBezTo>
                  <a:pt x="2882554" y="160750"/>
                  <a:pt x="2855659" y="133527"/>
                  <a:pt x="2838230" y="145493"/>
                </a:cubicBezTo>
                <a:cubicBezTo>
                  <a:pt x="2833989" y="127544"/>
                  <a:pt x="2856332" y="147388"/>
                  <a:pt x="2861194" y="138911"/>
                </a:cubicBezTo>
                <a:cubicBezTo>
                  <a:pt x="2861400" y="138513"/>
                  <a:pt x="2861038" y="132331"/>
                  <a:pt x="2861194" y="132331"/>
                </a:cubicBezTo>
                <a:cubicBezTo>
                  <a:pt x="2868280" y="132529"/>
                  <a:pt x="2877227" y="142801"/>
                  <a:pt x="2884158" y="145394"/>
                </a:cubicBezTo>
                <a:cubicBezTo>
                  <a:pt x="2882968" y="148087"/>
                  <a:pt x="2885709" y="156263"/>
                  <a:pt x="2884158" y="158458"/>
                </a:cubicBezTo>
                <a:close/>
                <a:moveTo>
                  <a:pt x="2925482" y="92942"/>
                </a:moveTo>
                <a:cubicBezTo>
                  <a:pt x="2926412" y="111389"/>
                  <a:pt x="2891191" y="91146"/>
                  <a:pt x="2916327" y="92942"/>
                </a:cubicBezTo>
                <a:cubicBezTo>
                  <a:pt x="2919379" y="92942"/>
                  <a:pt x="2922430" y="92942"/>
                  <a:pt x="2925482" y="92942"/>
                </a:cubicBezTo>
                <a:close/>
                <a:moveTo>
                  <a:pt x="2939239" y="164939"/>
                </a:moveTo>
                <a:cubicBezTo>
                  <a:pt x="2938618" y="164141"/>
                  <a:pt x="2926309" y="164241"/>
                  <a:pt x="2925482" y="164939"/>
                </a:cubicBezTo>
                <a:cubicBezTo>
                  <a:pt x="2911465" y="176506"/>
                  <a:pt x="2947721" y="177004"/>
                  <a:pt x="2939239" y="164939"/>
                </a:cubicBezTo>
                <a:close/>
                <a:moveTo>
                  <a:pt x="2966418" y="172328"/>
                </a:moveTo>
                <a:cubicBezTo>
                  <a:pt x="2966686" y="169788"/>
                  <a:pt x="2965513" y="167208"/>
                  <a:pt x="2962203" y="164939"/>
                </a:cubicBezTo>
                <a:cubicBezTo>
                  <a:pt x="2954548" y="180296"/>
                  <a:pt x="2962616" y="162546"/>
                  <a:pt x="2962203" y="151875"/>
                </a:cubicBezTo>
                <a:cubicBezTo>
                  <a:pt x="2947462" y="150480"/>
                  <a:pt x="2951031" y="175210"/>
                  <a:pt x="2943842" y="184584"/>
                </a:cubicBezTo>
                <a:cubicBezTo>
                  <a:pt x="2951832" y="187201"/>
                  <a:pt x="2965613" y="179947"/>
                  <a:pt x="2966418" y="172328"/>
                </a:cubicBezTo>
                <a:close/>
                <a:moveTo>
                  <a:pt x="3012630" y="151875"/>
                </a:moveTo>
                <a:cubicBezTo>
                  <a:pt x="3012630" y="147488"/>
                  <a:pt x="3012630" y="143200"/>
                  <a:pt x="3012630" y="138812"/>
                </a:cubicBezTo>
                <a:cubicBezTo>
                  <a:pt x="3005440" y="139411"/>
                  <a:pt x="2996752" y="137915"/>
                  <a:pt x="2998872" y="151875"/>
                </a:cubicBezTo>
                <a:cubicBezTo>
                  <a:pt x="3003475" y="151875"/>
                  <a:pt x="3008078" y="151875"/>
                  <a:pt x="3012630" y="151875"/>
                </a:cubicBezTo>
                <a:close/>
                <a:moveTo>
                  <a:pt x="3031041" y="178102"/>
                </a:moveTo>
                <a:cubicBezTo>
                  <a:pt x="3032387" y="165238"/>
                  <a:pt x="3024835" y="165139"/>
                  <a:pt x="3021887" y="158458"/>
                </a:cubicBezTo>
                <a:cubicBezTo>
                  <a:pt x="3020853" y="153372"/>
                  <a:pt x="3021732" y="145593"/>
                  <a:pt x="3017285" y="145394"/>
                </a:cubicBezTo>
                <a:cubicBezTo>
                  <a:pt x="3021060" y="163842"/>
                  <a:pt x="3010819" y="162346"/>
                  <a:pt x="3012681" y="178102"/>
                </a:cubicBezTo>
                <a:cubicBezTo>
                  <a:pt x="3018784" y="178102"/>
                  <a:pt x="3024887" y="178102"/>
                  <a:pt x="3031041" y="178102"/>
                </a:cubicBezTo>
                <a:close/>
                <a:moveTo>
                  <a:pt x="3031041" y="236936"/>
                </a:moveTo>
                <a:cubicBezTo>
                  <a:pt x="3029386" y="240526"/>
                  <a:pt x="3027835" y="244217"/>
                  <a:pt x="3027111" y="248904"/>
                </a:cubicBezTo>
                <a:lnTo>
                  <a:pt x="2893571" y="248904"/>
                </a:lnTo>
                <a:cubicBezTo>
                  <a:pt x="2890053" y="247308"/>
                  <a:pt x="2888760" y="244316"/>
                  <a:pt x="2884261" y="243518"/>
                </a:cubicBezTo>
                <a:cubicBezTo>
                  <a:pt x="2885088" y="243618"/>
                  <a:pt x="2884261" y="246709"/>
                  <a:pt x="2882968" y="248904"/>
                </a:cubicBezTo>
                <a:lnTo>
                  <a:pt x="2879606" y="248904"/>
                </a:lnTo>
                <a:cubicBezTo>
                  <a:pt x="2879606" y="247108"/>
                  <a:pt x="2879968" y="243618"/>
                  <a:pt x="2879658" y="243518"/>
                </a:cubicBezTo>
                <a:cubicBezTo>
                  <a:pt x="2872313" y="240627"/>
                  <a:pt x="2856591" y="250398"/>
                  <a:pt x="2861297" y="230455"/>
                </a:cubicBezTo>
                <a:cubicBezTo>
                  <a:pt x="2869986" y="229857"/>
                  <a:pt x="2908517" y="250698"/>
                  <a:pt x="2916379" y="236936"/>
                </a:cubicBezTo>
                <a:cubicBezTo>
                  <a:pt x="2921499" y="227962"/>
                  <a:pt x="2918292" y="239329"/>
                  <a:pt x="2925533" y="236936"/>
                </a:cubicBezTo>
                <a:cubicBezTo>
                  <a:pt x="2926464" y="236737"/>
                  <a:pt x="2926154" y="230754"/>
                  <a:pt x="2930136" y="230455"/>
                </a:cubicBezTo>
                <a:cubicBezTo>
                  <a:pt x="2935412" y="230056"/>
                  <a:pt x="2938360" y="230155"/>
                  <a:pt x="2939290" y="223874"/>
                </a:cubicBezTo>
                <a:cubicBezTo>
                  <a:pt x="2953514" y="223176"/>
                  <a:pt x="2952376" y="244516"/>
                  <a:pt x="2971409" y="236936"/>
                </a:cubicBezTo>
                <a:cubicBezTo>
                  <a:pt x="2972702" y="226367"/>
                  <a:pt x="2967064" y="225668"/>
                  <a:pt x="2966805" y="217292"/>
                </a:cubicBezTo>
                <a:cubicBezTo>
                  <a:pt x="2968719" y="200837"/>
                  <a:pt x="2976684" y="228161"/>
                  <a:pt x="2975960" y="236936"/>
                </a:cubicBezTo>
                <a:cubicBezTo>
                  <a:pt x="2999493" y="240228"/>
                  <a:pt x="3006992" y="247408"/>
                  <a:pt x="3031041" y="236936"/>
                </a:cubicBezTo>
                <a:close/>
                <a:moveTo>
                  <a:pt x="3095226" y="125649"/>
                </a:moveTo>
                <a:cubicBezTo>
                  <a:pt x="3093209" y="147986"/>
                  <a:pt x="3067245" y="159454"/>
                  <a:pt x="3053954" y="145295"/>
                </a:cubicBezTo>
                <a:cubicBezTo>
                  <a:pt x="3056385" y="140108"/>
                  <a:pt x="3058764" y="134724"/>
                  <a:pt x="3058505" y="125649"/>
                </a:cubicBezTo>
                <a:cubicBezTo>
                  <a:pt x="3063884" y="126647"/>
                  <a:pt x="3062384" y="137615"/>
                  <a:pt x="3063108" y="145295"/>
                </a:cubicBezTo>
                <a:cubicBezTo>
                  <a:pt x="3071590" y="148486"/>
                  <a:pt x="3068849" y="128940"/>
                  <a:pt x="3072314" y="125649"/>
                </a:cubicBezTo>
                <a:cubicBezTo>
                  <a:pt x="3073038" y="124951"/>
                  <a:pt x="3082606" y="132331"/>
                  <a:pt x="3095226" y="125649"/>
                </a:cubicBezTo>
                <a:close/>
                <a:moveTo>
                  <a:pt x="3127395" y="138713"/>
                </a:moveTo>
                <a:cubicBezTo>
                  <a:pt x="3125999" y="147587"/>
                  <a:pt x="3115914" y="144197"/>
                  <a:pt x="3109035" y="145295"/>
                </a:cubicBezTo>
                <a:cubicBezTo>
                  <a:pt x="3110329" y="130136"/>
                  <a:pt x="3121293" y="130237"/>
                  <a:pt x="3127395" y="138713"/>
                </a:cubicBezTo>
                <a:close/>
                <a:moveTo>
                  <a:pt x="3164117" y="158458"/>
                </a:moveTo>
                <a:cubicBezTo>
                  <a:pt x="3164375" y="147188"/>
                  <a:pt x="3160600" y="141703"/>
                  <a:pt x="3154962" y="138812"/>
                </a:cubicBezTo>
                <a:cubicBezTo>
                  <a:pt x="3154962" y="145394"/>
                  <a:pt x="3151238" y="146591"/>
                  <a:pt x="3150359" y="151875"/>
                </a:cubicBezTo>
                <a:cubicBezTo>
                  <a:pt x="3156256" y="152274"/>
                  <a:pt x="3156721" y="160252"/>
                  <a:pt x="3164117" y="158458"/>
                </a:cubicBezTo>
                <a:close/>
                <a:moveTo>
                  <a:pt x="3191684" y="197747"/>
                </a:moveTo>
                <a:cubicBezTo>
                  <a:pt x="3190236" y="206622"/>
                  <a:pt x="3180150" y="203131"/>
                  <a:pt x="3173323" y="204328"/>
                </a:cubicBezTo>
                <a:cubicBezTo>
                  <a:pt x="3173426" y="197946"/>
                  <a:pt x="3178909" y="199242"/>
                  <a:pt x="3182477" y="197747"/>
                </a:cubicBezTo>
                <a:cubicBezTo>
                  <a:pt x="3185581" y="197747"/>
                  <a:pt x="3188581" y="197747"/>
                  <a:pt x="3191684" y="197747"/>
                </a:cubicBezTo>
                <a:close/>
                <a:moveTo>
                  <a:pt x="3214595" y="92942"/>
                </a:moveTo>
                <a:cubicBezTo>
                  <a:pt x="3211544" y="92942"/>
                  <a:pt x="3208492" y="92942"/>
                  <a:pt x="3205441" y="92942"/>
                </a:cubicBezTo>
                <a:cubicBezTo>
                  <a:pt x="3205441" y="88554"/>
                  <a:pt x="3205441" y="84266"/>
                  <a:pt x="3205441" y="79878"/>
                </a:cubicBezTo>
                <a:cubicBezTo>
                  <a:pt x="3208492" y="79878"/>
                  <a:pt x="3211544" y="79878"/>
                  <a:pt x="3214595" y="79878"/>
                </a:cubicBezTo>
                <a:cubicBezTo>
                  <a:pt x="3214595" y="84165"/>
                  <a:pt x="3214595" y="88554"/>
                  <a:pt x="3214595" y="92942"/>
                </a:cubicBezTo>
                <a:close/>
                <a:moveTo>
                  <a:pt x="3242162" y="204328"/>
                </a:moveTo>
                <a:cubicBezTo>
                  <a:pt x="3230991" y="200040"/>
                  <a:pt x="3218526" y="191066"/>
                  <a:pt x="3219198" y="217391"/>
                </a:cubicBezTo>
                <a:cubicBezTo>
                  <a:pt x="3227370" y="213802"/>
                  <a:pt x="3238283" y="214002"/>
                  <a:pt x="3242162" y="204328"/>
                </a:cubicBezTo>
                <a:close/>
                <a:moveTo>
                  <a:pt x="3315553" y="249003"/>
                </a:moveTo>
                <a:lnTo>
                  <a:pt x="3304692" y="249003"/>
                </a:lnTo>
                <a:cubicBezTo>
                  <a:pt x="3306708" y="245014"/>
                  <a:pt x="3309087" y="241425"/>
                  <a:pt x="3315553" y="243618"/>
                </a:cubicBezTo>
                <a:cubicBezTo>
                  <a:pt x="3315501" y="245812"/>
                  <a:pt x="3315501" y="247507"/>
                  <a:pt x="3315553" y="249003"/>
                </a:cubicBezTo>
                <a:close/>
                <a:moveTo>
                  <a:pt x="3333913" y="86459"/>
                </a:moveTo>
                <a:cubicBezTo>
                  <a:pt x="3333448" y="76088"/>
                  <a:pt x="3334534" y="63723"/>
                  <a:pt x="3324759" y="66815"/>
                </a:cubicBezTo>
                <a:cubicBezTo>
                  <a:pt x="3324965" y="75789"/>
                  <a:pt x="3322587" y="81174"/>
                  <a:pt x="3320156" y="86459"/>
                </a:cubicBezTo>
                <a:cubicBezTo>
                  <a:pt x="3324759" y="86459"/>
                  <a:pt x="3329310" y="86459"/>
                  <a:pt x="3333913" y="86459"/>
                </a:cubicBezTo>
                <a:close/>
                <a:moveTo>
                  <a:pt x="3341309" y="249003"/>
                </a:moveTo>
                <a:lnTo>
                  <a:pt x="3329310" y="249003"/>
                </a:lnTo>
                <a:cubicBezTo>
                  <a:pt x="3330396" y="238133"/>
                  <a:pt x="3337482" y="245912"/>
                  <a:pt x="3341309" y="249003"/>
                </a:cubicBezTo>
                <a:close/>
                <a:moveTo>
                  <a:pt x="3352274" y="249003"/>
                </a:moveTo>
                <a:lnTo>
                  <a:pt x="3345912" y="249003"/>
                </a:lnTo>
                <a:cubicBezTo>
                  <a:pt x="3347153" y="247207"/>
                  <a:pt x="3346895" y="243818"/>
                  <a:pt x="3347671" y="243618"/>
                </a:cubicBezTo>
                <a:cubicBezTo>
                  <a:pt x="3350256" y="242820"/>
                  <a:pt x="3351911" y="246909"/>
                  <a:pt x="3352274" y="249003"/>
                </a:cubicBezTo>
                <a:close/>
                <a:moveTo>
                  <a:pt x="3357474" y="58640"/>
                </a:moveTo>
                <a:cubicBezTo>
                  <a:pt x="3357766" y="55988"/>
                  <a:pt x="3356515" y="52130"/>
                  <a:pt x="3352274" y="47169"/>
                </a:cubicBezTo>
                <a:cubicBezTo>
                  <a:pt x="3341839" y="63698"/>
                  <a:pt x="3356599" y="66596"/>
                  <a:pt x="3357474" y="58640"/>
                </a:cubicBezTo>
                <a:close/>
                <a:moveTo>
                  <a:pt x="3375754" y="249003"/>
                </a:moveTo>
                <a:lnTo>
                  <a:pt x="3356567" y="249003"/>
                </a:lnTo>
                <a:cubicBezTo>
                  <a:pt x="3362411" y="246709"/>
                  <a:pt x="3366859" y="241723"/>
                  <a:pt x="3375237" y="243618"/>
                </a:cubicBezTo>
                <a:cubicBezTo>
                  <a:pt x="3375341" y="245413"/>
                  <a:pt x="3375496" y="247308"/>
                  <a:pt x="3375754" y="249003"/>
                </a:cubicBezTo>
                <a:close/>
                <a:moveTo>
                  <a:pt x="3385245" y="168242"/>
                </a:moveTo>
                <a:cubicBezTo>
                  <a:pt x="3385245" y="160925"/>
                  <a:pt x="3381909" y="153621"/>
                  <a:pt x="3375237" y="158458"/>
                </a:cubicBezTo>
                <a:cubicBezTo>
                  <a:pt x="3375237" y="165038"/>
                  <a:pt x="3375237" y="171521"/>
                  <a:pt x="3375237" y="178102"/>
                </a:cubicBezTo>
                <a:cubicBezTo>
                  <a:pt x="3381909" y="182889"/>
                  <a:pt x="3385245" y="175559"/>
                  <a:pt x="3385245" y="168242"/>
                </a:cubicBezTo>
                <a:close/>
                <a:moveTo>
                  <a:pt x="3419613" y="249003"/>
                </a:moveTo>
                <a:lnTo>
                  <a:pt x="3404925" y="249003"/>
                </a:lnTo>
                <a:cubicBezTo>
                  <a:pt x="3408390" y="246610"/>
                  <a:pt x="3412114" y="244316"/>
                  <a:pt x="3416510" y="243618"/>
                </a:cubicBezTo>
                <a:cubicBezTo>
                  <a:pt x="3414906" y="243818"/>
                  <a:pt x="3417647" y="247207"/>
                  <a:pt x="3419613" y="249003"/>
                </a:cubicBezTo>
                <a:close/>
                <a:moveTo>
                  <a:pt x="3430267" y="184584"/>
                </a:moveTo>
                <a:cubicBezTo>
                  <a:pt x="3430267" y="175909"/>
                  <a:pt x="3430267" y="167133"/>
                  <a:pt x="3430267" y="158357"/>
                </a:cubicBezTo>
                <a:cubicBezTo>
                  <a:pt x="3415527" y="163842"/>
                  <a:pt x="3420751" y="163942"/>
                  <a:pt x="3411907" y="151776"/>
                </a:cubicBezTo>
                <a:cubicBezTo>
                  <a:pt x="3413872" y="169825"/>
                  <a:pt x="3394788" y="157958"/>
                  <a:pt x="3393546" y="171420"/>
                </a:cubicBezTo>
                <a:cubicBezTo>
                  <a:pt x="3399856" y="171122"/>
                  <a:pt x="3403632" y="174512"/>
                  <a:pt x="3407356" y="178002"/>
                </a:cubicBezTo>
                <a:cubicBezTo>
                  <a:pt x="3405441" y="154368"/>
                  <a:pt x="3415734" y="169027"/>
                  <a:pt x="3411907" y="184584"/>
                </a:cubicBezTo>
                <a:cubicBezTo>
                  <a:pt x="3418062" y="184584"/>
                  <a:pt x="3424164" y="184584"/>
                  <a:pt x="3430267" y="184584"/>
                </a:cubicBezTo>
                <a:close/>
                <a:moveTo>
                  <a:pt x="3434870" y="40588"/>
                </a:moveTo>
                <a:cubicBezTo>
                  <a:pt x="3402080" y="37098"/>
                  <a:pt x="3381651" y="50560"/>
                  <a:pt x="3366031" y="40588"/>
                </a:cubicBezTo>
                <a:cubicBezTo>
                  <a:pt x="3362204" y="48167"/>
                  <a:pt x="3359980" y="58139"/>
                  <a:pt x="3361428" y="73296"/>
                </a:cubicBezTo>
                <a:cubicBezTo>
                  <a:pt x="3356049" y="74294"/>
                  <a:pt x="3348395" y="72199"/>
                  <a:pt x="3347671" y="79878"/>
                </a:cubicBezTo>
                <a:cubicBezTo>
                  <a:pt x="3353515" y="80176"/>
                  <a:pt x="3354032" y="88254"/>
                  <a:pt x="3361428" y="86459"/>
                </a:cubicBezTo>
                <a:cubicBezTo>
                  <a:pt x="3369031" y="86359"/>
                  <a:pt x="3364014" y="68311"/>
                  <a:pt x="3370634" y="66815"/>
                </a:cubicBezTo>
                <a:cubicBezTo>
                  <a:pt x="3367220" y="86958"/>
                  <a:pt x="3383202" y="79379"/>
                  <a:pt x="3379788" y="99522"/>
                </a:cubicBezTo>
                <a:cubicBezTo>
                  <a:pt x="3371772" y="100021"/>
                  <a:pt x="3365514" y="98026"/>
                  <a:pt x="3361428" y="92942"/>
                </a:cubicBezTo>
                <a:cubicBezTo>
                  <a:pt x="3365359" y="113782"/>
                  <a:pt x="3357446" y="117771"/>
                  <a:pt x="3352274" y="125649"/>
                </a:cubicBezTo>
                <a:cubicBezTo>
                  <a:pt x="3375030" y="136319"/>
                  <a:pt x="3366910" y="102913"/>
                  <a:pt x="3384392" y="106005"/>
                </a:cubicBezTo>
                <a:cubicBezTo>
                  <a:pt x="3399132" y="114181"/>
                  <a:pt x="3395408" y="130336"/>
                  <a:pt x="3407356" y="132231"/>
                </a:cubicBezTo>
                <a:cubicBezTo>
                  <a:pt x="3406580" y="132131"/>
                  <a:pt x="3411752" y="119466"/>
                  <a:pt x="3411907" y="119168"/>
                </a:cubicBezTo>
                <a:cubicBezTo>
                  <a:pt x="3421372" y="105706"/>
                  <a:pt x="3419406" y="123157"/>
                  <a:pt x="3430267" y="119168"/>
                </a:cubicBezTo>
                <a:cubicBezTo>
                  <a:pt x="3430267" y="103910"/>
                  <a:pt x="3430267" y="88653"/>
                  <a:pt x="3430267" y="73296"/>
                </a:cubicBezTo>
                <a:cubicBezTo>
                  <a:pt x="3418888" y="74294"/>
                  <a:pt x="3408028" y="74493"/>
                  <a:pt x="3407356" y="60233"/>
                </a:cubicBezTo>
                <a:cubicBezTo>
                  <a:pt x="3421268" y="60532"/>
                  <a:pt x="3437559" y="64023"/>
                  <a:pt x="3434870" y="40588"/>
                </a:cubicBezTo>
                <a:close/>
                <a:moveTo>
                  <a:pt x="3443300" y="249003"/>
                </a:moveTo>
                <a:lnTo>
                  <a:pt x="3432491" y="249003"/>
                </a:lnTo>
                <a:cubicBezTo>
                  <a:pt x="3436887" y="245513"/>
                  <a:pt x="3437870" y="240127"/>
                  <a:pt x="3443300" y="249003"/>
                </a:cubicBezTo>
                <a:close/>
                <a:moveTo>
                  <a:pt x="3448679" y="53751"/>
                </a:moveTo>
                <a:cubicBezTo>
                  <a:pt x="3448162" y="45774"/>
                  <a:pt x="3447283" y="38295"/>
                  <a:pt x="3439474" y="40688"/>
                </a:cubicBezTo>
                <a:cubicBezTo>
                  <a:pt x="3440197" y="48266"/>
                  <a:pt x="3438698" y="59135"/>
                  <a:pt x="3444076" y="60233"/>
                </a:cubicBezTo>
                <a:cubicBezTo>
                  <a:pt x="3444335" y="56244"/>
                  <a:pt x="3444749" y="52455"/>
                  <a:pt x="3448679" y="53751"/>
                </a:cubicBezTo>
                <a:close/>
                <a:moveTo>
                  <a:pt x="3471591" y="164939"/>
                </a:moveTo>
                <a:cubicBezTo>
                  <a:pt x="3462489" y="154070"/>
                  <a:pt x="3465747" y="165538"/>
                  <a:pt x="3453231" y="164939"/>
                </a:cubicBezTo>
                <a:cubicBezTo>
                  <a:pt x="3448731" y="154368"/>
                  <a:pt x="3440973" y="149881"/>
                  <a:pt x="3434870" y="158357"/>
                </a:cubicBezTo>
                <a:cubicBezTo>
                  <a:pt x="3432491" y="190667"/>
                  <a:pt x="3465385" y="176407"/>
                  <a:pt x="3471591" y="164939"/>
                </a:cubicBezTo>
                <a:close/>
                <a:moveTo>
                  <a:pt x="3471591" y="197747"/>
                </a:moveTo>
                <a:cubicBezTo>
                  <a:pt x="3471591" y="193360"/>
                  <a:pt x="3471591" y="189071"/>
                  <a:pt x="3471591" y="184684"/>
                </a:cubicBezTo>
                <a:cubicBezTo>
                  <a:pt x="3466988" y="184684"/>
                  <a:pt x="3462437" y="184684"/>
                  <a:pt x="3457834" y="184684"/>
                </a:cubicBezTo>
                <a:cubicBezTo>
                  <a:pt x="3457834" y="189071"/>
                  <a:pt x="3457834" y="193459"/>
                  <a:pt x="3457834" y="197747"/>
                </a:cubicBezTo>
                <a:cubicBezTo>
                  <a:pt x="3462437" y="197747"/>
                  <a:pt x="3466988" y="197747"/>
                  <a:pt x="3471591" y="197747"/>
                </a:cubicBezTo>
                <a:close/>
                <a:moveTo>
                  <a:pt x="3476194" y="40588"/>
                </a:moveTo>
                <a:cubicBezTo>
                  <a:pt x="3468540" y="40588"/>
                  <a:pt x="3460885" y="40588"/>
                  <a:pt x="3453231" y="40588"/>
                </a:cubicBezTo>
                <a:cubicBezTo>
                  <a:pt x="3449248" y="67612"/>
                  <a:pt x="3476143" y="60532"/>
                  <a:pt x="3476194" y="40588"/>
                </a:cubicBezTo>
                <a:close/>
                <a:moveTo>
                  <a:pt x="3494555" y="165038"/>
                </a:moveTo>
                <a:cubicBezTo>
                  <a:pt x="3488349" y="162945"/>
                  <a:pt x="3485763" y="155665"/>
                  <a:pt x="3476194" y="158458"/>
                </a:cubicBezTo>
                <a:cubicBezTo>
                  <a:pt x="3476194" y="165038"/>
                  <a:pt x="3476194" y="171521"/>
                  <a:pt x="3476194" y="178102"/>
                </a:cubicBezTo>
                <a:cubicBezTo>
                  <a:pt x="3484729" y="177205"/>
                  <a:pt x="3491555" y="173813"/>
                  <a:pt x="3494555" y="165038"/>
                </a:cubicBezTo>
                <a:close/>
                <a:moveTo>
                  <a:pt x="3503710" y="191165"/>
                </a:moveTo>
                <a:cubicBezTo>
                  <a:pt x="3496830" y="192262"/>
                  <a:pt x="3486797" y="188772"/>
                  <a:pt x="3485349" y="197646"/>
                </a:cubicBezTo>
                <a:cubicBezTo>
                  <a:pt x="3491452" y="206223"/>
                  <a:pt x="3502416" y="206322"/>
                  <a:pt x="3503710" y="191165"/>
                </a:cubicBezTo>
                <a:close/>
                <a:moveTo>
                  <a:pt x="3520518" y="249003"/>
                </a:moveTo>
                <a:lnTo>
                  <a:pt x="3510846" y="249003"/>
                </a:lnTo>
                <a:cubicBezTo>
                  <a:pt x="3511985" y="246709"/>
                  <a:pt x="3514105" y="244814"/>
                  <a:pt x="3517519" y="243618"/>
                </a:cubicBezTo>
                <a:cubicBezTo>
                  <a:pt x="3520467" y="244316"/>
                  <a:pt x="3521036" y="246410"/>
                  <a:pt x="3520518" y="249003"/>
                </a:cubicBezTo>
                <a:close/>
                <a:moveTo>
                  <a:pt x="3545033" y="178002"/>
                </a:moveTo>
                <a:cubicBezTo>
                  <a:pt x="3547568" y="145992"/>
                  <a:pt x="3516225" y="162346"/>
                  <a:pt x="3499158" y="158357"/>
                </a:cubicBezTo>
                <a:cubicBezTo>
                  <a:pt x="3498744" y="148087"/>
                  <a:pt x="3499778" y="135621"/>
                  <a:pt x="3490004" y="138713"/>
                </a:cubicBezTo>
                <a:cubicBezTo>
                  <a:pt x="3489280" y="154967"/>
                  <a:pt x="3497193" y="158956"/>
                  <a:pt x="3499158" y="171420"/>
                </a:cubicBezTo>
                <a:cubicBezTo>
                  <a:pt x="3511053" y="182291"/>
                  <a:pt x="3518398" y="169925"/>
                  <a:pt x="3526673" y="171521"/>
                </a:cubicBezTo>
                <a:cubicBezTo>
                  <a:pt x="3527087" y="171620"/>
                  <a:pt x="3530138" y="183985"/>
                  <a:pt x="3531276" y="184584"/>
                </a:cubicBezTo>
                <a:cubicBezTo>
                  <a:pt x="3536397" y="187176"/>
                  <a:pt x="3538206" y="173914"/>
                  <a:pt x="3545033" y="178002"/>
                </a:cubicBezTo>
                <a:close/>
                <a:moveTo>
                  <a:pt x="3549637" y="47169"/>
                </a:moveTo>
                <a:cubicBezTo>
                  <a:pt x="3539758" y="35004"/>
                  <a:pt x="3516018" y="42782"/>
                  <a:pt x="3499158" y="40588"/>
                </a:cubicBezTo>
                <a:cubicBezTo>
                  <a:pt x="3497762" y="53452"/>
                  <a:pt x="3505312" y="53551"/>
                  <a:pt x="3508312" y="60233"/>
                </a:cubicBezTo>
                <a:cubicBezTo>
                  <a:pt x="3527552" y="49064"/>
                  <a:pt x="3539707" y="66715"/>
                  <a:pt x="3549637" y="47169"/>
                </a:cubicBezTo>
                <a:close/>
                <a:moveTo>
                  <a:pt x="3561273" y="249003"/>
                </a:moveTo>
                <a:lnTo>
                  <a:pt x="3530966" y="249003"/>
                </a:lnTo>
                <a:cubicBezTo>
                  <a:pt x="3533707" y="246610"/>
                  <a:pt x="3536500" y="244415"/>
                  <a:pt x="3540430" y="243618"/>
                </a:cubicBezTo>
                <a:cubicBezTo>
                  <a:pt x="3548396" y="241823"/>
                  <a:pt x="3554240" y="246709"/>
                  <a:pt x="3561273" y="249003"/>
                </a:cubicBezTo>
                <a:close/>
                <a:moveTo>
                  <a:pt x="3581755" y="164939"/>
                </a:moveTo>
                <a:cubicBezTo>
                  <a:pt x="3570221" y="159055"/>
                  <a:pt x="3547464" y="154070"/>
                  <a:pt x="3549637" y="184584"/>
                </a:cubicBezTo>
                <a:cubicBezTo>
                  <a:pt x="3561377" y="179498"/>
                  <a:pt x="3575652" y="178102"/>
                  <a:pt x="3581755" y="164939"/>
                </a:cubicBezTo>
                <a:close/>
                <a:moveTo>
                  <a:pt x="3595512" y="92942"/>
                </a:moveTo>
                <a:cubicBezTo>
                  <a:pt x="3569083" y="100021"/>
                  <a:pt x="3573738" y="62826"/>
                  <a:pt x="3545033" y="73296"/>
                </a:cubicBezTo>
                <a:cubicBezTo>
                  <a:pt x="3537793" y="98925"/>
                  <a:pt x="3556929" y="86858"/>
                  <a:pt x="3558791" y="99522"/>
                </a:cubicBezTo>
                <a:cubicBezTo>
                  <a:pt x="3569756" y="95534"/>
                  <a:pt x="3592099" y="107700"/>
                  <a:pt x="3595512" y="92942"/>
                </a:cubicBezTo>
                <a:close/>
                <a:moveTo>
                  <a:pt x="3595512" y="191165"/>
                </a:moveTo>
                <a:cubicBezTo>
                  <a:pt x="3590081" y="183587"/>
                  <a:pt x="3579272" y="183787"/>
                  <a:pt x="3567997" y="184584"/>
                </a:cubicBezTo>
                <a:cubicBezTo>
                  <a:pt x="3561480" y="205525"/>
                  <a:pt x="3595409" y="201137"/>
                  <a:pt x="3595512" y="191165"/>
                </a:cubicBezTo>
                <a:close/>
                <a:moveTo>
                  <a:pt x="3596109" y="150283"/>
                </a:moveTo>
                <a:cubicBezTo>
                  <a:pt x="3596401" y="147631"/>
                  <a:pt x="3595150" y="143773"/>
                  <a:pt x="3590909" y="138812"/>
                </a:cubicBezTo>
                <a:cubicBezTo>
                  <a:pt x="3580475" y="155341"/>
                  <a:pt x="3595234" y="158239"/>
                  <a:pt x="3596109" y="150283"/>
                </a:cubicBezTo>
                <a:close/>
                <a:moveTo>
                  <a:pt x="3613873" y="164939"/>
                </a:moveTo>
                <a:cubicBezTo>
                  <a:pt x="3609942" y="159454"/>
                  <a:pt x="3600787" y="169725"/>
                  <a:pt x="3600115" y="171521"/>
                </a:cubicBezTo>
                <a:cubicBezTo>
                  <a:pt x="3595253" y="184384"/>
                  <a:pt x="3617287" y="169825"/>
                  <a:pt x="3613873" y="164939"/>
                </a:cubicBezTo>
                <a:close/>
                <a:moveTo>
                  <a:pt x="3622975" y="132131"/>
                </a:moveTo>
                <a:cubicBezTo>
                  <a:pt x="3627837" y="107700"/>
                  <a:pt x="3613304" y="110990"/>
                  <a:pt x="3609218" y="99423"/>
                </a:cubicBezTo>
                <a:cubicBezTo>
                  <a:pt x="3621165" y="103312"/>
                  <a:pt x="3625717" y="96830"/>
                  <a:pt x="3622975" y="79777"/>
                </a:cubicBezTo>
                <a:cubicBezTo>
                  <a:pt x="3603477" y="71601"/>
                  <a:pt x="3610718" y="101616"/>
                  <a:pt x="3600011" y="106005"/>
                </a:cubicBezTo>
                <a:cubicBezTo>
                  <a:pt x="3581186" y="117870"/>
                  <a:pt x="3560239" y="98824"/>
                  <a:pt x="3535776" y="99423"/>
                </a:cubicBezTo>
                <a:cubicBezTo>
                  <a:pt x="3541413" y="73596"/>
                  <a:pt x="3519691" y="64221"/>
                  <a:pt x="3517415" y="86359"/>
                </a:cubicBezTo>
                <a:cubicBezTo>
                  <a:pt x="3522846" y="89550"/>
                  <a:pt x="3527811" y="93340"/>
                  <a:pt x="3531173" y="99423"/>
                </a:cubicBezTo>
                <a:cubicBezTo>
                  <a:pt x="3516225" y="110093"/>
                  <a:pt x="3502055" y="97728"/>
                  <a:pt x="3485297" y="99423"/>
                </a:cubicBezTo>
                <a:cubicBezTo>
                  <a:pt x="3478677" y="100121"/>
                  <a:pt x="3469523" y="106303"/>
                  <a:pt x="3466937" y="106005"/>
                </a:cubicBezTo>
                <a:cubicBezTo>
                  <a:pt x="3465178" y="105706"/>
                  <a:pt x="3467350" y="93140"/>
                  <a:pt x="3462385" y="92942"/>
                </a:cubicBezTo>
                <a:cubicBezTo>
                  <a:pt x="3462695" y="92942"/>
                  <a:pt x="3460679" y="105406"/>
                  <a:pt x="3457782" y="106005"/>
                </a:cubicBezTo>
                <a:cubicBezTo>
                  <a:pt x="3448938" y="107899"/>
                  <a:pt x="3437456" y="84565"/>
                  <a:pt x="3434819" y="99423"/>
                </a:cubicBezTo>
                <a:cubicBezTo>
                  <a:pt x="3431457" y="121859"/>
                  <a:pt x="3453541" y="107799"/>
                  <a:pt x="3448628" y="132231"/>
                </a:cubicBezTo>
                <a:cubicBezTo>
                  <a:pt x="3464299" y="137117"/>
                  <a:pt x="3454472" y="105606"/>
                  <a:pt x="3471591" y="112586"/>
                </a:cubicBezTo>
                <a:cubicBezTo>
                  <a:pt x="3472626" y="117672"/>
                  <a:pt x="3471695" y="125450"/>
                  <a:pt x="3476194" y="125649"/>
                </a:cubicBezTo>
                <a:cubicBezTo>
                  <a:pt x="3477229" y="120563"/>
                  <a:pt x="3476298" y="112786"/>
                  <a:pt x="3480797" y="112586"/>
                </a:cubicBezTo>
                <a:cubicBezTo>
                  <a:pt x="3486228" y="115777"/>
                  <a:pt x="3491193" y="119567"/>
                  <a:pt x="3494555" y="125649"/>
                </a:cubicBezTo>
                <a:cubicBezTo>
                  <a:pt x="3503141" y="125749"/>
                  <a:pt x="3504796" y="120065"/>
                  <a:pt x="3512916" y="119067"/>
                </a:cubicBezTo>
                <a:cubicBezTo>
                  <a:pt x="3520053" y="118269"/>
                  <a:pt x="3517415" y="127445"/>
                  <a:pt x="3522070" y="119067"/>
                </a:cubicBezTo>
                <a:cubicBezTo>
                  <a:pt x="3524190" y="115278"/>
                  <a:pt x="3528225" y="125350"/>
                  <a:pt x="3526673" y="125649"/>
                </a:cubicBezTo>
                <a:cubicBezTo>
                  <a:pt x="3533293" y="124254"/>
                  <a:pt x="3531845" y="118668"/>
                  <a:pt x="3535828" y="125649"/>
                </a:cubicBezTo>
                <a:cubicBezTo>
                  <a:pt x="3540534" y="133827"/>
                  <a:pt x="3555481" y="119067"/>
                  <a:pt x="3558791" y="119067"/>
                </a:cubicBezTo>
                <a:cubicBezTo>
                  <a:pt x="3564739" y="119168"/>
                  <a:pt x="3564997" y="126147"/>
                  <a:pt x="3572548" y="125649"/>
                </a:cubicBezTo>
                <a:cubicBezTo>
                  <a:pt x="3578392" y="125250"/>
                  <a:pt x="3579065" y="119765"/>
                  <a:pt x="3586306" y="119067"/>
                </a:cubicBezTo>
                <a:cubicBezTo>
                  <a:pt x="3592254" y="118569"/>
                  <a:pt x="3592512" y="127046"/>
                  <a:pt x="3600064" y="125649"/>
                </a:cubicBezTo>
                <a:cubicBezTo>
                  <a:pt x="3603063" y="125052"/>
                  <a:pt x="3607304" y="118370"/>
                  <a:pt x="3609218" y="119067"/>
                </a:cubicBezTo>
                <a:cubicBezTo>
                  <a:pt x="3612425" y="120264"/>
                  <a:pt x="3614131" y="137715"/>
                  <a:pt x="3622975" y="132131"/>
                </a:cubicBezTo>
                <a:close/>
                <a:moveTo>
                  <a:pt x="3641387" y="178102"/>
                </a:moveTo>
                <a:cubicBezTo>
                  <a:pt x="3641387" y="173714"/>
                  <a:pt x="3641387" y="169326"/>
                  <a:pt x="3641387" y="165038"/>
                </a:cubicBezTo>
                <a:cubicBezTo>
                  <a:pt x="3638336" y="165038"/>
                  <a:pt x="3635285" y="165038"/>
                  <a:pt x="3632233" y="165038"/>
                </a:cubicBezTo>
                <a:cubicBezTo>
                  <a:pt x="3632233" y="169326"/>
                  <a:pt x="3632233" y="173714"/>
                  <a:pt x="3632233" y="178102"/>
                </a:cubicBezTo>
                <a:cubicBezTo>
                  <a:pt x="3635285" y="178102"/>
                  <a:pt x="3638336" y="178102"/>
                  <a:pt x="3641387" y="178102"/>
                </a:cubicBezTo>
                <a:close/>
                <a:moveTo>
                  <a:pt x="3673506" y="53652"/>
                </a:moveTo>
                <a:cubicBezTo>
                  <a:pt x="3673506" y="49264"/>
                  <a:pt x="3673506" y="44976"/>
                  <a:pt x="3673506" y="40588"/>
                </a:cubicBezTo>
                <a:cubicBezTo>
                  <a:pt x="3670454" y="40588"/>
                  <a:pt x="3667403" y="40588"/>
                  <a:pt x="3664300" y="40588"/>
                </a:cubicBezTo>
                <a:cubicBezTo>
                  <a:pt x="3664300" y="44976"/>
                  <a:pt x="3664300" y="49264"/>
                  <a:pt x="3664300" y="53652"/>
                </a:cubicBezTo>
                <a:cubicBezTo>
                  <a:pt x="3667351" y="53652"/>
                  <a:pt x="3670402" y="53652"/>
                  <a:pt x="3673506" y="53652"/>
                </a:cubicBezTo>
                <a:close/>
                <a:moveTo>
                  <a:pt x="3682660" y="125649"/>
                </a:moveTo>
                <a:cubicBezTo>
                  <a:pt x="3682660" y="121262"/>
                  <a:pt x="3682660" y="116973"/>
                  <a:pt x="3682660" y="112586"/>
                </a:cubicBezTo>
                <a:cubicBezTo>
                  <a:pt x="3679661" y="112586"/>
                  <a:pt x="3676609" y="112586"/>
                  <a:pt x="3673506" y="112586"/>
                </a:cubicBezTo>
                <a:cubicBezTo>
                  <a:pt x="3673506" y="116973"/>
                  <a:pt x="3673506" y="121262"/>
                  <a:pt x="3673506" y="125649"/>
                </a:cubicBezTo>
                <a:cubicBezTo>
                  <a:pt x="3676557" y="125649"/>
                  <a:pt x="3679608" y="125649"/>
                  <a:pt x="3682660" y="125649"/>
                </a:cubicBezTo>
                <a:close/>
                <a:moveTo>
                  <a:pt x="3705675" y="92942"/>
                </a:moveTo>
                <a:cubicBezTo>
                  <a:pt x="3705469" y="57042"/>
                  <a:pt x="3681419" y="80575"/>
                  <a:pt x="3664403" y="79878"/>
                </a:cubicBezTo>
                <a:cubicBezTo>
                  <a:pt x="3648991" y="79180"/>
                  <a:pt x="3640353" y="76088"/>
                  <a:pt x="3627682" y="73296"/>
                </a:cubicBezTo>
                <a:cubicBezTo>
                  <a:pt x="3628096" y="83567"/>
                  <a:pt x="3627010" y="96032"/>
                  <a:pt x="3636836" y="92942"/>
                </a:cubicBezTo>
                <a:cubicBezTo>
                  <a:pt x="3661765" y="85063"/>
                  <a:pt x="3674385" y="95633"/>
                  <a:pt x="3705675" y="92942"/>
                </a:cubicBezTo>
                <a:close/>
                <a:moveTo>
                  <a:pt x="3741052" y="249003"/>
                </a:moveTo>
                <a:lnTo>
                  <a:pt x="3720105" y="249003"/>
                </a:lnTo>
                <a:cubicBezTo>
                  <a:pt x="3724657" y="246809"/>
                  <a:pt x="3727242" y="242322"/>
                  <a:pt x="3733190" y="243618"/>
                </a:cubicBezTo>
                <a:cubicBezTo>
                  <a:pt x="3735983" y="244117"/>
                  <a:pt x="3738673" y="246310"/>
                  <a:pt x="3741052" y="249003"/>
                </a:cubicBezTo>
                <a:close/>
                <a:moveTo>
                  <a:pt x="3766860" y="249003"/>
                </a:moveTo>
                <a:lnTo>
                  <a:pt x="3758481" y="249003"/>
                </a:lnTo>
                <a:cubicBezTo>
                  <a:pt x="3759154" y="243119"/>
                  <a:pt x="3759309" y="238632"/>
                  <a:pt x="3760705" y="243618"/>
                </a:cubicBezTo>
                <a:cubicBezTo>
                  <a:pt x="3760447" y="249900"/>
                  <a:pt x="3763705" y="248704"/>
                  <a:pt x="3766860" y="249003"/>
                </a:cubicBezTo>
                <a:close/>
                <a:moveTo>
                  <a:pt x="3769860" y="164939"/>
                </a:moveTo>
                <a:cubicBezTo>
                  <a:pt x="3762981" y="159654"/>
                  <a:pt x="3754137" y="172718"/>
                  <a:pt x="3751499" y="171521"/>
                </a:cubicBezTo>
                <a:cubicBezTo>
                  <a:pt x="3746172" y="169027"/>
                  <a:pt x="3752379" y="150579"/>
                  <a:pt x="3742293" y="164939"/>
                </a:cubicBezTo>
                <a:cubicBezTo>
                  <a:pt x="3737587" y="171620"/>
                  <a:pt x="3714830" y="162546"/>
                  <a:pt x="3705572" y="164939"/>
                </a:cubicBezTo>
                <a:cubicBezTo>
                  <a:pt x="3699728" y="166534"/>
                  <a:pt x="3699314" y="171720"/>
                  <a:pt x="3691866" y="171521"/>
                </a:cubicBezTo>
                <a:cubicBezTo>
                  <a:pt x="3684004" y="171321"/>
                  <a:pt x="3669885" y="157859"/>
                  <a:pt x="3659748" y="164939"/>
                </a:cubicBezTo>
                <a:cubicBezTo>
                  <a:pt x="3656645" y="194057"/>
                  <a:pt x="3675471" y="177105"/>
                  <a:pt x="3682712" y="178002"/>
                </a:cubicBezTo>
                <a:cubicBezTo>
                  <a:pt x="3687263" y="178600"/>
                  <a:pt x="3688142" y="184085"/>
                  <a:pt x="3691866" y="184584"/>
                </a:cubicBezTo>
                <a:cubicBezTo>
                  <a:pt x="3690728" y="184484"/>
                  <a:pt x="3694038" y="178501"/>
                  <a:pt x="3696469" y="178002"/>
                </a:cubicBezTo>
                <a:cubicBezTo>
                  <a:pt x="3700244" y="177304"/>
                  <a:pt x="3703089" y="185880"/>
                  <a:pt x="3705623" y="184584"/>
                </a:cubicBezTo>
                <a:cubicBezTo>
                  <a:pt x="3708158" y="183287"/>
                  <a:pt x="3709555" y="169725"/>
                  <a:pt x="3714778" y="171521"/>
                </a:cubicBezTo>
                <a:cubicBezTo>
                  <a:pt x="3714054" y="182689"/>
                  <a:pt x="3724036" y="174014"/>
                  <a:pt x="3728587" y="178102"/>
                </a:cubicBezTo>
                <a:cubicBezTo>
                  <a:pt x="3731483" y="180695"/>
                  <a:pt x="3728122" y="197747"/>
                  <a:pt x="3737742" y="191165"/>
                </a:cubicBezTo>
                <a:cubicBezTo>
                  <a:pt x="3733759" y="166036"/>
                  <a:pt x="3768929" y="197148"/>
                  <a:pt x="3769860" y="164939"/>
                </a:cubicBezTo>
                <a:close/>
                <a:moveTo>
                  <a:pt x="3769911" y="217292"/>
                </a:moveTo>
                <a:cubicBezTo>
                  <a:pt x="3765309" y="217292"/>
                  <a:pt x="3760757" y="217292"/>
                  <a:pt x="3756154" y="217292"/>
                </a:cubicBezTo>
                <a:cubicBezTo>
                  <a:pt x="3752585" y="218788"/>
                  <a:pt x="3747103" y="217491"/>
                  <a:pt x="3746948" y="223874"/>
                </a:cubicBezTo>
                <a:cubicBezTo>
                  <a:pt x="3753620" y="220283"/>
                  <a:pt x="3770687" y="231552"/>
                  <a:pt x="3769911" y="217292"/>
                </a:cubicBezTo>
                <a:close/>
                <a:moveTo>
                  <a:pt x="3774657" y="139024"/>
                </a:moveTo>
                <a:cubicBezTo>
                  <a:pt x="3775096" y="133103"/>
                  <a:pt x="3773946" y="124901"/>
                  <a:pt x="3774463" y="119067"/>
                </a:cubicBezTo>
                <a:cubicBezTo>
                  <a:pt x="3754550" y="124254"/>
                  <a:pt x="3741207" y="100818"/>
                  <a:pt x="3737742" y="132131"/>
                </a:cubicBezTo>
                <a:cubicBezTo>
                  <a:pt x="3748499" y="130037"/>
                  <a:pt x="3754964" y="121760"/>
                  <a:pt x="3769860" y="125550"/>
                </a:cubicBezTo>
                <a:cubicBezTo>
                  <a:pt x="3769653" y="134026"/>
                  <a:pt x="3764015" y="134724"/>
                  <a:pt x="3765309" y="145295"/>
                </a:cubicBezTo>
                <a:cubicBezTo>
                  <a:pt x="3772187" y="148585"/>
                  <a:pt x="3774217" y="144945"/>
                  <a:pt x="3774657" y="139024"/>
                </a:cubicBezTo>
                <a:close/>
                <a:moveTo>
                  <a:pt x="3792823" y="86459"/>
                </a:moveTo>
                <a:cubicBezTo>
                  <a:pt x="3785945" y="84565"/>
                  <a:pt x="3773480" y="58238"/>
                  <a:pt x="3769911" y="73296"/>
                </a:cubicBezTo>
                <a:cubicBezTo>
                  <a:pt x="3772705" y="73695"/>
                  <a:pt x="3775342" y="74294"/>
                  <a:pt x="3774514" y="79878"/>
                </a:cubicBezTo>
                <a:cubicBezTo>
                  <a:pt x="3762774" y="67712"/>
                  <a:pt x="3752223" y="80277"/>
                  <a:pt x="3746948" y="79878"/>
                </a:cubicBezTo>
                <a:cubicBezTo>
                  <a:pt x="3744517" y="79678"/>
                  <a:pt x="3744672" y="71302"/>
                  <a:pt x="3737742" y="73296"/>
                </a:cubicBezTo>
                <a:cubicBezTo>
                  <a:pt x="3738259" y="73197"/>
                  <a:pt x="3734949" y="78880"/>
                  <a:pt x="3733138" y="79878"/>
                </a:cubicBezTo>
                <a:cubicBezTo>
                  <a:pt x="3729725" y="81873"/>
                  <a:pt x="3723984" y="79678"/>
                  <a:pt x="3723984" y="86459"/>
                </a:cubicBezTo>
                <a:cubicBezTo>
                  <a:pt x="3744983" y="92543"/>
                  <a:pt x="3778807" y="107799"/>
                  <a:pt x="3792823" y="86459"/>
                </a:cubicBezTo>
                <a:close/>
                <a:moveTo>
                  <a:pt x="3797426" y="119168"/>
                </a:moveTo>
                <a:cubicBezTo>
                  <a:pt x="3794375" y="119168"/>
                  <a:pt x="3791271" y="119168"/>
                  <a:pt x="3788272" y="119168"/>
                </a:cubicBezTo>
                <a:cubicBezTo>
                  <a:pt x="3763136" y="117372"/>
                  <a:pt x="3798357" y="137615"/>
                  <a:pt x="3797426" y="119168"/>
                </a:cubicBezTo>
                <a:close/>
                <a:moveTo>
                  <a:pt x="3801098" y="249003"/>
                </a:moveTo>
                <a:lnTo>
                  <a:pt x="3781652" y="249003"/>
                </a:lnTo>
                <a:cubicBezTo>
                  <a:pt x="3785427" y="241425"/>
                  <a:pt x="3792875" y="246511"/>
                  <a:pt x="3801098" y="249003"/>
                </a:cubicBezTo>
                <a:close/>
                <a:moveTo>
                  <a:pt x="3815787" y="79878"/>
                </a:moveTo>
                <a:cubicBezTo>
                  <a:pt x="3812735" y="79878"/>
                  <a:pt x="3809684" y="79878"/>
                  <a:pt x="3806632" y="79878"/>
                </a:cubicBezTo>
                <a:cubicBezTo>
                  <a:pt x="3806632" y="86459"/>
                  <a:pt x="3802909" y="87655"/>
                  <a:pt x="3802029" y="92942"/>
                </a:cubicBezTo>
                <a:cubicBezTo>
                  <a:pt x="3809219" y="92343"/>
                  <a:pt x="3817907" y="93839"/>
                  <a:pt x="3815787" y="79878"/>
                </a:cubicBezTo>
                <a:close/>
                <a:moveTo>
                  <a:pt x="3820390" y="184584"/>
                </a:moveTo>
                <a:cubicBezTo>
                  <a:pt x="3821270" y="171920"/>
                  <a:pt x="3817183" y="175111"/>
                  <a:pt x="3811236" y="171521"/>
                </a:cubicBezTo>
                <a:cubicBezTo>
                  <a:pt x="3796547" y="162546"/>
                  <a:pt x="3800633" y="171321"/>
                  <a:pt x="3788324" y="171521"/>
                </a:cubicBezTo>
                <a:cubicBezTo>
                  <a:pt x="3788013" y="167532"/>
                  <a:pt x="3787548" y="163742"/>
                  <a:pt x="3783669" y="164939"/>
                </a:cubicBezTo>
                <a:cubicBezTo>
                  <a:pt x="3780048" y="208816"/>
                  <a:pt x="3811960" y="162945"/>
                  <a:pt x="3820390" y="184584"/>
                </a:cubicBezTo>
                <a:close/>
                <a:moveTo>
                  <a:pt x="3824993" y="119168"/>
                </a:moveTo>
                <a:cubicBezTo>
                  <a:pt x="3821942" y="119168"/>
                  <a:pt x="3818890" y="119168"/>
                  <a:pt x="3815839" y="119168"/>
                </a:cubicBezTo>
                <a:cubicBezTo>
                  <a:pt x="3790651" y="117372"/>
                  <a:pt x="3825872" y="137615"/>
                  <a:pt x="3824993" y="119168"/>
                </a:cubicBezTo>
                <a:close/>
                <a:moveTo>
                  <a:pt x="3831820" y="249003"/>
                </a:moveTo>
                <a:lnTo>
                  <a:pt x="3824787" y="249003"/>
                </a:lnTo>
                <a:cubicBezTo>
                  <a:pt x="3832389" y="246610"/>
                  <a:pt x="3832958" y="244117"/>
                  <a:pt x="3831820" y="249003"/>
                </a:cubicBezTo>
                <a:close/>
                <a:moveTo>
                  <a:pt x="3870868" y="171521"/>
                </a:moveTo>
                <a:cubicBezTo>
                  <a:pt x="3866265" y="171521"/>
                  <a:pt x="3861663" y="171521"/>
                  <a:pt x="3857111" y="171521"/>
                </a:cubicBezTo>
                <a:cubicBezTo>
                  <a:pt x="3851732" y="172517"/>
                  <a:pt x="3844078" y="170424"/>
                  <a:pt x="3843354" y="178102"/>
                </a:cubicBezTo>
                <a:cubicBezTo>
                  <a:pt x="3851370" y="174313"/>
                  <a:pt x="3870300" y="185980"/>
                  <a:pt x="3870868" y="171521"/>
                </a:cubicBezTo>
                <a:close/>
                <a:moveTo>
                  <a:pt x="3944311" y="92942"/>
                </a:moveTo>
                <a:cubicBezTo>
                  <a:pt x="3932932" y="84165"/>
                  <a:pt x="3895849" y="80575"/>
                  <a:pt x="3889229" y="92942"/>
                </a:cubicBezTo>
                <a:cubicBezTo>
                  <a:pt x="3895436" y="101916"/>
                  <a:pt x="3897401" y="92343"/>
                  <a:pt x="3902986" y="92942"/>
                </a:cubicBezTo>
                <a:cubicBezTo>
                  <a:pt x="3915244" y="94238"/>
                  <a:pt x="3934846" y="109196"/>
                  <a:pt x="3944311" y="92942"/>
                </a:cubicBezTo>
                <a:close/>
                <a:moveTo>
                  <a:pt x="3944311" y="178102"/>
                </a:moveTo>
                <a:cubicBezTo>
                  <a:pt x="3941259" y="178102"/>
                  <a:pt x="3938208" y="178102"/>
                  <a:pt x="3935104" y="178102"/>
                </a:cubicBezTo>
                <a:cubicBezTo>
                  <a:pt x="3909969" y="176307"/>
                  <a:pt x="3945190" y="196551"/>
                  <a:pt x="3944311" y="178102"/>
                </a:cubicBezTo>
                <a:close/>
                <a:moveTo>
                  <a:pt x="3953413" y="132231"/>
                </a:moveTo>
                <a:cubicBezTo>
                  <a:pt x="3942862" y="123555"/>
                  <a:pt x="3938673" y="131832"/>
                  <a:pt x="3935104" y="125649"/>
                </a:cubicBezTo>
                <a:cubicBezTo>
                  <a:pt x="3932415" y="120962"/>
                  <a:pt x="3906245" y="124353"/>
                  <a:pt x="3912141" y="132231"/>
                </a:cubicBezTo>
                <a:cubicBezTo>
                  <a:pt x="3924812" y="129937"/>
                  <a:pt x="3944362" y="151078"/>
                  <a:pt x="3953413" y="132231"/>
                </a:cubicBezTo>
                <a:close/>
                <a:moveTo>
                  <a:pt x="3976429" y="66815"/>
                </a:moveTo>
                <a:cubicBezTo>
                  <a:pt x="3971515" y="63324"/>
                  <a:pt x="3960241" y="62028"/>
                  <a:pt x="3953465" y="73296"/>
                </a:cubicBezTo>
                <a:cubicBezTo>
                  <a:pt x="3966085" y="85961"/>
                  <a:pt x="3978497" y="68210"/>
                  <a:pt x="3976429" y="66815"/>
                </a:cubicBezTo>
                <a:close/>
                <a:moveTo>
                  <a:pt x="3985583" y="106005"/>
                </a:moveTo>
                <a:cubicBezTo>
                  <a:pt x="3984807" y="85363"/>
                  <a:pt x="3967429" y="88254"/>
                  <a:pt x="3953465" y="86359"/>
                </a:cubicBezTo>
                <a:cubicBezTo>
                  <a:pt x="3953672" y="95335"/>
                  <a:pt x="3951293" y="100719"/>
                  <a:pt x="3948914" y="106005"/>
                </a:cubicBezTo>
                <a:cubicBezTo>
                  <a:pt x="3962257" y="113084"/>
                  <a:pt x="3966136" y="107601"/>
                  <a:pt x="3985583" y="106005"/>
                </a:cubicBezTo>
                <a:close/>
                <a:moveTo>
                  <a:pt x="4022304" y="236936"/>
                </a:moveTo>
                <a:cubicBezTo>
                  <a:pt x="4022304" y="232649"/>
                  <a:pt x="4022304" y="228262"/>
                  <a:pt x="4022304" y="223874"/>
                </a:cubicBezTo>
                <a:cubicBezTo>
                  <a:pt x="4019253" y="223874"/>
                  <a:pt x="4016202" y="223874"/>
                  <a:pt x="4013150" y="223874"/>
                </a:cubicBezTo>
                <a:cubicBezTo>
                  <a:pt x="4013150" y="228262"/>
                  <a:pt x="4013150" y="232649"/>
                  <a:pt x="4013150" y="236936"/>
                </a:cubicBezTo>
                <a:cubicBezTo>
                  <a:pt x="4016202" y="236936"/>
                  <a:pt x="4019253" y="236936"/>
                  <a:pt x="4022304" y="236936"/>
                </a:cubicBezTo>
                <a:close/>
                <a:moveTo>
                  <a:pt x="4026907" y="79878"/>
                </a:moveTo>
                <a:cubicBezTo>
                  <a:pt x="4026907" y="75491"/>
                  <a:pt x="4026907" y="71103"/>
                  <a:pt x="4026907" y="66815"/>
                </a:cubicBezTo>
                <a:cubicBezTo>
                  <a:pt x="4023856" y="66815"/>
                  <a:pt x="4020752" y="66815"/>
                  <a:pt x="4017701" y="66815"/>
                </a:cubicBezTo>
                <a:cubicBezTo>
                  <a:pt x="4017701" y="71202"/>
                  <a:pt x="4017701" y="75491"/>
                  <a:pt x="4017701" y="79878"/>
                </a:cubicBezTo>
                <a:cubicBezTo>
                  <a:pt x="4020752" y="79878"/>
                  <a:pt x="4023804" y="79878"/>
                  <a:pt x="4026907" y="79878"/>
                </a:cubicBezTo>
                <a:close/>
                <a:moveTo>
                  <a:pt x="4054422" y="138713"/>
                </a:moveTo>
                <a:cubicBezTo>
                  <a:pt x="4040717" y="140507"/>
                  <a:pt x="4026494" y="120464"/>
                  <a:pt x="4022304" y="145295"/>
                </a:cubicBezTo>
                <a:cubicBezTo>
                  <a:pt x="4031821" y="141405"/>
                  <a:pt x="4052457" y="153372"/>
                  <a:pt x="4054422" y="138713"/>
                </a:cubicBezTo>
                <a:close/>
                <a:moveTo>
                  <a:pt x="4115917" y="150230"/>
                </a:moveTo>
                <a:cubicBezTo>
                  <a:pt x="4115723" y="144721"/>
                  <a:pt x="4111857" y="139760"/>
                  <a:pt x="4104901" y="151875"/>
                </a:cubicBezTo>
                <a:cubicBezTo>
                  <a:pt x="4112633" y="161797"/>
                  <a:pt x="4116111" y="155740"/>
                  <a:pt x="4115917" y="150230"/>
                </a:cubicBezTo>
                <a:close/>
                <a:moveTo>
                  <a:pt x="4132467" y="158357"/>
                </a:moveTo>
                <a:cubicBezTo>
                  <a:pt x="4132467" y="154070"/>
                  <a:pt x="4132467" y="149682"/>
                  <a:pt x="4132467" y="145295"/>
                </a:cubicBezTo>
                <a:cubicBezTo>
                  <a:pt x="4129416" y="145295"/>
                  <a:pt x="4126365" y="145295"/>
                  <a:pt x="4123313" y="145295"/>
                </a:cubicBezTo>
                <a:cubicBezTo>
                  <a:pt x="4123313" y="149682"/>
                  <a:pt x="4123313" y="154070"/>
                  <a:pt x="4123313" y="158357"/>
                </a:cubicBezTo>
                <a:cubicBezTo>
                  <a:pt x="4126365" y="158357"/>
                  <a:pt x="4129416" y="158357"/>
                  <a:pt x="4132467" y="158357"/>
                </a:cubicBezTo>
                <a:close/>
                <a:moveTo>
                  <a:pt x="4700307" y="11598562"/>
                </a:moveTo>
                <a:cubicBezTo>
                  <a:pt x="4700096" y="11625425"/>
                  <a:pt x="4694016" y="11638252"/>
                  <a:pt x="4697972" y="11569520"/>
                </a:cubicBezTo>
                <a:cubicBezTo>
                  <a:pt x="4699795" y="11579093"/>
                  <a:pt x="4700377" y="11589607"/>
                  <a:pt x="4700307" y="11598562"/>
                </a:cubicBezTo>
                <a:close/>
                <a:moveTo>
                  <a:pt x="4705728" y="11382598"/>
                </a:moveTo>
                <a:cubicBezTo>
                  <a:pt x="4704870" y="11402633"/>
                  <a:pt x="4701786" y="11406877"/>
                  <a:pt x="4700972" y="11427220"/>
                </a:cubicBezTo>
                <a:cubicBezTo>
                  <a:pt x="4692439" y="11428316"/>
                  <a:pt x="4700972" y="11340563"/>
                  <a:pt x="4697299" y="11341659"/>
                </a:cubicBezTo>
                <a:cubicBezTo>
                  <a:pt x="4700972" y="11289706"/>
                  <a:pt x="4700247" y="11374867"/>
                  <a:pt x="4705678" y="11356119"/>
                </a:cubicBezTo>
                <a:cubicBezTo>
                  <a:pt x="4706053" y="11367487"/>
                  <a:pt x="4706014" y="11375920"/>
                  <a:pt x="4705728" y="11382598"/>
                </a:cubicBezTo>
                <a:close/>
                <a:moveTo>
                  <a:pt x="4706919" y="10516278"/>
                </a:moveTo>
                <a:lnTo>
                  <a:pt x="4706713" y="10544698"/>
                </a:lnTo>
                <a:lnTo>
                  <a:pt x="4702472" y="10544598"/>
                </a:lnTo>
                <a:lnTo>
                  <a:pt x="4702679" y="10516178"/>
                </a:lnTo>
                <a:close/>
                <a:moveTo>
                  <a:pt x="4708387" y="10980851"/>
                </a:moveTo>
                <a:cubicBezTo>
                  <a:pt x="4706794" y="10991929"/>
                  <a:pt x="4701179" y="10974541"/>
                  <a:pt x="4701644" y="11000118"/>
                </a:cubicBezTo>
                <a:cubicBezTo>
                  <a:pt x="4695593" y="10984163"/>
                  <a:pt x="4704644" y="10953948"/>
                  <a:pt x="4708265" y="10957638"/>
                </a:cubicBezTo>
                <a:cubicBezTo>
                  <a:pt x="4709002" y="10970302"/>
                  <a:pt x="4708918" y="10977158"/>
                  <a:pt x="4708387" y="10980851"/>
                </a:cubicBezTo>
                <a:close/>
                <a:moveTo>
                  <a:pt x="4713850" y="10744238"/>
                </a:moveTo>
                <a:cubicBezTo>
                  <a:pt x="4711937" y="10733766"/>
                  <a:pt x="4710850" y="10718310"/>
                  <a:pt x="4709919" y="10701458"/>
                </a:cubicBezTo>
                <a:cubicBezTo>
                  <a:pt x="4711057" y="10665658"/>
                  <a:pt x="4714315" y="10725191"/>
                  <a:pt x="4713850" y="10744238"/>
                </a:cubicBezTo>
                <a:close/>
                <a:moveTo>
                  <a:pt x="4715764" y="10772758"/>
                </a:moveTo>
                <a:cubicBezTo>
                  <a:pt x="4714160" y="10800878"/>
                  <a:pt x="4709919" y="10810550"/>
                  <a:pt x="4704954" y="10815239"/>
                </a:cubicBezTo>
                <a:cubicBezTo>
                  <a:pt x="4704282" y="10785422"/>
                  <a:pt x="4706661" y="10777543"/>
                  <a:pt x="4707436" y="10758298"/>
                </a:cubicBezTo>
                <a:cubicBezTo>
                  <a:pt x="4709816" y="10761090"/>
                  <a:pt x="4708523" y="10772657"/>
                  <a:pt x="4707334" y="10772558"/>
                </a:cubicBezTo>
                <a:cubicBezTo>
                  <a:pt x="4708109" y="10793200"/>
                  <a:pt x="4709195" y="10771161"/>
                  <a:pt x="4711523" y="10772657"/>
                </a:cubicBezTo>
                <a:cubicBezTo>
                  <a:pt x="4712609" y="10752015"/>
                  <a:pt x="4713384" y="10774153"/>
                  <a:pt x="4715764" y="10772758"/>
                </a:cubicBezTo>
                <a:close/>
                <a:moveTo>
                  <a:pt x="4717368" y="10530837"/>
                </a:moveTo>
                <a:lnTo>
                  <a:pt x="4717160" y="10559256"/>
                </a:lnTo>
                <a:lnTo>
                  <a:pt x="4712919" y="10559157"/>
                </a:lnTo>
                <a:lnTo>
                  <a:pt x="4713126" y="10530737"/>
                </a:lnTo>
                <a:close/>
                <a:moveTo>
                  <a:pt x="4720522" y="11342258"/>
                </a:moveTo>
                <a:cubicBezTo>
                  <a:pt x="4722229" y="11399697"/>
                  <a:pt x="4707540" y="11399298"/>
                  <a:pt x="4709971" y="11341958"/>
                </a:cubicBezTo>
                <a:cubicBezTo>
                  <a:pt x="4714160" y="11315432"/>
                  <a:pt x="4715298" y="11340563"/>
                  <a:pt x="4720522" y="11342258"/>
                </a:cubicBezTo>
                <a:close/>
                <a:moveTo>
                  <a:pt x="4722125" y="10445576"/>
                </a:moveTo>
                <a:cubicBezTo>
                  <a:pt x="4722900" y="10472899"/>
                  <a:pt x="4720108" y="10468311"/>
                  <a:pt x="4717729" y="10473897"/>
                </a:cubicBezTo>
                <a:cubicBezTo>
                  <a:pt x="4714160" y="10482073"/>
                  <a:pt x="4705834" y="10497131"/>
                  <a:pt x="4707436" y="10430917"/>
                </a:cubicBezTo>
                <a:cubicBezTo>
                  <a:pt x="4710333" y="10411670"/>
                  <a:pt x="4710695" y="10428523"/>
                  <a:pt x="4713746" y="10431117"/>
                </a:cubicBezTo>
                <a:cubicBezTo>
                  <a:pt x="4717057" y="10433909"/>
                  <a:pt x="4721919" y="10423338"/>
                  <a:pt x="4722125" y="10445576"/>
                </a:cubicBezTo>
                <a:close/>
                <a:moveTo>
                  <a:pt x="4724288" y="11079379"/>
                </a:moveTo>
                <a:cubicBezTo>
                  <a:pt x="4724375" y="11083864"/>
                  <a:pt x="4724375" y="11090689"/>
                  <a:pt x="4724246" y="11100437"/>
                </a:cubicBezTo>
                <a:lnTo>
                  <a:pt x="4724039" y="11128858"/>
                </a:lnTo>
                <a:cubicBezTo>
                  <a:pt x="4718789" y="11131213"/>
                  <a:pt x="4723677" y="11047982"/>
                  <a:pt x="4724288" y="11079379"/>
                </a:cubicBezTo>
                <a:close/>
                <a:moveTo>
                  <a:pt x="4724913" y="10262664"/>
                </a:moveTo>
                <a:cubicBezTo>
                  <a:pt x="4725190" y="10268292"/>
                  <a:pt x="4724828" y="10276974"/>
                  <a:pt x="4723160" y="10288915"/>
                </a:cubicBezTo>
                <a:cubicBezTo>
                  <a:pt x="4717496" y="10256381"/>
                  <a:pt x="4724081" y="10245780"/>
                  <a:pt x="4724913" y="10262664"/>
                </a:cubicBezTo>
                <a:close/>
                <a:moveTo>
                  <a:pt x="4726005" y="11157377"/>
                </a:moveTo>
                <a:lnTo>
                  <a:pt x="4725746" y="11200057"/>
                </a:lnTo>
                <a:lnTo>
                  <a:pt x="4719384" y="11199857"/>
                </a:lnTo>
                <a:lnTo>
                  <a:pt x="4719643" y="11157178"/>
                </a:lnTo>
                <a:close/>
                <a:moveTo>
                  <a:pt x="4736349" y="9876275"/>
                </a:moveTo>
                <a:lnTo>
                  <a:pt x="4735986" y="9933214"/>
                </a:lnTo>
                <a:cubicBezTo>
                  <a:pt x="4731073" y="9890434"/>
                  <a:pt x="4723418" y="9935806"/>
                  <a:pt x="4721505" y="9890235"/>
                </a:cubicBezTo>
                <a:cubicBezTo>
                  <a:pt x="4714315" y="9895819"/>
                  <a:pt x="4726780" y="9945579"/>
                  <a:pt x="4717005" y="9932815"/>
                </a:cubicBezTo>
                <a:cubicBezTo>
                  <a:pt x="4718816" y="9889337"/>
                  <a:pt x="4713644" y="9890932"/>
                  <a:pt x="4715401" y="9847255"/>
                </a:cubicBezTo>
                <a:cubicBezTo>
                  <a:pt x="4724039" y="9846459"/>
                  <a:pt x="4725125" y="9893924"/>
                  <a:pt x="4736349" y="9876275"/>
                </a:cubicBezTo>
                <a:close/>
                <a:moveTo>
                  <a:pt x="4736349" y="11513577"/>
                </a:moveTo>
                <a:cubicBezTo>
                  <a:pt x="4734435" y="11570219"/>
                  <a:pt x="4734435" y="11570818"/>
                  <a:pt x="4735624" y="11627458"/>
                </a:cubicBezTo>
                <a:cubicBezTo>
                  <a:pt x="4730659" y="11626958"/>
                  <a:pt x="4729210" y="11651789"/>
                  <a:pt x="4722849" y="11641319"/>
                </a:cubicBezTo>
                <a:cubicBezTo>
                  <a:pt x="4722384" y="11563835"/>
                  <a:pt x="4723573" y="11497922"/>
                  <a:pt x="4736349" y="11513577"/>
                </a:cubicBezTo>
                <a:close/>
                <a:moveTo>
                  <a:pt x="4736723" y="11231992"/>
                </a:moveTo>
                <a:cubicBezTo>
                  <a:pt x="4737758" y="11238075"/>
                  <a:pt x="4738210" y="11243086"/>
                  <a:pt x="4735934" y="11243036"/>
                </a:cubicBezTo>
                <a:cubicBezTo>
                  <a:pt x="4733142" y="11242937"/>
                  <a:pt x="4727866" y="11187492"/>
                  <a:pt x="4736297" y="11186097"/>
                </a:cubicBezTo>
                <a:cubicBezTo>
                  <a:pt x="4736039" y="11197464"/>
                  <a:pt x="4733866" y="11200456"/>
                  <a:pt x="4734021" y="11214516"/>
                </a:cubicBezTo>
                <a:cubicBezTo>
                  <a:pt x="4734072" y="11218754"/>
                  <a:pt x="4735689" y="11225909"/>
                  <a:pt x="4736723" y="11231992"/>
                </a:cubicBezTo>
                <a:close/>
                <a:moveTo>
                  <a:pt x="4749071" y="8567050"/>
                </a:moveTo>
                <a:cubicBezTo>
                  <a:pt x="4742244" y="8523572"/>
                  <a:pt x="4742296" y="8619503"/>
                  <a:pt x="4749071" y="8567050"/>
                </a:cubicBezTo>
                <a:close/>
                <a:moveTo>
                  <a:pt x="4755278" y="8772921"/>
                </a:moveTo>
                <a:cubicBezTo>
                  <a:pt x="4755627" y="8767212"/>
                  <a:pt x="4755562" y="8761703"/>
                  <a:pt x="4754192" y="8752130"/>
                </a:cubicBezTo>
                <a:cubicBezTo>
                  <a:pt x="4748916" y="8749637"/>
                  <a:pt x="4747416" y="8773869"/>
                  <a:pt x="4745451" y="8794611"/>
                </a:cubicBezTo>
                <a:cubicBezTo>
                  <a:pt x="4751089" y="8790223"/>
                  <a:pt x="4742968" y="8874287"/>
                  <a:pt x="4751398" y="8851750"/>
                </a:cubicBezTo>
                <a:cubicBezTo>
                  <a:pt x="4754708" y="8849357"/>
                  <a:pt x="4753312" y="8817247"/>
                  <a:pt x="4753881" y="8794910"/>
                </a:cubicBezTo>
                <a:cubicBezTo>
                  <a:pt x="4754166" y="8784538"/>
                  <a:pt x="4754929" y="8778630"/>
                  <a:pt x="4755278" y="8772921"/>
                </a:cubicBezTo>
                <a:close/>
                <a:moveTo>
                  <a:pt x="4758071" y="8481789"/>
                </a:moveTo>
                <a:cubicBezTo>
                  <a:pt x="4750002" y="8497845"/>
                  <a:pt x="4748554" y="8467928"/>
                  <a:pt x="4745193" y="8509910"/>
                </a:cubicBezTo>
                <a:cubicBezTo>
                  <a:pt x="4750106" y="8505523"/>
                  <a:pt x="4753260" y="8512403"/>
                  <a:pt x="4755640" y="8524469"/>
                </a:cubicBezTo>
                <a:cubicBezTo>
                  <a:pt x="4755691" y="8504825"/>
                  <a:pt x="4756881" y="8493156"/>
                  <a:pt x="4758071" y="8481789"/>
                </a:cubicBezTo>
                <a:close/>
                <a:moveTo>
                  <a:pt x="4759241" y="11277701"/>
                </a:moveTo>
                <a:cubicBezTo>
                  <a:pt x="4759351" y="11292124"/>
                  <a:pt x="4758614" y="11309451"/>
                  <a:pt x="4758640" y="11314936"/>
                </a:cubicBezTo>
                <a:cubicBezTo>
                  <a:pt x="4758846" y="11347941"/>
                  <a:pt x="4759053" y="11393215"/>
                  <a:pt x="4755898" y="11414455"/>
                </a:cubicBezTo>
                <a:cubicBezTo>
                  <a:pt x="4752795" y="11435496"/>
                  <a:pt x="4755795" y="11434998"/>
                  <a:pt x="4755640" y="11457136"/>
                </a:cubicBezTo>
                <a:cubicBezTo>
                  <a:pt x="4755588" y="11467406"/>
                  <a:pt x="4753726" y="11472891"/>
                  <a:pt x="4753364" y="11485555"/>
                </a:cubicBezTo>
                <a:cubicBezTo>
                  <a:pt x="4752950" y="11500214"/>
                  <a:pt x="4754812" y="11587868"/>
                  <a:pt x="4752640" y="11599436"/>
                </a:cubicBezTo>
                <a:cubicBezTo>
                  <a:pt x="4752484" y="11600134"/>
                  <a:pt x="4750519" y="11598438"/>
                  <a:pt x="4750519" y="11599336"/>
                </a:cubicBezTo>
                <a:cubicBezTo>
                  <a:pt x="4749899" y="11620177"/>
                  <a:pt x="4752433" y="11620775"/>
                  <a:pt x="4752433" y="11627856"/>
                </a:cubicBezTo>
                <a:cubicBezTo>
                  <a:pt x="4752433" y="11639823"/>
                  <a:pt x="4750209" y="11641916"/>
                  <a:pt x="4750209" y="11642016"/>
                </a:cubicBezTo>
                <a:cubicBezTo>
                  <a:pt x="4750261" y="11666049"/>
                  <a:pt x="4753105" y="11679112"/>
                  <a:pt x="4749950" y="11684697"/>
                </a:cubicBezTo>
                <a:cubicBezTo>
                  <a:pt x="4743848" y="11686193"/>
                  <a:pt x="4748398" y="11672830"/>
                  <a:pt x="4748037" y="11656176"/>
                </a:cubicBezTo>
                <a:cubicBezTo>
                  <a:pt x="4747519" y="11633840"/>
                  <a:pt x="4744106" y="11614593"/>
                  <a:pt x="4748502" y="11584975"/>
                </a:cubicBezTo>
                <a:cubicBezTo>
                  <a:pt x="4750726" y="11570219"/>
                  <a:pt x="4748088" y="11511383"/>
                  <a:pt x="4749433" y="11442676"/>
                </a:cubicBezTo>
                <a:cubicBezTo>
                  <a:pt x="4748916" y="11423331"/>
                  <a:pt x="4744261" y="11430710"/>
                  <a:pt x="4741106" y="11428217"/>
                </a:cubicBezTo>
                <a:cubicBezTo>
                  <a:pt x="4742193" y="11398500"/>
                  <a:pt x="4739865" y="11390523"/>
                  <a:pt x="4739347" y="11371277"/>
                </a:cubicBezTo>
                <a:cubicBezTo>
                  <a:pt x="4733659" y="11359909"/>
                  <a:pt x="4737176" y="11412560"/>
                  <a:pt x="4734745" y="11428118"/>
                </a:cubicBezTo>
                <a:cubicBezTo>
                  <a:pt x="4731177" y="11451153"/>
                  <a:pt x="4738210" y="11446067"/>
                  <a:pt x="4734486" y="11470797"/>
                </a:cubicBezTo>
                <a:cubicBezTo>
                  <a:pt x="4728952" y="11479173"/>
                  <a:pt x="4726935" y="11464913"/>
                  <a:pt x="4728331" y="11428118"/>
                </a:cubicBezTo>
                <a:cubicBezTo>
                  <a:pt x="4728850" y="11367289"/>
                  <a:pt x="4731848" y="11323910"/>
                  <a:pt x="4733555" y="11271657"/>
                </a:cubicBezTo>
                <a:cubicBezTo>
                  <a:pt x="4738675" y="11288609"/>
                  <a:pt x="4746692" y="11287013"/>
                  <a:pt x="4743537" y="11357316"/>
                </a:cubicBezTo>
                <a:cubicBezTo>
                  <a:pt x="4749950" y="11367786"/>
                  <a:pt x="4749899" y="11332883"/>
                  <a:pt x="4756312" y="11343355"/>
                </a:cubicBezTo>
                <a:cubicBezTo>
                  <a:pt x="4758123" y="11299878"/>
                  <a:pt x="4754502" y="11291401"/>
                  <a:pt x="4754761" y="11257895"/>
                </a:cubicBezTo>
                <a:cubicBezTo>
                  <a:pt x="4758174" y="11251761"/>
                  <a:pt x="4759131" y="11263279"/>
                  <a:pt x="4759241" y="11277701"/>
                </a:cubicBezTo>
                <a:close/>
                <a:moveTo>
                  <a:pt x="4760973" y="6914938"/>
                </a:moveTo>
                <a:cubicBezTo>
                  <a:pt x="4759182" y="6920348"/>
                  <a:pt x="4756312" y="6921320"/>
                  <a:pt x="4755536" y="6915786"/>
                </a:cubicBezTo>
                <a:cubicBezTo>
                  <a:pt x="4754657" y="6909803"/>
                  <a:pt x="4760915" y="6898933"/>
                  <a:pt x="4759933" y="6887466"/>
                </a:cubicBezTo>
                <a:cubicBezTo>
                  <a:pt x="4763475" y="6899681"/>
                  <a:pt x="4762764" y="6909528"/>
                  <a:pt x="4760973" y="6914938"/>
                </a:cubicBezTo>
                <a:close/>
                <a:moveTo>
                  <a:pt x="4766708" y="11058754"/>
                </a:moveTo>
                <a:lnTo>
                  <a:pt x="4765777" y="11201054"/>
                </a:lnTo>
                <a:lnTo>
                  <a:pt x="4755226" y="11200754"/>
                </a:lnTo>
                <a:cubicBezTo>
                  <a:pt x="4751503" y="11170142"/>
                  <a:pt x="4754502" y="11096548"/>
                  <a:pt x="4754141" y="11044195"/>
                </a:cubicBezTo>
                <a:cubicBezTo>
                  <a:pt x="4760398" y="11065634"/>
                  <a:pt x="4762363" y="11039708"/>
                  <a:pt x="4766708" y="11058754"/>
                </a:cubicBezTo>
                <a:close/>
                <a:moveTo>
                  <a:pt x="4767432" y="10959033"/>
                </a:moveTo>
                <a:lnTo>
                  <a:pt x="4767225" y="10987455"/>
                </a:lnTo>
                <a:cubicBezTo>
                  <a:pt x="4765414" y="10984762"/>
                  <a:pt x="4765156" y="10992939"/>
                  <a:pt x="4765001" y="11001615"/>
                </a:cubicBezTo>
                <a:cubicBezTo>
                  <a:pt x="4763346" y="10994036"/>
                  <a:pt x="4761639" y="10986755"/>
                  <a:pt x="4758743" y="10987255"/>
                </a:cubicBezTo>
                <a:cubicBezTo>
                  <a:pt x="4753933" y="10995132"/>
                  <a:pt x="4761174" y="11009592"/>
                  <a:pt x="4756364" y="11029935"/>
                </a:cubicBezTo>
                <a:cubicBezTo>
                  <a:pt x="4751761" y="11032329"/>
                  <a:pt x="4755691" y="10979476"/>
                  <a:pt x="4754761" y="10958735"/>
                </a:cubicBezTo>
                <a:cubicBezTo>
                  <a:pt x="4758536" y="10986656"/>
                  <a:pt x="4762467" y="10963323"/>
                  <a:pt x="4767432" y="10959033"/>
                </a:cubicBezTo>
                <a:close/>
                <a:moveTo>
                  <a:pt x="4768259" y="8539028"/>
                </a:moveTo>
                <a:cubicBezTo>
                  <a:pt x="4756777" y="8480094"/>
                  <a:pt x="4746744" y="8686414"/>
                  <a:pt x="4767535" y="8652909"/>
                </a:cubicBezTo>
                <a:cubicBezTo>
                  <a:pt x="4767122" y="8601653"/>
                  <a:pt x="4764742" y="8584202"/>
                  <a:pt x="4768259" y="8539028"/>
                </a:cubicBezTo>
                <a:close/>
                <a:moveTo>
                  <a:pt x="4768518" y="11590462"/>
                </a:moveTo>
                <a:lnTo>
                  <a:pt x="4768311" y="11618881"/>
                </a:lnTo>
                <a:lnTo>
                  <a:pt x="4764070" y="11618782"/>
                </a:lnTo>
                <a:lnTo>
                  <a:pt x="4764276" y="11590361"/>
                </a:lnTo>
                <a:close/>
                <a:moveTo>
                  <a:pt x="4772895" y="9044546"/>
                </a:moveTo>
                <a:cubicBezTo>
                  <a:pt x="4773056" y="9035085"/>
                  <a:pt x="4772681" y="9025612"/>
                  <a:pt x="4771414" y="9023169"/>
                </a:cubicBezTo>
                <a:cubicBezTo>
                  <a:pt x="4766604" y="9013497"/>
                  <a:pt x="4766500" y="9078614"/>
                  <a:pt x="4771155" y="9065849"/>
                </a:cubicBezTo>
                <a:cubicBezTo>
                  <a:pt x="4772035" y="9063456"/>
                  <a:pt x="4772733" y="9054007"/>
                  <a:pt x="4772895" y="9044546"/>
                </a:cubicBezTo>
                <a:close/>
                <a:moveTo>
                  <a:pt x="4776742" y="11471795"/>
                </a:moveTo>
                <a:lnTo>
                  <a:pt x="4776483" y="11514575"/>
                </a:lnTo>
                <a:lnTo>
                  <a:pt x="4772241" y="11514474"/>
                </a:lnTo>
                <a:lnTo>
                  <a:pt x="4772501" y="11471694"/>
                </a:lnTo>
                <a:close/>
                <a:moveTo>
                  <a:pt x="4779172" y="11414955"/>
                </a:moveTo>
                <a:cubicBezTo>
                  <a:pt x="4775500" y="11411463"/>
                  <a:pt x="4774569" y="11390323"/>
                  <a:pt x="4775345" y="11357913"/>
                </a:cubicBezTo>
                <a:cubicBezTo>
                  <a:pt x="4779017" y="11361405"/>
                  <a:pt x="4780000" y="11382446"/>
                  <a:pt x="4779172" y="11414955"/>
                </a:cubicBezTo>
                <a:close/>
                <a:moveTo>
                  <a:pt x="4780123" y="10020792"/>
                </a:moveTo>
                <a:cubicBezTo>
                  <a:pt x="4780349" y="10045074"/>
                  <a:pt x="4779379" y="10071375"/>
                  <a:pt x="4777259" y="10076710"/>
                </a:cubicBezTo>
                <a:cubicBezTo>
                  <a:pt x="4774310" y="10124178"/>
                  <a:pt x="4779586" y="10001822"/>
                  <a:pt x="4775811" y="9976991"/>
                </a:cubicBezTo>
                <a:cubicBezTo>
                  <a:pt x="4778474" y="9974248"/>
                  <a:pt x="4779896" y="9996511"/>
                  <a:pt x="4780123" y="10020792"/>
                </a:cubicBezTo>
                <a:close/>
                <a:moveTo>
                  <a:pt x="4784609" y="8581908"/>
                </a:moveTo>
                <a:cubicBezTo>
                  <a:pt x="4783413" y="8558674"/>
                  <a:pt x="4781215" y="8540225"/>
                  <a:pt x="4778810" y="8539228"/>
                </a:cubicBezTo>
                <a:cubicBezTo>
                  <a:pt x="4777982" y="8557178"/>
                  <a:pt x="4776742" y="8559172"/>
                  <a:pt x="4776431" y="8581908"/>
                </a:cubicBezTo>
                <a:cubicBezTo>
                  <a:pt x="4776069" y="8606937"/>
                  <a:pt x="4770639" y="8626583"/>
                  <a:pt x="4769656" y="8652909"/>
                </a:cubicBezTo>
                <a:cubicBezTo>
                  <a:pt x="4769707" y="8651313"/>
                  <a:pt x="4771880" y="8667768"/>
                  <a:pt x="4771570" y="8681429"/>
                </a:cubicBezTo>
                <a:cubicBezTo>
                  <a:pt x="4771311" y="8693994"/>
                  <a:pt x="4769242" y="8699977"/>
                  <a:pt x="4769294" y="8709848"/>
                </a:cubicBezTo>
                <a:cubicBezTo>
                  <a:pt x="4769294" y="8707455"/>
                  <a:pt x="4771104" y="8717228"/>
                  <a:pt x="4771311" y="8724110"/>
                </a:cubicBezTo>
                <a:cubicBezTo>
                  <a:pt x="4772914" y="8776561"/>
                  <a:pt x="4765725" y="8765991"/>
                  <a:pt x="4770845" y="8795208"/>
                </a:cubicBezTo>
                <a:cubicBezTo>
                  <a:pt x="4771259" y="8797603"/>
                  <a:pt x="4770639" y="8819442"/>
                  <a:pt x="4770639" y="8823730"/>
                </a:cubicBezTo>
                <a:cubicBezTo>
                  <a:pt x="4771259" y="8878974"/>
                  <a:pt x="4767846" y="8878375"/>
                  <a:pt x="4767897" y="8923249"/>
                </a:cubicBezTo>
                <a:cubicBezTo>
                  <a:pt x="4767897" y="8932125"/>
                  <a:pt x="4769914" y="8939404"/>
                  <a:pt x="4769914" y="8937509"/>
                </a:cubicBezTo>
                <a:cubicBezTo>
                  <a:pt x="4769914" y="8947082"/>
                  <a:pt x="4767277" y="8960644"/>
                  <a:pt x="4767639" y="8965930"/>
                </a:cubicBezTo>
                <a:cubicBezTo>
                  <a:pt x="4769345" y="8991159"/>
                  <a:pt x="4770845" y="9001231"/>
                  <a:pt x="4775914" y="8994649"/>
                </a:cubicBezTo>
                <a:cubicBezTo>
                  <a:pt x="4774931" y="8913178"/>
                  <a:pt x="4778965" y="8867506"/>
                  <a:pt x="4779328" y="8795408"/>
                </a:cubicBezTo>
                <a:lnTo>
                  <a:pt x="4783569" y="8795508"/>
                </a:lnTo>
                <a:cubicBezTo>
                  <a:pt x="4785378" y="8756718"/>
                  <a:pt x="4779534" y="8766789"/>
                  <a:pt x="4779690" y="8738469"/>
                </a:cubicBezTo>
                <a:cubicBezTo>
                  <a:pt x="4782948" y="8738370"/>
                  <a:pt x="4786878" y="8699777"/>
                  <a:pt x="4779897" y="8710048"/>
                </a:cubicBezTo>
                <a:lnTo>
                  <a:pt x="4780155" y="8667369"/>
                </a:lnTo>
                <a:cubicBezTo>
                  <a:pt x="4778965" y="8650714"/>
                  <a:pt x="4784034" y="8657995"/>
                  <a:pt x="4784396" y="8653307"/>
                </a:cubicBezTo>
                <a:cubicBezTo>
                  <a:pt x="4785999" y="8633164"/>
                  <a:pt x="4785805" y="8605143"/>
                  <a:pt x="4784609" y="8581908"/>
                </a:cubicBezTo>
                <a:close/>
                <a:moveTo>
                  <a:pt x="4786257" y="10973791"/>
                </a:moveTo>
                <a:cubicBezTo>
                  <a:pt x="4784758" y="10992839"/>
                  <a:pt x="4781551" y="11000118"/>
                  <a:pt x="4777621" y="11002013"/>
                </a:cubicBezTo>
                <a:cubicBezTo>
                  <a:pt x="4778293" y="10976984"/>
                  <a:pt x="4781499" y="10969705"/>
                  <a:pt x="4786257" y="10973791"/>
                </a:cubicBezTo>
                <a:close/>
                <a:moveTo>
                  <a:pt x="4786413" y="8296011"/>
                </a:moveTo>
                <a:cubicBezTo>
                  <a:pt x="4785534" y="8293018"/>
                  <a:pt x="4782586" y="8287136"/>
                  <a:pt x="4782586" y="8283047"/>
                </a:cubicBezTo>
                <a:cubicBezTo>
                  <a:pt x="4782068" y="8294116"/>
                  <a:pt x="4782327" y="8311069"/>
                  <a:pt x="4780310" y="8311467"/>
                </a:cubicBezTo>
                <a:cubicBezTo>
                  <a:pt x="4778035" y="8269185"/>
                  <a:pt x="4783723" y="8183327"/>
                  <a:pt x="4779379" y="8126387"/>
                </a:cubicBezTo>
                <a:cubicBezTo>
                  <a:pt x="4768518" y="8119008"/>
                  <a:pt x="4774828" y="8233287"/>
                  <a:pt x="4770018" y="8268488"/>
                </a:cubicBezTo>
                <a:cubicBezTo>
                  <a:pt x="4771621" y="8271678"/>
                  <a:pt x="4774208" y="8268987"/>
                  <a:pt x="4774156" y="8282848"/>
                </a:cubicBezTo>
                <a:cubicBezTo>
                  <a:pt x="4769397" y="8324531"/>
                  <a:pt x="4774724" y="8337594"/>
                  <a:pt x="4771518" y="8368208"/>
                </a:cubicBezTo>
                <a:cubicBezTo>
                  <a:pt x="4767949" y="8401814"/>
                  <a:pt x="4772294" y="8437215"/>
                  <a:pt x="4768569" y="8496248"/>
                </a:cubicBezTo>
                <a:cubicBezTo>
                  <a:pt x="4779741" y="8515794"/>
                  <a:pt x="4775552" y="8426644"/>
                  <a:pt x="4781810" y="8411187"/>
                </a:cubicBezTo>
                <a:cubicBezTo>
                  <a:pt x="4780931" y="8385759"/>
                  <a:pt x="4784500" y="8384363"/>
                  <a:pt x="4785844" y="8373792"/>
                </a:cubicBezTo>
                <a:lnTo>
                  <a:pt x="4785835" y="8373315"/>
                </a:lnTo>
                <a:lnTo>
                  <a:pt x="4785620" y="8362130"/>
                </a:lnTo>
                <a:cubicBezTo>
                  <a:pt x="4785593" y="8349250"/>
                  <a:pt x="4785782" y="8328412"/>
                  <a:pt x="4786026" y="8313114"/>
                </a:cubicBezTo>
                <a:lnTo>
                  <a:pt x="4786406" y="8296299"/>
                </a:lnTo>
                <a:close/>
                <a:moveTo>
                  <a:pt x="4786788" y="11122001"/>
                </a:moveTo>
                <a:cubicBezTo>
                  <a:pt x="4786413" y="11132721"/>
                  <a:pt x="4785172" y="11146208"/>
                  <a:pt x="4785069" y="11158773"/>
                </a:cubicBezTo>
                <a:cubicBezTo>
                  <a:pt x="4784551" y="11223093"/>
                  <a:pt x="4783931" y="11278936"/>
                  <a:pt x="4779741" y="11329494"/>
                </a:cubicBezTo>
                <a:cubicBezTo>
                  <a:pt x="4777931" y="11320719"/>
                  <a:pt x="4776069" y="11312142"/>
                  <a:pt x="4775500" y="11329394"/>
                </a:cubicBezTo>
                <a:cubicBezTo>
                  <a:pt x="4769500" y="11327301"/>
                  <a:pt x="4772034" y="11269961"/>
                  <a:pt x="4771931" y="11229673"/>
                </a:cubicBezTo>
                <a:cubicBezTo>
                  <a:pt x="4782586" y="11235557"/>
                  <a:pt x="4780879" y="11154187"/>
                  <a:pt x="4783310" y="11101834"/>
                </a:cubicBezTo>
                <a:cubicBezTo>
                  <a:pt x="4786672" y="11103329"/>
                  <a:pt x="4787163" y="11111282"/>
                  <a:pt x="4786788" y="11122001"/>
                </a:cubicBezTo>
                <a:close/>
                <a:moveTo>
                  <a:pt x="4789652" y="7961699"/>
                </a:moveTo>
                <a:cubicBezTo>
                  <a:pt x="4789349" y="7933628"/>
                  <a:pt x="4787344" y="7913035"/>
                  <a:pt x="4780776" y="7912885"/>
                </a:cubicBezTo>
                <a:cubicBezTo>
                  <a:pt x="4780207" y="7923955"/>
                  <a:pt x="4780516" y="7941007"/>
                  <a:pt x="4778500" y="7941306"/>
                </a:cubicBezTo>
                <a:cubicBezTo>
                  <a:pt x="4777311" y="7965937"/>
                  <a:pt x="4780672" y="7973317"/>
                  <a:pt x="4782378" y="7998346"/>
                </a:cubicBezTo>
                <a:cubicBezTo>
                  <a:pt x="4783672" y="8017692"/>
                  <a:pt x="4780879" y="8067950"/>
                  <a:pt x="4788327" y="8055387"/>
                </a:cubicBezTo>
                <a:cubicBezTo>
                  <a:pt x="4788560" y="8025321"/>
                  <a:pt x="4789956" y="7989770"/>
                  <a:pt x="4789652" y="7961699"/>
                </a:cubicBezTo>
                <a:close/>
                <a:moveTo>
                  <a:pt x="4792181" y="9850373"/>
                </a:moveTo>
                <a:cubicBezTo>
                  <a:pt x="4794077" y="9868103"/>
                  <a:pt x="4788598" y="9893475"/>
                  <a:pt x="4788793" y="9934609"/>
                </a:cubicBezTo>
                <a:cubicBezTo>
                  <a:pt x="4784086" y="9928328"/>
                  <a:pt x="4788378" y="9864408"/>
                  <a:pt x="4787344" y="9834890"/>
                </a:cubicBezTo>
                <a:cubicBezTo>
                  <a:pt x="4790098" y="9839402"/>
                  <a:pt x="4791550" y="9844463"/>
                  <a:pt x="4792181" y="9850373"/>
                </a:cubicBezTo>
                <a:close/>
                <a:moveTo>
                  <a:pt x="4795671" y="7571645"/>
                </a:moveTo>
                <a:lnTo>
                  <a:pt x="4787240" y="7571445"/>
                </a:lnTo>
                <a:cubicBezTo>
                  <a:pt x="4787499" y="7628385"/>
                  <a:pt x="4782896" y="7650323"/>
                  <a:pt x="4784137" y="7713746"/>
                </a:cubicBezTo>
                <a:cubicBezTo>
                  <a:pt x="4791482" y="7725013"/>
                  <a:pt x="4790706" y="7666378"/>
                  <a:pt x="4790861" y="7657005"/>
                </a:cubicBezTo>
                <a:cubicBezTo>
                  <a:pt x="4791326" y="7625394"/>
                  <a:pt x="4797016" y="7638058"/>
                  <a:pt x="4795464" y="7600165"/>
                </a:cubicBezTo>
                <a:close/>
                <a:moveTo>
                  <a:pt x="4797572" y="9606531"/>
                </a:moveTo>
                <a:cubicBezTo>
                  <a:pt x="4797093" y="9620667"/>
                  <a:pt x="4795464" y="9632708"/>
                  <a:pt x="4792930" y="9621589"/>
                </a:cubicBezTo>
                <a:lnTo>
                  <a:pt x="4793085" y="9593069"/>
                </a:lnTo>
                <a:cubicBezTo>
                  <a:pt x="4794895" y="9595762"/>
                  <a:pt x="4795154" y="9587584"/>
                  <a:pt x="4795308" y="9578908"/>
                </a:cubicBezTo>
                <a:cubicBezTo>
                  <a:pt x="4797378" y="9576166"/>
                  <a:pt x="4798050" y="9592396"/>
                  <a:pt x="4797572" y="9606531"/>
                </a:cubicBezTo>
                <a:close/>
                <a:moveTo>
                  <a:pt x="4798768" y="6308965"/>
                </a:moveTo>
                <a:cubicBezTo>
                  <a:pt x="4798658" y="6298694"/>
                  <a:pt x="4798128" y="6287002"/>
                  <a:pt x="4797792" y="6262022"/>
                </a:cubicBezTo>
                <a:cubicBezTo>
                  <a:pt x="4787034" y="6245269"/>
                  <a:pt x="4786257" y="6363436"/>
                  <a:pt x="4797223" y="6347382"/>
                </a:cubicBezTo>
                <a:cubicBezTo>
                  <a:pt x="4798567" y="6328086"/>
                  <a:pt x="4798878" y="6319236"/>
                  <a:pt x="4798768" y="6308965"/>
                </a:cubicBezTo>
                <a:close/>
                <a:moveTo>
                  <a:pt x="4803804" y="11142457"/>
                </a:moveTo>
                <a:cubicBezTo>
                  <a:pt x="4803985" y="11149550"/>
                  <a:pt x="4803558" y="11159871"/>
                  <a:pt x="4801929" y="11159273"/>
                </a:cubicBezTo>
                <a:cubicBezTo>
                  <a:pt x="4805498" y="11196368"/>
                  <a:pt x="4800739" y="11202151"/>
                  <a:pt x="4803480" y="11244731"/>
                </a:cubicBezTo>
                <a:cubicBezTo>
                  <a:pt x="4801774" y="11252210"/>
                  <a:pt x="4799964" y="11259491"/>
                  <a:pt x="4797067" y="11258792"/>
                </a:cubicBezTo>
                <a:cubicBezTo>
                  <a:pt x="4799136" y="11297584"/>
                  <a:pt x="4800326" y="11368186"/>
                  <a:pt x="4790085" y="11358313"/>
                </a:cubicBezTo>
                <a:cubicBezTo>
                  <a:pt x="4795205" y="11329593"/>
                  <a:pt x="4789827" y="11303966"/>
                  <a:pt x="4790654" y="11272854"/>
                </a:cubicBezTo>
                <a:cubicBezTo>
                  <a:pt x="4790706" y="11272455"/>
                  <a:pt x="4792723" y="11269263"/>
                  <a:pt x="4792879" y="11258693"/>
                </a:cubicBezTo>
                <a:cubicBezTo>
                  <a:pt x="4792930" y="11254903"/>
                  <a:pt x="4792775" y="11247924"/>
                  <a:pt x="4792981" y="11244432"/>
                </a:cubicBezTo>
                <a:cubicBezTo>
                  <a:pt x="4793860" y="11230671"/>
                  <a:pt x="4796343" y="11216512"/>
                  <a:pt x="4795516" y="11173331"/>
                </a:cubicBezTo>
                <a:cubicBezTo>
                  <a:pt x="4799136" y="11174031"/>
                  <a:pt x="4801049" y="11162861"/>
                  <a:pt x="4802033" y="11145011"/>
                </a:cubicBezTo>
                <a:cubicBezTo>
                  <a:pt x="4802834" y="11131499"/>
                  <a:pt x="4803623" y="11135364"/>
                  <a:pt x="4803804" y="11142457"/>
                </a:cubicBezTo>
                <a:close/>
                <a:moveTo>
                  <a:pt x="4804152" y="8852947"/>
                </a:moveTo>
                <a:cubicBezTo>
                  <a:pt x="4801877" y="8831807"/>
                  <a:pt x="4795568" y="8836095"/>
                  <a:pt x="4796137" y="8795907"/>
                </a:cubicBezTo>
                <a:cubicBezTo>
                  <a:pt x="4799447" y="8794710"/>
                  <a:pt x="4803429" y="8798002"/>
                  <a:pt x="4802653" y="8767587"/>
                </a:cubicBezTo>
                <a:cubicBezTo>
                  <a:pt x="4797688" y="8767785"/>
                  <a:pt x="4796602" y="8742956"/>
                  <a:pt x="4790085" y="8753027"/>
                </a:cubicBezTo>
                <a:cubicBezTo>
                  <a:pt x="4791947" y="8844072"/>
                  <a:pt x="4789620" y="8882464"/>
                  <a:pt x="4788585" y="8980788"/>
                </a:cubicBezTo>
                <a:cubicBezTo>
                  <a:pt x="4791585" y="8993254"/>
                  <a:pt x="4796705" y="8992256"/>
                  <a:pt x="4794534" y="9037828"/>
                </a:cubicBezTo>
                <a:cubicBezTo>
                  <a:pt x="4791429" y="9038027"/>
                  <a:pt x="4788224" y="8977597"/>
                  <a:pt x="4788224" y="9037629"/>
                </a:cubicBezTo>
                <a:cubicBezTo>
                  <a:pt x="4786257" y="9110424"/>
                  <a:pt x="4797430" y="9013795"/>
                  <a:pt x="4798567" y="9066348"/>
                </a:cubicBezTo>
                <a:cubicBezTo>
                  <a:pt x="4797739" y="9119200"/>
                  <a:pt x="4790033" y="9233977"/>
                  <a:pt x="4797378" y="9251428"/>
                </a:cubicBezTo>
                <a:cubicBezTo>
                  <a:pt x="4802239" y="9177038"/>
                  <a:pt x="4799757" y="9080608"/>
                  <a:pt x="4801154" y="8995248"/>
                </a:cubicBezTo>
                <a:cubicBezTo>
                  <a:pt x="4801412" y="8978095"/>
                  <a:pt x="4802911" y="8973707"/>
                  <a:pt x="4803532" y="8952567"/>
                </a:cubicBezTo>
                <a:cubicBezTo>
                  <a:pt x="4804515" y="8917764"/>
                  <a:pt x="4803377" y="8885655"/>
                  <a:pt x="4804152" y="8852947"/>
                </a:cubicBezTo>
                <a:close/>
                <a:moveTo>
                  <a:pt x="4806933" y="10146752"/>
                </a:moveTo>
                <a:cubicBezTo>
                  <a:pt x="4806959" y="10162919"/>
                  <a:pt x="4806454" y="10179722"/>
                  <a:pt x="4806118" y="10191389"/>
                </a:cubicBezTo>
                <a:cubicBezTo>
                  <a:pt x="4805291" y="10219709"/>
                  <a:pt x="4802291" y="10222203"/>
                  <a:pt x="4803532" y="10262490"/>
                </a:cubicBezTo>
                <a:cubicBezTo>
                  <a:pt x="4804463" y="10294301"/>
                  <a:pt x="4803273" y="10286123"/>
                  <a:pt x="4802963" y="10347850"/>
                </a:cubicBezTo>
                <a:cubicBezTo>
                  <a:pt x="4802860" y="10370785"/>
                  <a:pt x="4804308" y="10372481"/>
                  <a:pt x="4804825" y="10390629"/>
                </a:cubicBezTo>
                <a:cubicBezTo>
                  <a:pt x="4805136" y="10401301"/>
                  <a:pt x="4803429" y="10440290"/>
                  <a:pt x="4804463" y="10447570"/>
                </a:cubicBezTo>
                <a:cubicBezTo>
                  <a:pt x="4805705" y="10456645"/>
                  <a:pt x="4805911" y="10459736"/>
                  <a:pt x="4804256" y="10475991"/>
                </a:cubicBezTo>
                <a:cubicBezTo>
                  <a:pt x="4802498" y="10493142"/>
                  <a:pt x="4802704" y="10522260"/>
                  <a:pt x="4803688" y="10561350"/>
                </a:cubicBezTo>
                <a:cubicBezTo>
                  <a:pt x="4798360" y="10556863"/>
                  <a:pt x="4798308" y="10595355"/>
                  <a:pt x="4796963" y="10618191"/>
                </a:cubicBezTo>
                <a:cubicBezTo>
                  <a:pt x="4794844" y="10654589"/>
                  <a:pt x="4795205" y="10689392"/>
                  <a:pt x="4796137" y="10746332"/>
                </a:cubicBezTo>
                <a:lnTo>
                  <a:pt x="4789827" y="10746131"/>
                </a:lnTo>
                <a:cubicBezTo>
                  <a:pt x="4788585" y="10806762"/>
                  <a:pt x="4790912" y="10892819"/>
                  <a:pt x="4786517" y="10931113"/>
                </a:cubicBezTo>
                <a:cubicBezTo>
                  <a:pt x="4782224" y="10923035"/>
                  <a:pt x="4782224" y="10908775"/>
                  <a:pt x="4784706" y="10888333"/>
                </a:cubicBezTo>
                <a:cubicBezTo>
                  <a:pt x="4786465" y="10871281"/>
                  <a:pt x="4782793" y="10863602"/>
                  <a:pt x="4782793" y="10859813"/>
                </a:cubicBezTo>
                <a:cubicBezTo>
                  <a:pt x="4782793" y="10857220"/>
                  <a:pt x="4787292" y="10814539"/>
                  <a:pt x="4785378" y="10802773"/>
                </a:cubicBezTo>
                <a:cubicBezTo>
                  <a:pt x="4781862" y="10782629"/>
                  <a:pt x="4785690" y="10783926"/>
                  <a:pt x="4785637" y="10760093"/>
                </a:cubicBezTo>
                <a:cubicBezTo>
                  <a:pt x="4785637" y="10748325"/>
                  <a:pt x="4783465" y="10746131"/>
                  <a:pt x="4783723" y="10731573"/>
                </a:cubicBezTo>
                <a:cubicBezTo>
                  <a:pt x="4784137" y="10708737"/>
                  <a:pt x="4785482" y="10707441"/>
                  <a:pt x="4786103" y="10688992"/>
                </a:cubicBezTo>
                <a:cubicBezTo>
                  <a:pt x="4787551" y="10644019"/>
                  <a:pt x="4786620" y="10640329"/>
                  <a:pt x="4788844" y="10589372"/>
                </a:cubicBezTo>
                <a:cubicBezTo>
                  <a:pt x="4790033" y="10562049"/>
                  <a:pt x="4789774" y="10575111"/>
                  <a:pt x="4789103" y="10546692"/>
                </a:cubicBezTo>
                <a:cubicBezTo>
                  <a:pt x="4788430" y="10516975"/>
                  <a:pt x="4790809" y="10509097"/>
                  <a:pt x="4791585" y="10489852"/>
                </a:cubicBezTo>
                <a:cubicBezTo>
                  <a:pt x="4791326" y="10473197"/>
                  <a:pt x="4787809" y="10477785"/>
                  <a:pt x="4785327" y="10475491"/>
                </a:cubicBezTo>
                <a:cubicBezTo>
                  <a:pt x="4783362" y="10445675"/>
                  <a:pt x="4788844" y="10456046"/>
                  <a:pt x="4789723" y="10447171"/>
                </a:cubicBezTo>
                <a:cubicBezTo>
                  <a:pt x="4791585" y="10428323"/>
                  <a:pt x="4789516" y="10401301"/>
                  <a:pt x="4792206" y="10390331"/>
                </a:cubicBezTo>
                <a:cubicBezTo>
                  <a:pt x="4791120" y="10356127"/>
                  <a:pt x="4789567" y="10325313"/>
                  <a:pt x="4790809" y="10276351"/>
                </a:cubicBezTo>
                <a:cubicBezTo>
                  <a:pt x="4795877" y="10270865"/>
                  <a:pt x="4789206" y="10341169"/>
                  <a:pt x="4796861" y="10319231"/>
                </a:cubicBezTo>
                <a:cubicBezTo>
                  <a:pt x="4800739" y="10323718"/>
                  <a:pt x="4797532" y="10272062"/>
                  <a:pt x="4799343" y="10262389"/>
                </a:cubicBezTo>
                <a:cubicBezTo>
                  <a:pt x="4800326" y="10257005"/>
                  <a:pt x="4802084" y="10248728"/>
                  <a:pt x="4801618" y="10233970"/>
                </a:cubicBezTo>
                <a:cubicBezTo>
                  <a:pt x="4801463" y="10229483"/>
                  <a:pt x="4799706" y="10213626"/>
                  <a:pt x="4799601" y="10219611"/>
                </a:cubicBezTo>
                <a:cubicBezTo>
                  <a:pt x="4799808" y="10207544"/>
                  <a:pt x="4803946" y="10194281"/>
                  <a:pt x="4803998" y="10191289"/>
                </a:cubicBezTo>
                <a:cubicBezTo>
                  <a:pt x="4804359" y="10158381"/>
                  <a:pt x="4797842" y="10171246"/>
                  <a:pt x="4802343" y="10120090"/>
                </a:cubicBezTo>
                <a:cubicBezTo>
                  <a:pt x="4802653" y="10116998"/>
                  <a:pt x="4805549" y="10118992"/>
                  <a:pt x="4804567" y="10105929"/>
                </a:cubicBezTo>
                <a:cubicBezTo>
                  <a:pt x="4806351" y="10115053"/>
                  <a:pt x="4806907" y="10130585"/>
                  <a:pt x="4806933" y="10146752"/>
                </a:cubicBezTo>
                <a:close/>
                <a:moveTo>
                  <a:pt x="4808394" y="4625117"/>
                </a:moveTo>
                <a:cubicBezTo>
                  <a:pt x="4808291" y="4566482"/>
                  <a:pt x="4808860" y="4504057"/>
                  <a:pt x="4802963" y="4482617"/>
                </a:cubicBezTo>
                <a:cubicBezTo>
                  <a:pt x="4803067" y="4508146"/>
                  <a:pt x="4800636" y="4515824"/>
                  <a:pt x="4796447" y="4510938"/>
                </a:cubicBezTo>
                <a:cubicBezTo>
                  <a:pt x="4794636" y="4544444"/>
                  <a:pt x="4791637" y="4609162"/>
                  <a:pt x="4795619" y="4639077"/>
                </a:cubicBezTo>
                <a:cubicBezTo>
                  <a:pt x="4800585" y="4639477"/>
                  <a:pt x="4801981" y="4614647"/>
                  <a:pt x="4808394" y="4625117"/>
                </a:cubicBezTo>
                <a:close/>
                <a:moveTo>
                  <a:pt x="4811016" y="9962793"/>
                </a:moveTo>
                <a:cubicBezTo>
                  <a:pt x="4810996" y="9982108"/>
                  <a:pt x="4807980" y="9982800"/>
                  <a:pt x="4807204" y="10020569"/>
                </a:cubicBezTo>
                <a:cubicBezTo>
                  <a:pt x="4802343" y="10015882"/>
                  <a:pt x="4799084" y="10022662"/>
                  <a:pt x="4796550" y="10034529"/>
                </a:cubicBezTo>
                <a:cubicBezTo>
                  <a:pt x="4797119" y="10051980"/>
                  <a:pt x="4795671" y="10122384"/>
                  <a:pt x="4794171" y="10077210"/>
                </a:cubicBezTo>
                <a:lnTo>
                  <a:pt x="4794636" y="10006011"/>
                </a:lnTo>
                <a:cubicBezTo>
                  <a:pt x="4800533" y="10017876"/>
                  <a:pt x="4800274" y="9986066"/>
                  <a:pt x="4805239" y="9992049"/>
                </a:cubicBezTo>
                <a:cubicBezTo>
                  <a:pt x="4805911" y="9966820"/>
                  <a:pt x="4803584" y="9920750"/>
                  <a:pt x="4809842" y="9935208"/>
                </a:cubicBezTo>
                <a:cubicBezTo>
                  <a:pt x="4810695" y="9947847"/>
                  <a:pt x="4811022" y="9956355"/>
                  <a:pt x="4811016" y="9962793"/>
                </a:cubicBezTo>
                <a:close/>
                <a:moveTo>
                  <a:pt x="4811478" y="9812827"/>
                </a:moveTo>
                <a:cubicBezTo>
                  <a:pt x="4809519" y="9815245"/>
                  <a:pt x="4806610" y="9813351"/>
                  <a:pt x="4806480" y="9806969"/>
                </a:cubicBezTo>
                <a:cubicBezTo>
                  <a:pt x="4806326" y="9798493"/>
                  <a:pt x="4809584" y="9789119"/>
                  <a:pt x="4810773" y="9792808"/>
                </a:cubicBezTo>
                <a:cubicBezTo>
                  <a:pt x="4814445" y="9803677"/>
                  <a:pt x="4813436" y="9810409"/>
                  <a:pt x="4811478" y="9812827"/>
                </a:cubicBezTo>
                <a:close/>
                <a:moveTo>
                  <a:pt x="4811943" y="11264240"/>
                </a:moveTo>
                <a:cubicBezTo>
                  <a:pt x="4811962" y="11290080"/>
                  <a:pt x="4811523" y="11326053"/>
                  <a:pt x="4811290" y="11344452"/>
                </a:cubicBezTo>
                <a:cubicBezTo>
                  <a:pt x="4811032" y="11367686"/>
                  <a:pt x="4809429" y="11368585"/>
                  <a:pt x="4808911" y="11387132"/>
                </a:cubicBezTo>
                <a:cubicBezTo>
                  <a:pt x="4808187" y="11413459"/>
                  <a:pt x="4809221" y="11442278"/>
                  <a:pt x="4808343" y="11472492"/>
                </a:cubicBezTo>
                <a:cubicBezTo>
                  <a:pt x="4807722" y="11494332"/>
                  <a:pt x="4806480" y="11497223"/>
                  <a:pt x="4805963" y="11515173"/>
                </a:cubicBezTo>
                <a:cubicBezTo>
                  <a:pt x="4804825" y="11555060"/>
                  <a:pt x="4806687" y="11592855"/>
                  <a:pt x="4805239" y="11629053"/>
                </a:cubicBezTo>
                <a:cubicBezTo>
                  <a:pt x="4803946" y="11661562"/>
                  <a:pt x="4800429" y="11675522"/>
                  <a:pt x="4798464" y="11700054"/>
                </a:cubicBezTo>
                <a:cubicBezTo>
                  <a:pt x="4794688" y="11672131"/>
                  <a:pt x="4790757" y="11695466"/>
                  <a:pt x="4785792" y="11699754"/>
                </a:cubicBezTo>
                <a:cubicBezTo>
                  <a:pt x="4784758" y="11679013"/>
                  <a:pt x="4788741" y="11626261"/>
                  <a:pt x="4784137" y="11628553"/>
                </a:cubicBezTo>
                <a:cubicBezTo>
                  <a:pt x="4786103" y="11597940"/>
                  <a:pt x="4793550" y="11605818"/>
                  <a:pt x="4797067" y="11586172"/>
                </a:cubicBezTo>
                <a:cubicBezTo>
                  <a:pt x="4798360" y="11525543"/>
                  <a:pt x="4795464" y="11488448"/>
                  <a:pt x="4800015" y="11458132"/>
                </a:cubicBezTo>
                <a:cubicBezTo>
                  <a:pt x="4803894" y="11432206"/>
                  <a:pt x="4798826" y="11427818"/>
                  <a:pt x="4800585" y="11372772"/>
                </a:cubicBezTo>
                <a:cubicBezTo>
                  <a:pt x="4804980" y="11383343"/>
                  <a:pt x="4803532" y="11354823"/>
                  <a:pt x="4804980" y="11344252"/>
                </a:cubicBezTo>
                <a:cubicBezTo>
                  <a:pt x="4805447" y="11340762"/>
                  <a:pt x="4809066" y="11333383"/>
                  <a:pt x="4809273" y="11330192"/>
                </a:cubicBezTo>
                <a:cubicBezTo>
                  <a:pt x="4810566" y="11310447"/>
                  <a:pt x="4807256" y="11303268"/>
                  <a:pt x="4807411" y="11287412"/>
                </a:cubicBezTo>
                <a:cubicBezTo>
                  <a:pt x="4807359" y="11293695"/>
                  <a:pt x="4809480" y="11276742"/>
                  <a:pt x="4809635" y="11273251"/>
                </a:cubicBezTo>
                <a:cubicBezTo>
                  <a:pt x="4810049" y="11264377"/>
                  <a:pt x="4809531" y="11253907"/>
                  <a:pt x="4809842" y="11244832"/>
                </a:cubicBezTo>
                <a:cubicBezTo>
                  <a:pt x="4811445" y="11222694"/>
                  <a:pt x="4811924" y="11238400"/>
                  <a:pt x="4811943" y="11264240"/>
                </a:cubicBezTo>
                <a:close/>
                <a:moveTo>
                  <a:pt x="4811956" y="9321506"/>
                </a:moveTo>
                <a:cubicBezTo>
                  <a:pt x="4811665" y="9337013"/>
                  <a:pt x="4810928" y="9355386"/>
                  <a:pt x="4811446" y="9365707"/>
                </a:cubicBezTo>
                <a:cubicBezTo>
                  <a:pt x="4802033" y="9367902"/>
                  <a:pt x="4806326" y="9315549"/>
                  <a:pt x="4809790" y="9294508"/>
                </a:cubicBezTo>
                <a:cubicBezTo>
                  <a:pt x="4812092" y="9293361"/>
                  <a:pt x="4812247" y="9306000"/>
                  <a:pt x="4811956" y="9321506"/>
                </a:cubicBezTo>
                <a:close/>
                <a:moveTo>
                  <a:pt x="4813463" y="10362409"/>
                </a:moveTo>
                <a:cubicBezTo>
                  <a:pt x="4810928" y="10356027"/>
                  <a:pt x="4809273" y="10344060"/>
                  <a:pt x="4809531" y="10319529"/>
                </a:cubicBezTo>
                <a:cubicBezTo>
                  <a:pt x="4814083" y="10312948"/>
                  <a:pt x="4813411" y="10339972"/>
                  <a:pt x="4813463" y="10362409"/>
                </a:cubicBezTo>
                <a:close/>
                <a:moveTo>
                  <a:pt x="4815065" y="9138046"/>
                </a:moveTo>
                <a:cubicBezTo>
                  <a:pt x="4809324" y="9152008"/>
                  <a:pt x="4817031" y="9261301"/>
                  <a:pt x="4807980" y="9251728"/>
                </a:cubicBezTo>
                <a:cubicBezTo>
                  <a:pt x="4811962" y="9194687"/>
                  <a:pt x="4805239" y="9154002"/>
                  <a:pt x="4815065" y="9138046"/>
                </a:cubicBezTo>
                <a:close/>
                <a:moveTo>
                  <a:pt x="4815273" y="7145043"/>
                </a:moveTo>
                <a:lnTo>
                  <a:pt x="4814911" y="7201982"/>
                </a:lnTo>
                <a:lnTo>
                  <a:pt x="4810669" y="7201883"/>
                </a:lnTo>
                <a:lnTo>
                  <a:pt x="4811032" y="7144942"/>
                </a:lnTo>
                <a:close/>
                <a:moveTo>
                  <a:pt x="4820083" y="6732401"/>
                </a:moveTo>
                <a:cubicBezTo>
                  <a:pt x="4814807" y="6734495"/>
                  <a:pt x="4813669" y="6709863"/>
                  <a:pt x="4809687" y="6703681"/>
                </a:cubicBezTo>
                <a:cubicBezTo>
                  <a:pt x="4809893" y="6712655"/>
                  <a:pt x="4809221" y="6723326"/>
                  <a:pt x="4809480" y="6732202"/>
                </a:cubicBezTo>
                <a:cubicBezTo>
                  <a:pt x="4810152" y="6753142"/>
                  <a:pt x="4811911" y="6734395"/>
                  <a:pt x="4813617" y="6746562"/>
                </a:cubicBezTo>
                <a:cubicBezTo>
                  <a:pt x="4814342" y="6751249"/>
                  <a:pt x="4812790" y="6769597"/>
                  <a:pt x="4813463" y="6774882"/>
                </a:cubicBezTo>
                <a:cubicBezTo>
                  <a:pt x="4814342" y="6781961"/>
                  <a:pt x="4818687" y="6769297"/>
                  <a:pt x="4819824" y="6775081"/>
                </a:cubicBezTo>
                <a:close/>
                <a:moveTo>
                  <a:pt x="4821996" y="7088201"/>
                </a:moveTo>
                <a:cubicBezTo>
                  <a:pt x="4816049" y="7085708"/>
                  <a:pt x="4813359" y="7061876"/>
                  <a:pt x="4807411" y="7059383"/>
                </a:cubicBezTo>
                <a:cubicBezTo>
                  <a:pt x="4810411" y="7111236"/>
                  <a:pt x="4798722" y="7146837"/>
                  <a:pt x="4802498" y="7173263"/>
                </a:cubicBezTo>
                <a:cubicBezTo>
                  <a:pt x="4805705" y="7195999"/>
                  <a:pt x="4806015" y="7254236"/>
                  <a:pt x="4805963" y="7287243"/>
                </a:cubicBezTo>
                <a:cubicBezTo>
                  <a:pt x="4808445" y="7289537"/>
                  <a:pt x="4812015" y="7284949"/>
                  <a:pt x="4812221" y="7301602"/>
                </a:cubicBezTo>
                <a:cubicBezTo>
                  <a:pt x="4809273" y="7356448"/>
                  <a:pt x="4811032" y="7409700"/>
                  <a:pt x="4811290" y="7443904"/>
                </a:cubicBezTo>
                <a:cubicBezTo>
                  <a:pt x="4811548" y="7478407"/>
                  <a:pt x="4807566" y="7550205"/>
                  <a:pt x="4814859" y="7543623"/>
                </a:cubicBezTo>
                <a:cubicBezTo>
                  <a:pt x="4816049" y="7543623"/>
                  <a:pt x="4817341" y="7532155"/>
                  <a:pt x="4814962" y="7529363"/>
                </a:cubicBezTo>
                <a:cubicBezTo>
                  <a:pt x="4818428" y="7444801"/>
                  <a:pt x="4816566" y="7322444"/>
                  <a:pt x="4821013" y="7244762"/>
                </a:cubicBezTo>
                <a:cubicBezTo>
                  <a:pt x="4817083" y="7242469"/>
                  <a:pt x="4820031" y="7196498"/>
                  <a:pt x="4817135" y="7187722"/>
                </a:cubicBezTo>
                <a:cubicBezTo>
                  <a:pt x="4822669" y="7148932"/>
                  <a:pt x="4818375" y="7127093"/>
                  <a:pt x="4821996" y="7088201"/>
                </a:cubicBezTo>
                <a:close/>
                <a:moveTo>
                  <a:pt x="4822979" y="7913983"/>
                </a:moveTo>
                <a:cubicBezTo>
                  <a:pt x="4820652" y="7910891"/>
                  <a:pt x="4819772" y="7898127"/>
                  <a:pt x="4818944" y="7885463"/>
                </a:cubicBezTo>
                <a:cubicBezTo>
                  <a:pt x="4817652" y="7831813"/>
                  <a:pt x="4821945" y="7817553"/>
                  <a:pt x="4821790" y="7771683"/>
                </a:cubicBezTo>
                <a:cubicBezTo>
                  <a:pt x="4815738" y="7783250"/>
                  <a:pt x="4816462" y="7751440"/>
                  <a:pt x="4811342" y="7757123"/>
                </a:cubicBezTo>
                <a:cubicBezTo>
                  <a:pt x="4814445" y="7819748"/>
                  <a:pt x="4805601" y="7823438"/>
                  <a:pt x="4804463" y="7842384"/>
                </a:cubicBezTo>
                <a:cubicBezTo>
                  <a:pt x="4802550" y="7873997"/>
                  <a:pt x="4804256" y="7912088"/>
                  <a:pt x="4801618" y="7956165"/>
                </a:cubicBezTo>
                <a:cubicBezTo>
                  <a:pt x="4800739" y="7988972"/>
                  <a:pt x="4807618" y="7972120"/>
                  <a:pt x="4807670" y="7999045"/>
                </a:cubicBezTo>
                <a:cubicBezTo>
                  <a:pt x="4807464" y="8018590"/>
                  <a:pt x="4808445" y="8030357"/>
                  <a:pt x="4809480" y="8041824"/>
                </a:cubicBezTo>
                <a:cubicBezTo>
                  <a:pt x="4806997" y="8092881"/>
                  <a:pt x="4810980" y="8137056"/>
                  <a:pt x="4810669" y="8184224"/>
                </a:cubicBezTo>
                <a:cubicBezTo>
                  <a:pt x="4810721" y="8180136"/>
                  <a:pt x="4808704" y="8192801"/>
                  <a:pt x="4808445" y="8198385"/>
                </a:cubicBezTo>
                <a:cubicBezTo>
                  <a:pt x="4805756" y="8260111"/>
                  <a:pt x="4811032" y="8341482"/>
                  <a:pt x="4805239" y="8369106"/>
                </a:cubicBezTo>
                <a:cubicBezTo>
                  <a:pt x="4802446" y="8368806"/>
                  <a:pt x="4803480" y="8344076"/>
                  <a:pt x="4801205" y="8340486"/>
                </a:cubicBezTo>
                <a:cubicBezTo>
                  <a:pt x="4801101" y="8354845"/>
                  <a:pt x="4797378" y="8358236"/>
                  <a:pt x="4796963" y="8340386"/>
                </a:cubicBezTo>
                <a:cubicBezTo>
                  <a:pt x="4794946" y="8268787"/>
                  <a:pt x="4803171" y="8216433"/>
                  <a:pt x="4798051" y="8169565"/>
                </a:cubicBezTo>
                <a:cubicBezTo>
                  <a:pt x="4792412" y="8159594"/>
                  <a:pt x="4793757" y="8198883"/>
                  <a:pt x="4791429" y="8212046"/>
                </a:cubicBezTo>
                <a:cubicBezTo>
                  <a:pt x="4790396" y="8286736"/>
                  <a:pt x="4796861" y="8339389"/>
                  <a:pt x="4792361" y="8397126"/>
                </a:cubicBezTo>
                <a:cubicBezTo>
                  <a:pt x="4800843" y="8388052"/>
                  <a:pt x="4798051" y="8451374"/>
                  <a:pt x="4798051" y="8496946"/>
                </a:cubicBezTo>
                <a:cubicBezTo>
                  <a:pt x="4800480" y="8503927"/>
                  <a:pt x="4802756" y="8512304"/>
                  <a:pt x="4804205" y="8525566"/>
                </a:cubicBezTo>
                <a:cubicBezTo>
                  <a:pt x="4805498" y="8564457"/>
                  <a:pt x="4799808" y="8554086"/>
                  <a:pt x="4799601" y="8582406"/>
                </a:cubicBezTo>
                <a:cubicBezTo>
                  <a:pt x="4802033" y="8584799"/>
                  <a:pt x="4801722" y="8604943"/>
                  <a:pt x="4801412" y="8625186"/>
                </a:cubicBezTo>
                <a:cubicBezTo>
                  <a:pt x="4803377" y="8644233"/>
                  <a:pt x="4806946" y="8653307"/>
                  <a:pt x="4807359" y="8682226"/>
                </a:cubicBezTo>
                <a:cubicBezTo>
                  <a:pt x="4802291" y="8713439"/>
                  <a:pt x="4807515" y="8739067"/>
                  <a:pt x="4813307" y="8739366"/>
                </a:cubicBezTo>
                <a:cubicBezTo>
                  <a:pt x="4817289" y="8692099"/>
                  <a:pt x="4812636" y="8676243"/>
                  <a:pt x="4814135" y="8611325"/>
                </a:cubicBezTo>
                <a:cubicBezTo>
                  <a:pt x="4811652" y="8609031"/>
                  <a:pt x="4808135" y="8613619"/>
                  <a:pt x="4807876" y="8596966"/>
                </a:cubicBezTo>
                <a:cubicBezTo>
                  <a:pt x="4815738" y="8595670"/>
                  <a:pt x="4810721" y="8539925"/>
                  <a:pt x="4810566" y="8511605"/>
                </a:cubicBezTo>
                <a:cubicBezTo>
                  <a:pt x="4810152" y="8452670"/>
                  <a:pt x="4812946" y="8429137"/>
                  <a:pt x="4813411" y="8397824"/>
                </a:cubicBezTo>
                <a:cubicBezTo>
                  <a:pt x="4813928" y="8364817"/>
                  <a:pt x="4813876" y="8309573"/>
                  <a:pt x="4814031" y="8298204"/>
                </a:cubicBezTo>
                <a:cubicBezTo>
                  <a:pt x="4814186" y="8288631"/>
                  <a:pt x="4816255" y="8283247"/>
                  <a:pt x="4816255" y="8284045"/>
                </a:cubicBezTo>
                <a:cubicBezTo>
                  <a:pt x="4816618" y="8265895"/>
                  <a:pt x="4813876" y="8264599"/>
                  <a:pt x="4814445" y="8241264"/>
                </a:cubicBezTo>
                <a:cubicBezTo>
                  <a:pt x="4814962" y="8220023"/>
                  <a:pt x="4816928" y="8215936"/>
                  <a:pt x="4816928" y="8184325"/>
                </a:cubicBezTo>
                <a:cubicBezTo>
                  <a:pt x="4816928" y="8157698"/>
                  <a:pt x="4815118" y="8137955"/>
                  <a:pt x="4815273" y="8113124"/>
                </a:cubicBezTo>
                <a:cubicBezTo>
                  <a:pt x="4815376" y="8094974"/>
                  <a:pt x="4817341" y="8084604"/>
                  <a:pt x="4817755" y="8056284"/>
                </a:cubicBezTo>
                <a:cubicBezTo>
                  <a:pt x="4818221" y="8022678"/>
                  <a:pt x="4817135" y="8003432"/>
                  <a:pt x="4816204" y="7970823"/>
                </a:cubicBezTo>
                <a:cubicBezTo>
                  <a:pt x="4819048" y="7974313"/>
                  <a:pt x="4817445" y="7950581"/>
                  <a:pt x="4818583" y="7942304"/>
                </a:cubicBezTo>
                <a:cubicBezTo>
                  <a:pt x="4819876" y="7932830"/>
                  <a:pt x="4824582" y="7944298"/>
                  <a:pt x="4822979" y="7913983"/>
                </a:cubicBezTo>
                <a:close/>
                <a:moveTo>
                  <a:pt x="4823651" y="5849779"/>
                </a:moveTo>
                <a:cubicBezTo>
                  <a:pt x="4815480" y="5826743"/>
                  <a:pt x="4822513" y="5911306"/>
                  <a:pt x="4816980" y="5906619"/>
                </a:cubicBezTo>
                <a:cubicBezTo>
                  <a:pt x="4816720" y="5890066"/>
                  <a:pt x="4813721" y="5891063"/>
                  <a:pt x="4810721" y="5892259"/>
                </a:cubicBezTo>
                <a:cubicBezTo>
                  <a:pt x="4813152" y="5844792"/>
                  <a:pt x="4808084" y="5845490"/>
                  <a:pt x="4802550" y="5849380"/>
                </a:cubicBezTo>
                <a:cubicBezTo>
                  <a:pt x="4803067" y="5886576"/>
                  <a:pt x="4804308" y="5929356"/>
                  <a:pt x="4803998" y="5949100"/>
                </a:cubicBezTo>
                <a:cubicBezTo>
                  <a:pt x="4803843" y="5959470"/>
                  <a:pt x="4801774" y="5963061"/>
                  <a:pt x="4801774" y="5963260"/>
                </a:cubicBezTo>
                <a:cubicBezTo>
                  <a:pt x="4801101" y="5990185"/>
                  <a:pt x="4804101" y="5994773"/>
                  <a:pt x="4803532" y="6020201"/>
                </a:cubicBezTo>
                <a:cubicBezTo>
                  <a:pt x="4803532" y="6019004"/>
                  <a:pt x="4801670" y="6026682"/>
                  <a:pt x="4801308" y="6034360"/>
                </a:cubicBezTo>
                <a:cubicBezTo>
                  <a:pt x="4800946" y="6043336"/>
                  <a:pt x="4801463" y="6053806"/>
                  <a:pt x="4801101" y="6062781"/>
                </a:cubicBezTo>
                <a:cubicBezTo>
                  <a:pt x="4800067" y="6088508"/>
                  <a:pt x="4799239" y="6096387"/>
                  <a:pt x="4800843" y="6105461"/>
                </a:cubicBezTo>
                <a:cubicBezTo>
                  <a:pt x="4801256" y="6107854"/>
                  <a:pt x="4800636" y="6129692"/>
                  <a:pt x="4800636" y="6133881"/>
                </a:cubicBezTo>
                <a:cubicBezTo>
                  <a:pt x="4800895" y="6157216"/>
                  <a:pt x="4800480" y="6165194"/>
                  <a:pt x="4802498" y="6176661"/>
                </a:cubicBezTo>
                <a:cubicBezTo>
                  <a:pt x="4804980" y="6190821"/>
                  <a:pt x="4800429" y="6248359"/>
                  <a:pt x="4806326" y="6233700"/>
                </a:cubicBezTo>
                <a:cubicBezTo>
                  <a:pt x="4810360" y="6203287"/>
                  <a:pt x="4806532" y="6140563"/>
                  <a:pt x="4815118" y="6176960"/>
                </a:cubicBezTo>
                <a:cubicBezTo>
                  <a:pt x="4817962" y="6086116"/>
                  <a:pt x="4807876" y="6028377"/>
                  <a:pt x="4816410" y="5977719"/>
                </a:cubicBezTo>
                <a:cubicBezTo>
                  <a:pt x="4817341" y="5994572"/>
                  <a:pt x="4818428" y="6010029"/>
                  <a:pt x="4820342" y="6020499"/>
                </a:cubicBezTo>
                <a:cubicBezTo>
                  <a:pt x="4820806" y="5958573"/>
                  <a:pt x="4820600" y="5892460"/>
                  <a:pt x="4823651" y="5849779"/>
                </a:cubicBezTo>
                <a:close/>
                <a:moveTo>
                  <a:pt x="4825255" y="5000663"/>
                </a:moveTo>
                <a:lnTo>
                  <a:pt x="4825255" y="4965362"/>
                </a:lnTo>
                <a:cubicBezTo>
                  <a:pt x="4821996" y="4964166"/>
                  <a:pt x="4815997" y="4980420"/>
                  <a:pt x="4816824" y="4952698"/>
                </a:cubicBezTo>
                <a:cubicBezTo>
                  <a:pt x="4818479" y="4919191"/>
                  <a:pt x="4815634" y="4885486"/>
                  <a:pt x="4815376" y="4852978"/>
                </a:cubicBezTo>
                <a:cubicBezTo>
                  <a:pt x="4815014" y="4811395"/>
                  <a:pt x="4822461" y="4757545"/>
                  <a:pt x="4809584" y="4767418"/>
                </a:cubicBezTo>
                <a:cubicBezTo>
                  <a:pt x="4812790" y="4854772"/>
                  <a:pt x="4806584" y="4910317"/>
                  <a:pt x="4812221" y="5009538"/>
                </a:cubicBezTo>
                <a:cubicBezTo>
                  <a:pt x="4818687" y="5019809"/>
                  <a:pt x="4821738" y="4988995"/>
                  <a:pt x="4825255" y="5000663"/>
                </a:cubicBezTo>
                <a:close/>
                <a:moveTo>
                  <a:pt x="4825255" y="7006232"/>
                </a:moveTo>
                <a:lnTo>
                  <a:pt x="4825255" y="6559686"/>
                </a:lnTo>
                <a:cubicBezTo>
                  <a:pt x="4824685" y="6559686"/>
                  <a:pt x="4824065" y="6560184"/>
                  <a:pt x="4823289" y="6561579"/>
                </a:cubicBezTo>
                <a:cubicBezTo>
                  <a:pt x="4824995" y="6621513"/>
                  <a:pt x="4821479" y="6671771"/>
                  <a:pt x="4824582" y="6689721"/>
                </a:cubicBezTo>
                <a:cubicBezTo>
                  <a:pt x="4826910" y="6703182"/>
                  <a:pt x="4822203" y="6753142"/>
                  <a:pt x="4821996" y="6760822"/>
                </a:cubicBezTo>
                <a:cubicBezTo>
                  <a:pt x="4821273" y="6788543"/>
                  <a:pt x="4823807" y="6831422"/>
                  <a:pt x="4819256" y="6860442"/>
                </a:cubicBezTo>
                <a:cubicBezTo>
                  <a:pt x="4814652" y="6862734"/>
                  <a:pt x="4818635" y="6809883"/>
                  <a:pt x="4817600" y="6789241"/>
                </a:cubicBezTo>
                <a:cubicBezTo>
                  <a:pt x="4807980" y="6786848"/>
                  <a:pt x="4809377" y="6777275"/>
                  <a:pt x="4800688" y="6788842"/>
                </a:cubicBezTo>
                <a:cubicBezTo>
                  <a:pt x="4796188" y="6832321"/>
                  <a:pt x="4802911" y="6863034"/>
                  <a:pt x="4797842" y="6902623"/>
                </a:cubicBezTo>
                <a:cubicBezTo>
                  <a:pt x="4801825" y="6939121"/>
                  <a:pt x="4811652" y="6953081"/>
                  <a:pt x="4805549" y="7016702"/>
                </a:cubicBezTo>
                <a:cubicBezTo>
                  <a:pt x="4810566" y="7006133"/>
                  <a:pt x="4815273" y="7032260"/>
                  <a:pt x="4818221" y="7017002"/>
                </a:cubicBezTo>
                <a:cubicBezTo>
                  <a:pt x="4819669" y="7009324"/>
                  <a:pt x="4817341" y="6969635"/>
                  <a:pt x="4820600" y="6974421"/>
                </a:cubicBezTo>
                <a:cubicBezTo>
                  <a:pt x="4823082" y="6979009"/>
                  <a:pt x="4822669" y="7002045"/>
                  <a:pt x="4825255" y="7006232"/>
                </a:cubicBezTo>
                <a:close/>
                <a:moveTo>
                  <a:pt x="4829044" y="10750914"/>
                </a:moveTo>
                <a:cubicBezTo>
                  <a:pt x="4829077" y="10740189"/>
                  <a:pt x="4828788" y="10727515"/>
                  <a:pt x="4828468" y="10714583"/>
                </a:cubicBezTo>
                <a:lnTo>
                  <a:pt x="4827892" y="10685908"/>
                </a:lnTo>
                <a:lnTo>
                  <a:pt x="4825203" y="10831493"/>
                </a:lnTo>
                <a:cubicBezTo>
                  <a:pt x="4825255" y="10817831"/>
                  <a:pt x="4827426" y="10815437"/>
                  <a:pt x="4827479" y="10803969"/>
                </a:cubicBezTo>
                <a:cubicBezTo>
                  <a:pt x="4827633" y="10782131"/>
                  <a:pt x="4825048" y="10789310"/>
                  <a:pt x="4827686" y="10775550"/>
                </a:cubicBezTo>
                <a:cubicBezTo>
                  <a:pt x="4828655" y="10770414"/>
                  <a:pt x="4829011" y="10761639"/>
                  <a:pt x="4829044" y="10750914"/>
                </a:cubicBezTo>
                <a:close/>
                <a:moveTo>
                  <a:pt x="4838702" y="11048185"/>
                </a:moveTo>
                <a:cubicBezTo>
                  <a:pt x="4834512" y="11048084"/>
                  <a:pt x="4830323" y="11048084"/>
                  <a:pt x="4826185" y="11047985"/>
                </a:cubicBezTo>
                <a:cubicBezTo>
                  <a:pt x="4826082" y="11052173"/>
                  <a:pt x="4825978" y="11056460"/>
                  <a:pt x="4825824" y="11060149"/>
                </a:cubicBezTo>
                <a:cubicBezTo>
                  <a:pt x="4822928" y="11074610"/>
                  <a:pt x="4817910" y="11073911"/>
                  <a:pt x="4815065" y="11088371"/>
                </a:cubicBezTo>
                <a:cubicBezTo>
                  <a:pt x="4812894" y="11127661"/>
                  <a:pt x="4818531" y="11221995"/>
                  <a:pt x="4809997" y="11216312"/>
                </a:cubicBezTo>
                <a:cubicBezTo>
                  <a:pt x="4809945" y="11146508"/>
                  <a:pt x="4814393" y="11108714"/>
                  <a:pt x="4813307" y="11031331"/>
                </a:cubicBezTo>
                <a:lnTo>
                  <a:pt x="4806997" y="11031131"/>
                </a:lnTo>
                <a:cubicBezTo>
                  <a:pt x="4803584" y="11024650"/>
                  <a:pt x="4803015" y="11108613"/>
                  <a:pt x="4806532" y="11102331"/>
                </a:cubicBezTo>
                <a:cubicBezTo>
                  <a:pt x="4806687" y="11133245"/>
                  <a:pt x="4798981" y="11108514"/>
                  <a:pt x="4795877" y="11116293"/>
                </a:cubicBezTo>
                <a:cubicBezTo>
                  <a:pt x="4797895" y="11076104"/>
                  <a:pt x="4793137" y="11079396"/>
                  <a:pt x="4794223" y="11045092"/>
                </a:cubicBezTo>
                <a:cubicBezTo>
                  <a:pt x="4797326" y="11045292"/>
                  <a:pt x="4795361" y="11015974"/>
                  <a:pt x="4796602" y="11002412"/>
                </a:cubicBezTo>
                <a:cubicBezTo>
                  <a:pt x="4797016" y="10998124"/>
                  <a:pt x="4800274" y="11006300"/>
                  <a:pt x="4800843" y="11002512"/>
                </a:cubicBezTo>
                <a:cubicBezTo>
                  <a:pt x="4802704" y="10990446"/>
                  <a:pt x="4800636" y="10951555"/>
                  <a:pt x="4803326" y="10945672"/>
                </a:cubicBezTo>
                <a:cubicBezTo>
                  <a:pt x="4802239" y="10902991"/>
                  <a:pt x="4798722" y="10959233"/>
                  <a:pt x="4794895" y="10945471"/>
                </a:cubicBezTo>
                <a:cubicBezTo>
                  <a:pt x="4793343" y="10899502"/>
                  <a:pt x="4801929" y="10925627"/>
                  <a:pt x="4803636" y="10902991"/>
                </a:cubicBezTo>
                <a:cubicBezTo>
                  <a:pt x="4806326" y="10858416"/>
                  <a:pt x="4803273" y="10865396"/>
                  <a:pt x="4806222" y="10831891"/>
                </a:cubicBezTo>
                <a:lnTo>
                  <a:pt x="4814652" y="10832091"/>
                </a:lnTo>
                <a:cubicBezTo>
                  <a:pt x="4817445" y="10850439"/>
                  <a:pt x="4815532" y="10899401"/>
                  <a:pt x="4818324" y="10917651"/>
                </a:cubicBezTo>
                <a:cubicBezTo>
                  <a:pt x="4827013" y="10906481"/>
                  <a:pt x="4817600" y="10859115"/>
                  <a:pt x="4823082" y="10832390"/>
                </a:cubicBezTo>
                <a:cubicBezTo>
                  <a:pt x="4822979" y="10801277"/>
                  <a:pt x="4817962" y="10801677"/>
                  <a:pt x="4812738" y="10803670"/>
                </a:cubicBezTo>
                <a:cubicBezTo>
                  <a:pt x="4813928" y="10792202"/>
                  <a:pt x="4815065" y="10780635"/>
                  <a:pt x="4815118" y="10760990"/>
                </a:cubicBezTo>
                <a:cubicBezTo>
                  <a:pt x="4814755" y="10731472"/>
                  <a:pt x="4805860" y="10756901"/>
                  <a:pt x="4804722" y="10732270"/>
                </a:cubicBezTo>
                <a:cubicBezTo>
                  <a:pt x="4806687" y="10680417"/>
                  <a:pt x="4811497" y="10733766"/>
                  <a:pt x="4819617" y="10718409"/>
                </a:cubicBezTo>
                <a:cubicBezTo>
                  <a:pt x="4829496" y="10710532"/>
                  <a:pt x="4819979" y="10651498"/>
                  <a:pt x="4828513" y="10647408"/>
                </a:cubicBezTo>
                <a:cubicBezTo>
                  <a:pt x="4827789" y="10654613"/>
                  <a:pt x="4827618" y="10664940"/>
                  <a:pt x="4827707" y="10676700"/>
                </a:cubicBezTo>
                <a:lnTo>
                  <a:pt x="4827892" y="10685908"/>
                </a:lnTo>
                <a:lnTo>
                  <a:pt x="4831668" y="10481474"/>
                </a:lnTo>
                <a:cubicBezTo>
                  <a:pt x="4830582" y="10505906"/>
                  <a:pt x="4828151" y="10533529"/>
                  <a:pt x="4829134" y="10560952"/>
                </a:cubicBezTo>
                <a:cubicBezTo>
                  <a:pt x="4827479" y="10553473"/>
                  <a:pt x="4825772" y="10546094"/>
                  <a:pt x="4822875" y="10546591"/>
                </a:cubicBezTo>
                <a:cubicBezTo>
                  <a:pt x="4819617" y="10568032"/>
                  <a:pt x="4819100" y="10609017"/>
                  <a:pt x="4818014" y="10646112"/>
                </a:cubicBezTo>
                <a:lnTo>
                  <a:pt x="4809584" y="10645914"/>
                </a:lnTo>
                <a:cubicBezTo>
                  <a:pt x="4808549" y="10634446"/>
                  <a:pt x="4807464" y="10622777"/>
                  <a:pt x="4807722" y="10603233"/>
                </a:cubicBezTo>
                <a:cubicBezTo>
                  <a:pt x="4807825" y="10591366"/>
                  <a:pt x="4809945" y="10572718"/>
                  <a:pt x="4809997" y="10574813"/>
                </a:cubicBezTo>
                <a:cubicBezTo>
                  <a:pt x="4809739" y="10550980"/>
                  <a:pt x="4803792" y="10535024"/>
                  <a:pt x="4808239" y="10517872"/>
                </a:cubicBezTo>
                <a:cubicBezTo>
                  <a:pt x="4812015" y="10509796"/>
                  <a:pt x="4820548" y="10535423"/>
                  <a:pt x="4821013" y="10504011"/>
                </a:cubicBezTo>
                <a:cubicBezTo>
                  <a:pt x="4822669" y="10429220"/>
                  <a:pt x="4808704" y="10518670"/>
                  <a:pt x="4808549" y="10475192"/>
                </a:cubicBezTo>
                <a:cubicBezTo>
                  <a:pt x="4809997" y="10415859"/>
                  <a:pt x="4819410" y="10458240"/>
                  <a:pt x="4825306" y="10460135"/>
                </a:cubicBezTo>
                <a:lnTo>
                  <a:pt x="4825306" y="10322920"/>
                </a:lnTo>
                <a:cubicBezTo>
                  <a:pt x="4823341" y="10304671"/>
                  <a:pt x="4821117" y="10291608"/>
                  <a:pt x="4818324" y="10276151"/>
                </a:cubicBezTo>
                <a:cubicBezTo>
                  <a:pt x="4820755" y="10238756"/>
                  <a:pt x="4821427" y="10188896"/>
                  <a:pt x="4821375" y="10133851"/>
                </a:cubicBezTo>
                <a:cubicBezTo>
                  <a:pt x="4822307" y="10140732"/>
                  <a:pt x="4823703" y="10144322"/>
                  <a:pt x="4825358" y="10146415"/>
                </a:cubicBezTo>
                <a:lnTo>
                  <a:pt x="4825358" y="10073720"/>
                </a:lnTo>
                <a:cubicBezTo>
                  <a:pt x="4824428" y="10076911"/>
                  <a:pt x="4823341" y="10078905"/>
                  <a:pt x="4821738" y="10077010"/>
                </a:cubicBezTo>
                <a:cubicBezTo>
                  <a:pt x="4822669" y="10017977"/>
                  <a:pt x="4819307" y="10021466"/>
                  <a:pt x="4822359" y="9977390"/>
                </a:cubicBezTo>
                <a:cubicBezTo>
                  <a:pt x="4822099" y="9960736"/>
                  <a:pt x="4818583" y="9965324"/>
                  <a:pt x="4816100" y="9963030"/>
                </a:cubicBezTo>
                <a:cubicBezTo>
                  <a:pt x="4817135" y="9945579"/>
                  <a:pt x="4818996" y="9933912"/>
                  <a:pt x="4822617" y="9934710"/>
                </a:cubicBezTo>
                <a:cubicBezTo>
                  <a:pt x="4822565" y="9899608"/>
                  <a:pt x="4822720" y="9866103"/>
                  <a:pt x="4825255" y="9849350"/>
                </a:cubicBezTo>
                <a:lnTo>
                  <a:pt x="4825255" y="9749031"/>
                </a:lnTo>
                <a:cubicBezTo>
                  <a:pt x="4824737" y="9749331"/>
                  <a:pt x="4824272" y="9749530"/>
                  <a:pt x="4823755" y="9749629"/>
                </a:cubicBezTo>
                <a:cubicBezTo>
                  <a:pt x="4821686" y="9736367"/>
                  <a:pt x="4823807" y="9717719"/>
                  <a:pt x="4825255" y="9701165"/>
                </a:cubicBezTo>
                <a:lnTo>
                  <a:pt x="4825255" y="9671847"/>
                </a:lnTo>
                <a:cubicBezTo>
                  <a:pt x="4824013" y="9666263"/>
                  <a:pt x="4822307" y="9660280"/>
                  <a:pt x="4822203" y="9664169"/>
                </a:cubicBezTo>
                <a:cubicBezTo>
                  <a:pt x="4822410" y="9655892"/>
                  <a:pt x="4823807" y="9651705"/>
                  <a:pt x="4825255" y="9648314"/>
                </a:cubicBezTo>
                <a:lnTo>
                  <a:pt x="4825255" y="9547997"/>
                </a:lnTo>
                <a:cubicBezTo>
                  <a:pt x="4823238" y="9549691"/>
                  <a:pt x="4823962" y="9571131"/>
                  <a:pt x="4822772" y="9578809"/>
                </a:cubicBezTo>
                <a:cubicBezTo>
                  <a:pt x="4821996" y="9583496"/>
                  <a:pt x="4819256" y="9574023"/>
                  <a:pt x="4818531" y="9578710"/>
                </a:cubicBezTo>
                <a:cubicBezTo>
                  <a:pt x="4817859" y="9582798"/>
                  <a:pt x="4819048" y="9603938"/>
                  <a:pt x="4818324" y="9607129"/>
                </a:cubicBezTo>
                <a:cubicBezTo>
                  <a:pt x="4816307" y="9616104"/>
                  <a:pt x="4811601" y="9596659"/>
                  <a:pt x="4811911" y="9621190"/>
                </a:cubicBezTo>
                <a:cubicBezTo>
                  <a:pt x="4810721" y="9651505"/>
                  <a:pt x="4814755" y="9648415"/>
                  <a:pt x="4818066" y="9649810"/>
                </a:cubicBezTo>
                <a:cubicBezTo>
                  <a:pt x="4814859" y="9684911"/>
                  <a:pt x="4810618" y="9674740"/>
                  <a:pt x="4805291" y="9663671"/>
                </a:cubicBezTo>
                <a:cubicBezTo>
                  <a:pt x="4807515" y="9644823"/>
                  <a:pt x="4803636" y="9604636"/>
                  <a:pt x="4803532" y="9606730"/>
                </a:cubicBezTo>
                <a:cubicBezTo>
                  <a:pt x="4804152" y="9591274"/>
                  <a:pt x="4807774" y="9597258"/>
                  <a:pt x="4807929" y="9578410"/>
                </a:cubicBezTo>
                <a:cubicBezTo>
                  <a:pt x="4805549" y="9529248"/>
                  <a:pt x="4802911" y="9522666"/>
                  <a:pt x="4806635" y="9450270"/>
                </a:cubicBezTo>
                <a:cubicBezTo>
                  <a:pt x="4809066" y="9452663"/>
                  <a:pt x="4808239" y="9476297"/>
                  <a:pt x="4808445" y="9493050"/>
                </a:cubicBezTo>
                <a:cubicBezTo>
                  <a:pt x="4809945" y="9507011"/>
                  <a:pt x="4810825" y="9521769"/>
                  <a:pt x="4812377" y="9535830"/>
                </a:cubicBezTo>
                <a:cubicBezTo>
                  <a:pt x="4813928" y="9549691"/>
                  <a:pt x="4811290" y="9558765"/>
                  <a:pt x="4814290" y="9564349"/>
                </a:cubicBezTo>
                <a:cubicBezTo>
                  <a:pt x="4815583" y="9566744"/>
                  <a:pt x="4817187" y="9562654"/>
                  <a:pt x="4818531" y="9564450"/>
                </a:cubicBezTo>
                <a:cubicBezTo>
                  <a:pt x="4820393" y="9563751"/>
                  <a:pt x="4819048" y="9513492"/>
                  <a:pt x="4819152" y="9464829"/>
                </a:cubicBezTo>
                <a:cubicBezTo>
                  <a:pt x="4819256" y="9426137"/>
                  <a:pt x="4820237" y="9377774"/>
                  <a:pt x="4819979" y="9336689"/>
                </a:cubicBezTo>
                <a:cubicBezTo>
                  <a:pt x="4819824" y="9311459"/>
                  <a:pt x="4818066" y="9306474"/>
                  <a:pt x="4818221" y="9279748"/>
                </a:cubicBezTo>
                <a:cubicBezTo>
                  <a:pt x="4818790" y="9189802"/>
                  <a:pt x="4823651" y="9100453"/>
                  <a:pt x="4822099" y="9009308"/>
                </a:cubicBezTo>
                <a:cubicBezTo>
                  <a:pt x="4814083" y="9002228"/>
                  <a:pt x="4808601" y="9012997"/>
                  <a:pt x="4805032" y="9037330"/>
                </a:cubicBezTo>
                <a:cubicBezTo>
                  <a:pt x="4806067" y="9066846"/>
                  <a:pt x="4801774" y="9130767"/>
                  <a:pt x="4806480" y="9137050"/>
                </a:cubicBezTo>
                <a:cubicBezTo>
                  <a:pt x="4804670" y="9147221"/>
                  <a:pt x="4804980" y="9161680"/>
                  <a:pt x="4804101" y="9179730"/>
                </a:cubicBezTo>
                <a:cubicBezTo>
                  <a:pt x="4803843" y="9184517"/>
                  <a:pt x="4804412" y="9205358"/>
                  <a:pt x="4803894" y="9208150"/>
                </a:cubicBezTo>
                <a:cubicBezTo>
                  <a:pt x="4801360" y="9221513"/>
                  <a:pt x="4804256" y="9220914"/>
                  <a:pt x="4803636" y="9250829"/>
                </a:cubicBezTo>
                <a:cubicBezTo>
                  <a:pt x="4802963" y="9282042"/>
                  <a:pt x="4801567" y="9306773"/>
                  <a:pt x="4800791" y="9364610"/>
                </a:cubicBezTo>
                <a:cubicBezTo>
                  <a:pt x="4800480" y="9387147"/>
                  <a:pt x="4801463" y="9418858"/>
                  <a:pt x="4798308" y="9421452"/>
                </a:cubicBezTo>
                <a:cubicBezTo>
                  <a:pt x="4786465" y="9443390"/>
                  <a:pt x="4796602" y="9323626"/>
                  <a:pt x="4786206" y="9335792"/>
                </a:cubicBezTo>
                <a:cubicBezTo>
                  <a:pt x="4779586" y="9341575"/>
                  <a:pt x="4786051" y="9369297"/>
                  <a:pt x="4785844" y="9392731"/>
                </a:cubicBezTo>
                <a:cubicBezTo>
                  <a:pt x="4785637" y="9414969"/>
                  <a:pt x="4783465" y="9417961"/>
                  <a:pt x="4783465" y="9435412"/>
                </a:cubicBezTo>
                <a:cubicBezTo>
                  <a:pt x="4783516" y="9446481"/>
                  <a:pt x="4785224" y="9459444"/>
                  <a:pt x="4785327" y="9478092"/>
                </a:cubicBezTo>
                <a:cubicBezTo>
                  <a:pt x="4785690" y="9533836"/>
                  <a:pt x="4783569" y="9611219"/>
                  <a:pt x="4784034" y="9677433"/>
                </a:cubicBezTo>
                <a:cubicBezTo>
                  <a:pt x="4784137" y="9692090"/>
                  <a:pt x="4785844" y="9733275"/>
                  <a:pt x="4785690" y="9748632"/>
                </a:cubicBezTo>
                <a:cubicBezTo>
                  <a:pt x="4785690" y="9745642"/>
                  <a:pt x="4783569" y="9754816"/>
                  <a:pt x="4783465" y="9762793"/>
                </a:cubicBezTo>
                <a:cubicBezTo>
                  <a:pt x="4782948" y="9799489"/>
                  <a:pt x="4783775" y="9898612"/>
                  <a:pt x="4780155" y="9947774"/>
                </a:cubicBezTo>
                <a:cubicBezTo>
                  <a:pt x="4775965" y="9938600"/>
                  <a:pt x="4779224" y="9881260"/>
                  <a:pt x="4774310" y="9876473"/>
                </a:cubicBezTo>
                <a:cubicBezTo>
                  <a:pt x="4770742" y="9871189"/>
                  <a:pt x="4770276" y="9887542"/>
                  <a:pt x="4769914" y="9904894"/>
                </a:cubicBezTo>
                <a:cubicBezTo>
                  <a:pt x="4763501" y="9894722"/>
                  <a:pt x="4765932" y="9894822"/>
                  <a:pt x="4759364" y="9904595"/>
                </a:cubicBezTo>
                <a:cubicBezTo>
                  <a:pt x="4761019" y="9921149"/>
                  <a:pt x="4761898" y="9942787"/>
                  <a:pt x="4761019" y="9975794"/>
                </a:cubicBezTo>
                <a:cubicBezTo>
                  <a:pt x="4768880" y="9996537"/>
                  <a:pt x="4765363" y="9936804"/>
                  <a:pt x="4771776" y="9947574"/>
                </a:cubicBezTo>
                <a:cubicBezTo>
                  <a:pt x="4770897" y="9981080"/>
                  <a:pt x="4768104" y="10000925"/>
                  <a:pt x="4769036" y="10047194"/>
                </a:cubicBezTo>
                <a:cubicBezTo>
                  <a:pt x="4765570" y="10051183"/>
                  <a:pt x="4765467" y="10033732"/>
                  <a:pt x="4762777" y="10032834"/>
                </a:cubicBezTo>
                <a:cubicBezTo>
                  <a:pt x="4758846" y="10034829"/>
                  <a:pt x="4761174" y="10080999"/>
                  <a:pt x="4758174" y="10089675"/>
                </a:cubicBezTo>
                <a:cubicBezTo>
                  <a:pt x="4753520" y="10087781"/>
                  <a:pt x="4757657" y="10029245"/>
                  <a:pt x="4756622" y="10004215"/>
                </a:cubicBezTo>
                <a:cubicBezTo>
                  <a:pt x="4747519" y="9994442"/>
                  <a:pt x="4750519" y="10070130"/>
                  <a:pt x="4749537" y="10117895"/>
                </a:cubicBezTo>
                <a:cubicBezTo>
                  <a:pt x="4758692" y="10120090"/>
                  <a:pt x="4767173" y="10078307"/>
                  <a:pt x="4768363" y="10146814"/>
                </a:cubicBezTo>
                <a:cubicBezTo>
                  <a:pt x="4771983" y="10147513"/>
                  <a:pt x="4773898" y="10136443"/>
                  <a:pt x="4774879" y="10118494"/>
                </a:cubicBezTo>
                <a:cubicBezTo>
                  <a:pt x="4779172" y="10136245"/>
                  <a:pt x="4773276" y="10219709"/>
                  <a:pt x="4784965" y="10189894"/>
                </a:cubicBezTo>
                <a:cubicBezTo>
                  <a:pt x="4785120" y="10235766"/>
                  <a:pt x="4780827" y="10250024"/>
                  <a:pt x="4782120" y="10303774"/>
                </a:cubicBezTo>
                <a:cubicBezTo>
                  <a:pt x="4775862" y="10310654"/>
                  <a:pt x="4763708" y="10221006"/>
                  <a:pt x="4763036" y="10317535"/>
                </a:cubicBezTo>
                <a:cubicBezTo>
                  <a:pt x="4758640" y="10352637"/>
                  <a:pt x="4761950" y="10233671"/>
                  <a:pt x="4763656" y="10217914"/>
                </a:cubicBezTo>
                <a:cubicBezTo>
                  <a:pt x="4763087" y="10198570"/>
                  <a:pt x="4758432" y="10205948"/>
                  <a:pt x="4755278" y="10203456"/>
                </a:cubicBezTo>
                <a:cubicBezTo>
                  <a:pt x="4753002" y="10206847"/>
                  <a:pt x="4753674" y="10231676"/>
                  <a:pt x="4750882" y="10231776"/>
                </a:cubicBezTo>
                <a:cubicBezTo>
                  <a:pt x="4749486" y="10263387"/>
                  <a:pt x="4754761" y="10252118"/>
                  <a:pt x="4754812" y="10274556"/>
                </a:cubicBezTo>
                <a:cubicBezTo>
                  <a:pt x="4757812" y="10344759"/>
                  <a:pt x="4745864" y="10428724"/>
                  <a:pt x="4758018" y="10431216"/>
                </a:cubicBezTo>
                <a:cubicBezTo>
                  <a:pt x="4764018" y="10417355"/>
                  <a:pt x="4755226" y="10393123"/>
                  <a:pt x="4760501" y="10374275"/>
                </a:cubicBezTo>
                <a:cubicBezTo>
                  <a:pt x="4765105" y="10372082"/>
                  <a:pt x="4761122" y="10424834"/>
                  <a:pt x="4762156" y="10445576"/>
                </a:cubicBezTo>
                <a:cubicBezTo>
                  <a:pt x="4767018" y="10450261"/>
                  <a:pt x="4770276" y="10443482"/>
                  <a:pt x="4772810" y="10431614"/>
                </a:cubicBezTo>
                <a:cubicBezTo>
                  <a:pt x="4772294" y="10403095"/>
                  <a:pt x="4773535" y="10387039"/>
                  <a:pt x="4777311" y="10389035"/>
                </a:cubicBezTo>
                <a:cubicBezTo>
                  <a:pt x="4776896" y="10407683"/>
                  <a:pt x="4777414" y="10427327"/>
                  <a:pt x="4776948" y="10445975"/>
                </a:cubicBezTo>
                <a:cubicBezTo>
                  <a:pt x="4776431" y="10466617"/>
                  <a:pt x="4774672" y="10472101"/>
                  <a:pt x="4774569" y="10488555"/>
                </a:cubicBezTo>
                <a:cubicBezTo>
                  <a:pt x="4774414" y="10511092"/>
                  <a:pt x="4776638" y="10513784"/>
                  <a:pt x="4776379" y="10531335"/>
                </a:cubicBezTo>
                <a:cubicBezTo>
                  <a:pt x="4775758" y="10572818"/>
                  <a:pt x="4770535" y="10697767"/>
                  <a:pt x="4772914" y="10744835"/>
                </a:cubicBezTo>
                <a:lnTo>
                  <a:pt x="4768673" y="10744736"/>
                </a:lnTo>
                <a:cubicBezTo>
                  <a:pt x="4771001" y="10799681"/>
                  <a:pt x="4767897" y="10810452"/>
                  <a:pt x="4769966" y="10872875"/>
                </a:cubicBezTo>
                <a:cubicBezTo>
                  <a:pt x="4765829" y="10884942"/>
                  <a:pt x="4765260" y="10846948"/>
                  <a:pt x="4763812" y="10844256"/>
                </a:cubicBezTo>
                <a:cubicBezTo>
                  <a:pt x="4762726" y="10842261"/>
                  <a:pt x="4759933" y="10860609"/>
                  <a:pt x="4757398" y="10858317"/>
                </a:cubicBezTo>
                <a:cubicBezTo>
                  <a:pt x="4755640" y="10856621"/>
                  <a:pt x="4755433" y="10843458"/>
                  <a:pt x="4753260" y="10843957"/>
                </a:cubicBezTo>
                <a:cubicBezTo>
                  <a:pt x="4749433" y="10844855"/>
                  <a:pt x="4745657" y="10871081"/>
                  <a:pt x="4740486" y="10857918"/>
                </a:cubicBezTo>
                <a:cubicBezTo>
                  <a:pt x="4740641" y="10902494"/>
                  <a:pt x="4738417" y="10962325"/>
                  <a:pt x="4741778" y="10986058"/>
                </a:cubicBezTo>
                <a:cubicBezTo>
                  <a:pt x="4743796" y="10975688"/>
                  <a:pt x="4745141" y="10960330"/>
                  <a:pt x="4746278" y="10943478"/>
                </a:cubicBezTo>
                <a:cubicBezTo>
                  <a:pt x="4749537" y="10943876"/>
                  <a:pt x="4750261" y="11049082"/>
                  <a:pt x="4743640" y="11028837"/>
                </a:cubicBezTo>
                <a:cubicBezTo>
                  <a:pt x="4743382" y="11062344"/>
                  <a:pt x="4747003" y="11070821"/>
                  <a:pt x="4745193" y="11114298"/>
                </a:cubicBezTo>
                <a:cubicBezTo>
                  <a:pt x="4741623" y="11108913"/>
                  <a:pt x="4741158" y="11125268"/>
                  <a:pt x="4740796" y="11142618"/>
                </a:cubicBezTo>
                <a:cubicBezTo>
                  <a:pt x="4737227" y="11137334"/>
                  <a:pt x="4736762" y="11153687"/>
                  <a:pt x="4736400" y="11171039"/>
                </a:cubicBezTo>
                <a:cubicBezTo>
                  <a:pt x="4734797" y="11169443"/>
                  <a:pt x="4732727" y="11116691"/>
                  <a:pt x="4732624" y="11099739"/>
                </a:cubicBezTo>
                <a:cubicBezTo>
                  <a:pt x="4732417" y="11067829"/>
                  <a:pt x="4732832" y="11035020"/>
                  <a:pt x="4735314" y="11014378"/>
                </a:cubicBezTo>
                <a:cubicBezTo>
                  <a:pt x="4731486" y="10987553"/>
                  <a:pt x="4730038" y="11012684"/>
                  <a:pt x="4724763" y="11014079"/>
                </a:cubicBezTo>
                <a:cubicBezTo>
                  <a:pt x="4725021" y="10988551"/>
                  <a:pt x="4727091" y="10984163"/>
                  <a:pt x="4727246" y="10957239"/>
                </a:cubicBezTo>
                <a:cubicBezTo>
                  <a:pt x="4727401" y="10931610"/>
                  <a:pt x="4725125" y="10927224"/>
                  <a:pt x="4725487" y="10900200"/>
                </a:cubicBezTo>
                <a:cubicBezTo>
                  <a:pt x="4725487" y="10902294"/>
                  <a:pt x="4727608" y="10894614"/>
                  <a:pt x="4727711" y="10886039"/>
                </a:cubicBezTo>
                <a:cubicBezTo>
                  <a:pt x="4727866" y="10874770"/>
                  <a:pt x="4728176" y="10819426"/>
                  <a:pt x="4728331" y="10786419"/>
                </a:cubicBezTo>
                <a:cubicBezTo>
                  <a:pt x="4728435" y="10756103"/>
                  <a:pt x="4726314" y="10719208"/>
                  <a:pt x="4727039" y="10658279"/>
                </a:cubicBezTo>
                <a:cubicBezTo>
                  <a:pt x="4727711" y="10603830"/>
                  <a:pt x="4733142" y="10558857"/>
                  <a:pt x="4730090" y="10515979"/>
                </a:cubicBezTo>
                <a:lnTo>
                  <a:pt x="4740641" y="10516278"/>
                </a:lnTo>
                <a:cubicBezTo>
                  <a:pt x="4737382" y="10590669"/>
                  <a:pt x="4731746" y="10716815"/>
                  <a:pt x="4736710" y="10800878"/>
                </a:cubicBezTo>
                <a:cubicBezTo>
                  <a:pt x="4740848" y="10795194"/>
                  <a:pt x="4738727" y="10745733"/>
                  <a:pt x="4745451" y="10758397"/>
                </a:cubicBezTo>
                <a:cubicBezTo>
                  <a:pt x="4745916" y="10730377"/>
                  <a:pt x="4739916" y="10687196"/>
                  <a:pt x="4745916" y="10687297"/>
                </a:cubicBezTo>
                <a:cubicBezTo>
                  <a:pt x="4749640" y="10687396"/>
                  <a:pt x="4746433" y="10653591"/>
                  <a:pt x="4746175" y="10644618"/>
                </a:cubicBezTo>
                <a:cubicBezTo>
                  <a:pt x="4748606" y="10646911"/>
                  <a:pt x="4749899" y="10641526"/>
                  <a:pt x="4750468" y="10630457"/>
                </a:cubicBezTo>
                <a:cubicBezTo>
                  <a:pt x="4758174" y="10634545"/>
                  <a:pt x="4750829" y="10661670"/>
                  <a:pt x="4752226" y="10687496"/>
                </a:cubicBezTo>
                <a:cubicBezTo>
                  <a:pt x="4753416" y="10708937"/>
                  <a:pt x="4756933" y="10687596"/>
                  <a:pt x="4758484" y="10701856"/>
                </a:cubicBezTo>
                <a:cubicBezTo>
                  <a:pt x="4760088" y="10716515"/>
                  <a:pt x="4756829" y="10756204"/>
                  <a:pt x="4758018" y="10773057"/>
                </a:cubicBezTo>
                <a:lnTo>
                  <a:pt x="4764381" y="10773255"/>
                </a:lnTo>
                <a:cubicBezTo>
                  <a:pt x="4768931" y="10749422"/>
                  <a:pt x="4766242" y="10701357"/>
                  <a:pt x="4767225" y="10659475"/>
                </a:cubicBezTo>
                <a:cubicBezTo>
                  <a:pt x="4768001" y="10627365"/>
                  <a:pt x="4771052" y="10602435"/>
                  <a:pt x="4769914" y="10574115"/>
                </a:cubicBezTo>
                <a:cubicBezTo>
                  <a:pt x="4768363" y="10520066"/>
                  <a:pt x="4761484" y="10563546"/>
                  <a:pt x="4755226" y="10559555"/>
                </a:cubicBezTo>
                <a:cubicBezTo>
                  <a:pt x="4752330" y="10563943"/>
                  <a:pt x="4753260" y="10595156"/>
                  <a:pt x="4752744" y="10616496"/>
                </a:cubicBezTo>
                <a:cubicBezTo>
                  <a:pt x="4738883" y="10569128"/>
                  <a:pt x="4758174" y="10374375"/>
                  <a:pt x="4748347" y="10317435"/>
                </a:cubicBezTo>
                <a:cubicBezTo>
                  <a:pt x="4742399" y="10314743"/>
                  <a:pt x="4750313" y="10410573"/>
                  <a:pt x="4741572" y="10388436"/>
                </a:cubicBezTo>
                <a:cubicBezTo>
                  <a:pt x="4743589" y="10353034"/>
                  <a:pt x="4744830" y="10312250"/>
                  <a:pt x="4744519" y="10260396"/>
                </a:cubicBezTo>
                <a:cubicBezTo>
                  <a:pt x="4738624" y="10248528"/>
                  <a:pt x="4738934" y="10280340"/>
                  <a:pt x="4733866" y="10274357"/>
                </a:cubicBezTo>
                <a:cubicBezTo>
                  <a:pt x="4735159" y="10253714"/>
                  <a:pt x="4731900" y="10200763"/>
                  <a:pt x="4736451" y="10203255"/>
                </a:cubicBezTo>
                <a:cubicBezTo>
                  <a:pt x="4735676" y="10180918"/>
                  <a:pt x="4729883" y="10190890"/>
                  <a:pt x="4732573" y="10146217"/>
                </a:cubicBezTo>
                <a:cubicBezTo>
                  <a:pt x="4725953" y="10139035"/>
                  <a:pt x="4724918" y="10171645"/>
                  <a:pt x="4717677" y="10160078"/>
                </a:cubicBezTo>
                <a:cubicBezTo>
                  <a:pt x="4717316" y="10127668"/>
                  <a:pt x="4718557" y="10106627"/>
                  <a:pt x="4722281" y="10103236"/>
                </a:cubicBezTo>
                <a:cubicBezTo>
                  <a:pt x="4729263" y="10085886"/>
                  <a:pt x="4723625" y="10149408"/>
                  <a:pt x="4730556" y="10131956"/>
                </a:cubicBezTo>
                <a:cubicBezTo>
                  <a:pt x="4729883" y="10133153"/>
                  <a:pt x="4736865" y="10096057"/>
                  <a:pt x="4737176" y="10089476"/>
                </a:cubicBezTo>
                <a:cubicBezTo>
                  <a:pt x="4737900" y="10074218"/>
                  <a:pt x="4733193" y="10066839"/>
                  <a:pt x="4733142" y="10060856"/>
                </a:cubicBezTo>
                <a:cubicBezTo>
                  <a:pt x="4732727" y="10032037"/>
                  <a:pt x="4739761" y="10035726"/>
                  <a:pt x="4735779" y="9975496"/>
                </a:cubicBezTo>
                <a:cubicBezTo>
                  <a:pt x="4733296" y="9941092"/>
                  <a:pt x="4740692" y="9949270"/>
                  <a:pt x="4742399" y="9932915"/>
                </a:cubicBezTo>
                <a:cubicBezTo>
                  <a:pt x="4742968" y="9927829"/>
                  <a:pt x="4741882" y="9908184"/>
                  <a:pt x="4742606" y="9904495"/>
                </a:cubicBezTo>
                <a:cubicBezTo>
                  <a:pt x="4745606" y="9888539"/>
                  <a:pt x="4743330" y="9874380"/>
                  <a:pt x="4745089" y="9847554"/>
                </a:cubicBezTo>
                <a:cubicBezTo>
                  <a:pt x="4745864" y="9835489"/>
                  <a:pt x="4748864" y="9838281"/>
                  <a:pt x="4749486" y="9819135"/>
                </a:cubicBezTo>
                <a:cubicBezTo>
                  <a:pt x="4751295" y="9764387"/>
                  <a:pt x="4746796" y="9743348"/>
                  <a:pt x="4748295" y="9676735"/>
                </a:cubicBezTo>
                <a:cubicBezTo>
                  <a:pt x="4748606" y="9663372"/>
                  <a:pt x="4751864" y="9652004"/>
                  <a:pt x="4748502" y="9648314"/>
                </a:cubicBezTo>
                <a:cubicBezTo>
                  <a:pt x="4749227" y="9611617"/>
                  <a:pt x="4752019" y="9667959"/>
                  <a:pt x="4756933" y="9648513"/>
                </a:cubicBezTo>
                <a:cubicBezTo>
                  <a:pt x="4759829" y="9631561"/>
                  <a:pt x="4760294" y="9643128"/>
                  <a:pt x="4763295" y="9648713"/>
                </a:cubicBezTo>
                <a:cubicBezTo>
                  <a:pt x="4762053" y="9709343"/>
                  <a:pt x="4764381" y="9795401"/>
                  <a:pt x="4759984" y="9833693"/>
                </a:cubicBezTo>
                <a:cubicBezTo>
                  <a:pt x="4759104" y="9866502"/>
                  <a:pt x="4765984" y="9849650"/>
                  <a:pt x="4766035" y="9876573"/>
                </a:cubicBezTo>
                <a:cubicBezTo>
                  <a:pt x="4768155" y="9881758"/>
                  <a:pt x="4769552" y="9849249"/>
                  <a:pt x="4770432" y="9848253"/>
                </a:cubicBezTo>
                <a:cubicBezTo>
                  <a:pt x="4771259" y="9847255"/>
                  <a:pt x="4773587" y="9868695"/>
                  <a:pt x="4774569" y="9862612"/>
                </a:cubicBezTo>
                <a:cubicBezTo>
                  <a:pt x="4779430" y="9832397"/>
                  <a:pt x="4779121" y="9770271"/>
                  <a:pt x="4779897" y="9691892"/>
                </a:cubicBezTo>
                <a:cubicBezTo>
                  <a:pt x="4778448" y="9678529"/>
                  <a:pt x="4776173" y="9670252"/>
                  <a:pt x="4773742" y="9663272"/>
                </a:cubicBezTo>
                <a:cubicBezTo>
                  <a:pt x="4774931" y="9649211"/>
                  <a:pt x="4777206" y="9652104"/>
                  <a:pt x="4778138" y="9634951"/>
                </a:cubicBezTo>
                <a:cubicBezTo>
                  <a:pt x="4779379" y="9611816"/>
                  <a:pt x="4774724" y="9602045"/>
                  <a:pt x="4776379" y="9578011"/>
                </a:cubicBezTo>
                <a:cubicBezTo>
                  <a:pt x="4776431" y="9577412"/>
                  <a:pt x="4778500" y="9578510"/>
                  <a:pt x="4778500" y="9578111"/>
                </a:cubicBezTo>
                <a:cubicBezTo>
                  <a:pt x="4778345" y="9538622"/>
                  <a:pt x="4776379" y="9537027"/>
                  <a:pt x="4779069" y="9492751"/>
                </a:cubicBezTo>
                <a:cubicBezTo>
                  <a:pt x="4780000" y="9477494"/>
                  <a:pt x="4781241" y="9462734"/>
                  <a:pt x="4781448" y="9450071"/>
                </a:cubicBezTo>
                <a:cubicBezTo>
                  <a:pt x="4781966" y="9412676"/>
                  <a:pt x="4776534" y="9368599"/>
                  <a:pt x="4782172" y="9336189"/>
                </a:cubicBezTo>
                <a:cubicBezTo>
                  <a:pt x="4780724" y="9304480"/>
                  <a:pt x="4778086" y="9280547"/>
                  <a:pt x="4778603" y="9236470"/>
                </a:cubicBezTo>
                <a:cubicBezTo>
                  <a:pt x="4783154" y="9202766"/>
                  <a:pt x="4786826" y="9256215"/>
                  <a:pt x="4791378" y="9222509"/>
                </a:cubicBezTo>
                <a:lnTo>
                  <a:pt x="4791844" y="9151310"/>
                </a:lnTo>
                <a:cubicBezTo>
                  <a:pt x="4784344" y="9162379"/>
                  <a:pt x="4784655" y="9191197"/>
                  <a:pt x="4779172" y="9151010"/>
                </a:cubicBezTo>
                <a:cubicBezTo>
                  <a:pt x="4772966" y="9154899"/>
                  <a:pt x="4775397" y="9204859"/>
                  <a:pt x="4774310" y="9250531"/>
                </a:cubicBezTo>
                <a:cubicBezTo>
                  <a:pt x="4774208" y="9254718"/>
                  <a:pt x="4774569" y="9276557"/>
                  <a:pt x="4774104" y="9278950"/>
                </a:cubicBezTo>
                <a:cubicBezTo>
                  <a:pt x="4774000" y="9279450"/>
                  <a:pt x="4771983" y="9278551"/>
                  <a:pt x="4771983" y="9278851"/>
                </a:cubicBezTo>
                <a:cubicBezTo>
                  <a:pt x="4772087" y="9312955"/>
                  <a:pt x="4776638" y="9337685"/>
                  <a:pt x="4775655" y="9364311"/>
                </a:cubicBezTo>
                <a:cubicBezTo>
                  <a:pt x="4772759" y="9368599"/>
                  <a:pt x="4773690" y="9399911"/>
                  <a:pt x="4773173" y="9421152"/>
                </a:cubicBezTo>
                <a:cubicBezTo>
                  <a:pt x="4763812" y="9403600"/>
                  <a:pt x="4758278" y="9408488"/>
                  <a:pt x="4747727" y="9434813"/>
                </a:cubicBezTo>
                <a:cubicBezTo>
                  <a:pt x="4748295" y="9454159"/>
                  <a:pt x="4752950" y="9446779"/>
                  <a:pt x="4756106" y="9449273"/>
                </a:cubicBezTo>
                <a:cubicBezTo>
                  <a:pt x="4754192" y="9500130"/>
                  <a:pt x="4750674" y="9539619"/>
                  <a:pt x="4742813" y="9548594"/>
                </a:cubicBezTo>
                <a:cubicBezTo>
                  <a:pt x="4744003" y="9616603"/>
                  <a:pt x="4738934" y="9640138"/>
                  <a:pt x="4739710" y="9705154"/>
                </a:cubicBezTo>
                <a:cubicBezTo>
                  <a:pt x="4733814" y="9702362"/>
                  <a:pt x="4734228" y="9658585"/>
                  <a:pt x="4729521" y="9648014"/>
                </a:cubicBezTo>
                <a:cubicBezTo>
                  <a:pt x="4727814" y="9621090"/>
                  <a:pt x="4733659" y="9614709"/>
                  <a:pt x="4734021" y="9605434"/>
                </a:cubicBezTo>
                <a:cubicBezTo>
                  <a:pt x="4734745" y="9586090"/>
                  <a:pt x="4729935" y="9565347"/>
                  <a:pt x="4732469" y="9519975"/>
                </a:cubicBezTo>
                <a:cubicBezTo>
                  <a:pt x="4738883" y="9530445"/>
                  <a:pt x="4738831" y="9495543"/>
                  <a:pt x="4745244" y="9506014"/>
                </a:cubicBezTo>
                <a:cubicBezTo>
                  <a:pt x="4746227" y="9458747"/>
                  <a:pt x="4734951" y="9490357"/>
                  <a:pt x="4739452" y="9420454"/>
                </a:cubicBezTo>
                <a:cubicBezTo>
                  <a:pt x="4734176" y="9421850"/>
                  <a:pt x="4732727" y="9446880"/>
                  <a:pt x="4728901" y="9420154"/>
                </a:cubicBezTo>
                <a:cubicBezTo>
                  <a:pt x="4728280" y="9396022"/>
                  <a:pt x="4730710" y="9393430"/>
                  <a:pt x="4733296" y="9391834"/>
                </a:cubicBezTo>
                <a:cubicBezTo>
                  <a:pt x="4733038" y="9354140"/>
                  <a:pt x="4729521" y="9350550"/>
                  <a:pt x="4729521" y="9320633"/>
                </a:cubicBezTo>
                <a:cubicBezTo>
                  <a:pt x="4729470" y="9325421"/>
                  <a:pt x="4731590" y="9312955"/>
                  <a:pt x="4731694" y="9306373"/>
                </a:cubicBezTo>
                <a:cubicBezTo>
                  <a:pt x="4731952" y="9287427"/>
                  <a:pt x="4731848" y="9268381"/>
                  <a:pt x="4732055" y="9249434"/>
                </a:cubicBezTo>
                <a:cubicBezTo>
                  <a:pt x="4737020" y="9249932"/>
                  <a:pt x="4738468" y="9225102"/>
                  <a:pt x="4744830" y="9235573"/>
                </a:cubicBezTo>
                <a:cubicBezTo>
                  <a:pt x="4740692" y="9262597"/>
                  <a:pt x="4745916" y="9261301"/>
                  <a:pt x="4744365" y="9306673"/>
                </a:cubicBezTo>
                <a:cubicBezTo>
                  <a:pt x="4751450" y="9305377"/>
                  <a:pt x="4755743" y="9278551"/>
                  <a:pt x="4759053" y="9321332"/>
                </a:cubicBezTo>
                <a:cubicBezTo>
                  <a:pt x="4763553" y="9308468"/>
                  <a:pt x="4765725" y="9279450"/>
                  <a:pt x="4765932" y="9236071"/>
                </a:cubicBezTo>
                <a:cubicBezTo>
                  <a:pt x="4769552" y="9236769"/>
                  <a:pt x="4771466" y="9225601"/>
                  <a:pt x="4772449" y="9207751"/>
                </a:cubicBezTo>
                <a:cubicBezTo>
                  <a:pt x="4772139" y="9196183"/>
                  <a:pt x="4770432" y="9193491"/>
                  <a:pt x="4770535" y="9179231"/>
                </a:cubicBezTo>
                <a:cubicBezTo>
                  <a:pt x="4770484" y="9147720"/>
                  <a:pt x="4761639" y="9172948"/>
                  <a:pt x="4757967" y="9164673"/>
                </a:cubicBezTo>
                <a:cubicBezTo>
                  <a:pt x="4754399" y="9151508"/>
                  <a:pt x="4747468" y="9159486"/>
                  <a:pt x="4745502" y="9135853"/>
                </a:cubicBezTo>
                <a:cubicBezTo>
                  <a:pt x="4741417" y="9141836"/>
                  <a:pt x="4741417" y="9176439"/>
                  <a:pt x="4734745" y="9164074"/>
                </a:cubicBezTo>
                <a:cubicBezTo>
                  <a:pt x="4735159" y="9147420"/>
                  <a:pt x="4738675" y="9152207"/>
                  <a:pt x="4741158" y="9150014"/>
                </a:cubicBezTo>
                <a:cubicBezTo>
                  <a:pt x="4740900" y="9133360"/>
                  <a:pt x="4737382" y="9137947"/>
                  <a:pt x="4734900" y="9135653"/>
                </a:cubicBezTo>
                <a:cubicBezTo>
                  <a:pt x="4738883" y="9109427"/>
                  <a:pt x="4747778" y="9117505"/>
                  <a:pt x="4752071" y="9093372"/>
                </a:cubicBezTo>
                <a:cubicBezTo>
                  <a:pt x="4751761" y="9069639"/>
                  <a:pt x="4736762" y="9035834"/>
                  <a:pt x="4737279" y="9092973"/>
                </a:cubicBezTo>
                <a:cubicBezTo>
                  <a:pt x="4736503" y="9083998"/>
                  <a:pt x="4732832" y="9065052"/>
                  <a:pt x="4733348" y="9050193"/>
                </a:cubicBezTo>
                <a:cubicBezTo>
                  <a:pt x="4734280" y="9024166"/>
                  <a:pt x="4736814" y="9060464"/>
                  <a:pt x="4737589" y="9050293"/>
                </a:cubicBezTo>
                <a:cubicBezTo>
                  <a:pt x="4739347" y="9026759"/>
                  <a:pt x="4738314" y="9011701"/>
                  <a:pt x="4740072" y="8993452"/>
                </a:cubicBezTo>
                <a:cubicBezTo>
                  <a:pt x="4741211" y="8981187"/>
                  <a:pt x="4745657" y="8979990"/>
                  <a:pt x="4744572" y="8950872"/>
                </a:cubicBezTo>
                <a:cubicBezTo>
                  <a:pt x="4744209" y="8921354"/>
                  <a:pt x="4735314" y="8946783"/>
                  <a:pt x="4734176" y="8922153"/>
                </a:cubicBezTo>
                <a:cubicBezTo>
                  <a:pt x="4735107" y="8893034"/>
                  <a:pt x="4741831" y="8829114"/>
                  <a:pt x="4737020" y="8808373"/>
                </a:cubicBezTo>
                <a:cubicBezTo>
                  <a:pt x="4737641" y="8787830"/>
                  <a:pt x="4743330" y="8803586"/>
                  <a:pt x="4743537" y="8780053"/>
                </a:cubicBezTo>
                <a:cubicBezTo>
                  <a:pt x="4743123" y="8762102"/>
                  <a:pt x="4739400" y="8765592"/>
                  <a:pt x="4739296" y="8779952"/>
                </a:cubicBezTo>
                <a:cubicBezTo>
                  <a:pt x="4735572" y="8769482"/>
                  <a:pt x="4739141" y="8754124"/>
                  <a:pt x="4739555" y="8737271"/>
                </a:cubicBezTo>
                <a:cubicBezTo>
                  <a:pt x="4739969" y="8711743"/>
                  <a:pt x="4737176" y="8707157"/>
                  <a:pt x="4737796" y="8680232"/>
                </a:cubicBezTo>
                <a:cubicBezTo>
                  <a:pt x="4739813" y="8679833"/>
                  <a:pt x="4739555" y="8662880"/>
                  <a:pt x="4740072" y="8651811"/>
                </a:cubicBezTo>
                <a:cubicBezTo>
                  <a:pt x="4742503" y="8654205"/>
                  <a:pt x="4743848" y="8648820"/>
                  <a:pt x="4744365" y="8637751"/>
                </a:cubicBezTo>
                <a:cubicBezTo>
                  <a:pt x="4743020" y="8625785"/>
                  <a:pt x="4741469" y="8623192"/>
                  <a:pt x="4740330" y="8609132"/>
                </a:cubicBezTo>
                <a:cubicBezTo>
                  <a:pt x="4739916" y="8603847"/>
                  <a:pt x="4741158" y="8584301"/>
                  <a:pt x="4740537" y="8580612"/>
                </a:cubicBezTo>
                <a:cubicBezTo>
                  <a:pt x="4740330" y="8579515"/>
                  <a:pt x="4738468" y="8581908"/>
                  <a:pt x="4738417" y="8580512"/>
                </a:cubicBezTo>
                <a:cubicBezTo>
                  <a:pt x="4736865" y="8545510"/>
                  <a:pt x="4739969" y="8493656"/>
                  <a:pt x="4737020" y="8466632"/>
                </a:cubicBezTo>
                <a:cubicBezTo>
                  <a:pt x="4739037" y="8467130"/>
                  <a:pt x="4738521" y="8484083"/>
                  <a:pt x="4738934" y="8495152"/>
                </a:cubicBezTo>
                <a:cubicBezTo>
                  <a:pt x="4742038" y="8495252"/>
                  <a:pt x="4744106" y="8478299"/>
                  <a:pt x="4745451" y="8466831"/>
                </a:cubicBezTo>
                <a:cubicBezTo>
                  <a:pt x="4746537" y="8457359"/>
                  <a:pt x="4747778" y="8457956"/>
                  <a:pt x="4745554" y="8452571"/>
                </a:cubicBezTo>
                <a:cubicBezTo>
                  <a:pt x="4749692" y="8401116"/>
                  <a:pt x="4751192" y="8477801"/>
                  <a:pt x="4756001" y="8467031"/>
                </a:cubicBezTo>
                <a:cubicBezTo>
                  <a:pt x="4761536" y="8440505"/>
                  <a:pt x="4756570" y="8406500"/>
                  <a:pt x="4756570" y="8381670"/>
                </a:cubicBezTo>
                <a:cubicBezTo>
                  <a:pt x="4756622" y="8385858"/>
                  <a:pt x="4760036" y="8374491"/>
                  <a:pt x="4758794" y="8367510"/>
                </a:cubicBezTo>
                <a:cubicBezTo>
                  <a:pt x="4755019" y="8346568"/>
                  <a:pt x="4759622" y="8348364"/>
                  <a:pt x="4759053" y="8324829"/>
                </a:cubicBezTo>
                <a:cubicBezTo>
                  <a:pt x="4759415" y="8340785"/>
                  <a:pt x="4753260" y="8254727"/>
                  <a:pt x="4759519" y="8253629"/>
                </a:cubicBezTo>
                <a:cubicBezTo>
                  <a:pt x="4759673" y="8235879"/>
                  <a:pt x="4756519" y="8234682"/>
                  <a:pt x="4755485" y="8225010"/>
                </a:cubicBezTo>
                <a:cubicBezTo>
                  <a:pt x="4753364" y="8204767"/>
                  <a:pt x="4754399" y="8157898"/>
                  <a:pt x="4747519" y="8153610"/>
                </a:cubicBezTo>
                <a:lnTo>
                  <a:pt x="4748347" y="8025470"/>
                </a:lnTo>
                <a:cubicBezTo>
                  <a:pt x="4756467" y="8023077"/>
                  <a:pt x="4749071" y="8037138"/>
                  <a:pt x="4750209" y="8068250"/>
                </a:cubicBezTo>
                <a:cubicBezTo>
                  <a:pt x="4752484" y="8054389"/>
                  <a:pt x="4754657" y="8040228"/>
                  <a:pt x="4756829" y="8025670"/>
                </a:cubicBezTo>
                <a:cubicBezTo>
                  <a:pt x="4759467" y="8019487"/>
                  <a:pt x="4761277" y="8007521"/>
                  <a:pt x="4761328" y="7983090"/>
                </a:cubicBezTo>
                <a:cubicBezTo>
                  <a:pt x="4760243" y="7940410"/>
                  <a:pt x="4756726" y="7996551"/>
                  <a:pt x="4752899" y="7982890"/>
                </a:cubicBezTo>
                <a:cubicBezTo>
                  <a:pt x="4754399" y="7961649"/>
                  <a:pt x="4750157" y="7955965"/>
                  <a:pt x="4751089" y="7940110"/>
                </a:cubicBezTo>
                <a:cubicBezTo>
                  <a:pt x="4751192" y="7938314"/>
                  <a:pt x="4755381" y="7925151"/>
                  <a:pt x="4755381" y="7926050"/>
                </a:cubicBezTo>
                <a:cubicBezTo>
                  <a:pt x="4755433" y="7910095"/>
                  <a:pt x="4752123" y="7899923"/>
                  <a:pt x="4751450" y="7883270"/>
                </a:cubicBezTo>
                <a:cubicBezTo>
                  <a:pt x="4751709" y="7890249"/>
                  <a:pt x="4753778" y="7875491"/>
                  <a:pt x="4753623" y="7869109"/>
                </a:cubicBezTo>
                <a:cubicBezTo>
                  <a:pt x="4753570" y="7866815"/>
                  <a:pt x="4751605" y="7866815"/>
                  <a:pt x="4751605" y="7854750"/>
                </a:cubicBezTo>
                <a:cubicBezTo>
                  <a:pt x="4751605" y="7831714"/>
                  <a:pt x="4750985" y="7800900"/>
                  <a:pt x="4754243" y="7769389"/>
                </a:cubicBezTo>
                <a:cubicBezTo>
                  <a:pt x="4753468" y="7748148"/>
                  <a:pt x="4751503" y="7774874"/>
                  <a:pt x="4747933" y="7769191"/>
                </a:cubicBezTo>
                <a:cubicBezTo>
                  <a:pt x="4747158" y="7724216"/>
                  <a:pt x="4752071" y="7719031"/>
                  <a:pt x="4750674" y="7669570"/>
                </a:cubicBezTo>
                <a:cubicBezTo>
                  <a:pt x="4754141" y="7665681"/>
                  <a:pt x="4754243" y="7683232"/>
                  <a:pt x="4756933" y="7684029"/>
                </a:cubicBezTo>
                <a:cubicBezTo>
                  <a:pt x="4761950" y="7641747"/>
                  <a:pt x="4754450" y="7596874"/>
                  <a:pt x="4761795" y="7584508"/>
                </a:cubicBezTo>
                <a:cubicBezTo>
                  <a:pt x="4762570" y="7567356"/>
                  <a:pt x="4758329" y="7577428"/>
                  <a:pt x="4757657" y="7570149"/>
                </a:cubicBezTo>
                <a:cubicBezTo>
                  <a:pt x="4756726" y="7560076"/>
                  <a:pt x="4758794" y="7537740"/>
                  <a:pt x="4757915" y="7527469"/>
                </a:cubicBezTo>
                <a:cubicBezTo>
                  <a:pt x="4756829" y="7514704"/>
                  <a:pt x="4754295" y="7515701"/>
                  <a:pt x="4753881" y="7498948"/>
                </a:cubicBezTo>
                <a:cubicBezTo>
                  <a:pt x="4753260" y="7474816"/>
                  <a:pt x="4755691" y="7472224"/>
                  <a:pt x="4758278" y="7470628"/>
                </a:cubicBezTo>
                <a:cubicBezTo>
                  <a:pt x="4756829" y="7457366"/>
                  <a:pt x="4754553" y="7448988"/>
                  <a:pt x="4752123" y="7442009"/>
                </a:cubicBezTo>
                <a:cubicBezTo>
                  <a:pt x="4752795" y="7416979"/>
                  <a:pt x="4755950" y="7409700"/>
                  <a:pt x="4760759" y="7413788"/>
                </a:cubicBezTo>
                <a:cubicBezTo>
                  <a:pt x="4760605" y="7387362"/>
                  <a:pt x="4753674" y="7404812"/>
                  <a:pt x="4752484" y="7385069"/>
                </a:cubicBezTo>
                <a:cubicBezTo>
                  <a:pt x="4753985" y="7366023"/>
                  <a:pt x="4757191" y="7358643"/>
                  <a:pt x="4761122" y="7356847"/>
                </a:cubicBezTo>
                <a:cubicBezTo>
                  <a:pt x="4761691" y="7325834"/>
                  <a:pt x="4759673" y="7311475"/>
                  <a:pt x="4755071" y="7313967"/>
                </a:cubicBezTo>
                <a:cubicBezTo>
                  <a:pt x="4758071" y="7305293"/>
                  <a:pt x="4755743" y="7259221"/>
                  <a:pt x="4759673" y="7257127"/>
                </a:cubicBezTo>
                <a:cubicBezTo>
                  <a:pt x="4758432" y="7242669"/>
                  <a:pt x="4754916" y="7242270"/>
                  <a:pt x="4755743" y="7214347"/>
                </a:cubicBezTo>
                <a:cubicBezTo>
                  <a:pt x="4762932" y="7260917"/>
                  <a:pt x="4764329" y="7176055"/>
                  <a:pt x="4768776" y="7157707"/>
                </a:cubicBezTo>
                <a:cubicBezTo>
                  <a:pt x="4776896" y="7146239"/>
                  <a:pt x="4776742" y="7188121"/>
                  <a:pt x="4778965" y="7214847"/>
                </a:cubicBezTo>
                <a:cubicBezTo>
                  <a:pt x="4787034" y="7180044"/>
                  <a:pt x="4779069" y="7113631"/>
                  <a:pt x="4784086" y="7072645"/>
                </a:cubicBezTo>
                <a:cubicBezTo>
                  <a:pt x="4774777" y="7051406"/>
                  <a:pt x="4777362" y="7114229"/>
                  <a:pt x="4769138" y="7100766"/>
                </a:cubicBezTo>
                <a:cubicBezTo>
                  <a:pt x="4764587" y="7107348"/>
                  <a:pt x="4765260" y="7080324"/>
                  <a:pt x="4765208" y="7057986"/>
                </a:cubicBezTo>
                <a:cubicBezTo>
                  <a:pt x="4758794" y="7047516"/>
                  <a:pt x="4758846" y="7082418"/>
                  <a:pt x="4752433" y="7071947"/>
                </a:cubicBezTo>
                <a:lnTo>
                  <a:pt x="4752899" y="7000848"/>
                </a:lnTo>
                <a:cubicBezTo>
                  <a:pt x="4759415" y="7017101"/>
                  <a:pt x="4758484" y="6996858"/>
                  <a:pt x="4763346" y="7015307"/>
                </a:cubicBezTo>
                <a:cubicBezTo>
                  <a:pt x="4763243" y="6975119"/>
                  <a:pt x="4753468" y="6997257"/>
                  <a:pt x="4755381" y="6943907"/>
                </a:cubicBezTo>
                <a:cubicBezTo>
                  <a:pt x="4760036" y="6935033"/>
                  <a:pt x="4761847" y="6984493"/>
                  <a:pt x="4761795" y="6929846"/>
                </a:cubicBezTo>
                <a:cubicBezTo>
                  <a:pt x="4767846" y="6918278"/>
                  <a:pt x="4767122" y="6950090"/>
                  <a:pt x="4772241" y="6944405"/>
                </a:cubicBezTo>
                <a:cubicBezTo>
                  <a:pt x="4777827" y="6942312"/>
                  <a:pt x="4773380" y="6892052"/>
                  <a:pt x="4772810" y="6859045"/>
                </a:cubicBezTo>
                <a:cubicBezTo>
                  <a:pt x="4772139" y="6819656"/>
                  <a:pt x="4774931" y="6777872"/>
                  <a:pt x="4767018" y="6773484"/>
                </a:cubicBezTo>
                <a:lnTo>
                  <a:pt x="4767588" y="6688025"/>
                </a:lnTo>
                <a:cubicBezTo>
                  <a:pt x="4766087" y="6681343"/>
                  <a:pt x="4764897" y="6666786"/>
                  <a:pt x="4763553" y="6659406"/>
                </a:cubicBezTo>
                <a:cubicBezTo>
                  <a:pt x="4762570" y="6653921"/>
                  <a:pt x="4761847" y="6641655"/>
                  <a:pt x="4759415" y="6645145"/>
                </a:cubicBezTo>
                <a:cubicBezTo>
                  <a:pt x="4758432" y="6613535"/>
                  <a:pt x="4763604" y="6625003"/>
                  <a:pt x="4763915" y="6602566"/>
                </a:cubicBezTo>
                <a:cubicBezTo>
                  <a:pt x="4764018" y="6595784"/>
                  <a:pt x="4767380" y="6565270"/>
                  <a:pt x="4768518" y="6545725"/>
                </a:cubicBezTo>
                <a:cubicBezTo>
                  <a:pt x="4769605" y="6511421"/>
                  <a:pt x="4764846" y="6514713"/>
                  <a:pt x="4766863" y="6474525"/>
                </a:cubicBezTo>
                <a:cubicBezTo>
                  <a:pt x="4761795" y="6468541"/>
                  <a:pt x="4762105" y="6500353"/>
                  <a:pt x="4756208" y="6488486"/>
                </a:cubicBezTo>
                <a:cubicBezTo>
                  <a:pt x="4761588" y="6450592"/>
                  <a:pt x="4758381" y="6387071"/>
                  <a:pt x="4759260" y="6346185"/>
                </a:cubicBezTo>
                <a:cubicBezTo>
                  <a:pt x="4759725" y="6322652"/>
                  <a:pt x="4760243" y="6318762"/>
                  <a:pt x="4763656" y="6317766"/>
                </a:cubicBezTo>
                <a:cubicBezTo>
                  <a:pt x="4762622" y="6288149"/>
                  <a:pt x="4759519" y="6271694"/>
                  <a:pt x="4757812" y="6246466"/>
                </a:cubicBezTo>
                <a:cubicBezTo>
                  <a:pt x="4759260" y="6234399"/>
                  <a:pt x="4758588" y="6198798"/>
                  <a:pt x="4760294" y="6189624"/>
                </a:cubicBezTo>
                <a:cubicBezTo>
                  <a:pt x="4762467" y="6177957"/>
                  <a:pt x="4764225" y="6128097"/>
                  <a:pt x="4765052" y="6104365"/>
                </a:cubicBezTo>
                <a:cubicBezTo>
                  <a:pt x="4764846" y="6109649"/>
                  <a:pt x="4761795" y="6096387"/>
                  <a:pt x="4763036" y="6090105"/>
                </a:cubicBezTo>
                <a:cubicBezTo>
                  <a:pt x="4763243" y="6089007"/>
                  <a:pt x="4765052" y="6091700"/>
                  <a:pt x="4765156" y="6090204"/>
                </a:cubicBezTo>
                <a:cubicBezTo>
                  <a:pt x="4765518" y="6085219"/>
                  <a:pt x="4764794" y="6064875"/>
                  <a:pt x="4765363" y="6061783"/>
                </a:cubicBezTo>
                <a:cubicBezTo>
                  <a:pt x="4767949" y="6048122"/>
                  <a:pt x="4766139" y="6051712"/>
                  <a:pt x="4763346" y="6047523"/>
                </a:cubicBezTo>
                <a:cubicBezTo>
                  <a:pt x="4766242" y="6018606"/>
                  <a:pt x="4773742" y="6021896"/>
                  <a:pt x="4772345" y="5962363"/>
                </a:cubicBezTo>
                <a:cubicBezTo>
                  <a:pt x="4772449" y="5947704"/>
                  <a:pt x="4769759" y="5952291"/>
                  <a:pt x="4768208" y="5948004"/>
                </a:cubicBezTo>
                <a:cubicBezTo>
                  <a:pt x="4765467" y="5940524"/>
                  <a:pt x="4765777" y="5920581"/>
                  <a:pt x="4759933" y="5919283"/>
                </a:cubicBezTo>
                <a:cubicBezTo>
                  <a:pt x="4758640" y="5875707"/>
                  <a:pt x="4763812" y="5877501"/>
                  <a:pt x="4762570" y="5833923"/>
                </a:cubicBezTo>
                <a:cubicBezTo>
                  <a:pt x="4764225" y="5841502"/>
                  <a:pt x="4765932" y="5848882"/>
                  <a:pt x="4768828" y="5848283"/>
                </a:cubicBezTo>
                <a:cubicBezTo>
                  <a:pt x="4769449" y="5811386"/>
                  <a:pt x="4767742" y="5735001"/>
                  <a:pt x="4773535" y="5777182"/>
                </a:cubicBezTo>
                <a:cubicBezTo>
                  <a:pt x="4766914" y="5733305"/>
                  <a:pt x="4764897" y="5660012"/>
                  <a:pt x="4766449" y="5563483"/>
                </a:cubicBezTo>
                <a:cubicBezTo>
                  <a:pt x="4768880" y="5565876"/>
                  <a:pt x="4768052" y="5589509"/>
                  <a:pt x="4768259" y="5606262"/>
                </a:cubicBezTo>
                <a:cubicBezTo>
                  <a:pt x="4773018" y="5600379"/>
                  <a:pt x="4770432" y="5530774"/>
                  <a:pt x="4768828" y="5520902"/>
                </a:cubicBezTo>
                <a:cubicBezTo>
                  <a:pt x="4768104" y="5498565"/>
                  <a:pt x="4762311" y="5508537"/>
                  <a:pt x="4765001" y="5463863"/>
                </a:cubicBezTo>
                <a:cubicBezTo>
                  <a:pt x="4767018" y="5464262"/>
                  <a:pt x="4766500" y="5481314"/>
                  <a:pt x="4766914" y="5492383"/>
                </a:cubicBezTo>
                <a:cubicBezTo>
                  <a:pt x="4772397" y="5473535"/>
                  <a:pt x="4764225" y="5429159"/>
                  <a:pt x="4765467" y="5392662"/>
                </a:cubicBezTo>
                <a:cubicBezTo>
                  <a:pt x="4769036" y="5398047"/>
                  <a:pt x="4769500" y="5381692"/>
                  <a:pt x="4769863" y="5364342"/>
                </a:cubicBezTo>
                <a:cubicBezTo>
                  <a:pt x="4772034" y="5318670"/>
                  <a:pt x="4764587" y="5334625"/>
                  <a:pt x="4763915" y="5307202"/>
                </a:cubicBezTo>
                <a:cubicBezTo>
                  <a:pt x="4762829" y="5273197"/>
                  <a:pt x="4767225" y="5203992"/>
                  <a:pt x="4762518" y="5193322"/>
                </a:cubicBezTo>
                <a:cubicBezTo>
                  <a:pt x="4763915" y="5161311"/>
                  <a:pt x="4765673" y="5210674"/>
                  <a:pt x="4768931" y="5179261"/>
                </a:cubicBezTo>
                <a:cubicBezTo>
                  <a:pt x="4765932" y="5149645"/>
                  <a:pt x="4756675" y="5115241"/>
                  <a:pt x="4763346" y="5065281"/>
                </a:cubicBezTo>
                <a:cubicBezTo>
                  <a:pt x="4766190" y="5069668"/>
                  <a:pt x="4764897" y="5100881"/>
                  <a:pt x="4765105" y="5122222"/>
                </a:cubicBezTo>
                <a:cubicBezTo>
                  <a:pt x="4768931" y="5099485"/>
                  <a:pt x="4770070" y="5058301"/>
                  <a:pt x="4770070" y="5008441"/>
                </a:cubicBezTo>
                <a:cubicBezTo>
                  <a:pt x="4767794" y="4997770"/>
                  <a:pt x="4767897" y="5051221"/>
                  <a:pt x="4767690" y="5051121"/>
                </a:cubicBezTo>
                <a:cubicBezTo>
                  <a:pt x="4764742" y="5049824"/>
                  <a:pt x="4764276" y="4948808"/>
                  <a:pt x="4762208" y="4922880"/>
                </a:cubicBezTo>
                <a:cubicBezTo>
                  <a:pt x="4766398" y="4922880"/>
                  <a:pt x="4765156" y="4884190"/>
                  <a:pt x="4770845" y="4894660"/>
                </a:cubicBezTo>
                <a:cubicBezTo>
                  <a:pt x="4770586" y="4877907"/>
                  <a:pt x="4767069" y="4882495"/>
                  <a:pt x="4764587" y="4880201"/>
                </a:cubicBezTo>
                <a:cubicBezTo>
                  <a:pt x="4764432" y="4849089"/>
                  <a:pt x="4766604" y="4834928"/>
                  <a:pt x="4771207" y="4837621"/>
                </a:cubicBezTo>
                <a:cubicBezTo>
                  <a:pt x="4766087" y="4813987"/>
                  <a:pt x="4761795" y="4726632"/>
                  <a:pt x="4770018" y="4695220"/>
                </a:cubicBezTo>
                <a:cubicBezTo>
                  <a:pt x="4770070" y="4644862"/>
                  <a:pt x="4762829" y="4725336"/>
                  <a:pt x="4763759" y="4680861"/>
                </a:cubicBezTo>
                <a:cubicBezTo>
                  <a:pt x="4762984" y="4650446"/>
                  <a:pt x="4766967" y="4653837"/>
                  <a:pt x="4770276" y="4652540"/>
                </a:cubicBezTo>
                <a:cubicBezTo>
                  <a:pt x="4772655" y="4607866"/>
                  <a:pt x="4771104" y="4567179"/>
                  <a:pt x="4775397" y="4510339"/>
                </a:cubicBezTo>
                <a:cubicBezTo>
                  <a:pt x="4775138" y="4493686"/>
                  <a:pt x="4771621" y="4498274"/>
                  <a:pt x="4769138" y="4495980"/>
                </a:cubicBezTo>
                <a:cubicBezTo>
                  <a:pt x="4769656" y="4434651"/>
                  <a:pt x="4773948" y="4455394"/>
                  <a:pt x="4771880" y="4396359"/>
                </a:cubicBezTo>
                <a:cubicBezTo>
                  <a:pt x="4771725" y="4391872"/>
                  <a:pt x="4769294" y="4397058"/>
                  <a:pt x="4769863" y="4382000"/>
                </a:cubicBezTo>
                <a:cubicBezTo>
                  <a:pt x="4769966" y="4379506"/>
                  <a:pt x="4772810" y="4381500"/>
                  <a:pt x="4772087" y="4367839"/>
                </a:cubicBezTo>
                <a:cubicBezTo>
                  <a:pt x="4771311" y="4353280"/>
                  <a:pt x="4768208" y="4357269"/>
                  <a:pt x="4768052" y="4339220"/>
                </a:cubicBezTo>
                <a:cubicBezTo>
                  <a:pt x="4765777" y="4293050"/>
                  <a:pt x="4774983" y="4328450"/>
                  <a:pt x="4772655" y="4282380"/>
                </a:cubicBezTo>
                <a:cubicBezTo>
                  <a:pt x="4771466" y="4265626"/>
                  <a:pt x="4763346" y="4299631"/>
                  <a:pt x="4766708" y="4225240"/>
                </a:cubicBezTo>
                <a:cubicBezTo>
                  <a:pt x="4770328" y="4220154"/>
                  <a:pt x="4770639" y="4236508"/>
                  <a:pt x="4770742" y="4253860"/>
                </a:cubicBezTo>
                <a:cubicBezTo>
                  <a:pt x="4777000" y="4241893"/>
                  <a:pt x="4769759" y="4207988"/>
                  <a:pt x="4771207" y="4182660"/>
                </a:cubicBezTo>
                <a:cubicBezTo>
                  <a:pt x="4776844" y="4192632"/>
                  <a:pt x="4775500" y="4153342"/>
                  <a:pt x="4777827" y="4140079"/>
                </a:cubicBezTo>
                <a:cubicBezTo>
                  <a:pt x="4779897" y="4113154"/>
                  <a:pt x="4774156" y="4106573"/>
                  <a:pt x="4773898" y="4097298"/>
                </a:cubicBezTo>
                <a:cubicBezTo>
                  <a:pt x="4773587" y="4086229"/>
                  <a:pt x="4778551" y="4041754"/>
                  <a:pt x="4776638" y="3997678"/>
                </a:cubicBezTo>
                <a:cubicBezTo>
                  <a:pt x="4776379" y="3981025"/>
                  <a:pt x="4772862" y="3985612"/>
                  <a:pt x="4770380" y="3983319"/>
                </a:cubicBezTo>
                <a:cubicBezTo>
                  <a:pt x="4768984" y="3934057"/>
                  <a:pt x="4773121" y="3923288"/>
                  <a:pt x="4775138" y="3898058"/>
                </a:cubicBezTo>
                <a:cubicBezTo>
                  <a:pt x="4776534" y="3884696"/>
                  <a:pt x="4773173" y="3886191"/>
                  <a:pt x="4773121" y="3883798"/>
                </a:cubicBezTo>
                <a:cubicBezTo>
                  <a:pt x="4772862" y="3870934"/>
                  <a:pt x="4775345" y="3869638"/>
                  <a:pt x="4775345" y="3869638"/>
                </a:cubicBezTo>
                <a:cubicBezTo>
                  <a:pt x="4774569" y="3820576"/>
                  <a:pt x="4766967" y="3761741"/>
                  <a:pt x="4776276" y="3727337"/>
                </a:cubicBezTo>
                <a:cubicBezTo>
                  <a:pt x="4775500" y="3705000"/>
                  <a:pt x="4769707" y="3714972"/>
                  <a:pt x="4772397" y="3670298"/>
                </a:cubicBezTo>
                <a:cubicBezTo>
                  <a:pt x="4771466" y="3638687"/>
                  <a:pt x="4776586" y="3650155"/>
                  <a:pt x="4776896" y="3627717"/>
                </a:cubicBezTo>
                <a:cubicBezTo>
                  <a:pt x="4775655" y="3613157"/>
                  <a:pt x="4772139" y="3612859"/>
                  <a:pt x="4772966" y="3584837"/>
                </a:cubicBezTo>
                <a:cubicBezTo>
                  <a:pt x="4775397" y="3587231"/>
                  <a:pt x="4776742" y="3581746"/>
                  <a:pt x="4777259" y="3570677"/>
                </a:cubicBezTo>
                <a:cubicBezTo>
                  <a:pt x="4776173" y="3556817"/>
                  <a:pt x="4774000" y="3558810"/>
                  <a:pt x="4773224" y="3542158"/>
                </a:cubicBezTo>
                <a:cubicBezTo>
                  <a:pt x="4770432" y="3481827"/>
                  <a:pt x="4775086" y="3274010"/>
                  <a:pt x="4779586" y="3214876"/>
                </a:cubicBezTo>
                <a:cubicBezTo>
                  <a:pt x="4779172" y="3199419"/>
                  <a:pt x="4775448" y="3205103"/>
                  <a:pt x="4775552" y="3186356"/>
                </a:cubicBezTo>
                <a:cubicBezTo>
                  <a:pt x="4776638" y="3138889"/>
                  <a:pt x="4774362" y="3071279"/>
                  <a:pt x="4778603" y="3044055"/>
                </a:cubicBezTo>
                <a:cubicBezTo>
                  <a:pt x="4777466" y="3051534"/>
                  <a:pt x="4777982" y="2971161"/>
                  <a:pt x="4777155" y="2944335"/>
                </a:cubicBezTo>
                <a:cubicBezTo>
                  <a:pt x="4776534" y="2924092"/>
                  <a:pt x="4774259" y="2917012"/>
                  <a:pt x="4779430" y="2915916"/>
                </a:cubicBezTo>
                <a:cubicBezTo>
                  <a:pt x="4780362" y="2891783"/>
                  <a:pt x="4777982" y="2888991"/>
                  <a:pt x="4775397" y="2887396"/>
                </a:cubicBezTo>
                <a:cubicBezTo>
                  <a:pt x="4776379" y="2857181"/>
                  <a:pt x="4777880" y="2843818"/>
                  <a:pt x="4777982" y="2816296"/>
                </a:cubicBezTo>
                <a:cubicBezTo>
                  <a:pt x="4778086" y="2787177"/>
                  <a:pt x="4776069" y="2778102"/>
                  <a:pt x="4776225" y="2759355"/>
                </a:cubicBezTo>
                <a:cubicBezTo>
                  <a:pt x="4776431" y="2734425"/>
                  <a:pt x="4778190" y="2728641"/>
                  <a:pt x="4778707" y="2702515"/>
                </a:cubicBezTo>
                <a:cubicBezTo>
                  <a:pt x="4779534" y="2658937"/>
                  <a:pt x="4773742" y="2612269"/>
                  <a:pt x="4781397" y="2617155"/>
                </a:cubicBezTo>
                <a:cubicBezTo>
                  <a:pt x="4778138" y="2606484"/>
                  <a:pt x="4782327" y="2547450"/>
                  <a:pt x="4775448" y="2560015"/>
                </a:cubicBezTo>
                <a:cubicBezTo>
                  <a:pt x="4773898" y="2542863"/>
                  <a:pt x="4777672" y="2535384"/>
                  <a:pt x="4777724" y="2531594"/>
                </a:cubicBezTo>
                <a:cubicBezTo>
                  <a:pt x="4777931" y="2520227"/>
                  <a:pt x="4775552" y="2517334"/>
                  <a:pt x="4775811" y="2503074"/>
                </a:cubicBezTo>
                <a:cubicBezTo>
                  <a:pt x="4776225" y="2480239"/>
                  <a:pt x="4777672" y="2478842"/>
                  <a:pt x="4778190" y="2460395"/>
                </a:cubicBezTo>
                <a:cubicBezTo>
                  <a:pt x="4779276" y="2422800"/>
                  <a:pt x="4776276" y="2372141"/>
                  <a:pt x="4781034" y="2346613"/>
                </a:cubicBezTo>
                <a:cubicBezTo>
                  <a:pt x="4778035" y="2322981"/>
                  <a:pt x="4777206" y="2368452"/>
                  <a:pt x="4777155" y="2289573"/>
                </a:cubicBezTo>
                <a:cubicBezTo>
                  <a:pt x="4777155" y="2229542"/>
                  <a:pt x="4779121" y="2156648"/>
                  <a:pt x="4778551" y="2076073"/>
                </a:cubicBezTo>
                <a:cubicBezTo>
                  <a:pt x="4778345" y="2048251"/>
                  <a:pt x="4774672" y="2036185"/>
                  <a:pt x="4777000" y="1990613"/>
                </a:cubicBezTo>
                <a:cubicBezTo>
                  <a:pt x="4778035" y="1970868"/>
                  <a:pt x="4778914" y="1971068"/>
                  <a:pt x="4777466" y="1919413"/>
                </a:cubicBezTo>
                <a:cubicBezTo>
                  <a:pt x="4776844" y="1897375"/>
                  <a:pt x="4775345" y="1886605"/>
                  <a:pt x="4775707" y="1862473"/>
                </a:cubicBezTo>
                <a:cubicBezTo>
                  <a:pt x="4775655" y="1863869"/>
                  <a:pt x="4781448" y="1860180"/>
                  <a:pt x="4780000" y="1848313"/>
                </a:cubicBezTo>
                <a:cubicBezTo>
                  <a:pt x="4780051" y="1834452"/>
                  <a:pt x="4777466" y="1837244"/>
                  <a:pt x="4775862" y="1833953"/>
                </a:cubicBezTo>
                <a:cubicBezTo>
                  <a:pt x="4775655" y="1811316"/>
                  <a:pt x="4777672" y="1809123"/>
                  <a:pt x="4778241" y="1791373"/>
                </a:cubicBezTo>
                <a:cubicBezTo>
                  <a:pt x="4778086" y="1795661"/>
                  <a:pt x="4775914" y="1785589"/>
                  <a:pt x="4776225" y="1777013"/>
                </a:cubicBezTo>
                <a:cubicBezTo>
                  <a:pt x="4776379" y="1773622"/>
                  <a:pt x="4778759" y="1777112"/>
                  <a:pt x="4778448" y="1762852"/>
                </a:cubicBezTo>
                <a:cubicBezTo>
                  <a:pt x="4777724" y="1729047"/>
                  <a:pt x="4770380" y="1695441"/>
                  <a:pt x="4777155" y="1634712"/>
                </a:cubicBezTo>
                <a:cubicBezTo>
                  <a:pt x="4770535" y="1566505"/>
                  <a:pt x="4773018" y="1473765"/>
                  <a:pt x="4772397" y="1392592"/>
                </a:cubicBezTo>
                <a:cubicBezTo>
                  <a:pt x="4772139" y="1361480"/>
                  <a:pt x="4771052" y="1336549"/>
                  <a:pt x="4771001" y="1278711"/>
                </a:cubicBezTo>
                <a:cubicBezTo>
                  <a:pt x="4771001" y="1269537"/>
                  <a:pt x="4772190" y="1227656"/>
                  <a:pt x="4771362" y="1221772"/>
                </a:cubicBezTo>
                <a:cubicBezTo>
                  <a:pt x="4768621" y="1202227"/>
                  <a:pt x="4772139" y="1219976"/>
                  <a:pt x="4771725" y="1164831"/>
                </a:cubicBezTo>
                <a:cubicBezTo>
                  <a:pt x="4771466" y="1134417"/>
                  <a:pt x="4768621" y="1106794"/>
                  <a:pt x="4768052" y="1079272"/>
                </a:cubicBezTo>
                <a:cubicBezTo>
                  <a:pt x="4767069" y="1034498"/>
                  <a:pt x="4768673" y="989423"/>
                  <a:pt x="4766760" y="951132"/>
                </a:cubicBezTo>
                <a:cubicBezTo>
                  <a:pt x="4766553" y="946145"/>
                  <a:pt x="4767535" y="925803"/>
                  <a:pt x="4766967" y="922711"/>
                </a:cubicBezTo>
                <a:cubicBezTo>
                  <a:pt x="4764381" y="907953"/>
                  <a:pt x="4765984" y="893793"/>
                  <a:pt x="4765208" y="865771"/>
                </a:cubicBezTo>
                <a:cubicBezTo>
                  <a:pt x="4764070" y="826881"/>
                  <a:pt x="4761432" y="722174"/>
                  <a:pt x="4760139" y="666331"/>
                </a:cubicBezTo>
                <a:cubicBezTo>
                  <a:pt x="4759829" y="653069"/>
                  <a:pt x="4760915" y="636614"/>
                  <a:pt x="4760398" y="623651"/>
                </a:cubicBezTo>
                <a:cubicBezTo>
                  <a:pt x="4760191" y="618166"/>
                  <a:pt x="4758381" y="606000"/>
                  <a:pt x="4758381" y="609391"/>
                </a:cubicBezTo>
                <a:cubicBezTo>
                  <a:pt x="4758278" y="584262"/>
                  <a:pt x="4761432" y="578877"/>
                  <a:pt x="4760863" y="552551"/>
                </a:cubicBezTo>
                <a:cubicBezTo>
                  <a:pt x="4760553" y="537791"/>
                  <a:pt x="4758950" y="502192"/>
                  <a:pt x="4757088" y="481251"/>
                </a:cubicBezTo>
                <a:cubicBezTo>
                  <a:pt x="4755640" y="464697"/>
                  <a:pt x="4754553" y="385520"/>
                  <a:pt x="4753778" y="338850"/>
                </a:cubicBezTo>
                <a:cubicBezTo>
                  <a:pt x="4753623" y="307738"/>
                  <a:pt x="4748658" y="308137"/>
                  <a:pt x="4743382" y="310131"/>
                </a:cubicBezTo>
                <a:cubicBezTo>
                  <a:pt x="4743382" y="279916"/>
                  <a:pt x="4740951" y="265456"/>
                  <a:pt x="4738779" y="249103"/>
                </a:cubicBezTo>
                <a:lnTo>
                  <a:pt x="3984963" y="249103"/>
                </a:lnTo>
                <a:cubicBezTo>
                  <a:pt x="3978394" y="242820"/>
                  <a:pt x="3954654" y="237835"/>
                  <a:pt x="3949741" y="249103"/>
                </a:cubicBezTo>
                <a:lnTo>
                  <a:pt x="3910435" y="249103"/>
                </a:lnTo>
                <a:cubicBezTo>
                  <a:pt x="3912710" y="248005"/>
                  <a:pt x="3914986" y="246410"/>
                  <a:pt x="3917106" y="243718"/>
                </a:cubicBezTo>
                <a:cubicBezTo>
                  <a:pt x="3886850" y="242222"/>
                  <a:pt x="3837561" y="226666"/>
                  <a:pt x="3811546" y="237136"/>
                </a:cubicBezTo>
                <a:cubicBezTo>
                  <a:pt x="3805495" y="237136"/>
                  <a:pt x="3807357" y="225668"/>
                  <a:pt x="3802392" y="224073"/>
                </a:cubicBezTo>
                <a:cubicBezTo>
                  <a:pt x="3793185" y="236239"/>
                  <a:pt x="3778756" y="230355"/>
                  <a:pt x="3765670" y="230655"/>
                </a:cubicBezTo>
                <a:cubicBezTo>
                  <a:pt x="3730449" y="231453"/>
                  <a:pt x="3688349" y="232150"/>
                  <a:pt x="3660110" y="230655"/>
                </a:cubicBezTo>
                <a:cubicBezTo>
                  <a:pt x="3656852" y="230455"/>
                  <a:pt x="3660472" y="222079"/>
                  <a:pt x="3655559" y="230655"/>
                </a:cubicBezTo>
                <a:cubicBezTo>
                  <a:pt x="3654938" y="231651"/>
                  <a:pt x="3647387" y="230854"/>
                  <a:pt x="3646353" y="230655"/>
                </a:cubicBezTo>
                <a:cubicBezTo>
                  <a:pt x="3635336" y="228760"/>
                  <a:pt x="3630733" y="217491"/>
                  <a:pt x="3623389" y="230655"/>
                </a:cubicBezTo>
                <a:cubicBezTo>
                  <a:pt x="3621216" y="234444"/>
                  <a:pt x="3617287" y="224372"/>
                  <a:pt x="3618786" y="224073"/>
                </a:cubicBezTo>
                <a:cubicBezTo>
                  <a:pt x="3610356" y="225569"/>
                  <a:pt x="3601305" y="222378"/>
                  <a:pt x="3600426" y="237136"/>
                </a:cubicBezTo>
                <a:cubicBezTo>
                  <a:pt x="3613511" y="242721"/>
                  <a:pt x="3626699" y="246511"/>
                  <a:pt x="3641698" y="243718"/>
                </a:cubicBezTo>
                <a:cubicBezTo>
                  <a:pt x="3655300" y="241224"/>
                  <a:pt x="3654628" y="234045"/>
                  <a:pt x="3660058" y="243718"/>
                </a:cubicBezTo>
                <a:cubicBezTo>
                  <a:pt x="3662231" y="247507"/>
                  <a:pt x="3666213" y="237436"/>
                  <a:pt x="3664662" y="237136"/>
                </a:cubicBezTo>
                <a:cubicBezTo>
                  <a:pt x="3670610" y="238234"/>
                  <a:pt x="3671075" y="242921"/>
                  <a:pt x="3678419" y="243718"/>
                </a:cubicBezTo>
                <a:cubicBezTo>
                  <a:pt x="3689022" y="244814"/>
                  <a:pt x="3706865" y="243419"/>
                  <a:pt x="3710537" y="243718"/>
                </a:cubicBezTo>
                <a:cubicBezTo>
                  <a:pt x="3712451" y="243818"/>
                  <a:pt x="3714468" y="247308"/>
                  <a:pt x="3715089" y="249103"/>
                </a:cubicBezTo>
                <a:lnTo>
                  <a:pt x="3572238" y="249103"/>
                </a:lnTo>
                <a:cubicBezTo>
                  <a:pt x="3579013" y="246112"/>
                  <a:pt x="3587650" y="237934"/>
                  <a:pt x="3595822" y="243718"/>
                </a:cubicBezTo>
                <a:cubicBezTo>
                  <a:pt x="3596133" y="229159"/>
                  <a:pt x="3580048" y="218588"/>
                  <a:pt x="3572859" y="217491"/>
                </a:cubicBezTo>
                <a:cubicBezTo>
                  <a:pt x="3573427" y="217592"/>
                  <a:pt x="3571514" y="224073"/>
                  <a:pt x="3568256" y="224073"/>
                </a:cubicBezTo>
                <a:cubicBezTo>
                  <a:pt x="3565618" y="224073"/>
                  <a:pt x="3562618" y="217491"/>
                  <a:pt x="3563653" y="217491"/>
                </a:cubicBezTo>
                <a:cubicBezTo>
                  <a:pt x="3554912" y="217890"/>
                  <a:pt x="3546895" y="228560"/>
                  <a:pt x="3536138" y="224073"/>
                </a:cubicBezTo>
                <a:cubicBezTo>
                  <a:pt x="3528483" y="215397"/>
                  <a:pt x="3520777" y="206721"/>
                  <a:pt x="3504020" y="211009"/>
                </a:cubicBezTo>
                <a:cubicBezTo>
                  <a:pt x="3498382" y="212206"/>
                  <a:pt x="3499313" y="220882"/>
                  <a:pt x="3494866" y="224073"/>
                </a:cubicBezTo>
                <a:cubicBezTo>
                  <a:pt x="3480177" y="234543"/>
                  <a:pt x="3484056" y="221680"/>
                  <a:pt x="3471902" y="224073"/>
                </a:cubicBezTo>
                <a:cubicBezTo>
                  <a:pt x="3472005" y="224073"/>
                  <a:pt x="3469988" y="229657"/>
                  <a:pt x="3467299" y="230655"/>
                </a:cubicBezTo>
                <a:cubicBezTo>
                  <a:pt x="3463110" y="232150"/>
                  <a:pt x="3453076" y="232150"/>
                  <a:pt x="3448938" y="230655"/>
                </a:cubicBezTo>
                <a:cubicBezTo>
                  <a:pt x="3437663" y="226666"/>
                  <a:pt x="3434715" y="229756"/>
                  <a:pt x="3421372" y="230655"/>
                </a:cubicBezTo>
                <a:cubicBezTo>
                  <a:pt x="3412734" y="231153"/>
                  <a:pt x="3411182" y="222976"/>
                  <a:pt x="3403011" y="224073"/>
                </a:cubicBezTo>
                <a:cubicBezTo>
                  <a:pt x="3403942" y="223973"/>
                  <a:pt x="3400321" y="229857"/>
                  <a:pt x="3398408" y="230655"/>
                </a:cubicBezTo>
                <a:cubicBezTo>
                  <a:pt x="3394322" y="232449"/>
                  <a:pt x="3388891" y="229756"/>
                  <a:pt x="3384650" y="230655"/>
                </a:cubicBezTo>
                <a:cubicBezTo>
                  <a:pt x="3369497" y="233846"/>
                  <a:pt x="3369290" y="234942"/>
                  <a:pt x="3366290" y="230655"/>
                </a:cubicBezTo>
                <a:cubicBezTo>
                  <a:pt x="3363238" y="226267"/>
                  <a:pt x="3353722" y="231153"/>
                  <a:pt x="3352532" y="224073"/>
                </a:cubicBezTo>
                <a:cubicBezTo>
                  <a:pt x="3340120" y="246511"/>
                  <a:pt x="3328069" y="223874"/>
                  <a:pt x="3320414" y="237136"/>
                </a:cubicBezTo>
                <a:cubicBezTo>
                  <a:pt x="3317311" y="242522"/>
                  <a:pt x="3301640" y="233148"/>
                  <a:pt x="3297451" y="237136"/>
                </a:cubicBezTo>
                <a:cubicBezTo>
                  <a:pt x="3290210" y="239728"/>
                  <a:pt x="3295847" y="243718"/>
                  <a:pt x="3296364" y="249103"/>
                </a:cubicBezTo>
                <a:lnTo>
                  <a:pt x="3289124" y="249103"/>
                </a:lnTo>
                <a:cubicBezTo>
                  <a:pt x="3289797" y="246410"/>
                  <a:pt x="3289744" y="242820"/>
                  <a:pt x="3288296" y="237136"/>
                </a:cubicBezTo>
                <a:cubicBezTo>
                  <a:pt x="3281107" y="236537"/>
                  <a:pt x="3272418" y="238033"/>
                  <a:pt x="3274539" y="224073"/>
                </a:cubicBezTo>
                <a:cubicBezTo>
                  <a:pt x="3259230" y="224073"/>
                  <a:pt x="3258868" y="245413"/>
                  <a:pt x="3242421" y="243718"/>
                </a:cubicBezTo>
                <a:cubicBezTo>
                  <a:pt x="3242007" y="233447"/>
                  <a:pt x="3243041" y="220981"/>
                  <a:pt x="3233266" y="224073"/>
                </a:cubicBezTo>
                <a:cubicBezTo>
                  <a:pt x="3225664" y="224172"/>
                  <a:pt x="3230680" y="242222"/>
                  <a:pt x="3224060" y="243718"/>
                </a:cubicBezTo>
                <a:cubicBezTo>
                  <a:pt x="3212837" y="231352"/>
                  <a:pt x="3192460" y="232050"/>
                  <a:pt x="3196545" y="197847"/>
                </a:cubicBezTo>
                <a:cubicBezTo>
                  <a:pt x="3211441" y="199742"/>
                  <a:pt x="3225457" y="184783"/>
                  <a:pt x="3233266" y="184783"/>
                </a:cubicBezTo>
                <a:cubicBezTo>
                  <a:pt x="3239266" y="184883"/>
                  <a:pt x="3239421" y="192062"/>
                  <a:pt x="3247024" y="191365"/>
                </a:cubicBezTo>
                <a:cubicBezTo>
                  <a:pt x="3253437" y="190766"/>
                  <a:pt x="3255764" y="185382"/>
                  <a:pt x="3265384" y="184783"/>
                </a:cubicBezTo>
                <a:cubicBezTo>
                  <a:pt x="3270763" y="184484"/>
                  <a:pt x="3272263" y="190667"/>
                  <a:pt x="3279142" y="191365"/>
                </a:cubicBezTo>
                <a:cubicBezTo>
                  <a:pt x="3285451" y="191963"/>
                  <a:pt x="3289331" y="184484"/>
                  <a:pt x="3292899" y="184783"/>
                </a:cubicBezTo>
                <a:cubicBezTo>
                  <a:pt x="3299778" y="185382"/>
                  <a:pt x="3297761" y="192262"/>
                  <a:pt x="3302054" y="184783"/>
                </a:cubicBezTo>
                <a:cubicBezTo>
                  <a:pt x="3303088" y="182989"/>
                  <a:pt x="3309604" y="185680"/>
                  <a:pt x="3311260" y="184783"/>
                </a:cubicBezTo>
                <a:cubicBezTo>
                  <a:pt x="3315191" y="182489"/>
                  <a:pt x="3317208" y="181293"/>
                  <a:pt x="3320414" y="178201"/>
                </a:cubicBezTo>
                <a:cubicBezTo>
                  <a:pt x="3328017" y="189171"/>
                  <a:pt x="3347360" y="183487"/>
                  <a:pt x="3361687" y="184783"/>
                </a:cubicBezTo>
                <a:cubicBezTo>
                  <a:pt x="3363652" y="168429"/>
                  <a:pt x="3386771" y="148784"/>
                  <a:pt x="3366290" y="139012"/>
                </a:cubicBezTo>
                <a:cubicBezTo>
                  <a:pt x="3365514" y="148784"/>
                  <a:pt x="3367893" y="163143"/>
                  <a:pt x="3361687" y="165139"/>
                </a:cubicBezTo>
                <a:cubicBezTo>
                  <a:pt x="3362462" y="148784"/>
                  <a:pt x="3354652" y="144696"/>
                  <a:pt x="3347929" y="139012"/>
                </a:cubicBezTo>
                <a:cubicBezTo>
                  <a:pt x="3350153" y="159654"/>
                  <a:pt x="3326880" y="143898"/>
                  <a:pt x="3324965" y="158656"/>
                </a:cubicBezTo>
                <a:cubicBezTo>
                  <a:pt x="3328535" y="160053"/>
                  <a:pt x="3330293" y="164141"/>
                  <a:pt x="3329569" y="171720"/>
                </a:cubicBezTo>
                <a:cubicBezTo>
                  <a:pt x="3320880" y="160053"/>
                  <a:pt x="3299261" y="166933"/>
                  <a:pt x="3283693" y="165139"/>
                </a:cubicBezTo>
                <a:cubicBezTo>
                  <a:pt x="3297089" y="146690"/>
                  <a:pt x="3269987" y="157061"/>
                  <a:pt x="3274539" y="132430"/>
                </a:cubicBezTo>
                <a:cubicBezTo>
                  <a:pt x="3264091" y="130535"/>
                  <a:pt x="3257264" y="133926"/>
                  <a:pt x="3256178" y="145493"/>
                </a:cubicBezTo>
                <a:cubicBezTo>
                  <a:pt x="3247541" y="142602"/>
                  <a:pt x="3228560" y="154469"/>
                  <a:pt x="3233266" y="132430"/>
                </a:cubicBezTo>
                <a:cubicBezTo>
                  <a:pt x="3250179" y="152973"/>
                  <a:pt x="3253127" y="121262"/>
                  <a:pt x="3269987" y="119367"/>
                </a:cubicBezTo>
                <a:cubicBezTo>
                  <a:pt x="3269884" y="119367"/>
                  <a:pt x="3270866" y="126248"/>
                  <a:pt x="3274591" y="125949"/>
                </a:cubicBezTo>
                <a:cubicBezTo>
                  <a:pt x="3275832" y="125849"/>
                  <a:pt x="3278159" y="114381"/>
                  <a:pt x="3283745" y="119367"/>
                </a:cubicBezTo>
                <a:cubicBezTo>
                  <a:pt x="3286072" y="121460"/>
                  <a:pt x="3282814" y="134625"/>
                  <a:pt x="3288348" y="132430"/>
                </a:cubicBezTo>
                <a:cubicBezTo>
                  <a:pt x="3288089" y="121162"/>
                  <a:pt x="3291865" y="115677"/>
                  <a:pt x="3297502" y="112786"/>
                </a:cubicBezTo>
                <a:cubicBezTo>
                  <a:pt x="3300450" y="127046"/>
                  <a:pt x="3284521" y="133627"/>
                  <a:pt x="3302105" y="132430"/>
                </a:cubicBezTo>
                <a:cubicBezTo>
                  <a:pt x="3308312" y="125949"/>
                  <a:pt x="3311260" y="114979"/>
                  <a:pt x="3315863" y="106204"/>
                </a:cubicBezTo>
                <a:cubicBezTo>
                  <a:pt x="3312708" y="93340"/>
                  <a:pt x="3290262" y="107799"/>
                  <a:pt x="3288348" y="93140"/>
                </a:cubicBezTo>
                <a:cubicBezTo>
                  <a:pt x="3300347" y="95035"/>
                  <a:pt x="3308105" y="90747"/>
                  <a:pt x="3306708" y="73496"/>
                </a:cubicBezTo>
                <a:cubicBezTo>
                  <a:pt x="3289227" y="66416"/>
                  <a:pt x="3278055" y="90846"/>
                  <a:pt x="3274591" y="67013"/>
                </a:cubicBezTo>
                <a:cubicBezTo>
                  <a:pt x="3282710" y="65519"/>
                  <a:pt x="3297554" y="73596"/>
                  <a:pt x="3292951" y="53950"/>
                </a:cubicBezTo>
                <a:cubicBezTo>
                  <a:pt x="3292124" y="44178"/>
                  <a:pt x="3281883" y="47967"/>
                  <a:pt x="3274591" y="47369"/>
                </a:cubicBezTo>
                <a:cubicBezTo>
                  <a:pt x="3254316" y="45774"/>
                  <a:pt x="3243352" y="52854"/>
                  <a:pt x="3233318" y="53950"/>
                </a:cubicBezTo>
                <a:cubicBezTo>
                  <a:pt x="3226129" y="54648"/>
                  <a:pt x="3228818" y="45674"/>
                  <a:pt x="3224112" y="53950"/>
                </a:cubicBezTo>
                <a:cubicBezTo>
                  <a:pt x="3223388" y="55247"/>
                  <a:pt x="3216302" y="53751"/>
                  <a:pt x="3214958" y="53950"/>
                </a:cubicBezTo>
                <a:cubicBezTo>
                  <a:pt x="3206630" y="55047"/>
                  <a:pt x="3196235" y="50062"/>
                  <a:pt x="3187442" y="60433"/>
                </a:cubicBezTo>
                <a:cubicBezTo>
                  <a:pt x="3183409" y="81474"/>
                  <a:pt x="3202545" y="69407"/>
                  <a:pt x="3201200" y="86659"/>
                </a:cubicBezTo>
                <a:cubicBezTo>
                  <a:pt x="3194373" y="87856"/>
                  <a:pt x="3196959" y="102414"/>
                  <a:pt x="3196597" y="112786"/>
                </a:cubicBezTo>
                <a:cubicBezTo>
                  <a:pt x="3203476" y="113982"/>
                  <a:pt x="3213509" y="110492"/>
                  <a:pt x="3214958" y="119367"/>
                </a:cubicBezTo>
                <a:cubicBezTo>
                  <a:pt x="3212424" y="119367"/>
                  <a:pt x="3209733" y="124653"/>
                  <a:pt x="3214958" y="125949"/>
                </a:cubicBezTo>
                <a:cubicBezTo>
                  <a:pt x="3215320" y="137417"/>
                  <a:pt x="3213923" y="146391"/>
                  <a:pt x="3210355" y="152175"/>
                </a:cubicBezTo>
                <a:cubicBezTo>
                  <a:pt x="3202441" y="140806"/>
                  <a:pt x="3182012" y="144896"/>
                  <a:pt x="3178237" y="158756"/>
                </a:cubicBezTo>
                <a:cubicBezTo>
                  <a:pt x="3191218" y="159853"/>
                  <a:pt x="3209733" y="153072"/>
                  <a:pt x="3210355" y="171819"/>
                </a:cubicBezTo>
                <a:cubicBezTo>
                  <a:pt x="3185684" y="166435"/>
                  <a:pt x="3171151" y="182789"/>
                  <a:pt x="3155273" y="171819"/>
                </a:cubicBezTo>
                <a:cubicBezTo>
                  <a:pt x="3157135" y="187476"/>
                  <a:pt x="3134378" y="168130"/>
                  <a:pt x="3141515" y="191465"/>
                </a:cubicBezTo>
                <a:cubicBezTo>
                  <a:pt x="3140792" y="209912"/>
                  <a:pt x="3169806" y="185980"/>
                  <a:pt x="3169082" y="204528"/>
                </a:cubicBezTo>
                <a:cubicBezTo>
                  <a:pt x="3163496" y="205226"/>
                  <a:pt x="3158221" y="206423"/>
                  <a:pt x="3159928" y="217592"/>
                </a:cubicBezTo>
                <a:cubicBezTo>
                  <a:pt x="3167945" y="218090"/>
                  <a:pt x="3174202" y="216095"/>
                  <a:pt x="3178288" y="211009"/>
                </a:cubicBezTo>
                <a:cubicBezTo>
                  <a:pt x="3182943" y="219586"/>
                  <a:pt x="3182736" y="235142"/>
                  <a:pt x="3187442" y="243718"/>
                </a:cubicBezTo>
                <a:cubicBezTo>
                  <a:pt x="3174409" y="243320"/>
                  <a:pt x="3163496" y="244316"/>
                  <a:pt x="3155324" y="243718"/>
                </a:cubicBezTo>
                <a:cubicBezTo>
                  <a:pt x="3152893" y="243518"/>
                  <a:pt x="3149583" y="237136"/>
                  <a:pt x="3150722" y="237136"/>
                </a:cubicBezTo>
                <a:cubicBezTo>
                  <a:pt x="3139447" y="237136"/>
                  <a:pt x="3132620" y="245213"/>
                  <a:pt x="3123206" y="243718"/>
                </a:cubicBezTo>
                <a:cubicBezTo>
                  <a:pt x="3119793" y="243119"/>
                  <a:pt x="3119017" y="237236"/>
                  <a:pt x="3118604" y="237136"/>
                </a:cubicBezTo>
                <a:cubicBezTo>
                  <a:pt x="3116535" y="236537"/>
                  <a:pt x="3111776" y="242721"/>
                  <a:pt x="3114001" y="243718"/>
                </a:cubicBezTo>
                <a:cubicBezTo>
                  <a:pt x="3108414" y="241224"/>
                  <a:pt x="3105673" y="231253"/>
                  <a:pt x="3100242" y="230655"/>
                </a:cubicBezTo>
                <a:cubicBezTo>
                  <a:pt x="3100657" y="230655"/>
                  <a:pt x="3096157" y="243518"/>
                  <a:pt x="3095640" y="243718"/>
                </a:cubicBezTo>
                <a:cubicBezTo>
                  <a:pt x="3091399" y="245413"/>
                  <a:pt x="3089899" y="237037"/>
                  <a:pt x="3086486" y="237136"/>
                </a:cubicBezTo>
                <a:cubicBezTo>
                  <a:pt x="3088089" y="244017"/>
                  <a:pt x="3087261" y="247408"/>
                  <a:pt x="3085193" y="249103"/>
                </a:cubicBezTo>
                <a:lnTo>
                  <a:pt x="3068849" y="249103"/>
                </a:lnTo>
                <a:cubicBezTo>
                  <a:pt x="3080176" y="232250"/>
                  <a:pt x="3054471" y="241524"/>
                  <a:pt x="3058919" y="217491"/>
                </a:cubicBezTo>
                <a:cubicBezTo>
                  <a:pt x="3070659" y="210311"/>
                  <a:pt x="3082555" y="239829"/>
                  <a:pt x="3081882" y="210910"/>
                </a:cubicBezTo>
                <a:cubicBezTo>
                  <a:pt x="3041179" y="208916"/>
                  <a:pt x="3035748" y="216794"/>
                  <a:pt x="2999234" y="217491"/>
                </a:cubicBezTo>
                <a:cubicBezTo>
                  <a:pt x="3004561" y="207818"/>
                  <a:pt x="3004561" y="201038"/>
                  <a:pt x="2999234" y="191365"/>
                </a:cubicBezTo>
                <a:cubicBezTo>
                  <a:pt x="2995717" y="189869"/>
                  <a:pt x="2990235" y="191165"/>
                  <a:pt x="2990079" y="184783"/>
                </a:cubicBezTo>
                <a:cubicBezTo>
                  <a:pt x="2975546" y="194257"/>
                  <a:pt x="2959203" y="189470"/>
                  <a:pt x="2944204" y="191365"/>
                </a:cubicBezTo>
                <a:cubicBezTo>
                  <a:pt x="2926102" y="193658"/>
                  <a:pt x="2929878" y="194455"/>
                  <a:pt x="2921241" y="191365"/>
                </a:cubicBezTo>
                <a:cubicBezTo>
                  <a:pt x="2905259" y="185680"/>
                  <a:pt x="2887829" y="202534"/>
                  <a:pt x="2889123" y="191365"/>
                </a:cubicBezTo>
                <a:cubicBezTo>
                  <a:pt x="2889123" y="184783"/>
                  <a:pt x="2885399" y="183587"/>
                  <a:pt x="2884520" y="178302"/>
                </a:cubicBezTo>
                <a:cubicBezTo>
                  <a:pt x="2903242" y="172916"/>
                  <a:pt x="2900346" y="177304"/>
                  <a:pt x="2921241" y="178302"/>
                </a:cubicBezTo>
                <a:cubicBezTo>
                  <a:pt x="2920206" y="165836"/>
                  <a:pt x="2926412" y="163842"/>
                  <a:pt x="2925843" y="152076"/>
                </a:cubicBezTo>
                <a:cubicBezTo>
                  <a:pt x="2917724" y="140009"/>
                  <a:pt x="2912448" y="154967"/>
                  <a:pt x="2902880" y="158656"/>
                </a:cubicBezTo>
                <a:cubicBezTo>
                  <a:pt x="2900035" y="133827"/>
                  <a:pt x="2883692" y="165737"/>
                  <a:pt x="2884520" y="132430"/>
                </a:cubicBezTo>
                <a:cubicBezTo>
                  <a:pt x="2897035" y="127644"/>
                  <a:pt x="2893777" y="145394"/>
                  <a:pt x="2902880" y="145493"/>
                </a:cubicBezTo>
                <a:cubicBezTo>
                  <a:pt x="2898846" y="124453"/>
                  <a:pt x="2917982" y="136518"/>
                  <a:pt x="2916637" y="119267"/>
                </a:cubicBezTo>
                <a:cubicBezTo>
                  <a:pt x="2904897" y="122657"/>
                  <a:pt x="2900552" y="127943"/>
                  <a:pt x="2893674" y="112685"/>
                </a:cubicBezTo>
                <a:cubicBezTo>
                  <a:pt x="2904173" y="125151"/>
                  <a:pt x="2927033" y="99921"/>
                  <a:pt x="2939549" y="119267"/>
                </a:cubicBezTo>
                <a:cubicBezTo>
                  <a:pt x="2922016" y="114481"/>
                  <a:pt x="2934325" y="143400"/>
                  <a:pt x="2939549" y="145493"/>
                </a:cubicBezTo>
                <a:cubicBezTo>
                  <a:pt x="2941204" y="123854"/>
                  <a:pt x="2966029" y="135222"/>
                  <a:pt x="2980873" y="132430"/>
                </a:cubicBezTo>
                <a:cubicBezTo>
                  <a:pt x="2984442" y="133827"/>
                  <a:pt x="2986200" y="137915"/>
                  <a:pt x="2985477" y="145493"/>
                </a:cubicBezTo>
                <a:cubicBezTo>
                  <a:pt x="2999130" y="145394"/>
                  <a:pt x="3001044" y="128441"/>
                  <a:pt x="3012992" y="125849"/>
                </a:cubicBezTo>
                <a:cubicBezTo>
                  <a:pt x="3019663" y="122258"/>
                  <a:pt x="3036731" y="133428"/>
                  <a:pt x="3035955" y="119267"/>
                </a:cubicBezTo>
                <a:cubicBezTo>
                  <a:pt x="3026542" y="117472"/>
                  <a:pt x="3026801" y="101816"/>
                  <a:pt x="3022198" y="93140"/>
                </a:cubicBezTo>
                <a:cubicBezTo>
                  <a:pt x="3031197" y="95135"/>
                  <a:pt x="3031300" y="84365"/>
                  <a:pt x="3035955" y="80077"/>
                </a:cubicBezTo>
                <a:cubicBezTo>
                  <a:pt x="3037042" y="89451"/>
                  <a:pt x="3043506" y="91146"/>
                  <a:pt x="3045110" y="99722"/>
                </a:cubicBezTo>
                <a:cubicBezTo>
                  <a:pt x="3032076" y="107999"/>
                  <a:pt x="3028818" y="96830"/>
                  <a:pt x="3035955" y="112786"/>
                </a:cubicBezTo>
                <a:cubicBezTo>
                  <a:pt x="3043609" y="130037"/>
                  <a:pt x="3033938" y="124653"/>
                  <a:pt x="3031352" y="139012"/>
                </a:cubicBezTo>
                <a:cubicBezTo>
                  <a:pt x="3051730" y="130237"/>
                  <a:pt x="3041747" y="155864"/>
                  <a:pt x="3045110" y="165139"/>
                </a:cubicBezTo>
                <a:cubicBezTo>
                  <a:pt x="3046506" y="168928"/>
                  <a:pt x="3059229" y="164740"/>
                  <a:pt x="3054315" y="178201"/>
                </a:cubicBezTo>
                <a:cubicBezTo>
                  <a:pt x="3050126" y="186079"/>
                  <a:pt x="3042937" y="179897"/>
                  <a:pt x="3035955" y="184783"/>
                </a:cubicBezTo>
                <a:cubicBezTo>
                  <a:pt x="3033472" y="186478"/>
                  <a:pt x="3035334" y="195253"/>
                  <a:pt x="3031352" y="197847"/>
                </a:cubicBezTo>
                <a:cubicBezTo>
                  <a:pt x="3032335" y="197248"/>
                  <a:pt x="3026852" y="187974"/>
                  <a:pt x="3026749" y="197847"/>
                </a:cubicBezTo>
                <a:cubicBezTo>
                  <a:pt x="3032956" y="199940"/>
                  <a:pt x="3035541" y="207221"/>
                  <a:pt x="3045110" y="204429"/>
                </a:cubicBezTo>
                <a:cubicBezTo>
                  <a:pt x="3053747" y="199541"/>
                  <a:pt x="3048264" y="184883"/>
                  <a:pt x="3058867" y="197847"/>
                </a:cubicBezTo>
                <a:cubicBezTo>
                  <a:pt x="3063729" y="191764"/>
                  <a:pt x="3060263" y="173714"/>
                  <a:pt x="3072625" y="178201"/>
                </a:cubicBezTo>
                <a:cubicBezTo>
                  <a:pt x="3069779" y="184285"/>
                  <a:pt x="3061919" y="202334"/>
                  <a:pt x="3077176" y="197847"/>
                </a:cubicBezTo>
                <a:cubicBezTo>
                  <a:pt x="3097708" y="196152"/>
                  <a:pt x="3070504" y="163143"/>
                  <a:pt x="3081779" y="158557"/>
                </a:cubicBezTo>
                <a:cubicBezTo>
                  <a:pt x="3088451" y="170124"/>
                  <a:pt x="3117672" y="152873"/>
                  <a:pt x="3146015" y="158557"/>
                </a:cubicBezTo>
                <a:cubicBezTo>
                  <a:pt x="3149377" y="129937"/>
                  <a:pt x="3136912" y="163842"/>
                  <a:pt x="3136861" y="145493"/>
                </a:cubicBezTo>
                <a:cubicBezTo>
                  <a:pt x="3132568" y="119367"/>
                  <a:pt x="3186408" y="142501"/>
                  <a:pt x="3173582" y="125849"/>
                </a:cubicBezTo>
                <a:cubicBezTo>
                  <a:pt x="3155480" y="134226"/>
                  <a:pt x="3161686" y="107899"/>
                  <a:pt x="3155221" y="99622"/>
                </a:cubicBezTo>
                <a:cubicBezTo>
                  <a:pt x="3162410" y="99024"/>
                  <a:pt x="3171151" y="100520"/>
                  <a:pt x="3168979" y="86560"/>
                </a:cubicBezTo>
                <a:cubicBezTo>
                  <a:pt x="3145911" y="82869"/>
                  <a:pt x="3141567" y="82869"/>
                  <a:pt x="3118500" y="86560"/>
                </a:cubicBezTo>
                <a:cubicBezTo>
                  <a:pt x="3113380" y="85861"/>
                  <a:pt x="3111363" y="96032"/>
                  <a:pt x="3109346" y="86560"/>
                </a:cubicBezTo>
                <a:cubicBezTo>
                  <a:pt x="3112966" y="85063"/>
                  <a:pt x="3114673" y="80974"/>
                  <a:pt x="3113949" y="73395"/>
                </a:cubicBezTo>
                <a:cubicBezTo>
                  <a:pt x="3127758" y="73395"/>
                  <a:pt x="3141515" y="73395"/>
                  <a:pt x="3155273" y="73395"/>
                </a:cubicBezTo>
                <a:cubicBezTo>
                  <a:pt x="3156100" y="59135"/>
                  <a:pt x="3151549" y="52555"/>
                  <a:pt x="3141515" y="53751"/>
                </a:cubicBezTo>
                <a:cubicBezTo>
                  <a:pt x="3139291" y="60631"/>
                  <a:pt x="3127448" y="53352"/>
                  <a:pt x="3123155" y="53751"/>
                </a:cubicBezTo>
                <a:cubicBezTo>
                  <a:pt x="3117259" y="54250"/>
                  <a:pt x="3116742" y="59734"/>
                  <a:pt x="3109397" y="60233"/>
                </a:cubicBezTo>
                <a:cubicBezTo>
                  <a:pt x="3069573" y="63225"/>
                  <a:pt x="3017336" y="64321"/>
                  <a:pt x="2980873" y="53751"/>
                </a:cubicBezTo>
                <a:cubicBezTo>
                  <a:pt x="2969030" y="85861"/>
                  <a:pt x="2939859" y="52654"/>
                  <a:pt x="2925792" y="79878"/>
                </a:cubicBezTo>
                <a:cubicBezTo>
                  <a:pt x="2921603" y="68410"/>
                  <a:pt x="2911465" y="65418"/>
                  <a:pt x="2898277" y="66815"/>
                </a:cubicBezTo>
                <a:cubicBezTo>
                  <a:pt x="2888657" y="72698"/>
                  <a:pt x="2877899" y="76985"/>
                  <a:pt x="2870762" y="86459"/>
                </a:cubicBezTo>
                <a:cubicBezTo>
                  <a:pt x="2863883" y="78781"/>
                  <a:pt x="2859539" y="67513"/>
                  <a:pt x="2847798" y="66815"/>
                </a:cubicBezTo>
                <a:cubicBezTo>
                  <a:pt x="2829334" y="68510"/>
                  <a:pt x="2810146" y="64421"/>
                  <a:pt x="2797320" y="66815"/>
                </a:cubicBezTo>
                <a:cubicBezTo>
                  <a:pt x="2788579" y="68410"/>
                  <a:pt x="2786872" y="72598"/>
                  <a:pt x="2783562" y="66815"/>
                </a:cubicBezTo>
                <a:cubicBezTo>
                  <a:pt x="2776994" y="55347"/>
                  <a:pt x="2746841" y="73296"/>
                  <a:pt x="2746841" y="73296"/>
                </a:cubicBezTo>
                <a:cubicBezTo>
                  <a:pt x="2732670" y="73695"/>
                  <a:pt x="2722895" y="58736"/>
                  <a:pt x="2714723" y="73296"/>
                </a:cubicBezTo>
                <a:cubicBezTo>
                  <a:pt x="2712551" y="77185"/>
                  <a:pt x="2708569" y="67114"/>
                  <a:pt x="2710120" y="66815"/>
                </a:cubicBezTo>
                <a:cubicBezTo>
                  <a:pt x="2696466" y="69307"/>
                  <a:pt x="2697242" y="76388"/>
                  <a:pt x="2691759" y="66815"/>
                </a:cubicBezTo>
                <a:cubicBezTo>
                  <a:pt x="2691087" y="65519"/>
                  <a:pt x="2683898" y="66914"/>
                  <a:pt x="2682605" y="66815"/>
                </a:cubicBezTo>
                <a:cubicBezTo>
                  <a:pt x="2655452" y="64521"/>
                  <a:pt x="2613352" y="68111"/>
                  <a:pt x="2595405" y="66815"/>
                </a:cubicBezTo>
                <a:cubicBezTo>
                  <a:pt x="2593026" y="66615"/>
                  <a:pt x="2589613" y="60233"/>
                  <a:pt x="2590802" y="60233"/>
                </a:cubicBezTo>
                <a:cubicBezTo>
                  <a:pt x="2582320" y="60332"/>
                  <a:pt x="2580407" y="65319"/>
                  <a:pt x="2572442" y="66815"/>
                </a:cubicBezTo>
                <a:cubicBezTo>
                  <a:pt x="2566442" y="67912"/>
                  <a:pt x="2560133" y="66216"/>
                  <a:pt x="2554081" y="66815"/>
                </a:cubicBezTo>
                <a:cubicBezTo>
                  <a:pt x="2535876" y="68710"/>
                  <a:pt x="2539910" y="69906"/>
                  <a:pt x="2531118" y="66815"/>
                </a:cubicBezTo>
                <a:cubicBezTo>
                  <a:pt x="2528222" y="65817"/>
                  <a:pt x="2524808" y="67712"/>
                  <a:pt x="2521912" y="66815"/>
                </a:cubicBezTo>
                <a:cubicBezTo>
                  <a:pt x="2514205" y="64421"/>
                  <a:pt x="2511102" y="60631"/>
                  <a:pt x="2503551" y="60233"/>
                </a:cubicBezTo>
                <a:cubicBezTo>
                  <a:pt x="2498793" y="60034"/>
                  <a:pt x="2473450" y="80775"/>
                  <a:pt x="2480587" y="53751"/>
                </a:cubicBezTo>
                <a:cubicBezTo>
                  <a:pt x="2468071" y="48965"/>
                  <a:pt x="2471329" y="66715"/>
                  <a:pt x="2462227" y="66815"/>
                </a:cubicBezTo>
                <a:cubicBezTo>
                  <a:pt x="2441952" y="40190"/>
                  <a:pt x="2393594" y="59335"/>
                  <a:pt x="2361269" y="53751"/>
                </a:cubicBezTo>
                <a:cubicBezTo>
                  <a:pt x="2355270" y="52654"/>
                  <a:pt x="2355063" y="47070"/>
                  <a:pt x="2347512" y="47169"/>
                </a:cubicBezTo>
                <a:cubicBezTo>
                  <a:pt x="2339030" y="47369"/>
                  <a:pt x="2337168" y="52355"/>
                  <a:pt x="2329151" y="53751"/>
                </a:cubicBezTo>
                <a:cubicBezTo>
                  <a:pt x="2306240" y="57740"/>
                  <a:pt x="2277173" y="58937"/>
                  <a:pt x="2255710" y="53751"/>
                </a:cubicBezTo>
                <a:cubicBezTo>
                  <a:pt x="2248831" y="52056"/>
                  <a:pt x="2247382" y="47568"/>
                  <a:pt x="2237349" y="47169"/>
                </a:cubicBezTo>
                <a:cubicBezTo>
                  <a:pt x="2230470" y="46970"/>
                  <a:pt x="2221057" y="53053"/>
                  <a:pt x="2214385" y="53751"/>
                </a:cubicBezTo>
                <a:cubicBezTo>
                  <a:pt x="2208489" y="54250"/>
                  <a:pt x="2208127" y="46073"/>
                  <a:pt x="2200628" y="47169"/>
                </a:cubicBezTo>
                <a:cubicBezTo>
                  <a:pt x="2194938" y="47967"/>
                  <a:pt x="2193749" y="52255"/>
                  <a:pt x="2186819" y="53751"/>
                </a:cubicBezTo>
                <a:cubicBezTo>
                  <a:pt x="2163803" y="58637"/>
                  <a:pt x="2150511" y="47369"/>
                  <a:pt x="2136340" y="47169"/>
                </a:cubicBezTo>
                <a:cubicBezTo>
                  <a:pt x="2129823" y="47070"/>
                  <a:pt x="2120100" y="54051"/>
                  <a:pt x="2113376" y="53751"/>
                </a:cubicBezTo>
                <a:cubicBezTo>
                  <a:pt x="2101274" y="53253"/>
                  <a:pt x="2092947" y="45375"/>
                  <a:pt x="2081258" y="47169"/>
                </a:cubicBezTo>
                <a:cubicBezTo>
                  <a:pt x="2065225" y="49562"/>
                  <a:pt x="2073346" y="50860"/>
                  <a:pt x="2062898" y="47169"/>
                </a:cubicBezTo>
                <a:cubicBezTo>
                  <a:pt x="2046916" y="41486"/>
                  <a:pt x="2028659" y="48366"/>
                  <a:pt x="2017022" y="47169"/>
                </a:cubicBezTo>
                <a:cubicBezTo>
                  <a:pt x="2009368" y="46371"/>
                  <a:pt x="2002593" y="40787"/>
                  <a:pt x="1998662" y="40588"/>
                </a:cubicBezTo>
                <a:cubicBezTo>
                  <a:pt x="1997214" y="40588"/>
                  <a:pt x="1995559" y="48167"/>
                  <a:pt x="1989507" y="47169"/>
                </a:cubicBezTo>
                <a:cubicBezTo>
                  <a:pt x="1983508" y="46073"/>
                  <a:pt x="1983301" y="40488"/>
                  <a:pt x="1975750" y="40588"/>
                </a:cubicBezTo>
                <a:cubicBezTo>
                  <a:pt x="1971664" y="40588"/>
                  <a:pt x="1972026" y="46970"/>
                  <a:pt x="1971147" y="47169"/>
                </a:cubicBezTo>
                <a:cubicBezTo>
                  <a:pt x="1968354" y="47967"/>
                  <a:pt x="1965147" y="40887"/>
                  <a:pt x="1966544" y="40588"/>
                </a:cubicBezTo>
                <a:cubicBezTo>
                  <a:pt x="1960596" y="42083"/>
                  <a:pt x="1960182" y="46472"/>
                  <a:pt x="1952786" y="47169"/>
                </a:cubicBezTo>
                <a:cubicBezTo>
                  <a:pt x="1940528" y="48366"/>
                  <a:pt x="1918858" y="48266"/>
                  <a:pt x="1911462" y="47169"/>
                </a:cubicBezTo>
                <a:cubicBezTo>
                  <a:pt x="1906549" y="46371"/>
                  <a:pt x="1900032" y="40190"/>
                  <a:pt x="1897705" y="40588"/>
                </a:cubicBezTo>
                <a:cubicBezTo>
                  <a:pt x="1895222" y="40987"/>
                  <a:pt x="1892223" y="59834"/>
                  <a:pt x="1883948" y="53652"/>
                </a:cubicBezTo>
                <a:cubicBezTo>
                  <a:pt x="1874534" y="32810"/>
                  <a:pt x="1856070" y="47868"/>
                  <a:pt x="1847226" y="47070"/>
                </a:cubicBezTo>
                <a:cubicBezTo>
                  <a:pt x="1848002" y="47070"/>
                  <a:pt x="1844795" y="41285"/>
                  <a:pt x="1842623" y="40488"/>
                </a:cubicBezTo>
                <a:cubicBezTo>
                  <a:pt x="1839830" y="39491"/>
                  <a:pt x="1836262" y="40688"/>
                  <a:pt x="1833417" y="40488"/>
                </a:cubicBezTo>
                <a:cubicBezTo>
                  <a:pt x="1806522" y="38195"/>
                  <a:pt x="1774457" y="36999"/>
                  <a:pt x="1759975" y="33907"/>
                </a:cubicBezTo>
                <a:cubicBezTo>
                  <a:pt x="1749631" y="31712"/>
                  <a:pt x="1742390" y="35602"/>
                  <a:pt x="1732408" y="33907"/>
                </a:cubicBezTo>
                <a:cubicBezTo>
                  <a:pt x="1727960" y="40588"/>
                  <a:pt x="1723357" y="47169"/>
                  <a:pt x="1718650" y="53551"/>
                </a:cubicBezTo>
                <a:cubicBezTo>
                  <a:pt x="1720047" y="40688"/>
                  <a:pt x="1712444" y="40588"/>
                  <a:pt x="1709496" y="33907"/>
                </a:cubicBezTo>
                <a:cubicBezTo>
                  <a:pt x="1694032" y="45873"/>
                  <a:pt x="1679447" y="36798"/>
                  <a:pt x="1672775" y="33907"/>
                </a:cubicBezTo>
                <a:cubicBezTo>
                  <a:pt x="1654311" y="25930"/>
                  <a:pt x="1655552" y="31214"/>
                  <a:pt x="1645260" y="33907"/>
                </a:cubicBezTo>
                <a:cubicBezTo>
                  <a:pt x="1637813" y="35802"/>
                  <a:pt x="1629745" y="32411"/>
                  <a:pt x="1622296" y="33907"/>
                </a:cubicBezTo>
                <a:cubicBezTo>
                  <a:pt x="1617745" y="34903"/>
                  <a:pt x="1616970" y="39192"/>
                  <a:pt x="1613142" y="40488"/>
                </a:cubicBezTo>
                <a:cubicBezTo>
                  <a:pt x="1597627" y="45674"/>
                  <a:pt x="1588627" y="37098"/>
                  <a:pt x="1581024" y="33907"/>
                </a:cubicBezTo>
                <a:cubicBezTo>
                  <a:pt x="1569284" y="28920"/>
                  <a:pt x="1560026" y="26527"/>
                  <a:pt x="1548906" y="27325"/>
                </a:cubicBezTo>
                <a:cubicBezTo>
                  <a:pt x="1545492" y="27624"/>
                  <a:pt x="1544407" y="33907"/>
                  <a:pt x="1544303" y="33907"/>
                </a:cubicBezTo>
                <a:cubicBezTo>
                  <a:pt x="1537062" y="35302"/>
                  <a:pt x="1540011" y="25331"/>
                  <a:pt x="1535097" y="33907"/>
                </a:cubicBezTo>
                <a:cubicBezTo>
                  <a:pt x="1530753" y="41486"/>
                  <a:pt x="1514823" y="27724"/>
                  <a:pt x="1512185" y="27325"/>
                </a:cubicBezTo>
                <a:cubicBezTo>
                  <a:pt x="1481774" y="22838"/>
                  <a:pt x="1451983" y="13863"/>
                  <a:pt x="1424986" y="14261"/>
                </a:cubicBezTo>
                <a:cubicBezTo>
                  <a:pt x="1412676" y="27525"/>
                  <a:pt x="1407504" y="20445"/>
                  <a:pt x="1397419" y="27325"/>
                </a:cubicBezTo>
                <a:cubicBezTo>
                  <a:pt x="1386868" y="20544"/>
                  <a:pt x="1382627" y="4788"/>
                  <a:pt x="1365301" y="7681"/>
                </a:cubicBezTo>
                <a:cubicBezTo>
                  <a:pt x="1351388" y="9675"/>
                  <a:pt x="1348905" y="27924"/>
                  <a:pt x="1328579" y="20744"/>
                </a:cubicBezTo>
                <a:cubicBezTo>
                  <a:pt x="1321339" y="20145"/>
                  <a:pt x="1325011" y="4091"/>
                  <a:pt x="1314822" y="7681"/>
                </a:cubicBezTo>
                <a:cubicBezTo>
                  <a:pt x="1298996" y="2495"/>
                  <a:pt x="1295479" y="14960"/>
                  <a:pt x="1287307" y="20744"/>
                </a:cubicBezTo>
                <a:cubicBezTo>
                  <a:pt x="1286583" y="12068"/>
                  <a:pt x="1279963" y="14960"/>
                  <a:pt x="1273550" y="14162"/>
                </a:cubicBezTo>
                <a:cubicBezTo>
                  <a:pt x="1262534" y="12767"/>
                  <a:pt x="1245414" y="7780"/>
                  <a:pt x="1245983" y="7581"/>
                </a:cubicBezTo>
                <a:cubicBezTo>
                  <a:pt x="1244225" y="8080"/>
                  <a:pt x="1246707" y="16655"/>
                  <a:pt x="1241380" y="14162"/>
                </a:cubicBezTo>
                <a:cubicBezTo>
                  <a:pt x="1240190" y="13664"/>
                  <a:pt x="1238380" y="2196"/>
                  <a:pt x="1236777" y="1099"/>
                </a:cubicBezTo>
                <a:cubicBezTo>
                  <a:pt x="1231864" y="-2392"/>
                  <a:pt x="1223588" y="3791"/>
                  <a:pt x="1218416" y="1099"/>
                </a:cubicBezTo>
                <a:cubicBezTo>
                  <a:pt x="1217692" y="8778"/>
                  <a:pt x="1219192" y="19647"/>
                  <a:pt x="1213813" y="20744"/>
                </a:cubicBezTo>
                <a:cubicBezTo>
                  <a:pt x="1205745" y="8877"/>
                  <a:pt x="1192660" y="17952"/>
                  <a:pt x="1181695" y="14162"/>
                </a:cubicBezTo>
                <a:cubicBezTo>
                  <a:pt x="1173782" y="11469"/>
                  <a:pt x="1166748" y="-1295"/>
                  <a:pt x="1158731" y="1099"/>
                </a:cubicBezTo>
                <a:cubicBezTo>
                  <a:pt x="1159507" y="26926"/>
                  <a:pt x="1151698" y="-995"/>
                  <a:pt x="1144974" y="14162"/>
                </a:cubicBezTo>
                <a:cubicBezTo>
                  <a:pt x="1130027" y="20145"/>
                  <a:pt x="1114925" y="8578"/>
                  <a:pt x="1099099" y="7581"/>
                </a:cubicBezTo>
                <a:cubicBezTo>
                  <a:pt x="1091134" y="7082"/>
                  <a:pt x="1084668" y="14362"/>
                  <a:pt x="1080738" y="14162"/>
                </a:cubicBezTo>
                <a:cubicBezTo>
                  <a:pt x="1081721" y="14162"/>
                  <a:pt x="1078204" y="8278"/>
                  <a:pt x="1076135" y="7581"/>
                </a:cubicBezTo>
                <a:cubicBezTo>
                  <a:pt x="1062946" y="2894"/>
                  <a:pt x="1062533" y="12368"/>
                  <a:pt x="1053172" y="14162"/>
                </a:cubicBezTo>
                <a:cubicBezTo>
                  <a:pt x="1035277" y="17553"/>
                  <a:pt x="1031345" y="8179"/>
                  <a:pt x="1021053" y="7581"/>
                </a:cubicBezTo>
                <a:cubicBezTo>
                  <a:pt x="999486" y="6385"/>
                  <a:pt x="973522" y="11370"/>
                  <a:pt x="952214" y="7581"/>
                </a:cubicBezTo>
                <a:cubicBezTo>
                  <a:pt x="945387" y="6385"/>
                  <a:pt x="943939" y="999"/>
                  <a:pt x="933854" y="1099"/>
                </a:cubicBezTo>
                <a:cubicBezTo>
                  <a:pt x="927027" y="1099"/>
                  <a:pt x="922993" y="13364"/>
                  <a:pt x="915493" y="14162"/>
                </a:cubicBezTo>
                <a:cubicBezTo>
                  <a:pt x="917665" y="13863"/>
                  <a:pt x="911977" y="8080"/>
                  <a:pt x="910890" y="7581"/>
                </a:cubicBezTo>
                <a:cubicBezTo>
                  <a:pt x="884410" y="-3887"/>
                  <a:pt x="841534" y="11469"/>
                  <a:pt x="819087" y="7581"/>
                </a:cubicBezTo>
                <a:cubicBezTo>
                  <a:pt x="813088" y="6583"/>
                  <a:pt x="812829" y="1198"/>
                  <a:pt x="805330" y="1099"/>
                </a:cubicBezTo>
                <a:cubicBezTo>
                  <a:pt x="799382" y="900"/>
                  <a:pt x="796227" y="7182"/>
                  <a:pt x="786969" y="7581"/>
                </a:cubicBezTo>
                <a:cubicBezTo>
                  <a:pt x="778953" y="7980"/>
                  <a:pt x="772488" y="799"/>
                  <a:pt x="764006" y="1099"/>
                </a:cubicBezTo>
                <a:cubicBezTo>
                  <a:pt x="765143" y="999"/>
                  <a:pt x="761368" y="6883"/>
                  <a:pt x="759402" y="7581"/>
                </a:cubicBezTo>
                <a:cubicBezTo>
                  <a:pt x="738094" y="15259"/>
                  <a:pt x="718440" y="900"/>
                  <a:pt x="708924" y="1099"/>
                </a:cubicBezTo>
                <a:cubicBezTo>
                  <a:pt x="700338" y="1198"/>
                  <a:pt x="698683" y="6484"/>
                  <a:pt x="690564" y="7581"/>
                </a:cubicBezTo>
                <a:cubicBezTo>
                  <a:pt x="678306" y="9177"/>
                  <a:pt x="658032" y="5087"/>
                  <a:pt x="644637" y="7581"/>
                </a:cubicBezTo>
                <a:cubicBezTo>
                  <a:pt x="628810" y="10572"/>
                  <a:pt x="636465" y="11969"/>
                  <a:pt x="626276" y="7581"/>
                </a:cubicBezTo>
                <a:cubicBezTo>
                  <a:pt x="605846" y="-1195"/>
                  <a:pt x="584227" y="14063"/>
                  <a:pt x="575797" y="14162"/>
                </a:cubicBezTo>
                <a:cubicBezTo>
                  <a:pt x="569849" y="14261"/>
                  <a:pt x="566746" y="7980"/>
                  <a:pt x="557437" y="7581"/>
                </a:cubicBezTo>
                <a:cubicBezTo>
                  <a:pt x="548799" y="7282"/>
                  <a:pt x="547248" y="14960"/>
                  <a:pt x="539076" y="14162"/>
                </a:cubicBezTo>
                <a:cubicBezTo>
                  <a:pt x="533077" y="13564"/>
                  <a:pt x="532921" y="6883"/>
                  <a:pt x="525319" y="7581"/>
                </a:cubicBezTo>
                <a:cubicBezTo>
                  <a:pt x="518802" y="8179"/>
                  <a:pt x="516733" y="13863"/>
                  <a:pt x="506958" y="14162"/>
                </a:cubicBezTo>
                <a:cubicBezTo>
                  <a:pt x="504269" y="14261"/>
                  <a:pt x="500390" y="15059"/>
                  <a:pt x="497803" y="14162"/>
                </a:cubicBezTo>
                <a:cubicBezTo>
                  <a:pt x="485288" y="9675"/>
                  <a:pt x="488132" y="11769"/>
                  <a:pt x="474840" y="14162"/>
                </a:cubicBezTo>
                <a:cubicBezTo>
                  <a:pt x="475306" y="14063"/>
                  <a:pt x="473702" y="7381"/>
                  <a:pt x="470237" y="7581"/>
                </a:cubicBezTo>
                <a:cubicBezTo>
                  <a:pt x="470031" y="7681"/>
                  <a:pt x="470444" y="13763"/>
                  <a:pt x="470237" y="14162"/>
                </a:cubicBezTo>
                <a:cubicBezTo>
                  <a:pt x="469513" y="15458"/>
                  <a:pt x="462324" y="14063"/>
                  <a:pt x="461031" y="14162"/>
                </a:cubicBezTo>
                <a:cubicBezTo>
                  <a:pt x="424207" y="17054"/>
                  <a:pt x="388623" y="11969"/>
                  <a:pt x="350920" y="14162"/>
                </a:cubicBezTo>
                <a:cubicBezTo>
                  <a:pt x="350144" y="21840"/>
                  <a:pt x="343679" y="21342"/>
                  <a:pt x="337162" y="20744"/>
                </a:cubicBezTo>
                <a:cubicBezTo>
                  <a:pt x="331732" y="48266"/>
                  <a:pt x="356505" y="32510"/>
                  <a:pt x="360126" y="46970"/>
                </a:cubicBezTo>
                <a:cubicBezTo>
                  <a:pt x="327697" y="44377"/>
                  <a:pt x="300855" y="49763"/>
                  <a:pt x="282080" y="66615"/>
                </a:cubicBezTo>
                <a:cubicBezTo>
                  <a:pt x="274323" y="50461"/>
                  <a:pt x="256221" y="65319"/>
                  <a:pt x="249962" y="66615"/>
                </a:cubicBezTo>
                <a:cubicBezTo>
                  <a:pt x="238791" y="68908"/>
                  <a:pt x="225137" y="65219"/>
                  <a:pt x="213241" y="66615"/>
                </a:cubicBezTo>
                <a:cubicBezTo>
                  <a:pt x="207345" y="67214"/>
                  <a:pt x="206828" y="72399"/>
                  <a:pt x="199484" y="73097"/>
                </a:cubicBezTo>
                <a:cubicBezTo>
                  <a:pt x="178330" y="75092"/>
                  <a:pt x="155470" y="72300"/>
                  <a:pt x="135248" y="73097"/>
                </a:cubicBezTo>
                <a:cubicBezTo>
                  <a:pt x="130541" y="73296"/>
                  <a:pt x="129920" y="78880"/>
                  <a:pt x="126041" y="79678"/>
                </a:cubicBezTo>
                <a:cubicBezTo>
                  <a:pt x="123456" y="80176"/>
                  <a:pt x="122059" y="78083"/>
                  <a:pt x="120663" y="76088"/>
                </a:cubicBezTo>
                <a:cubicBezTo>
                  <a:pt x="121180" y="86858"/>
                  <a:pt x="121490" y="99024"/>
                  <a:pt x="123145" y="101717"/>
                </a:cubicBezTo>
                <a:cubicBezTo>
                  <a:pt x="119990" y="187377"/>
                  <a:pt x="125887" y="271340"/>
                  <a:pt x="121697" y="351215"/>
                </a:cubicBezTo>
                <a:cubicBezTo>
                  <a:pt x="118077" y="377144"/>
                  <a:pt x="118438" y="342839"/>
                  <a:pt x="112594" y="350917"/>
                </a:cubicBezTo>
                <a:cubicBezTo>
                  <a:pt x="113629" y="393597"/>
                  <a:pt x="113680" y="377542"/>
                  <a:pt x="112181" y="420222"/>
                </a:cubicBezTo>
                <a:cubicBezTo>
                  <a:pt x="112387" y="436476"/>
                  <a:pt x="115439" y="432089"/>
                  <a:pt x="117559" y="434283"/>
                </a:cubicBezTo>
                <a:cubicBezTo>
                  <a:pt x="115646" y="479356"/>
                  <a:pt x="118077" y="539288"/>
                  <a:pt x="114767" y="600517"/>
                </a:cubicBezTo>
                <a:cubicBezTo>
                  <a:pt x="103957" y="581569"/>
                  <a:pt x="103027" y="641801"/>
                  <a:pt x="92837" y="627640"/>
                </a:cubicBezTo>
                <a:lnTo>
                  <a:pt x="93562" y="502891"/>
                </a:lnTo>
                <a:cubicBezTo>
                  <a:pt x="97337" y="508874"/>
                  <a:pt x="98423" y="493517"/>
                  <a:pt x="100906" y="489228"/>
                </a:cubicBezTo>
                <a:cubicBezTo>
                  <a:pt x="102095" y="476663"/>
                  <a:pt x="99768" y="429098"/>
                  <a:pt x="101319" y="419924"/>
                </a:cubicBezTo>
                <a:cubicBezTo>
                  <a:pt x="101423" y="419125"/>
                  <a:pt x="104475" y="400179"/>
                  <a:pt x="103285" y="392301"/>
                </a:cubicBezTo>
                <a:cubicBezTo>
                  <a:pt x="101009" y="377442"/>
                  <a:pt x="103233" y="388411"/>
                  <a:pt x="103388" y="378440"/>
                </a:cubicBezTo>
                <a:cubicBezTo>
                  <a:pt x="103647" y="360689"/>
                  <a:pt x="103130" y="340346"/>
                  <a:pt x="103699" y="322995"/>
                </a:cubicBezTo>
                <a:cubicBezTo>
                  <a:pt x="103906" y="316813"/>
                  <a:pt x="107888" y="266454"/>
                  <a:pt x="105923" y="253790"/>
                </a:cubicBezTo>
                <a:cubicBezTo>
                  <a:pt x="104682" y="245713"/>
                  <a:pt x="104733" y="241125"/>
                  <a:pt x="106077" y="226067"/>
                </a:cubicBezTo>
                <a:cubicBezTo>
                  <a:pt x="107526" y="210013"/>
                  <a:pt x="108146" y="193658"/>
                  <a:pt x="106491" y="156761"/>
                </a:cubicBezTo>
                <a:cubicBezTo>
                  <a:pt x="108715" y="154368"/>
                  <a:pt x="109077" y="139909"/>
                  <a:pt x="110267" y="129140"/>
                </a:cubicBezTo>
                <a:cubicBezTo>
                  <a:pt x="111146" y="121262"/>
                  <a:pt x="113370" y="109295"/>
                  <a:pt x="114042" y="101517"/>
                </a:cubicBezTo>
                <a:cubicBezTo>
                  <a:pt x="114715" y="94138"/>
                  <a:pt x="115439" y="101816"/>
                  <a:pt x="115956" y="87756"/>
                </a:cubicBezTo>
                <a:cubicBezTo>
                  <a:pt x="116111" y="83268"/>
                  <a:pt x="116111" y="78481"/>
                  <a:pt x="116060" y="73596"/>
                </a:cubicBezTo>
                <a:cubicBezTo>
                  <a:pt x="114353" y="75191"/>
                  <a:pt x="113577" y="80974"/>
                  <a:pt x="107629" y="79777"/>
                </a:cubicBezTo>
                <a:cubicBezTo>
                  <a:pt x="101785" y="78581"/>
                  <a:pt x="101319" y="72399"/>
                  <a:pt x="93872" y="73197"/>
                </a:cubicBezTo>
                <a:cubicBezTo>
                  <a:pt x="94492" y="73197"/>
                  <a:pt x="91596" y="78980"/>
                  <a:pt x="89269" y="79777"/>
                </a:cubicBezTo>
                <a:cubicBezTo>
                  <a:pt x="76132" y="84465"/>
                  <a:pt x="70960" y="84863"/>
                  <a:pt x="61805" y="86359"/>
                </a:cubicBezTo>
                <a:cubicBezTo>
                  <a:pt x="64650" y="88554"/>
                  <a:pt x="64029" y="163044"/>
                  <a:pt x="59323" y="141604"/>
                </a:cubicBezTo>
                <a:cubicBezTo>
                  <a:pt x="58702" y="112685"/>
                  <a:pt x="60771" y="104908"/>
                  <a:pt x="61443" y="86260"/>
                </a:cubicBezTo>
                <a:cubicBezTo>
                  <a:pt x="57099" y="86659"/>
                  <a:pt x="56220" y="79777"/>
                  <a:pt x="52547" y="79777"/>
                </a:cubicBezTo>
                <a:cubicBezTo>
                  <a:pt x="54255" y="79777"/>
                  <a:pt x="49393" y="85762"/>
                  <a:pt x="47996" y="86359"/>
                </a:cubicBezTo>
                <a:cubicBezTo>
                  <a:pt x="43910" y="88155"/>
                  <a:pt x="39980" y="88653"/>
                  <a:pt x="36204" y="88753"/>
                </a:cubicBezTo>
                <a:cubicBezTo>
                  <a:pt x="35997" y="96830"/>
                  <a:pt x="35842" y="104908"/>
                  <a:pt x="36049" y="112685"/>
                </a:cubicBezTo>
                <a:cubicBezTo>
                  <a:pt x="33411" y="114979"/>
                  <a:pt x="31498" y="122558"/>
                  <a:pt x="30049" y="133926"/>
                </a:cubicBezTo>
                <a:cubicBezTo>
                  <a:pt x="31601" y="135023"/>
                  <a:pt x="33050" y="136319"/>
                  <a:pt x="34394" y="138214"/>
                </a:cubicBezTo>
                <a:cubicBezTo>
                  <a:pt x="32843" y="137615"/>
                  <a:pt x="31291" y="137217"/>
                  <a:pt x="29739" y="137018"/>
                </a:cubicBezTo>
                <a:cubicBezTo>
                  <a:pt x="27774" y="154368"/>
                  <a:pt x="26791" y="179398"/>
                  <a:pt x="26429" y="209513"/>
                </a:cubicBezTo>
                <a:cubicBezTo>
                  <a:pt x="27929" y="233846"/>
                  <a:pt x="32636" y="235043"/>
                  <a:pt x="35273" y="251297"/>
                </a:cubicBezTo>
                <a:cubicBezTo>
                  <a:pt x="37187" y="310231"/>
                  <a:pt x="35532" y="325987"/>
                  <a:pt x="34498" y="389907"/>
                </a:cubicBezTo>
                <a:cubicBezTo>
                  <a:pt x="34498" y="425208"/>
                  <a:pt x="36825" y="443757"/>
                  <a:pt x="41428" y="445551"/>
                </a:cubicBezTo>
                <a:cubicBezTo>
                  <a:pt x="40083" y="456719"/>
                  <a:pt x="38376" y="483445"/>
                  <a:pt x="41169" y="487135"/>
                </a:cubicBezTo>
                <a:cubicBezTo>
                  <a:pt x="42101" y="511865"/>
                  <a:pt x="35480" y="544574"/>
                  <a:pt x="40755" y="556439"/>
                </a:cubicBezTo>
                <a:cubicBezTo>
                  <a:pt x="40186" y="578178"/>
                  <a:pt x="36618" y="584062"/>
                  <a:pt x="35015" y="611685"/>
                </a:cubicBezTo>
                <a:cubicBezTo>
                  <a:pt x="34549" y="619563"/>
                  <a:pt x="35170" y="631131"/>
                  <a:pt x="34859" y="639407"/>
                </a:cubicBezTo>
                <a:cubicBezTo>
                  <a:pt x="34652" y="644792"/>
                  <a:pt x="32946" y="657157"/>
                  <a:pt x="32946" y="653168"/>
                </a:cubicBezTo>
                <a:cubicBezTo>
                  <a:pt x="32894" y="664437"/>
                  <a:pt x="34859" y="666830"/>
                  <a:pt x="34601" y="680890"/>
                </a:cubicBezTo>
                <a:cubicBezTo>
                  <a:pt x="34239" y="699439"/>
                  <a:pt x="28550" y="764655"/>
                  <a:pt x="35946" y="764057"/>
                </a:cubicBezTo>
                <a:cubicBezTo>
                  <a:pt x="31756" y="798061"/>
                  <a:pt x="30619" y="856697"/>
                  <a:pt x="29636" y="916430"/>
                </a:cubicBezTo>
                <a:cubicBezTo>
                  <a:pt x="25447" y="911842"/>
                  <a:pt x="22654" y="918424"/>
                  <a:pt x="20482" y="929991"/>
                </a:cubicBezTo>
                <a:cubicBezTo>
                  <a:pt x="19240" y="944550"/>
                  <a:pt x="21671" y="987530"/>
                  <a:pt x="20067" y="999296"/>
                </a:cubicBezTo>
                <a:cubicBezTo>
                  <a:pt x="19757" y="1001889"/>
                  <a:pt x="16603" y="996305"/>
                  <a:pt x="16447" y="999197"/>
                </a:cubicBezTo>
                <a:cubicBezTo>
                  <a:pt x="14792" y="1035794"/>
                  <a:pt x="16189" y="1068602"/>
                  <a:pt x="14016" y="1109985"/>
                </a:cubicBezTo>
                <a:lnTo>
                  <a:pt x="8586" y="1109787"/>
                </a:lnTo>
                <a:cubicBezTo>
                  <a:pt x="6620" y="1128434"/>
                  <a:pt x="10965" y="1160045"/>
                  <a:pt x="10086" y="1165230"/>
                </a:cubicBezTo>
                <a:cubicBezTo>
                  <a:pt x="5327" y="1193351"/>
                  <a:pt x="14430" y="1210603"/>
                  <a:pt x="6155" y="1220575"/>
                </a:cubicBezTo>
                <a:cubicBezTo>
                  <a:pt x="5690" y="1250890"/>
                  <a:pt x="7396" y="1264751"/>
                  <a:pt x="11378" y="1262358"/>
                </a:cubicBezTo>
                <a:cubicBezTo>
                  <a:pt x="8017" y="1316905"/>
                  <a:pt x="8068" y="1304640"/>
                  <a:pt x="10810" y="1359386"/>
                </a:cubicBezTo>
                <a:cubicBezTo>
                  <a:pt x="8793" y="1358189"/>
                  <a:pt x="7758" y="1364970"/>
                  <a:pt x="6465" y="1369457"/>
                </a:cubicBezTo>
                <a:cubicBezTo>
                  <a:pt x="6620" y="1369257"/>
                  <a:pt x="6724" y="1369058"/>
                  <a:pt x="6879" y="1368759"/>
                </a:cubicBezTo>
                <a:cubicBezTo>
                  <a:pt x="8637" y="1365568"/>
                  <a:pt x="15361" y="1378232"/>
                  <a:pt x="20636" y="1368759"/>
                </a:cubicBezTo>
                <a:cubicBezTo>
                  <a:pt x="23016" y="1364571"/>
                  <a:pt x="26377" y="1375440"/>
                  <a:pt x="25240" y="1375341"/>
                </a:cubicBezTo>
                <a:cubicBezTo>
                  <a:pt x="27412" y="1375440"/>
                  <a:pt x="29377" y="1375640"/>
                  <a:pt x="31342" y="1375839"/>
                </a:cubicBezTo>
                <a:lnTo>
                  <a:pt x="31342" y="1410243"/>
                </a:lnTo>
                <a:cubicBezTo>
                  <a:pt x="28136" y="1411041"/>
                  <a:pt x="25447" y="1414430"/>
                  <a:pt x="25240" y="1421211"/>
                </a:cubicBezTo>
                <a:cubicBezTo>
                  <a:pt x="27619" y="1422009"/>
                  <a:pt x="29429" y="1423505"/>
                  <a:pt x="31342" y="1425001"/>
                </a:cubicBezTo>
                <a:lnTo>
                  <a:pt x="31342" y="1433477"/>
                </a:lnTo>
                <a:cubicBezTo>
                  <a:pt x="20998" y="1430585"/>
                  <a:pt x="11689" y="1431383"/>
                  <a:pt x="3982" y="1430486"/>
                </a:cubicBezTo>
                <a:cubicBezTo>
                  <a:pt x="3724" y="1437567"/>
                  <a:pt x="3414" y="1444647"/>
                  <a:pt x="3052" y="1451726"/>
                </a:cubicBezTo>
                <a:cubicBezTo>
                  <a:pt x="6310" y="1462795"/>
                  <a:pt x="20274" y="1458407"/>
                  <a:pt x="20689" y="1473564"/>
                </a:cubicBezTo>
                <a:cubicBezTo>
                  <a:pt x="21568" y="1473266"/>
                  <a:pt x="22395" y="1473266"/>
                  <a:pt x="23274" y="1473066"/>
                </a:cubicBezTo>
                <a:cubicBezTo>
                  <a:pt x="24671" y="1448535"/>
                  <a:pt x="27774" y="1460501"/>
                  <a:pt x="28032" y="1472469"/>
                </a:cubicBezTo>
                <a:cubicBezTo>
                  <a:pt x="29170" y="1472469"/>
                  <a:pt x="30308" y="1472469"/>
                  <a:pt x="31395" y="1472568"/>
                </a:cubicBezTo>
                <a:lnTo>
                  <a:pt x="31395" y="1511359"/>
                </a:lnTo>
                <a:cubicBezTo>
                  <a:pt x="25757" y="1508966"/>
                  <a:pt x="20533" y="1510461"/>
                  <a:pt x="16137" y="1506273"/>
                </a:cubicBezTo>
                <a:cubicBezTo>
                  <a:pt x="11585" y="1501985"/>
                  <a:pt x="6051" y="1500189"/>
                  <a:pt x="725" y="1498993"/>
                </a:cubicBezTo>
                <a:cubicBezTo>
                  <a:pt x="362" y="1508367"/>
                  <a:pt x="52" y="1517442"/>
                  <a:pt x="0" y="1526118"/>
                </a:cubicBezTo>
                <a:cubicBezTo>
                  <a:pt x="879" y="1526017"/>
                  <a:pt x="1811" y="1525917"/>
                  <a:pt x="2431" y="1525917"/>
                </a:cubicBezTo>
                <a:cubicBezTo>
                  <a:pt x="6465" y="1526217"/>
                  <a:pt x="6103" y="1532200"/>
                  <a:pt x="7034" y="1532500"/>
                </a:cubicBezTo>
                <a:cubicBezTo>
                  <a:pt x="22084" y="1537485"/>
                  <a:pt x="24929" y="1530206"/>
                  <a:pt x="29998" y="1539082"/>
                </a:cubicBezTo>
                <a:cubicBezTo>
                  <a:pt x="30256" y="1539479"/>
                  <a:pt x="30774" y="1539679"/>
                  <a:pt x="31498" y="1539679"/>
                </a:cubicBezTo>
                <a:lnTo>
                  <a:pt x="31498" y="1739319"/>
                </a:lnTo>
                <a:cubicBezTo>
                  <a:pt x="32325" y="1742510"/>
                  <a:pt x="33204" y="1747396"/>
                  <a:pt x="34135" y="1748294"/>
                </a:cubicBezTo>
                <a:cubicBezTo>
                  <a:pt x="34963" y="1773822"/>
                  <a:pt x="33256" y="1779406"/>
                  <a:pt x="31498" y="1784292"/>
                </a:cubicBezTo>
                <a:lnTo>
                  <a:pt x="31498" y="2150564"/>
                </a:lnTo>
                <a:cubicBezTo>
                  <a:pt x="33204" y="2126133"/>
                  <a:pt x="31704" y="2113767"/>
                  <a:pt x="31704" y="2113767"/>
                </a:cubicBezTo>
                <a:lnTo>
                  <a:pt x="35066" y="2023620"/>
                </a:lnTo>
                <a:lnTo>
                  <a:pt x="35428" y="1958603"/>
                </a:lnTo>
                <a:cubicBezTo>
                  <a:pt x="39824" y="1957108"/>
                  <a:pt x="38376" y="1921607"/>
                  <a:pt x="40497" y="1900965"/>
                </a:cubicBezTo>
                <a:cubicBezTo>
                  <a:pt x="43031" y="1877032"/>
                  <a:pt x="41169" y="1836945"/>
                  <a:pt x="46548" y="1836246"/>
                </a:cubicBezTo>
                <a:cubicBezTo>
                  <a:pt x="50479" y="1867759"/>
                  <a:pt x="48617" y="1895081"/>
                  <a:pt x="47634" y="1928887"/>
                </a:cubicBezTo>
                <a:cubicBezTo>
                  <a:pt x="46290" y="1976254"/>
                  <a:pt x="47013" y="2016042"/>
                  <a:pt x="45048" y="2067498"/>
                </a:cubicBezTo>
                <a:cubicBezTo>
                  <a:pt x="44790" y="2073679"/>
                  <a:pt x="43083" y="2084250"/>
                  <a:pt x="43135" y="2081259"/>
                </a:cubicBezTo>
                <a:cubicBezTo>
                  <a:pt x="42980" y="2094321"/>
                  <a:pt x="45411" y="2111075"/>
                  <a:pt x="44635" y="2136703"/>
                </a:cubicBezTo>
                <a:cubicBezTo>
                  <a:pt x="44583" y="2138598"/>
                  <a:pt x="42876" y="2138997"/>
                  <a:pt x="42721" y="2150465"/>
                </a:cubicBezTo>
                <a:cubicBezTo>
                  <a:pt x="42359" y="2177788"/>
                  <a:pt x="36773" y="2223958"/>
                  <a:pt x="43962" y="2247592"/>
                </a:cubicBezTo>
                <a:cubicBezTo>
                  <a:pt x="43342" y="2263847"/>
                  <a:pt x="35635" y="2304931"/>
                  <a:pt x="43652" y="2303036"/>
                </a:cubicBezTo>
                <a:cubicBezTo>
                  <a:pt x="44686" y="2340331"/>
                  <a:pt x="39721" y="2329661"/>
                  <a:pt x="37962" y="2344421"/>
                </a:cubicBezTo>
                <a:cubicBezTo>
                  <a:pt x="38945" y="2395875"/>
                  <a:pt x="34549" y="2403853"/>
                  <a:pt x="35532" y="2455309"/>
                </a:cubicBezTo>
                <a:cubicBezTo>
                  <a:pt x="33877" y="2456406"/>
                  <a:pt x="32532" y="2455509"/>
                  <a:pt x="31498" y="2453015"/>
                </a:cubicBezTo>
                <a:lnTo>
                  <a:pt x="31498" y="2489911"/>
                </a:lnTo>
                <a:cubicBezTo>
                  <a:pt x="32429" y="2485025"/>
                  <a:pt x="33463" y="2480538"/>
                  <a:pt x="35377" y="2483031"/>
                </a:cubicBezTo>
                <a:cubicBezTo>
                  <a:pt x="37135" y="2518631"/>
                  <a:pt x="29480" y="2548946"/>
                  <a:pt x="34911" y="2566197"/>
                </a:cubicBezTo>
                <a:cubicBezTo>
                  <a:pt x="33101" y="2588335"/>
                  <a:pt x="32325" y="2581355"/>
                  <a:pt x="31498" y="2568491"/>
                </a:cubicBezTo>
                <a:lnTo>
                  <a:pt x="31498" y="2621542"/>
                </a:lnTo>
                <a:lnTo>
                  <a:pt x="34601" y="2621641"/>
                </a:lnTo>
                <a:lnTo>
                  <a:pt x="34445" y="2649364"/>
                </a:lnTo>
                <a:lnTo>
                  <a:pt x="31498" y="2649265"/>
                </a:lnTo>
                <a:lnTo>
                  <a:pt x="31498" y="2722957"/>
                </a:lnTo>
                <a:cubicBezTo>
                  <a:pt x="32067" y="2728043"/>
                  <a:pt x="32894" y="2731334"/>
                  <a:pt x="33980" y="2732531"/>
                </a:cubicBezTo>
                <a:cubicBezTo>
                  <a:pt x="32739" y="2753870"/>
                  <a:pt x="32015" y="2773515"/>
                  <a:pt x="31498" y="2792463"/>
                </a:cubicBezTo>
                <a:lnTo>
                  <a:pt x="31498" y="3407136"/>
                </a:lnTo>
                <a:cubicBezTo>
                  <a:pt x="33204" y="3415014"/>
                  <a:pt x="34652" y="3424787"/>
                  <a:pt x="35377" y="3439645"/>
                </a:cubicBezTo>
                <a:cubicBezTo>
                  <a:pt x="35480" y="3475545"/>
                  <a:pt x="33411" y="3487112"/>
                  <a:pt x="31498" y="3505959"/>
                </a:cubicBezTo>
                <a:lnTo>
                  <a:pt x="31498" y="3592017"/>
                </a:lnTo>
                <a:cubicBezTo>
                  <a:pt x="34239" y="3592616"/>
                  <a:pt x="37755" y="3582544"/>
                  <a:pt x="40031" y="3578455"/>
                </a:cubicBezTo>
                <a:cubicBezTo>
                  <a:pt x="39824" y="3562201"/>
                  <a:pt x="36773" y="3566589"/>
                  <a:pt x="34652" y="3564396"/>
                </a:cubicBezTo>
                <a:cubicBezTo>
                  <a:pt x="36825" y="3524507"/>
                  <a:pt x="40445" y="3518623"/>
                  <a:pt x="45721" y="3536973"/>
                </a:cubicBezTo>
                <a:cubicBezTo>
                  <a:pt x="45927" y="3513239"/>
                  <a:pt x="44583" y="3500973"/>
                  <a:pt x="42307" y="3495288"/>
                </a:cubicBezTo>
                <a:cubicBezTo>
                  <a:pt x="44686" y="3475444"/>
                  <a:pt x="48721" y="3469163"/>
                  <a:pt x="53375" y="3467865"/>
                </a:cubicBezTo>
                <a:cubicBezTo>
                  <a:pt x="56064" y="3487211"/>
                  <a:pt x="50530" y="3518724"/>
                  <a:pt x="51151" y="3537072"/>
                </a:cubicBezTo>
                <a:cubicBezTo>
                  <a:pt x="51306" y="3540961"/>
                  <a:pt x="54616" y="3556617"/>
                  <a:pt x="54720" y="3551033"/>
                </a:cubicBezTo>
                <a:cubicBezTo>
                  <a:pt x="54462" y="3567587"/>
                  <a:pt x="49806" y="3566988"/>
                  <a:pt x="49134" y="3578555"/>
                </a:cubicBezTo>
                <a:cubicBezTo>
                  <a:pt x="47893" y="3600594"/>
                  <a:pt x="54978" y="3627618"/>
                  <a:pt x="50479" y="3661821"/>
                </a:cubicBezTo>
                <a:cubicBezTo>
                  <a:pt x="54255" y="3672890"/>
                  <a:pt x="53013" y="3643374"/>
                  <a:pt x="54255" y="3634200"/>
                </a:cubicBezTo>
                <a:cubicBezTo>
                  <a:pt x="54875" y="3629612"/>
                  <a:pt x="57254" y="3638885"/>
                  <a:pt x="57875" y="3634299"/>
                </a:cubicBezTo>
                <a:cubicBezTo>
                  <a:pt x="58392" y="3630310"/>
                  <a:pt x="57409" y="3609668"/>
                  <a:pt x="58030" y="3606577"/>
                </a:cubicBezTo>
                <a:cubicBezTo>
                  <a:pt x="59788" y="3597801"/>
                  <a:pt x="63822" y="3616648"/>
                  <a:pt x="63564" y="3592815"/>
                </a:cubicBezTo>
                <a:cubicBezTo>
                  <a:pt x="64598" y="3563298"/>
                  <a:pt x="61133" y="3566390"/>
                  <a:pt x="58288" y="3564993"/>
                </a:cubicBezTo>
                <a:cubicBezTo>
                  <a:pt x="61029" y="3530789"/>
                  <a:pt x="64650" y="3540662"/>
                  <a:pt x="69253" y="3551431"/>
                </a:cubicBezTo>
                <a:cubicBezTo>
                  <a:pt x="67288" y="3569780"/>
                  <a:pt x="70701" y="3608871"/>
                  <a:pt x="70753" y="3606876"/>
                </a:cubicBezTo>
                <a:cubicBezTo>
                  <a:pt x="70236" y="3621934"/>
                  <a:pt x="67081" y="3616150"/>
                  <a:pt x="66977" y="3634498"/>
                </a:cubicBezTo>
                <a:cubicBezTo>
                  <a:pt x="68994" y="3682364"/>
                  <a:pt x="71270" y="3688746"/>
                  <a:pt x="68064" y="3759249"/>
                </a:cubicBezTo>
                <a:cubicBezTo>
                  <a:pt x="65943" y="3756855"/>
                  <a:pt x="66667" y="3733919"/>
                  <a:pt x="66460" y="3717566"/>
                </a:cubicBezTo>
                <a:cubicBezTo>
                  <a:pt x="65115" y="3704003"/>
                  <a:pt x="64392" y="3689544"/>
                  <a:pt x="63047" y="3675883"/>
                </a:cubicBezTo>
                <a:cubicBezTo>
                  <a:pt x="61702" y="3662420"/>
                  <a:pt x="63978" y="3653544"/>
                  <a:pt x="61392" y="3648160"/>
                </a:cubicBezTo>
                <a:cubicBezTo>
                  <a:pt x="60306" y="3645767"/>
                  <a:pt x="58909" y="3649855"/>
                  <a:pt x="57772" y="3648060"/>
                </a:cubicBezTo>
                <a:cubicBezTo>
                  <a:pt x="56168" y="3648758"/>
                  <a:pt x="57306" y="3697721"/>
                  <a:pt x="57202" y="3745088"/>
                </a:cubicBezTo>
                <a:cubicBezTo>
                  <a:pt x="57099" y="3782683"/>
                  <a:pt x="56271" y="3829850"/>
                  <a:pt x="56478" y="3869837"/>
                </a:cubicBezTo>
                <a:cubicBezTo>
                  <a:pt x="56633" y="3894369"/>
                  <a:pt x="58133" y="3899254"/>
                  <a:pt x="57978" y="3925282"/>
                </a:cubicBezTo>
                <a:cubicBezTo>
                  <a:pt x="57512" y="4012837"/>
                  <a:pt x="53323" y="4099792"/>
                  <a:pt x="54668" y="4188542"/>
                </a:cubicBezTo>
                <a:cubicBezTo>
                  <a:pt x="61547" y="4195424"/>
                  <a:pt x="66305" y="4184952"/>
                  <a:pt x="69357" y="4161219"/>
                </a:cubicBezTo>
                <a:cubicBezTo>
                  <a:pt x="68478" y="4132401"/>
                  <a:pt x="72150" y="4070175"/>
                  <a:pt x="68115" y="4064092"/>
                </a:cubicBezTo>
                <a:cubicBezTo>
                  <a:pt x="69719" y="4054121"/>
                  <a:pt x="69408" y="4040059"/>
                  <a:pt x="70184" y="4022509"/>
                </a:cubicBezTo>
                <a:cubicBezTo>
                  <a:pt x="70391" y="4017822"/>
                  <a:pt x="69873" y="3997579"/>
                  <a:pt x="70339" y="3994787"/>
                </a:cubicBezTo>
                <a:cubicBezTo>
                  <a:pt x="72564" y="3981723"/>
                  <a:pt x="70029" y="3982322"/>
                  <a:pt x="70598" y="3953203"/>
                </a:cubicBezTo>
                <a:cubicBezTo>
                  <a:pt x="71167" y="3922789"/>
                  <a:pt x="72357" y="3898756"/>
                  <a:pt x="73029" y="3842414"/>
                </a:cubicBezTo>
                <a:cubicBezTo>
                  <a:pt x="73287" y="3820476"/>
                  <a:pt x="72460" y="3789563"/>
                  <a:pt x="75149" y="3787070"/>
                </a:cubicBezTo>
                <a:cubicBezTo>
                  <a:pt x="85338" y="3765730"/>
                  <a:pt x="76597" y="3882402"/>
                  <a:pt x="85545" y="3870535"/>
                </a:cubicBezTo>
                <a:cubicBezTo>
                  <a:pt x="91234" y="3864951"/>
                  <a:pt x="85648" y="3837927"/>
                  <a:pt x="85855" y="3815091"/>
                </a:cubicBezTo>
                <a:cubicBezTo>
                  <a:pt x="86062" y="3793353"/>
                  <a:pt x="87924" y="3790460"/>
                  <a:pt x="87924" y="3773509"/>
                </a:cubicBezTo>
                <a:cubicBezTo>
                  <a:pt x="87924" y="3762738"/>
                  <a:pt x="86424" y="3750074"/>
                  <a:pt x="86320" y="3731925"/>
                </a:cubicBezTo>
                <a:cubicBezTo>
                  <a:pt x="85959" y="3677677"/>
                  <a:pt x="87821" y="3602388"/>
                  <a:pt x="87407" y="3537870"/>
                </a:cubicBezTo>
                <a:cubicBezTo>
                  <a:pt x="87355" y="3523610"/>
                  <a:pt x="85907" y="3483522"/>
                  <a:pt x="86010" y="3468564"/>
                </a:cubicBezTo>
                <a:cubicBezTo>
                  <a:pt x="86010" y="3471356"/>
                  <a:pt x="87821" y="3462481"/>
                  <a:pt x="87924" y="3454703"/>
                </a:cubicBezTo>
                <a:cubicBezTo>
                  <a:pt x="88389" y="3419003"/>
                  <a:pt x="87665" y="3322474"/>
                  <a:pt x="90769" y="3274608"/>
                </a:cubicBezTo>
                <a:cubicBezTo>
                  <a:pt x="94441" y="3283484"/>
                  <a:pt x="91596" y="3339427"/>
                  <a:pt x="95837" y="3344013"/>
                </a:cubicBezTo>
                <a:cubicBezTo>
                  <a:pt x="98888" y="3349199"/>
                  <a:pt x="99302" y="3333343"/>
                  <a:pt x="99613" y="3316391"/>
                </a:cubicBezTo>
                <a:cubicBezTo>
                  <a:pt x="105147" y="3326264"/>
                  <a:pt x="103078" y="3326264"/>
                  <a:pt x="108715" y="3316690"/>
                </a:cubicBezTo>
                <a:cubicBezTo>
                  <a:pt x="107267" y="3300635"/>
                  <a:pt x="106491" y="3279495"/>
                  <a:pt x="107267" y="3247385"/>
                </a:cubicBezTo>
                <a:cubicBezTo>
                  <a:pt x="100492" y="3227241"/>
                  <a:pt x="103543" y="3285478"/>
                  <a:pt x="98009" y="3274907"/>
                </a:cubicBezTo>
                <a:cubicBezTo>
                  <a:pt x="98785" y="3242399"/>
                  <a:pt x="101164" y="3222953"/>
                  <a:pt x="100389" y="3177980"/>
                </a:cubicBezTo>
                <a:cubicBezTo>
                  <a:pt x="103336" y="3174091"/>
                  <a:pt x="103440" y="3191143"/>
                  <a:pt x="105767" y="3191940"/>
                </a:cubicBezTo>
                <a:cubicBezTo>
                  <a:pt x="109129" y="3189946"/>
                  <a:pt x="107112" y="3145072"/>
                  <a:pt x="109698" y="3136596"/>
                </a:cubicBezTo>
                <a:cubicBezTo>
                  <a:pt x="113680" y="3138391"/>
                  <a:pt x="110112" y="3195331"/>
                  <a:pt x="111042" y="3219762"/>
                </a:cubicBezTo>
                <a:cubicBezTo>
                  <a:pt x="118852" y="3229335"/>
                  <a:pt x="116267" y="3155643"/>
                  <a:pt x="117094" y="3109073"/>
                </a:cubicBezTo>
                <a:cubicBezTo>
                  <a:pt x="109233" y="3106879"/>
                  <a:pt x="101940" y="3147565"/>
                  <a:pt x="100906" y="3080852"/>
                </a:cubicBezTo>
                <a:cubicBezTo>
                  <a:pt x="97802" y="3080154"/>
                  <a:pt x="96147" y="3090925"/>
                  <a:pt x="95320" y="3108376"/>
                </a:cubicBezTo>
                <a:cubicBezTo>
                  <a:pt x="91596" y="3091123"/>
                  <a:pt x="96716" y="3009851"/>
                  <a:pt x="86631" y="3038870"/>
                </a:cubicBezTo>
                <a:cubicBezTo>
                  <a:pt x="86476" y="2994196"/>
                  <a:pt x="90148" y="2980335"/>
                  <a:pt x="89062" y="2927981"/>
                </a:cubicBezTo>
                <a:cubicBezTo>
                  <a:pt x="94492" y="2921401"/>
                  <a:pt x="104940" y="3008655"/>
                  <a:pt x="105509" y="2914619"/>
                </a:cubicBezTo>
                <a:cubicBezTo>
                  <a:pt x="109284" y="2880415"/>
                  <a:pt x="106440" y="2996289"/>
                  <a:pt x="104940" y="3011647"/>
                </a:cubicBezTo>
                <a:cubicBezTo>
                  <a:pt x="105405" y="3030493"/>
                  <a:pt x="109440" y="3023214"/>
                  <a:pt x="112129" y="3025707"/>
                </a:cubicBezTo>
                <a:cubicBezTo>
                  <a:pt x="114094" y="3022317"/>
                  <a:pt x="113526" y="2998185"/>
                  <a:pt x="115904" y="2998085"/>
                </a:cubicBezTo>
                <a:cubicBezTo>
                  <a:pt x="117043" y="2967371"/>
                  <a:pt x="112543" y="2978241"/>
                  <a:pt x="112491" y="2956402"/>
                </a:cubicBezTo>
                <a:cubicBezTo>
                  <a:pt x="109853" y="2887993"/>
                  <a:pt x="120146" y="2806223"/>
                  <a:pt x="109698" y="2803830"/>
                </a:cubicBezTo>
                <a:cubicBezTo>
                  <a:pt x="104526" y="2817292"/>
                  <a:pt x="112129" y="2840927"/>
                  <a:pt x="107578" y="2859275"/>
                </a:cubicBezTo>
                <a:cubicBezTo>
                  <a:pt x="103595" y="2861468"/>
                  <a:pt x="107009" y="2810113"/>
                  <a:pt x="106130" y="2789869"/>
                </a:cubicBezTo>
                <a:cubicBezTo>
                  <a:pt x="101940" y="2785382"/>
                  <a:pt x="99147" y="2791963"/>
                  <a:pt x="96975" y="2803530"/>
                </a:cubicBezTo>
                <a:cubicBezTo>
                  <a:pt x="97440" y="2831353"/>
                  <a:pt x="96354" y="2846909"/>
                  <a:pt x="93096" y="2845015"/>
                </a:cubicBezTo>
                <a:cubicBezTo>
                  <a:pt x="93458" y="2826865"/>
                  <a:pt x="92993" y="2807719"/>
                  <a:pt x="93406" y="2789570"/>
                </a:cubicBezTo>
                <a:cubicBezTo>
                  <a:pt x="93872" y="2769427"/>
                  <a:pt x="95371" y="2764141"/>
                  <a:pt x="95475" y="2748087"/>
                </a:cubicBezTo>
                <a:cubicBezTo>
                  <a:pt x="95631" y="2726147"/>
                  <a:pt x="93665" y="2723456"/>
                  <a:pt x="93923" y="2706404"/>
                </a:cubicBezTo>
                <a:cubicBezTo>
                  <a:pt x="94492" y="2666117"/>
                  <a:pt x="98992" y="2544459"/>
                  <a:pt x="96923" y="2498587"/>
                </a:cubicBezTo>
                <a:lnTo>
                  <a:pt x="100543" y="2498686"/>
                </a:lnTo>
                <a:cubicBezTo>
                  <a:pt x="98578" y="2445137"/>
                  <a:pt x="101216" y="2434667"/>
                  <a:pt x="99457" y="2373937"/>
                </a:cubicBezTo>
                <a:cubicBezTo>
                  <a:pt x="103027" y="2362169"/>
                  <a:pt x="103492" y="2399066"/>
                  <a:pt x="104733" y="2401759"/>
                </a:cubicBezTo>
                <a:cubicBezTo>
                  <a:pt x="105664" y="2403654"/>
                  <a:pt x="108095" y="2385705"/>
                  <a:pt x="110267" y="2387997"/>
                </a:cubicBezTo>
                <a:cubicBezTo>
                  <a:pt x="111767" y="2389593"/>
                  <a:pt x="111974" y="2402457"/>
                  <a:pt x="113836" y="2401959"/>
                </a:cubicBezTo>
                <a:cubicBezTo>
                  <a:pt x="117094" y="2401161"/>
                  <a:pt x="120353" y="2375533"/>
                  <a:pt x="124800" y="2388396"/>
                </a:cubicBezTo>
                <a:cubicBezTo>
                  <a:pt x="124697" y="2345018"/>
                  <a:pt x="126610" y="2286682"/>
                  <a:pt x="123714" y="2263647"/>
                </a:cubicBezTo>
                <a:cubicBezTo>
                  <a:pt x="121955" y="2273819"/>
                  <a:pt x="120818" y="2288775"/>
                  <a:pt x="119835" y="2305131"/>
                </a:cubicBezTo>
                <a:cubicBezTo>
                  <a:pt x="117043" y="2304831"/>
                  <a:pt x="116422" y="2202319"/>
                  <a:pt x="122111" y="2222063"/>
                </a:cubicBezTo>
                <a:cubicBezTo>
                  <a:pt x="122318" y="2189355"/>
                  <a:pt x="119214" y="2181178"/>
                  <a:pt x="120766" y="2138798"/>
                </a:cubicBezTo>
                <a:cubicBezTo>
                  <a:pt x="123818" y="2143983"/>
                  <a:pt x="124232" y="2128027"/>
                  <a:pt x="124542" y="2111175"/>
                </a:cubicBezTo>
                <a:cubicBezTo>
                  <a:pt x="127593" y="2116360"/>
                  <a:pt x="128007" y="2100505"/>
                  <a:pt x="128317" y="2083552"/>
                </a:cubicBezTo>
                <a:cubicBezTo>
                  <a:pt x="129713" y="2085048"/>
                  <a:pt x="131472" y="2136405"/>
                  <a:pt x="131575" y="2152957"/>
                </a:cubicBezTo>
                <a:cubicBezTo>
                  <a:pt x="131782" y="2183970"/>
                  <a:pt x="131472" y="2215981"/>
                  <a:pt x="129300" y="2236025"/>
                </a:cubicBezTo>
                <a:cubicBezTo>
                  <a:pt x="132610" y="2262151"/>
                  <a:pt x="133851" y="2237720"/>
                  <a:pt x="138402" y="2236323"/>
                </a:cubicBezTo>
                <a:cubicBezTo>
                  <a:pt x="138195" y="2261154"/>
                  <a:pt x="136437" y="2265442"/>
                  <a:pt x="136282" y="2291669"/>
                </a:cubicBezTo>
                <a:cubicBezTo>
                  <a:pt x="136127" y="2316597"/>
                  <a:pt x="138092" y="2320986"/>
                  <a:pt x="137782" y="2347213"/>
                </a:cubicBezTo>
                <a:cubicBezTo>
                  <a:pt x="137782" y="2345117"/>
                  <a:pt x="135972" y="2352597"/>
                  <a:pt x="135868" y="2360973"/>
                </a:cubicBezTo>
                <a:cubicBezTo>
                  <a:pt x="135713" y="2371943"/>
                  <a:pt x="135403" y="2425891"/>
                  <a:pt x="135299" y="2458001"/>
                </a:cubicBezTo>
                <a:cubicBezTo>
                  <a:pt x="135196" y="2487419"/>
                  <a:pt x="137006" y="2523418"/>
                  <a:pt x="136386" y="2582751"/>
                </a:cubicBezTo>
                <a:cubicBezTo>
                  <a:pt x="135817" y="2635802"/>
                  <a:pt x="131110" y="2679579"/>
                  <a:pt x="133748" y="2721361"/>
                </a:cubicBezTo>
                <a:lnTo>
                  <a:pt x="124645" y="2721063"/>
                </a:lnTo>
                <a:cubicBezTo>
                  <a:pt x="127438" y="2648665"/>
                  <a:pt x="132351" y="2525811"/>
                  <a:pt x="128058" y="2443940"/>
                </a:cubicBezTo>
                <a:cubicBezTo>
                  <a:pt x="124542" y="2449425"/>
                  <a:pt x="126300" y="2497591"/>
                  <a:pt x="120559" y="2485325"/>
                </a:cubicBezTo>
                <a:cubicBezTo>
                  <a:pt x="120146" y="2512647"/>
                  <a:pt x="125318" y="2554730"/>
                  <a:pt x="120146" y="2554629"/>
                </a:cubicBezTo>
                <a:cubicBezTo>
                  <a:pt x="116887" y="2554530"/>
                  <a:pt x="119680" y="2587537"/>
                  <a:pt x="119887" y="2596213"/>
                </a:cubicBezTo>
                <a:cubicBezTo>
                  <a:pt x="117766" y="2593919"/>
                  <a:pt x="116629" y="2599205"/>
                  <a:pt x="116163" y="2609975"/>
                </a:cubicBezTo>
                <a:cubicBezTo>
                  <a:pt x="109543" y="2605986"/>
                  <a:pt x="115853" y="2579560"/>
                  <a:pt x="114663" y="2554431"/>
                </a:cubicBezTo>
                <a:cubicBezTo>
                  <a:pt x="113629" y="2533589"/>
                  <a:pt x="110629" y="2554331"/>
                  <a:pt x="109284" y="2540470"/>
                </a:cubicBezTo>
                <a:cubicBezTo>
                  <a:pt x="107888" y="2526210"/>
                  <a:pt x="110732" y="2487617"/>
                  <a:pt x="109698" y="2471164"/>
                </a:cubicBezTo>
                <a:lnTo>
                  <a:pt x="104268" y="2470965"/>
                </a:lnTo>
                <a:cubicBezTo>
                  <a:pt x="100336" y="2494100"/>
                  <a:pt x="102664" y="2540968"/>
                  <a:pt x="101837" y="2581754"/>
                </a:cubicBezTo>
                <a:cubicBezTo>
                  <a:pt x="101216" y="2613065"/>
                  <a:pt x="98578" y="2637298"/>
                  <a:pt x="99561" y="2664920"/>
                </a:cubicBezTo>
                <a:cubicBezTo>
                  <a:pt x="100906" y="2717573"/>
                  <a:pt x="106802" y="2675191"/>
                  <a:pt x="112181" y="2679081"/>
                </a:cubicBezTo>
                <a:cubicBezTo>
                  <a:pt x="114663" y="2674792"/>
                  <a:pt x="113887" y="2644377"/>
                  <a:pt x="114301" y="2623636"/>
                </a:cubicBezTo>
                <a:cubicBezTo>
                  <a:pt x="126197" y="2669706"/>
                  <a:pt x="109647" y="2859374"/>
                  <a:pt x="118077" y="2914819"/>
                </a:cubicBezTo>
                <a:cubicBezTo>
                  <a:pt x="123249" y="2917311"/>
                  <a:pt x="116422" y="2824073"/>
                  <a:pt x="123921" y="2845612"/>
                </a:cubicBezTo>
                <a:cubicBezTo>
                  <a:pt x="122214" y="2880115"/>
                  <a:pt x="121128" y="2919804"/>
                  <a:pt x="121387" y="2970263"/>
                </a:cubicBezTo>
                <a:cubicBezTo>
                  <a:pt x="126455" y="2981831"/>
                  <a:pt x="126197" y="2950818"/>
                  <a:pt x="130541" y="2956702"/>
                </a:cubicBezTo>
                <a:cubicBezTo>
                  <a:pt x="129404" y="2976745"/>
                  <a:pt x="132248" y="3028399"/>
                  <a:pt x="128317" y="3025907"/>
                </a:cubicBezTo>
                <a:cubicBezTo>
                  <a:pt x="128990" y="3047745"/>
                  <a:pt x="133955" y="3037873"/>
                  <a:pt x="131627" y="3081451"/>
                </a:cubicBezTo>
                <a:cubicBezTo>
                  <a:pt x="137316" y="3088431"/>
                  <a:pt x="138144" y="3056721"/>
                  <a:pt x="144402" y="3067989"/>
                </a:cubicBezTo>
                <a:cubicBezTo>
                  <a:pt x="144764" y="3099599"/>
                  <a:pt x="143678" y="3120043"/>
                  <a:pt x="140471" y="3123333"/>
                </a:cubicBezTo>
                <a:cubicBezTo>
                  <a:pt x="134524" y="3140285"/>
                  <a:pt x="139385" y="3078459"/>
                  <a:pt x="133386" y="3095412"/>
                </a:cubicBezTo>
                <a:cubicBezTo>
                  <a:pt x="133955" y="3094315"/>
                  <a:pt x="127955" y="3130413"/>
                  <a:pt x="127696" y="3136795"/>
                </a:cubicBezTo>
                <a:cubicBezTo>
                  <a:pt x="127076" y="3151654"/>
                  <a:pt x="131110" y="3158834"/>
                  <a:pt x="131162" y="3164617"/>
                </a:cubicBezTo>
                <a:cubicBezTo>
                  <a:pt x="131524" y="3192639"/>
                  <a:pt x="125473" y="3189049"/>
                  <a:pt x="128886" y="3247685"/>
                </a:cubicBezTo>
                <a:cubicBezTo>
                  <a:pt x="131006" y="3281190"/>
                  <a:pt x="124645" y="3273213"/>
                  <a:pt x="123197" y="3289167"/>
                </a:cubicBezTo>
                <a:cubicBezTo>
                  <a:pt x="122731" y="3294253"/>
                  <a:pt x="123663" y="3313300"/>
                  <a:pt x="123042" y="3316890"/>
                </a:cubicBezTo>
                <a:cubicBezTo>
                  <a:pt x="120456" y="3332446"/>
                  <a:pt x="122421" y="3346208"/>
                  <a:pt x="120921" y="3372335"/>
                </a:cubicBezTo>
                <a:cubicBezTo>
                  <a:pt x="120249" y="3384001"/>
                  <a:pt x="117715" y="3381309"/>
                  <a:pt x="117146" y="3399956"/>
                </a:cubicBezTo>
                <a:cubicBezTo>
                  <a:pt x="115594" y="3453207"/>
                  <a:pt x="119473" y="3473749"/>
                  <a:pt x="118180" y="3538567"/>
                </a:cubicBezTo>
                <a:cubicBezTo>
                  <a:pt x="117922" y="3551632"/>
                  <a:pt x="115128" y="3562699"/>
                  <a:pt x="118025" y="3566289"/>
                </a:cubicBezTo>
                <a:cubicBezTo>
                  <a:pt x="117404" y="3601989"/>
                  <a:pt x="115025" y="3547143"/>
                  <a:pt x="110784" y="3566090"/>
                </a:cubicBezTo>
                <a:cubicBezTo>
                  <a:pt x="108301" y="3582644"/>
                  <a:pt x="107939" y="3571375"/>
                  <a:pt x="105354" y="3565890"/>
                </a:cubicBezTo>
                <a:cubicBezTo>
                  <a:pt x="106440" y="3506857"/>
                  <a:pt x="104422" y="3423092"/>
                  <a:pt x="108198" y="3385797"/>
                </a:cubicBezTo>
                <a:cubicBezTo>
                  <a:pt x="108922" y="3353786"/>
                  <a:pt x="103027" y="3370240"/>
                  <a:pt x="102974" y="3344013"/>
                </a:cubicBezTo>
                <a:cubicBezTo>
                  <a:pt x="101112" y="3339028"/>
                  <a:pt x="99923" y="3370638"/>
                  <a:pt x="99199" y="3371636"/>
                </a:cubicBezTo>
                <a:cubicBezTo>
                  <a:pt x="98475" y="3372533"/>
                  <a:pt x="96458" y="3351693"/>
                  <a:pt x="95631" y="3357675"/>
                </a:cubicBezTo>
                <a:cubicBezTo>
                  <a:pt x="91441" y="3387093"/>
                  <a:pt x="91699" y="3447622"/>
                  <a:pt x="91027" y="3523908"/>
                </a:cubicBezTo>
                <a:cubicBezTo>
                  <a:pt x="92268" y="3536973"/>
                  <a:pt x="94182" y="3545049"/>
                  <a:pt x="96303" y="3551830"/>
                </a:cubicBezTo>
                <a:cubicBezTo>
                  <a:pt x="95268" y="3565592"/>
                  <a:pt x="93303" y="3562800"/>
                  <a:pt x="92527" y="3579453"/>
                </a:cubicBezTo>
                <a:cubicBezTo>
                  <a:pt x="91441" y="3601989"/>
                  <a:pt x="95475" y="3611562"/>
                  <a:pt x="94027" y="3634897"/>
                </a:cubicBezTo>
                <a:cubicBezTo>
                  <a:pt x="93976" y="3635396"/>
                  <a:pt x="92217" y="3634398"/>
                  <a:pt x="92217" y="3634797"/>
                </a:cubicBezTo>
                <a:cubicBezTo>
                  <a:pt x="92372" y="3673289"/>
                  <a:pt x="94079" y="3674785"/>
                  <a:pt x="91751" y="3717964"/>
                </a:cubicBezTo>
                <a:cubicBezTo>
                  <a:pt x="90924" y="3732822"/>
                  <a:pt x="89837" y="3747281"/>
                  <a:pt x="89683" y="3759547"/>
                </a:cubicBezTo>
                <a:cubicBezTo>
                  <a:pt x="89269" y="3795945"/>
                  <a:pt x="93923" y="3838824"/>
                  <a:pt x="89062" y="3870436"/>
                </a:cubicBezTo>
                <a:cubicBezTo>
                  <a:pt x="90303" y="3901349"/>
                  <a:pt x="92579" y="3924584"/>
                  <a:pt x="92165" y="3967564"/>
                </a:cubicBezTo>
                <a:cubicBezTo>
                  <a:pt x="88286" y="4000371"/>
                  <a:pt x="85079" y="3948317"/>
                  <a:pt x="81200" y="3981125"/>
                </a:cubicBezTo>
                <a:lnTo>
                  <a:pt x="80786" y="4050430"/>
                </a:lnTo>
                <a:cubicBezTo>
                  <a:pt x="87252" y="4039660"/>
                  <a:pt x="86993" y="4011639"/>
                  <a:pt x="91699" y="4050730"/>
                </a:cubicBezTo>
                <a:cubicBezTo>
                  <a:pt x="97079" y="4046940"/>
                  <a:pt x="94958" y="3998277"/>
                  <a:pt x="95889" y="3953802"/>
                </a:cubicBezTo>
                <a:cubicBezTo>
                  <a:pt x="95992" y="3949613"/>
                  <a:pt x="95682" y="3928373"/>
                  <a:pt x="96044" y="3926080"/>
                </a:cubicBezTo>
                <a:cubicBezTo>
                  <a:pt x="96147" y="3925581"/>
                  <a:pt x="97854" y="3926478"/>
                  <a:pt x="97854" y="3926179"/>
                </a:cubicBezTo>
                <a:cubicBezTo>
                  <a:pt x="97751" y="3892872"/>
                  <a:pt x="93872" y="3868841"/>
                  <a:pt x="94699" y="3842912"/>
                </a:cubicBezTo>
                <a:cubicBezTo>
                  <a:pt x="97182" y="3838725"/>
                  <a:pt x="96406" y="3808310"/>
                  <a:pt x="96820" y="3787569"/>
                </a:cubicBezTo>
                <a:cubicBezTo>
                  <a:pt x="104888" y="3804720"/>
                  <a:pt x="109594" y="3800033"/>
                  <a:pt x="118698" y="3774306"/>
                </a:cubicBezTo>
                <a:cubicBezTo>
                  <a:pt x="118232" y="3755459"/>
                  <a:pt x="114198" y="3762638"/>
                  <a:pt x="111508" y="3760245"/>
                </a:cubicBezTo>
                <a:cubicBezTo>
                  <a:pt x="113215" y="3710684"/>
                  <a:pt x="116215" y="3672291"/>
                  <a:pt x="122990" y="3663516"/>
                </a:cubicBezTo>
                <a:cubicBezTo>
                  <a:pt x="121955" y="3597303"/>
                  <a:pt x="126352" y="3574367"/>
                  <a:pt x="125680" y="3511045"/>
                </a:cubicBezTo>
                <a:cubicBezTo>
                  <a:pt x="130799" y="3513737"/>
                  <a:pt x="130438" y="3556417"/>
                  <a:pt x="134472" y="3566688"/>
                </a:cubicBezTo>
                <a:cubicBezTo>
                  <a:pt x="135920" y="3593015"/>
                  <a:pt x="130903" y="3599197"/>
                  <a:pt x="130593" y="3608172"/>
                </a:cubicBezTo>
                <a:cubicBezTo>
                  <a:pt x="129972" y="3627019"/>
                  <a:pt x="134110" y="3647262"/>
                  <a:pt x="131938" y="3691439"/>
                </a:cubicBezTo>
                <a:cubicBezTo>
                  <a:pt x="126455" y="3681267"/>
                  <a:pt x="126455" y="3715172"/>
                  <a:pt x="120973" y="3705000"/>
                </a:cubicBezTo>
                <a:cubicBezTo>
                  <a:pt x="120093" y="3751071"/>
                  <a:pt x="129817" y="3720358"/>
                  <a:pt x="125938" y="3788366"/>
                </a:cubicBezTo>
                <a:cubicBezTo>
                  <a:pt x="130438" y="3786970"/>
                  <a:pt x="131679" y="3762638"/>
                  <a:pt x="134989" y="3788666"/>
                </a:cubicBezTo>
                <a:cubicBezTo>
                  <a:pt x="135558" y="3812299"/>
                  <a:pt x="133437" y="3814793"/>
                  <a:pt x="131213" y="3816287"/>
                </a:cubicBezTo>
                <a:cubicBezTo>
                  <a:pt x="131420" y="3853084"/>
                  <a:pt x="134420" y="3856575"/>
                  <a:pt x="134420" y="3885693"/>
                </a:cubicBezTo>
                <a:cubicBezTo>
                  <a:pt x="134420" y="3881006"/>
                  <a:pt x="132610" y="3893172"/>
                  <a:pt x="132507" y="3899554"/>
                </a:cubicBezTo>
                <a:cubicBezTo>
                  <a:pt x="132300" y="3918003"/>
                  <a:pt x="132403" y="3936550"/>
                  <a:pt x="132196" y="3954999"/>
                </a:cubicBezTo>
                <a:cubicBezTo>
                  <a:pt x="127955" y="3954600"/>
                  <a:pt x="126714" y="3978732"/>
                  <a:pt x="121232" y="3968560"/>
                </a:cubicBezTo>
                <a:cubicBezTo>
                  <a:pt x="124800" y="3942235"/>
                  <a:pt x="120300" y="3943531"/>
                  <a:pt x="121645" y="3899355"/>
                </a:cubicBezTo>
                <a:cubicBezTo>
                  <a:pt x="115542" y="3900651"/>
                  <a:pt x="111870" y="3926778"/>
                  <a:pt x="109026" y="3885095"/>
                </a:cubicBezTo>
                <a:cubicBezTo>
                  <a:pt x="105147" y="3897559"/>
                  <a:pt x="103233" y="3925881"/>
                  <a:pt x="103078" y="3968062"/>
                </a:cubicBezTo>
                <a:cubicBezTo>
                  <a:pt x="100026" y="3967364"/>
                  <a:pt x="98320" y="3978233"/>
                  <a:pt x="97492" y="3995684"/>
                </a:cubicBezTo>
                <a:cubicBezTo>
                  <a:pt x="97751" y="4006854"/>
                  <a:pt x="99251" y="4009545"/>
                  <a:pt x="99147" y="4023406"/>
                </a:cubicBezTo>
                <a:cubicBezTo>
                  <a:pt x="99199" y="4054020"/>
                  <a:pt x="106802" y="4029489"/>
                  <a:pt x="109957" y="4037567"/>
                </a:cubicBezTo>
                <a:cubicBezTo>
                  <a:pt x="113060" y="4050331"/>
                  <a:pt x="119007" y="4042552"/>
                  <a:pt x="120714" y="4065587"/>
                </a:cubicBezTo>
                <a:cubicBezTo>
                  <a:pt x="124232" y="4059804"/>
                  <a:pt x="124232" y="4026099"/>
                  <a:pt x="129972" y="4038164"/>
                </a:cubicBezTo>
                <a:cubicBezTo>
                  <a:pt x="129558" y="4054419"/>
                  <a:pt x="126610" y="4049832"/>
                  <a:pt x="124439" y="4051926"/>
                </a:cubicBezTo>
                <a:cubicBezTo>
                  <a:pt x="124645" y="4068181"/>
                  <a:pt x="127696" y="4063694"/>
                  <a:pt x="129817" y="4065887"/>
                </a:cubicBezTo>
                <a:cubicBezTo>
                  <a:pt x="126352" y="4091415"/>
                  <a:pt x="118749" y="4083538"/>
                  <a:pt x="115025" y="4107071"/>
                </a:cubicBezTo>
                <a:cubicBezTo>
                  <a:pt x="115284" y="4130107"/>
                  <a:pt x="128214" y="4163114"/>
                  <a:pt x="127749" y="4107470"/>
                </a:cubicBezTo>
                <a:cubicBezTo>
                  <a:pt x="128472" y="4116246"/>
                  <a:pt x="131627" y="4134693"/>
                  <a:pt x="131162" y="4149153"/>
                </a:cubicBezTo>
                <a:cubicBezTo>
                  <a:pt x="130386" y="4174482"/>
                  <a:pt x="128214" y="4139082"/>
                  <a:pt x="127542" y="4149054"/>
                </a:cubicBezTo>
                <a:cubicBezTo>
                  <a:pt x="126041" y="4171889"/>
                  <a:pt x="126921" y="4186649"/>
                  <a:pt x="125421" y="4204398"/>
                </a:cubicBezTo>
                <a:cubicBezTo>
                  <a:pt x="124439" y="4216364"/>
                  <a:pt x="120611" y="4217561"/>
                  <a:pt x="121542" y="4245882"/>
                </a:cubicBezTo>
                <a:cubicBezTo>
                  <a:pt x="121852" y="4274700"/>
                  <a:pt x="129507" y="4249970"/>
                  <a:pt x="130489" y="4273903"/>
                </a:cubicBezTo>
                <a:cubicBezTo>
                  <a:pt x="129662" y="4302224"/>
                  <a:pt x="123921" y="4364549"/>
                  <a:pt x="128058" y="4384691"/>
                </a:cubicBezTo>
                <a:cubicBezTo>
                  <a:pt x="127542" y="4404636"/>
                  <a:pt x="122628" y="4389379"/>
                  <a:pt x="122473" y="4412215"/>
                </a:cubicBezTo>
                <a:cubicBezTo>
                  <a:pt x="122783" y="4429666"/>
                  <a:pt x="125990" y="4426275"/>
                  <a:pt x="126094" y="4412314"/>
                </a:cubicBezTo>
                <a:cubicBezTo>
                  <a:pt x="129248" y="4422486"/>
                  <a:pt x="126197" y="4437544"/>
                  <a:pt x="125834" y="4453898"/>
                </a:cubicBezTo>
                <a:cubicBezTo>
                  <a:pt x="125473" y="4478828"/>
                  <a:pt x="127903" y="4483216"/>
                  <a:pt x="127335" y="4509442"/>
                </a:cubicBezTo>
                <a:cubicBezTo>
                  <a:pt x="125576" y="4509742"/>
                  <a:pt x="125834" y="4526294"/>
                  <a:pt x="125369" y="4537064"/>
                </a:cubicBezTo>
                <a:cubicBezTo>
                  <a:pt x="123249" y="4534771"/>
                  <a:pt x="122111" y="4540056"/>
                  <a:pt x="121645" y="4550826"/>
                </a:cubicBezTo>
                <a:cubicBezTo>
                  <a:pt x="122783" y="4562393"/>
                  <a:pt x="124128" y="4564887"/>
                  <a:pt x="125111" y="4578647"/>
                </a:cubicBezTo>
                <a:cubicBezTo>
                  <a:pt x="125473" y="4583733"/>
                  <a:pt x="124386" y="4602780"/>
                  <a:pt x="124955" y="4606370"/>
                </a:cubicBezTo>
                <a:cubicBezTo>
                  <a:pt x="125111" y="4607467"/>
                  <a:pt x="126714" y="4605074"/>
                  <a:pt x="126766" y="4606469"/>
                </a:cubicBezTo>
                <a:cubicBezTo>
                  <a:pt x="128058" y="4640573"/>
                  <a:pt x="125421" y="4691132"/>
                  <a:pt x="127955" y="4717458"/>
                </a:cubicBezTo>
                <a:cubicBezTo>
                  <a:pt x="126197" y="4717059"/>
                  <a:pt x="126662" y="4700505"/>
                  <a:pt x="126300" y="4689736"/>
                </a:cubicBezTo>
                <a:cubicBezTo>
                  <a:pt x="123663" y="4689537"/>
                  <a:pt x="121852" y="4706089"/>
                  <a:pt x="120714" y="4717258"/>
                </a:cubicBezTo>
                <a:cubicBezTo>
                  <a:pt x="119732" y="4726433"/>
                  <a:pt x="118698" y="4725834"/>
                  <a:pt x="120611" y="4731119"/>
                </a:cubicBezTo>
                <a:cubicBezTo>
                  <a:pt x="117043" y="4781180"/>
                  <a:pt x="115749" y="4706588"/>
                  <a:pt x="111612" y="4717059"/>
                </a:cubicBezTo>
                <a:cubicBezTo>
                  <a:pt x="106905" y="4742886"/>
                  <a:pt x="111146" y="4776094"/>
                  <a:pt x="111146" y="4800226"/>
                </a:cubicBezTo>
                <a:cubicBezTo>
                  <a:pt x="111146" y="4796137"/>
                  <a:pt x="108146" y="4807206"/>
                  <a:pt x="109233" y="4813987"/>
                </a:cubicBezTo>
                <a:cubicBezTo>
                  <a:pt x="112336" y="4833831"/>
                  <a:pt x="108767" y="4832934"/>
                  <a:pt x="108974" y="4853775"/>
                </a:cubicBezTo>
                <a:cubicBezTo>
                  <a:pt x="109233" y="4850085"/>
                  <a:pt x="113577" y="4923878"/>
                  <a:pt x="108560" y="4924876"/>
                </a:cubicBezTo>
                <a:cubicBezTo>
                  <a:pt x="108405" y="4942127"/>
                  <a:pt x="111146" y="4943324"/>
                  <a:pt x="112025" y="4952698"/>
                </a:cubicBezTo>
                <a:cubicBezTo>
                  <a:pt x="113887" y="4972342"/>
                  <a:pt x="113008" y="5018014"/>
                  <a:pt x="118904" y="5022203"/>
                </a:cubicBezTo>
                <a:lnTo>
                  <a:pt x="118180" y="5146952"/>
                </a:lnTo>
                <a:cubicBezTo>
                  <a:pt x="111198" y="5149246"/>
                  <a:pt x="117559" y="5135484"/>
                  <a:pt x="116577" y="5105269"/>
                </a:cubicBezTo>
                <a:cubicBezTo>
                  <a:pt x="114612" y="5118731"/>
                  <a:pt x="112750" y="5132592"/>
                  <a:pt x="110888" y="5146752"/>
                </a:cubicBezTo>
                <a:cubicBezTo>
                  <a:pt x="108612" y="5152736"/>
                  <a:pt x="107060" y="5164403"/>
                  <a:pt x="107009" y="5188236"/>
                </a:cubicBezTo>
                <a:cubicBezTo>
                  <a:pt x="107992" y="5229819"/>
                  <a:pt x="110991" y="5175073"/>
                  <a:pt x="114301" y="5188436"/>
                </a:cubicBezTo>
                <a:cubicBezTo>
                  <a:pt x="113008" y="5209077"/>
                  <a:pt x="116680" y="5214662"/>
                  <a:pt x="115853" y="5230119"/>
                </a:cubicBezTo>
                <a:cubicBezTo>
                  <a:pt x="115749" y="5231913"/>
                  <a:pt x="112129" y="5244778"/>
                  <a:pt x="112129" y="5243881"/>
                </a:cubicBezTo>
                <a:cubicBezTo>
                  <a:pt x="112129" y="5259437"/>
                  <a:pt x="114974" y="5269409"/>
                  <a:pt x="115542" y="5285564"/>
                </a:cubicBezTo>
                <a:cubicBezTo>
                  <a:pt x="115284" y="5278781"/>
                  <a:pt x="113473" y="5293042"/>
                  <a:pt x="113629" y="5299324"/>
                </a:cubicBezTo>
                <a:cubicBezTo>
                  <a:pt x="113629" y="5301519"/>
                  <a:pt x="115335" y="5301519"/>
                  <a:pt x="115335" y="5313285"/>
                </a:cubicBezTo>
                <a:cubicBezTo>
                  <a:pt x="115335" y="5335722"/>
                  <a:pt x="115904" y="5365638"/>
                  <a:pt x="113060" y="5396352"/>
                </a:cubicBezTo>
                <a:cubicBezTo>
                  <a:pt x="113733" y="5416994"/>
                  <a:pt x="115388" y="5390967"/>
                  <a:pt x="118491" y="5396551"/>
                </a:cubicBezTo>
                <a:cubicBezTo>
                  <a:pt x="119111" y="5440328"/>
                  <a:pt x="114922" y="5445414"/>
                  <a:pt x="116111" y="5493579"/>
                </a:cubicBezTo>
                <a:cubicBezTo>
                  <a:pt x="113163" y="5497368"/>
                  <a:pt x="113060" y="5480316"/>
                  <a:pt x="110732" y="5479518"/>
                </a:cubicBezTo>
                <a:cubicBezTo>
                  <a:pt x="106388" y="5520703"/>
                  <a:pt x="112905" y="5564480"/>
                  <a:pt x="106543" y="5576446"/>
                </a:cubicBezTo>
                <a:cubicBezTo>
                  <a:pt x="105871" y="5593099"/>
                  <a:pt x="109543" y="5583327"/>
                  <a:pt x="110112" y="5590408"/>
                </a:cubicBezTo>
                <a:cubicBezTo>
                  <a:pt x="110888" y="5600179"/>
                  <a:pt x="109077" y="5622018"/>
                  <a:pt x="109853" y="5631990"/>
                </a:cubicBezTo>
                <a:cubicBezTo>
                  <a:pt x="110784" y="5644456"/>
                  <a:pt x="112957" y="5643458"/>
                  <a:pt x="113319" y="5659812"/>
                </a:cubicBezTo>
                <a:cubicBezTo>
                  <a:pt x="113887" y="5683446"/>
                  <a:pt x="111767" y="5685938"/>
                  <a:pt x="109543" y="5687435"/>
                </a:cubicBezTo>
                <a:cubicBezTo>
                  <a:pt x="110784" y="5700399"/>
                  <a:pt x="112698" y="5708575"/>
                  <a:pt x="114818" y="5715356"/>
                </a:cubicBezTo>
                <a:cubicBezTo>
                  <a:pt x="114198" y="5739788"/>
                  <a:pt x="111508" y="5746868"/>
                  <a:pt x="107371" y="5742879"/>
                </a:cubicBezTo>
                <a:cubicBezTo>
                  <a:pt x="107474" y="5768507"/>
                  <a:pt x="113473" y="5751555"/>
                  <a:pt x="114456" y="5770800"/>
                </a:cubicBezTo>
                <a:cubicBezTo>
                  <a:pt x="113112" y="5789349"/>
                  <a:pt x="110422" y="5796528"/>
                  <a:pt x="107009" y="5798323"/>
                </a:cubicBezTo>
                <a:cubicBezTo>
                  <a:pt x="106543" y="5828538"/>
                  <a:pt x="108250" y="5842500"/>
                  <a:pt x="112232" y="5840106"/>
                </a:cubicBezTo>
                <a:cubicBezTo>
                  <a:pt x="109698" y="5848483"/>
                  <a:pt x="111663" y="5893456"/>
                  <a:pt x="108301" y="5895450"/>
                </a:cubicBezTo>
                <a:cubicBezTo>
                  <a:pt x="109440" y="5909611"/>
                  <a:pt x="112439" y="5909911"/>
                  <a:pt x="111715" y="5937133"/>
                </a:cubicBezTo>
                <a:cubicBezTo>
                  <a:pt x="105509" y="5891761"/>
                  <a:pt x="104319" y="5974429"/>
                  <a:pt x="100492" y="5992279"/>
                </a:cubicBezTo>
                <a:cubicBezTo>
                  <a:pt x="93510" y="6003447"/>
                  <a:pt x="93665" y="5962661"/>
                  <a:pt x="91751" y="5936635"/>
                </a:cubicBezTo>
                <a:cubicBezTo>
                  <a:pt x="84769" y="5970639"/>
                  <a:pt x="91596" y="6035259"/>
                  <a:pt x="87303" y="6075146"/>
                </a:cubicBezTo>
                <a:cubicBezTo>
                  <a:pt x="95320" y="6095888"/>
                  <a:pt x="93096" y="6034759"/>
                  <a:pt x="100182" y="6047823"/>
                </a:cubicBezTo>
                <a:cubicBezTo>
                  <a:pt x="104112" y="6041441"/>
                  <a:pt x="103543" y="6067667"/>
                  <a:pt x="103595" y="6089506"/>
                </a:cubicBezTo>
                <a:cubicBezTo>
                  <a:pt x="109077" y="6099678"/>
                  <a:pt x="109077" y="6065772"/>
                  <a:pt x="114560" y="6075944"/>
                </a:cubicBezTo>
                <a:lnTo>
                  <a:pt x="114146" y="6145249"/>
                </a:lnTo>
                <a:cubicBezTo>
                  <a:pt x="108560" y="6129394"/>
                  <a:pt x="109336" y="6149138"/>
                  <a:pt x="105147" y="6131189"/>
                </a:cubicBezTo>
                <a:cubicBezTo>
                  <a:pt x="105250" y="6170280"/>
                  <a:pt x="113680" y="6148740"/>
                  <a:pt x="112025" y="6200693"/>
                </a:cubicBezTo>
                <a:cubicBezTo>
                  <a:pt x="107992" y="6209369"/>
                  <a:pt x="106440" y="6161304"/>
                  <a:pt x="106491" y="6214455"/>
                </a:cubicBezTo>
                <a:cubicBezTo>
                  <a:pt x="101319" y="6225723"/>
                  <a:pt x="101888" y="6194710"/>
                  <a:pt x="97492" y="6200294"/>
                </a:cubicBezTo>
                <a:cubicBezTo>
                  <a:pt x="92682" y="6202390"/>
                  <a:pt x="96561" y="6251352"/>
                  <a:pt x="97026" y="6283462"/>
                </a:cubicBezTo>
                <a:cubicBezTo>
                  <a:pt x="97595" y="6321753"/>
                  <a:pt x="95165" y="6362539"/>
                  <a:pt x="101991" y="6366728"/>
                </a:cubicBezTo>
                <a:lnTo>
                  <a:pt x="101526" y="6449894"/>
                </a:lnTo>
                <a:cubicBezTo>
                  <a:pt x="102820" y="6456375"/>
                  <a:pt x="103854" y="6470536"/>
                  <a:pt x="104991" y="6477715"/>
                </a:cubicBezTo>
                <a:cubicBezTo>
                  <a:pt x="105871" y="6483101"/>
                  <a:pt x="106440" y="6495067"/>
                  <a:pt x="108560" y="6491676"/>
                </a:cubicBezTo>
                <a:cubicBezTo>
                  <a:pt x="109387" y="6522490"/>
                  <a:pt x="104940" y="6511322"/>
                  <a:pt x="104682" y="6533160"/>
                </a:cubicBezTo>
                <a:cubicBezTo>
                  <a:pt x="104629" y="6539741"/>
                  <a:pt x="101733" y="6569459"/>
                  <a:pt x="100750" y="6588504"/>
                </a:cubicBezTo>
                <a:cubicBezTo>
                  <a:pt x="99768" y="6621812"/>
                  <a:pt x="103854" y="6618721"/>
                  <a:pt x="102147" y="6657810"/>
                </a:cubicBezTo>
                <a:cubicBezTo>
                  <a:pt x="106491" y="6663694"/>
                  <a:pt x="106233" y="6632681"/>
                  <a:pt x="111302" y="6644248"/>
                </a:cubicBezTo>
                <a:cubicBezTo>
                  <a:pt x="106750" y="6681145"/>
                  <a:pt x="109440" y="6742972"/>
                  <a:pt x="108715" y="6782760"/>
                </a:cubicBezTo>
                <a:cubicBezTo>
                  <a:pt x="108301" y="6805596"/>
                  <a:pt x="107888" y="6809484"/>
                  <a:pt x="104940" y="6810381"/>
                </a:cubicBezTo>
                <a:cubicBezTo>
                  <a:pt x="105871" y="6839302"/>
                  <a:pt x="108508" y="6855355"/>
                  <a:pt x="110008" y="6879887"/>
                </a:cubicBezTo>
                <a:cubicBezTo>
                  <a:pt x="108767" y="6891754"/>
                  <a:pt x="109387" y="6926357"/>
                  <a:pt x="107888" y="6935332"/>
                </a:cubicBezTo>
                <a:cubicBezTo>
                  <a:pt x="106026" y="6946699"/>
                  <a:pt x="104526" y="6995262"/>
                  <a:pt x="103802" y="7018397"/>
                </a:cubicBezTo>
                <a:cubicBezTo>
                  <a:pt x="103957" y="7013213"/>
                  <a:pt x="106543" y="7026175"/>
                  <a:pt x="105509" y="7032260"/>
                </a:cubicBezTo>
                <a:cubicBezTo>
                  <a:pt x="105302" y="7033355"/>
                  <a:pt x="103750" y="7030763"/>
                  <a:pt x="103699" y="7032159"/>
                </a:cubicBezTo>
                <a:cubicBezTo>
                  <a:pt x="103440" y="7037045"/>
                  <a:pt x="104061" y="7056890"/>
                  <a:pt x="103543" y="7059881"/>
                </a:cubicBezTo>
                <a:cubicBezTo>
                  <a:pt x="101268" y="7073244"/>
                  <a:pt x="102871" y="7069753"/>
                  <a:pt x="105250" y="7073841"/>
                </a:cubicBezTo>
                <a:cubicBezTo>
                  <a:pt x="102716" y="7102062"/>
                  <a:pt x="96303" y="7098871"/>
                  <a:pt x="97492" y="7156809"/>
                </a:cubicBezTo>
                <a:cubicBezTo>
                  <a:pt x="97440" y="7171069"/>
                  <a:pt x="99716" y="7166582"/>
                  <a:pt x="101061" y="7170771"/>
                </a:cubicBezTo>
                <a:cubicBezTo>
                  <a:pt x="103388" y="7178050"/>
                  <a:pt x="103130" y="7197396"/>
                  <a:pt x="108146" y="7198692"/>
                </a:cubicBezTo>
                <a:cubicBezTo>
                  <a:pt x="109233" y="7241073"/>
                  <a:pt x="104785" y="7239278"/>
                  <a:pt x="105871" y="7281758"/>
                </a:cubicBezTo>
                <a:cubicBezTo>
                  <a:pt x="104422" y="7274379"/>
                  <a:pt x="102974" y="7267199"/>
                  <a:pt x="100492" y="7267798"/>
                </a:cubicBezTo>
                <a:cubicBezTo>
                  <a:pt x="99975" y="7303698"/>
                  <a:pt x="101423" y="7378088"/>
                  <a:pt x="96458" y="7337003"/>
                </a:cubicBezTo>
                <a:cubicBezTo>
                  <a:pt x="102095" y="7379783"/>
                  <a:pt x="103854" y="7451083"/>
                  <a:pt x="102509" y="7545119"/>
                </a:cubicBezTo>
                <a:cubicBezTo>
                  <a:pt x="100440" y="7542726"/>
                  <a:pt x="101164" y="7519790"/>
                  <a:pt x="100957" y="7503436"/>
                </a:cubicBezTo>
                <a:cubicBezTo>
                  <a:pt x="96872" y="7509219"/>
                  <a:pt x="99095" y="7576929"/>
                  <a:pt x="100492" y="7586602"/>
                </a:cubicBezTo>
                <a:cubicBezTo>
                  <a:pt x="101164" y="7608442"/>
                  <a:pt x="106130" y="7598568"/>
                  <a:pt x="103802" y="7642146"/>
                </a:cubicBezTo>
                <a:cubicBezTo>
                  <a:pt x="102044" y="7641648"/>
                  <a:pt x="102509" y="7625094"/>
                  <a:pt x="102147" y="7614324"/>
                </a:cubicBezTo>
                <a:cubicBezTo>
                  <a:pt x="97389" y="7632674"/>
                  <a:pt x="104422" y="7675951"/>
                  <a:pt x="103388" y="7711452"/>
                </a:cubicBezTo>
                <a:cubicBezTo>
                  <a:pt x="100336" y="7706266"/>
                  <a:pt x="99923" y="7722221"/>
                  <a:pt x="99613" y="7739073"/>
                </a:cubicBezTo>
                <a:cubicBezTo>
                  <a:pt x="97751" y="7783550"/>
                  <a:pt x="104164" y="7767994"/>
                  <a:pt x="104733" y="7794718"/>
                </a:cubicBezTo>
                <a:cubicBezTo>
                  <a:pt x="105664" y="7827825"/>
                  <a:pt x="101888" y="7895137"/>
                  <a:pt x="105923" y="7905606"/>
                </a:cubicBezTo>
                <a:cubicBezTo>
                  <a:pt x="104733" y="7936919"/>
                  <a:pt x="103181" y="7888754"/>
                  <a:pt x="100389" y="7919368"/>
                </a:cubicBezTo>
                <a:cubicBezTo>
                  <a:pt x="102974" y="7948188"/>
                  <a:pt x="110939" y="7981693"/>
                  <a:pt x="105198" y="8030357"/>
                </a:cubicBezTo>
                <a:cubicBezTo>
                  <a:pt x="102767" y="8026069"/>
                  <a:pt x="103906" y="7995654"/>
                  <a:pt x="103699" y="7974912"/>
                </a:cubicBezTo>
                <a:cubicBezTo>
                  <a:pt x="100440" y="7996950"/>
                  <a:pt x="99457" y="8037237"/>
                  <a:pt x="99457" y="8085701"/>
                </a:cubicBezTo>
                <a:cubicBezTo>
                  <a:pt x="101423" y="8096171"/>
                  <a:pt x="101371" y="8044117"/>
                  <a:pt x="101526" y="8044217"/>
                </a:cubicBezTo>
                <a:cubicBezTo>
                  <a:pt x="104112" y="8045415"/>
                  <a:pt x="104526" y="8143839"/>
                  <a:pt x="106284" y="8169067"/>
                </a:cubicBezTo>
                <a:cubicBezTo>
                  <a:pt x="102664" y="8169166"/>
                  <a:pt x="103750" y="8206861"/>
                  <a:pt x="98837" y="8196589"/>
                </a:cubicBezTo>
                <a:cubicBezTo>
                  <a:pt x="99044" y="8212844"/>
                  <a:pt x="102095" y="8208456"/>
                  <a:pt x="104216" y="8210650"/>
                </a:cubicBezTo>
                <a:cubicBezTo>
                  <a:pt x="104371" y="8240965"/>
                  <a:pt x="102457" y="8254727"/>
                  <a:pt x="98527" y="8252134"/>
                </a:cubicBezTo>
                <a:cubicBezTo>
                  <a:pt x="102974" y="8275069"/>
                  <a:pt x="106646" y="8360132"/>
                  <a:pt x="99561" y="8390744"/>
                </a:cubicBezTo>
                <a:cubicBezTo>
                  <a:pt x="99509" y="8439908"/>
                  <a:pt x="105767" y="8361527"/>
                  <a:pt x="104940" y="8404805"/>
                </a:cubicBezTo>
                <a:cubicBezTo>
                  <a:pt x="105664" y="8434323"/>
                  <a:pt x="102198" y="8431131"/>
                  <a:pt x="99354" y="8432328"/>
                </a:cubicBezTo>
                <a:cubicBezTo>
                  <a:pt x="97233" y="8475906"/>
                  <a:pt x="98578" y="8515495"/>
                  <a:pt x="94906" y="8570839"/>
                </a:cubicBezTo>
                <a:cubicBezTo>
                  <a:pt x="95113" y="8587093"/>
                  <a:pt x="98165" y="8582706"/>
                  <a:pt x="100285" y="8584900"/>
                </a:cubicBezTo>
                <a:cubicBezTo>
                  <a:pt x="99820" y="8644532"/>
                  <a:pt x="96147" y="8624388"/>
                  <a:pt x="97906" y="8681828"/>
                </a:cubicBezTo>
                <a:cubicBezTo>
                  <a:pt x="98061" y="8686215"/>
                  <a:pt x="100130" y="8681129"/>
                  <a:pt x="99664" y="8695788"/>
                </a:cubicBezTo>
                <a:cubicBezTo>
                  <a:pt x="99561" y="8698181"/>
                  <a:pt x="97130" y="8696187"/>
                  <a:pt x="97751" y="8709550"/>
                </a:cubicBezTo>
                <a:cubicBezTo>
                  <a:pt x="98423" y="8723709"/>
                  <a:pt x="101061" y="8719820"/>
                  <a:pt x="101216" y="8737372"/>
                </a:cubicBezTo>
                <a:cubicBezTo>
                  <a:pt x="103233" y="8782345"/>
                  <a:pt x="95320" y="8747842"/>
                  <a:pt x="97286" y="8792716"/>
                </a:cubicBezTo>
                <a:cubicBezTo>
                  <a:pt x="98320" y="8809069"/>
                  <a:pt x="105302" y="8775864"/>
                  <a:pt x="102406" y="8848359"/>
                </a:cubicBezTo>
                <a:cubicBezTo>
                  <a:pt x="99302" y="8853445"/>
                  <a:pt x="99044" y="8837490"/>
                  <a:pt x="98941" y="8820537"/>
                </a:cubicBezTo>
                <a:cubicBezTo>
                  <a:pt x="93562" y="8832105"/>
                  <a:pt x="99768" y="8865213"/>
                  <a:pt x="98527" y="8889843"/>
                </a:cubicBezTo>
                <a:cubicBezTo>
                  <a:pt x="93716" y="8880171"/>
                  <a:pt x="94855" y="8918463"/>
                  <a:pt x="92837" y="8931328"/>
                </a:cubicBezTo>
                <a:cubicBezTo>
                  <a:pt x="91079" y="8957554"/>
                  <a:pt x="96044" y="8964035"/>
                  <a:pt x="96251" y="8973011"/>
                </a:cubicBezTo>
                <a:cubicBezTo>
                  <a:pt x="96510" y="8983879"/>
                  <a:pt x="92217" y="9027158"/>
                  <a:pt x="93872" y="9070037"/>
                </a:cubicBezTo>
                <a:cubicBezTo>
                  <a:pt x="94079" y="9086292"/>
                  <a:pt x="97130" y="9081805"/>
                  <a:pt x="99251" y="9083998"/>
                </a:cubicBezTo>
                <a:cubicBezTo>
                  <a:pt x="100440" y="9131964"/>
                  <a:pt x="96923" y="9142434"/>
                  <a:pt x="95165" y="9167066"/>
                </a:cubicBezTo>
                <a:cubicBezTo>
                  <a:pt x="93976" y="9180129"/>
                  <a:pt x="96872" y="9178732"/>
                  <a:pt x="96923" y="9181026"/>
                </a:cubicBezTo>
                <a:cubicBezTo>
                  <a:pt x="97182" y="9193590"/>
                  <a:pt x="95010" y="9194887"/>
                  <a:pt x="95010" y="9194887"/>
                </a:cubicBezTo>
                <a:cubicBezTo>
                  <a:pt x="95734" y="9242653"/>
                  <a:pt x="102251" y="9299993"/>
                  <a:pt x="94234" y="9333498"/>
                </a:cubicBezTo>
                <a:cubicBezTo>
                  <a:pt x="94906" y="9355237"/>
                  <a:pt x="99871" y="9345464"/>
                  <a:pt x="97544" y="9389042"/>
                </a:cubicBezTo>
                <a:cubicBezTo>
                  <a:pt x="98371" y="9419855"/>
                  <a:pt x="93976" y="9408686"/>
                  <a:pt x="93665" y="9430525"/>
                </a:cubicBezTo>
                <a:cubicBezTo>
                  <a:pt x="94803" y="9444686"/>
                  <a:pt x="97751" y="9444985"/>
                  <a:pt x="97079" y="9472208"/>
                </a:cubicBezTo>
                <a:cubicBezTo>
                  <a:pt x="94958" y="9469915"/>
                  <a:pt x="93820" y="9475200"/>
                  <a:pt x="93355" y="9485970"/>
                </a:cubicBezTo>
                <a:cubicBezTo>
                  <a:pt x="94285" y="9499432"/>
                  <a:pt x="96147" y="9497537"/>
                  <a:pt x="96820" y="9513791"/>
                </a:cubicBezTo>
                <a:cubicBezTo>
                  <a:pt x="99251" y="9572527"/>
                  <a:pt x="95217" y="9774958"/>
                  <a:pt x="91338" y="9832497"/>
                </a:cubicBezTo>
                <a:cubicBezTo>
                  <a:pt x="91699" y="9847554"/>
                  <a:pt x="94906" y="9842070"/>
                  <a:pt x="94803" y="9860320"/>
                </a:cubicBezTo>
                <a:cubicBezTo>
                  <a:pt x="93872" y="9906589"/>
                  <a:pt x="95785" y="9972404"/>
                  <a:pt x="92165" y="9998930"/>
                </a:cubicBezTo>
                <a:cubicBezTo>
                  <a:pt x="93148" y="9991650"/>
                  <a:pt x="92682" y="10069830"/>
                  <a:pt x="93406" y="10095957"/>
                </a:cubicBezTo>
                <a:cubicBezTo>
                  <a:pt x="93923" y="10115603"/>
                  <a:pt x="95889" y="10122483"/>
                  <a:pt x="91441" y="10123580"/>
                </a:cubicBezTo>
                <a:cubicBezTo>
                  <a:pt x="90613" y="10147114"/>
                  <a:pt x="92682" y="10149806"/>
                  <a:pt x="94906" y="10151402"/>
                </a:cubicBezTo>
                <a:cubicBezTo>
                  <a:pt x="94027" y="10180918"/>
                  <a:pt x="92786" y="10193883"/>
                  <a:pt x="92682" y="10220708"/>
                </a:cubicBezTo>
                <a:cubicBezTo>
                  <a:pt x="92579" y="10249127"/>
                  <a:pt x="94285" y="10257902"/>
                  <a:pt x="94182" y="10276151"/>
                </a:cubicBezTo>
                <a:cubicBezTo>
                  <a:pt x="94027" y="10300583"/>
                  <a:pt x="92475" y="10306167"/>
                  <a:pt x="92061" y="10331596"/>
                </a:cubicBezTo>
                <a:cubicBezTo>
                  <a:pt x="91389" y="10373977"/>
                  <a:pt x="96354" y="10419449"/>
                  <a:pt x="89786" y="10414662"/>
                </a:cubicBezTo>
                <a:cubicBezTo>
                  <a:pt x="92630" y="10425033"/>
                  <a:pt x="88958" y="10482573"/>
                  <a:pt x="94906" y="10470306"/>
                </a:cubicBezTo>
                <a:cubicBezTo>
                  <a:pt x="96251" y="10486860"/>
                  <a:pt x="92993" y="10494238"/>
                  <a:pt x="92941" y="10497929"/>
                </a:cubicBezTo>
                <a:cubicBezTo>
                  <a:pt x="92786" y="10509097"/>
                  <a:pt x="94803" y="10511790"/>
                  <a:pt x="94596" y="10525751"/>
                </a:cubicBezTo>
                <a:cubicBezTo>
                  <a:pt x="94234" y="10547988"/>
                  <a:pt x="92993" y="10549284"/>
                  <a:pt x="92527" y="10567235"/>
                </a:cubicBezTo>
                <a:cubicBezTo>
                  <a:pt x="91596" y="10603830"/>
                  <a:pt x="94182" y="10653193"/>
                  <a:pt x="90096" y="10678023"/>
                </a:cubicBezTo>
                <a:cubicBezTo>
                  <a:pt x="92630" y="10700958"/>
                  <a:pt x="93355" y="10656782"/>
                  <a:pt x="93406" y="10733566"/>
                </a:cubicBezTo>
                <a:cubicBezTo>
                  <a:pt x="93458" y="10792103"/>
                  <a:pt x="91751" y="10863003"/>
                  <a:pt x="92217" y="10941483"/>
                </a:cubicBezTo>
                <a:cubicBezTo>
                  <a:pt x="92372" y="10968508"/>
                  <a:pt x="95578" y="10980274"/>
                  <a:pt x="93562" y="11024650"/>
                </a:cubicBezTo>
                <a:cubicBezTo>
                  <a:pt x="92682" y="11043796"/>
                  <a:pt x="91906" y="11043596"/>
                  <a:pt x="93148" y="11093956"/>
                </a:cubicBezTo>
                <a:cubicBezTo>
                  <a:pt x="93665" y="11115495"/>
                  <a:pt x="94958" y="11125866"/>
                  <a:pt x="94648" y="11149400"/>
                </a:cubicBezTo>
                <a:cubicBezTo>
                  <a:pt x="94648" y="11148004"/>
                  <a:pt x="89683" y="11151594"/>
                  <a:pt x="90924" y="11163161"/>
                </a:cubicBezTo>
                <a:cubicBezTo>
                  <a:pt x="90924" y="11176623"/>
                  <a:pt x="93096" y="11173930"/>
                  <a:pt x="94492" y="11177121"/>
                </a:cubicBezTo>
                <a:cubicBezTo>
                  <a:pt x="94648" y="11199160"/>
                  <a:pt x="92941" y="11201353"/>
                  <a:pt x="92424" y="11218606"/>
                </a:cubicBezTo>
                <a:cubicBezTo>
                  <a:pt x="92579" y="11214417"/>
                  <a:pt x="94441" y="11224190"/>
                  <a:pt x="94182" y="11232566"/>
                </a:cubicBezTo>
                <a:cubicBezTo>
                  <a:pt x="94079" y="11235857"/>
                  <a:pt x="92010" y="11232366"/>
                  <a:pt x="92268" y="11246328"/>
                </a:cubicBezTo>
                <a:cubicBezTo>
                  <a:pt x="92837" y="11279234"/>
                  <a:pt x="99147" y="11311943"/>
                  <a:pt x="93355" y="11371077"/>
                </a:cubicBezTo>
                <a:cubicBezTo>
                  <a:pt x="99044" y="11437590"/>
                  <a:pt x="96923" y="11527937"/>
                  <a:pt x="97440" y="11606915"/>
                </a:cubicBezTo>
                <a:cubicBezTo>
                  <a:pt x="97647" y="11637229"/>
                  <a:pt x="98578" y="11661562"/>
                  <a:pt x="98630" y="11717804"/>
                </a:cubicBezTo>
                <a:cubicBezTo>
                  <a:pt x="98630" y="11722241"/>
                  <a:pt x="98371" y="11734656"/>
                  <a:pt x="98203" y="11746685"/>
                </a:cubicBezTo>
                <a:lnTo>
                  <a:pt x="98207" y="11747497"/>
                </a:lnTo>
                <a:lnTo>
                  <a:pt x="4729484" y="11747497"/>
                </a:lnTo>
                <a:lnTo>
                  <a:pt x="4729573" y="11735255"/>
                </a:lnTo>
                <a:lnTo>
                  <a:pt x="4733814" y="11735355"/>
                </a:lnTo>
                <a:lnTo>
                  <a:pt x="4733726" y="11747497"/>
                </a:lnTo>
                <a:lnTo>
                  <a:pt x="4762499" y="11747497"/>
                </a:lnTo>
                <a:lnTo>
                  <a:pt x="4764245" y="11718850"/>
                </a:lnTo>
                <a:cubicBezTo>
                  <a:pt x="4764975" y="11696738"/>
                  <a:pt x="4765648" y="11674226"/>
                  <a:pt x="4767380" y="11659268"/>
                </a:cubicBezTo>
                <a:cubicBezTo>
                  <a:pt x="4769190" y="11670436"/>
                  <a:pt x="4772034" y="11674725"/>
                  <a:pt x="4775707" y="11673727"/>
                </a:cubicBezTo>
                <a:cubicBezTo>
                  <a:pt x="4775164" y="11697210"/>
                  <a:pt x="4773806" y="11714961"/>
                  <a:pt x="4772126" y="11730392"/>
                </a:cubicBezTo>
                <a:lnTo>
                  <a:pt x="4769917" y="11747497"/>
                </a:lnTo>
                <a:lnTo>
                  <a:pt x="4783288" y="11747497"/>
                </a:lnTo>
                <a:lnTo>
                  <a:pt x="4785741" y="11714014"/>
                </a:lnTo>
                <a:cubicBezTo>
                  <a:pt x="4789180" y="11718700"/>
                  <a:pt x="4789322" y="11727750"/>
                  <a:pt x="4788870" y="11738868"/>
                </a:cubicBezTo>
                <a:lnTo>
                  <a:pt x="4788768" y="11747497"/>
                </a:lnTo>
                <a:lnTo>
                  <a:pt x="4820676" y="11747497"/>
                </a:lnTo>
                <a:lnTo>
                  <a:pt x="4820755" y="11746659"/>
                </a:lnTo>
                <a:cubicBezTo>
                  <a:pt x="4822022" y="11738146"/>
                  <a:pt x="4823574" y="11731664"/>
                  <a:pt x="4825255" y="11729370"/>
                </a:cubicBezTo>
                <a:lnTo>
                  <a:pt x="4825255" y="11631645"/>
                </a:lnTo>
                <a:cubicBezTo>
                  <a:pt x="4824945" y="11630847"/>
                  <a:pt x="4824634" y="11630150"/>
                  <a:pt x="4824272" y="11629551"/>
                </a:cubicBezTo>
                <a:cubicBezTo>
                  <a:pt x="4824479" y="11623269"/>
                  <a:pt x="4824789" y="11618083"/>
                  <a:pt x="4825255" y="11613896"/>
                </a:cubicBezTo>
                <a:lnTo>
                  <a:pt x="4825255" y="11133744"/>
                </a:lnTo>
                <a:cubicBezTo>
                  <a:pt x="4827531" y="11133146"/>
                  <a:pt x="4830840" y="11131749"/>
                  <a:pt x="4833892" y="11129356"/>
                </a:cubicBezTo>
                <a:cubicBezTo>
                  <a:pt x="4833841" y="11125467"/>
                  <a:pt x="4833788" y="11121777"/>
                  <a:pt x="4833943" y="11117388"/>
                </a:cubicBezTo>
                <a:cubicBezTo>
                  <a:pt x="4833995" y="11116092"/>
                  <a:pt x="4834926" y="11115395"/>
                  <a:pt x="4835547" y="11111407"/>
                </a:cubicBezTo>
                <a:cubicBezTo>
                  <a:pt x="4832237" y="11110907"/>
                  <a:pt x="4828875" y="11110609"/>
                  <a:pt x="4825255" y="11110609"/>
                </a:cubicBezTo>
                <a:lnTo>
                  <a:pt x="4825255" y="11102531"/>
                </a:lnTo>
                <a:cubicBezTo>
                  <a:pt x="4829185" y="11101634"/>
                  <a:pt x="4832805" y="11100338"/>
                  <a:pt x="4836271" y="11098941"/>
                </a:cubicBezTo>
                <a:cubicBezTo>
                  <a:pt x="4836477" y="11091961"/>
                  <a:pt x="4836892" y="11084183"/>
                  <a:pt x="4837409" y="11075907"/>
                </a:cubicBezTo>
                <a:cubicBezTo>
                  <a:pt x="4835805" y="11075507"/>
                  <a:pt x="4833995" y="11075407"/>
                  <a:pt x="4832495" y="11074908"/>
                </a:cubicBezTo>
                <a:cubicBezTo>
                  <a:pt x="4828151" y="11071718"/>
                  <a:pt x="4828823" y="11085679"/>
                  <a:pt x="4827944" y="11085679"/>
                </a:cubicBezTo>
                <a:cubicBezTo>
                  <a:pt x="4826910" y="11085579"/>
                  <a:pt x="4826031" y="11084682"/>
                  <a:pt x="4825203" y="11083484"/>
                </a:cubicBezTo>
                <a:lnTo>
                  <a:pt x="4825203" y="11066831"/>
                </a:lnTo>
                <a:cubicBezTo>
                  <a:pt x="4829288" y="11066632"/>
                  <a:pt x="4833633" y="11066333"/>
                  <a:pt x="4837978" y="11066133"/>
                </a:cubicBezTo>
                <a:cubicBezTo>
                  <a:pt x="4838288" y="11060149"/>
                  <a:pt x="4838547" y="11054166"/>
                  <a:pt x="4838702" y="11048185"/>
                </a:cubicBezTo>
                <a:close/>
              </a:path>
            </a:pathLst>
          </a:custGeom>
          <a:solidFill>
            <a:schemeClr val="bg1"/>
          </a:solidFill>
          <a:ln w="7215" cap="flat">
            <a:noFill/>
            <a:prstDash val="solid"/>
            <a:miter/>
          </a:ln>
        </p:spPr>
        <p:txBody>
          <a:bodyPr wrap="square" rtlCol="0" anchor="ctr">
            <a:noAutofit/>
          </a:bodyPr>
          <a:lstStyle/>
          <a:p>
            <a:endParaRPr lang="en-GB"/>
          </a:p>
        </p:txBody>
      </p:sp>
      <p:sp>
        <p:nvSpPr>
          <p:cNvPr id="2" name="Title 1">
            <a:extLst>
              <a:ext uri="{FF2B5EF4-FFF2-40B4-BE49-F238E27FC236}">
                <a16:creationId xmlns:a16="http://schemas.microsoft.com/office/drawing/2014/main" id="{1F430C98-4E7D-469A-A4D8-E0BAF01C7E47}"/>
              </a:ext>
            </a:extLst>
          </p:cNvPr>
          <p:cNvSpPr>
            <a:spLocks noGrp="1"/>
          </p:cNvSpPr>
          <p:nvPr>
            <p:ph type="title"/>
          </p:nvPr>
        </p:nvSpPr>
        <p:spPr>
          <a:xfrm>
            <a:off x="515937" y="512764"/>
            <a:ext cx="11160125" cy="849312"/>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9524AA4F-FAAB-4E50-B5B1-89C31C9F8013}"/>
              </a:ext>
            </a:extLst>
          </p:cNvPr>
          <p:cNvSpPr>
            <a:spLocks noGrp="1"/>
          </p:cNvSpPr>
          <p:nvPr>
            <p:ph type="ftr" sz="quarter" idx="10"/>
          </p:nvPr>
        </p:nvSpPr>
        <p:spPr/>
        <p:txBody>
          <a:bodyPr/>
          <a:lstStyle/>
          <a:p>
            <a:r>
              <a:rPr lang="en-US"/>
              <a:t>To change the footer go to menu "Insert" &gt; "Header and Footer" &gt; "Apply to All"</a:t>
            </a:r>
            <a:endParaRPr lang="en-GB" dirty="0"/>
          </a:p>
        </p:txBody>
      </p:sp>
      <p:sp>
        <p:nvSpPr>
          <p:cNvPr id="4" name="Slide Number Placeholder 3">
            <a:extLst>
              <a:ext uri="{FF2B5EF4-FFF2-40B4-BE49-F238E27FC236}">
                <a16:creationId xmlns:a16="http://schemas.microsoft.com/office/drawing/2014/main" id="{D22C7419-57C1-4264-8720-3714F87EC18C}"/>
              </a:ext>
            </a:extLst>
          </p:cNvPr>
          <p:cNvSpPr>
            <a:spLocks noGrp="1"/>
          </p:cNvSpPr>
          <p:nvPr>
            <p:ph type="sldNum" sz="quarter" idx="11"/>
          </p:nvPr>
        </p:nvSpPr>
        <p:spPr/>
        <p:txBody>
          <a:bodyPr/>
          <a:lstStyle/>
          <a:p>
            <a:fld id="{A8B7E462-AA7B-4427-9DF0-5AABDADAA92F}" type="slidenum">
              <a:rPr lang="en-GB" smtClean="0"/>
              <a:pPr/>
              <a:t>‹#›</a:t>
            </a:fld>
            <a:endParaRPr lang="en-GB" dirty="0"/>
          </a:p>
        </p:txBody>
      </p:sp>
      <p:sp>
        <p:nvSpPr>
          <p:cNvPr id="12" name="Text Placeholder 11">
            <a:extLst>
              <a:ext uri="{FF2B5EF4-FFF2-40B4-BE49-F238E27FC236}">
                <a16:creationId xmlns:a16="http://schemas.microsoft.com/office/drawing/2014/main" id="{66E735E9-A36F-4AE2-B51C-D2962E528A92}"/>
              </a:ext>
            </a:extLst>
          </p:cNvPr>
          <p:cNvSpPr>
            <a:spLocks noGrp="1"/>
          </p:cNvSpPr>
          <p:nvPr>
            <p:ph type="body" sz="quarter" idx="12"/>
          </p:nvPr>
        </p:nvSpPr>
        <p:spPr>
          <a:xfrm>
            <a:off x="515936" y="2060575"/>
            <a:ext cx="3204000" cy="396315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Content Placeholder 15">
            <a:extLst>
              <a:ext uri="{FF2B5EF4-FFF2-40B4-BE49-F238E27FC236}">
                <a16:creationId xmlns:a16="http://schemas.microsoft.com/office/drawing/2014/main" id="{C3BF2155-0DD9-4C91-985B-FEFA839D4224}"/>
              </a:ext>
            </a:extLst>
          </p:cNvPr>
          <p:cNvSpPr>
            <a:spLocks noGrp="1"/>
          </p:cNvSpPr>
          <p:nvPr>
            <p:ph sz="quarter" idx="14"/>
          </p:nvPr>
        </p:nvSpPr>
        <p:spPr>
          <a:xfrm>
            <a:off x="4365564" y="2844801"/>
            <a:ext cx="7055857" cy="3178926"/>
          </a:xfrm>
        </p:spPr>
        <p:txBody>
          <a:bodyPr/>
          <a:lstStyle>
            <a:lvl1pPr>
              <a:spcBef>
                <a:spcPts val="600"/>
              </a:spcBef>
              <a:defRPr/>
            </a:lvl1pPr>
            <a:lvl2pPr>
              <a:spcBef>
                <a:spcPts val="600"/>
              </a:spcBef>
              <a:defRPr sz="1000"/>
            </a:lvl2pPr>
            <a:lvl3pPr>
              <a:spcBef>
                <a:spcPts val="600"/>
              </a:spcBef>
              <a:defRPr sz="1000"/>
            </a:lvl3pPr>
            <a:lvl4pPr>
              <a:spcBef>
                <a:spcPts val="600"/>
              </a:spcBef>
              <a:defRPr sz="1000"/>
            </a:lvl4pPr>
            <a:lvl5pPr>
              <a:spcBef>
                <a:spcPts val="600"/>
              </a:spcBef>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0">
            <a:extLst>
              <a:ext uri="{FF2B5EF4-FFF2-40B4-BE49-F238E27FC236}">
                <a16:creationId xmlns:a16="http://schemas.microsoft.com/office/drawing/2014/main" id="{785E0B39-83F7-45DC-ADD0-3A05C045D4A2}"/>
              </a:ext>
            </a:extLst>
          </p:cNvPr>
          <p:cNvSpPr>
            <a:spLocks noGrp="1"/>
          </p:cNvSpPr>
          <p:nvPr>
            <p:ph type="body" sz="quarter" idx="15"/>
          </p:nvPr>
        </p:nvSpPr>
        <p:spPr>
          <a:xfrm>
            <a:off x="4365565" y="2060574"/>
            <a:ext cx="7052469" cy="663575"/>
          </a:xfrm>
        </p:spPr>
        <p:txBody>
          <a:bodyPr/>
          <a:lstStyle>
            <a:lvl1pPr>
              <a:spcBef>
                <a:spcPts val="0"/>
              </a:spcBef>
              <a:defRPr/>
            </a:lvl1pPr>
            <a:lvl2pPr>
              <a:spcBef>
                <a:spcPts val="0"/>
              </a:spcBef>
              <a:defRPr sz="1000"/>
            </a:lvl2pPr>
            <a:lvl3pPr>
              <a:spcBef>
                <a:spcPts val="0"/>
              </a:spcBef>
              <a:defRPr sz="1050"/>
            </a:lvl3pPr>
            <a:lvl4pPr>
              <a:spcBef>
                <a:spcPts val="0"/>
              </a:spcBef>
              <a:defRPr sz="1050"/>
            </a:lvl4pPr>
            <a:lvl5pPr>
              <a:spcBef>
                <a:spcPts val="0"/>
              </a:spcBef>
              <a:defRPr sz="1000"/>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452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Orange Panel + Text">
    <p:bg>
      <p:bgPr>
        <a:solidFill>
          <a:srgbClr val="F2F2F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B05123E-F903-4B4F-803F-0D4C25E29306}"/>
              </a:ext>
            </a:extLst>
          </p:cNvPr>
          <p:cNvGraphicFramePr>
            <a:graphicFrameLocks noChangeAspect="1"/>
          </p:cNvGraphicFramePr>
          <p:nvPr userDrawn="1">
            <p:custDataLst>
              <p:tags r:id="rId1"/>
            </p:custDataLst>
            <p:extLst>
              <p:ext uri="{D42A27DB-BD31-4B8C-83A1-F6EECF244321}">
                <p14:modId xmlns:p14="http://schemas.microsoft.com/office/powerpoint/2010/main" val="526263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0B05123E-F903-4B4F-803F-0D4C25E293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834B8430-DC7E-4AB0-8A42-E6D9000293D8}"/>
              </a:ext>
            </a:extLst>
          </p:cNvPr>
          <p:cNvSpPr/>
          <p:nvPr userDrawn="1"/>
        </p:nvSpPr>
        <p:spPr>
          <a:xfrm>
            <a:off x="4441178" y="1857374"/>
            <a:ext cx="7234883" cy="4379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54CA521C-854F-40B2-94C6-681386A80DC4}"/>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5937" y="1857375"/>
            <a:ext cx="4263379" cy="4379913"/>
          </a:xfrm>
          <a:prstGeom prst="rect">
            <a:avLst/>
          </a:prstGeom>
        </p:spPr>
      </p:pic>
      <p:sp>
        <p:nvSpPr>
          <p:cNvPr id="2" name="Title 1">
            <a:extLst>
              <a:ext uri="{FF2B5EF4-FFF2-40B4-BE49-F238E27FC236}">
                <a16:creationId xmlns:a16="http://schemas.microsoft.com/office/drawing/2014/main" id="{075EF717-1A24-40CC-AFE8-38E5F5A1D0D1}"/>
              </a:ext>
            </a:extLst>
          </p:cNvPr>
          <p:cNvSpPr>
            <a:spLocks noGrp="1"/>
          </p:cNvSpPr>
          <p:nvPr>
            <p:ph type="title"/>
          </p:nvPr>
        </p:nvSpPr>
        <p:spPr>
          <a:xfrm>
            <a:off x="515937" y="512764"/>
            <a:ext cx="11160125" cy="849312"/>
          </a:xfrm>
        </p:spPr>
        <p:txBody>
          <a:bodyPr vert="horz"/>
          <a:lstStyle/>
          <a:p>
            <a:r>
              <a:rPr lang="en-US" dirty="0"/>
              <a:t>Click to edit Master title style</a:t>
            </a:r>
            <a:endParaRPr lang="en-GB" dirty="0"/>
          </a:p>
        </p:txBody>
      </p:sp>
      <p:sp>
        <p:nvSpPr>
          <p:cNvPr id="3" name="Footer Placeholder 2">
            <a:extLst>
              <a:ext uri="{FF2B5EF4-FFF2-40B4-BE49-F238E27FC236}">
                <a16:creationId xmlns:a16="http://schemas.microsoft.com/office/drawing/2014/main" id="{2A0297AA-A8DC-44A9-8517-2DC9A478944C}"/>
              </a:ext>
            </a:extLst>
          </p:cNvPr>
          <p:cNvSpPr>
            <a:spLocks noGrp="1"/>
          </p:cNvSpPr>
          <p:nvPr>
            <p:ph type="ftr" sz="quarter" idx="10"/>
          </p:nvPr>
        </p:nvSpPr>
        <p:spPr/>
        <p:txBody>
          <a:bodyPr/>
          <a:lstStyle/>
          <a:p>
            <a:r>
              <a:rPr lang="en-US"/>
              <a:t>To change the footer go to menu "Insert" &gt; "Header and Footer" &gt; "Apply to All"</a:t>
            </a:r>
            <a:endParaRPr lang="en-GB" dirty="0"/>
          </a:p>
        </p:txBody>
      </p:sp>
      <p:sp>
        <p:nvSpPr>
          <p:cNvPr id="4" name="Slide Number Placeholder 3">
            <a:extLst>
              <a:ext uri="{FF2B5EF4-FFF2-40B4-BE49-F238E27FC236}">
                <a16:creationId xmlns:a16="http://schemas.microsoft.com/office/drawing/2014/main" id="{2F86E2C3-138D-48DA-B64C-138B24F53618}"/>
              </a:ext>
            </a:extLst>
          </p:cNvPr>
          <p:cNvSpPr>
            <a:spLocks noGrp="1"/>
          </p:cNvSpPr>
          <p:nvPr>
            <p:ph type="sldNum" sz="quarter" idx="11"/>
          </p:nvPr>
        </p:nvSpPr>
        <p:spPr/>
        <p:txBody>
          <a:bodyPr/>
          <a:lstStyle/>
          <a:p>
            <a:fld id="{A8B7E462-AA7B-4427-9DF0-5AABDADAA92F}" type="slidenum">
              <a:rPr lang="en-GB" smtClean="0"/>
              <a:pPr/>
              <a:t>‹#›</a:t>
            </a:fld>
            <a:endParaRPr lang="en-GB" dirty="0"/>
          </a:p>
        </p:txBody>
      </p:sp>
      <p:sp>
        <p:nvSpPr>
          <p:cNvPr id="11" name="Text Placeholder 14">
            <a:extLst>
              <a:ext uri="{FF2B5EF4-FFF2-40B4-BE49-F238E27FC236}">
                <a16:creationId xmlns:a16="http://schemas.microsoft.com/office/drawing/2014/main" id="{C520BB6F-1B0D-47AB-96FB-A2B22B5BCAA4}"/>
              </a:ext>
            </a:extLst>
          </p:cNvPr>
          <p:cNvSpPr>
            <a:spLocks noGrp="1"/>
          </p:cNvSpPr>
          <p:nvPr>
            <p:ph type="body" sz="quarter" idx="13"/>
          </p:nvPr>
        </p:nvSpPr>
        <p:spPr>
          <a:xfrm>
            <a:off x="635000" y="2060574"/>
            <a:ext cx="3444876" cy="4010024"/>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14">
            <a:extLst>
              <a:ext uri="{FF2B5EF4-FFF2-40B4-BE49-F238E27FC236}">
                <a16:creationId xmlns:a16="http://schemas.microsoft.com/office/drawing/2014/main" id="{D983AEEA-3222-4CE5-9CBD-AA22DE5DF671}"/>
              </a:ext>
            </a:extLst>
          </p:cNvPr>
          <p:cNvSpPr>
            <a:spLocks noGrp="1"/>
          </p:cNvSpPr>
          <p:nvPr>
            <p:ph type="body" sz="quarter" idx="18"/>
          </p:nvPr>
        </p:nvSpPr>
        <p:spPr>
          <a:xfrm>
            <a:off x="5524500" y="2060574"/>
            <a:ext cx="5943600" cy="4010025"/>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60447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White Divider Green Gradient">
    <p:bg>
      <p:bgPr>
        <a:solidFill>
          <a:srgbClr val="0F88C9"/>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1684463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75C24F7-4911-4BC0-8B6D-1E27D6F9F4E5}"/>
              </a:ext>
            </a:extLst>
          </p:cNvPr>
          <p:cNvSpPr/>
          <p:nvPr userDrawn="1"/>
        </p:nvSpPr>
        <p:spPr>
          <a:xfrm>
            <a:off x="7372238" y="0"/>
            <a:ext cx="4819762" cy="6858000"/>
          </a:xfrm>
          <a:prstGeom prst="rect">
            <a:avLst/>
          </a:prstGeom>
          <a:gradFill>
            <a:gsLst>
              <a:gs pos="100000">
                <a:schemeClr val="accent6"/>
              </a:gs>
              <a:gs pos="0">
                <a:srgbClr val="36B5AE"/>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phic 2">
            <a:extLst>
              <a:ext uri="{FF2B5EF4-FFF2-40B4-BE49-F238E27FC236}">
                <a16:creationId xmlns:a16="http://schemas.microsoft.com/office/drawing/2014/main" id="{F81D5B6F-BD23-4393-835F-6920B4351E8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0951903" cy="6858000"/>
          </a:xfrm>
          <a:prstGeom prst="rect">
            <a:avLst/>
          </a:prstGeom>
        </p:spPr>
      </p:pic>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Cadent Gas Ltd ©</a:t>
            </a:r>
            <a:endParaRPr lang="en-GB"/>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6FB95B07-44F7-4D14-9B6D-CCD9EF1A9B0B}"/>
              </a:ext>
            </a:extLst>
          </p:cNvPr>
          <p:cNvSpPr>
            <a:spLocks noGrp="1"/>
          </p:cNvSpPr>
          <p:nvPr>
            <p:ph type="ctrTitle"/>
          </p:nvPr>
        </p:nvSpPr>
        <p:spPr>
          <a:xfrm>
            <a:off x="515936" y="2622512"/>
            <a:ext cx="5958953" cy="1959013"/>
          </a:xfrm>
        </p:spPr>
        <p:txBody>
          <a:bodyPr vert="horz" anchor="t">
            <a:normAutofit/>
          </a:bodyPr>
          <a:lstStyle>
            <a:lvl1pPr algn="l">
              <a:lnSpc>
                <a:spcPct val="90000"/>
              </a:lnSpc>
              <a:defRPr sz="4000" spc="-150">
                <a:solidFill>
                  <a:schemeClr val="tx1"/>
                </a:solidFill>
                <a:latin typeface="+mj-lt"/>
              </a:defRPr>
            </a:lvl1pPr>
          </a:lstStyle>
          <a:p>
            <a:r>
              <a:rPr lang="en-US"/>
              <a:t>Click to edit Master title style</a:t>
            </a:r>
            <a:endParaRPr lang="en-GB"/>
          </a:p>
        </p:txBody>
      </p:sp>
      <p:sp>
        <p:nvSpPr>
          <p:cNvPr id="17" name="Text Placeholder 21">
            <a:extLst>
              <a:ext uri="{FF2B5EF4-FFF2-40B4-BE49-F238E27FC236}">
                <a16:creationId xmlns:a16="http://schemas.microsoft.com/office/drawing/2014/main" id="{D0F420B0-42D7-4302-93B2-A41DBE846AE0}"/>
              </a:ext>
            </a:extLst>
          </p:cNvPr>
          <p:cNvSpPr>
            <a:spLocks noGrp="1"/>
          </p:cNvSpPr>
          <p:nvPr>
            <p:ph type="body" sz="quarter" idx="12"/>
          </p:nvPr>
        </p:nvSpPr>
        <p:spPr>
          <a:xfrm>
            <a:off x="515936" y="4911726"/>
            <a:ext cx="5958953"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
        <p:nvSpPr>
          <p:cNvPr id="19" name="Text Placeholder 17">
            <a:extLst>
              <a:ext uri="{FF2B5EF4-FFF2-40B4-BE49-F238E27FC236}">
                <a16:creationId xmlns:a16="http://schemas.microsoft.com/office/drawing/2014/main" id="{467E46C0-0D4C-4229-8C0F-39BDF2C4F390}"/>
              </a:ext>
            </a:extLst>
          </p:cNvPr>
          <p:cNvSpPr>
            <a:spLocks noGrp="1"/>
          </p:cNvSpPr>
          <p:nvPr>
            <p:ph type="body" sz="quarter" idx="14" hasCustomPrompt="1"/>
          </p:nvPr>
        </p:nvSpPr>
        <p:spPr>
          <a:xfrm>
            <a:off x="520701" y="1931354"/>
            <a:ext cx="570669" cy="553998"/>
          </a:xfrm>
        </p:spPr>
        <p:txBody>
          <a:bodyPr wrap="none">
            <a:spAutoFit/>
          </a:bodyPr>
          <a:lstStyle>
            <a:lvl1pPr>
              <a:defRPr sz="4000" b="1"/>
            </a:lvl1pPr>
          </a:lstStyle>
          <a:p>
            <a:pPr lvl="0"/>
            <a:r>
              <a:rPr lang="en-US"/>
              <a:t>##</a:t>
            </a:r>
            <a:endParaRPr lang="en-GB"/>
          </a:p>
        </p:txBody>
      </p:sp>
    </p:spTree>
    <p:extLst>
      <p:ext uri="{BB962C8B-B14F-4D97-AF65-F5344CB8AC3E}">
        <p14:creationId xmlns:p14="http://schemas.microsoft.com/office/powerpoint/2010/main" val="424793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Agenda">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0C79BCC-E0EA-4791-A12C-52CA39DE2E42}"/>
              </a:ext>
            </a:extLst>
          </p:cNvPr>
          <p:cNvGraphicFramePr>
            <a:graphicFrameLocks noChangeAspect="1"/>
          </p:cNvGraphicFramePr>
          <p:nvPr userDrawn="1">
            <p:custDataLst>
              <p:tags r:id="rId1"/>
            </p:custDataLst>
            <p:extLst>
              <p:ext uri="{D42A27DB-BD31-4B8C-83A1-F6EECF244321}">
                <p14:modId xmlns:p14="http://schemas.microsoft.com/office/powerpoint/2010/main" val="2424550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10C79BCC-E0EA-4791-A12C-52CA39DE2E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C25AA08D-1ABB-49B1-B0DB-DAFABB5F3D46}"/>
              </a:ext>
            </a:extLst>
          </p:cNvPr>
          <p:cNvSpPr>
            <a:spLocks noGrp="1"/>
          </p:cNvSpPr>
          <p:nvPr>
            <p:ph type="title"/>
          </p:nvPr>
        </p:nvSpPr>
        <p:spPr/>
        <p:txBody>
          <a:bodyPr vert="horz"/>
          <a:lstStyle>
            <a:lvl1pPr>
              <a:defRPr>
                <a:solidFill>
                  <a:schemeClr val="accent1"/>
                </a:solidFill>
              </a:defRPr>
            </a:lvl1pPr>
          </a:lstStyle>
          <a:p>
            <a:r>
              <a:rPr lang="en-US"/>
              <a:t>Click to edit Master title style</a:t>
            </a:r>
            <a:endParaRPr lang="en-GB"/>
          </a:p>
        </p:txBody>
      </p:sp>
      <p:sp>
        <p:nvSpPr>
          <p:cNvPr id="10" name="Freeform: Shape 9">
            <a:extLst>
              <a:ext uri="{FF2B5EF4-FFF2-40B4-BE49-F238E27FC236}">
                <a16:creationId xmlns:a16="http://schemas.microsoft.com/office/drawing/2014/main" id="{0DFEDEDF-715D-485C-AF9E-616FAAF831C3}"/>
              </a:ext>
            </a:extLst>
          </p:cNvPr>
          <p:cNvSpPr/>
          <p:nvPr userDrawn="1"/>
        </p:nvSpPr>
        <p:spPr>
          <a:xfrm rot="5400000" flipH="1">
            <a:off x="3454397" y="-2044701"/>
            <a:ext cx="4838702" cy="11747497"/>
          </a:xfrm>
          <a:custGeom>
            <a:avLst/>
            <a:gdLst>
              <a:gd name="connsiteX0" fmla="*/ 19499 w 4838702"/>
              <a:gd name="connsiteY0" fmla="*/ 279879 h 11747497"/>
              <a:gd name="connsiteX1" fmla="*/ 15051 w 4838702"/>
              <a:gd name="connsiteY1" fmla="*/ 265258 h 11747497"/>
              <a:gd name="connsiteX2" fmla="*/ 16654 w 4838702"/>
              <a:gd name="connsiteY2" fmla="*/ 306841 h 11747497"/>
              <a:gd name="connsiteX3" fmla="*/ 19499 w 4838702"/>
              <a:gd name="connsiteY3" fmla="*/ 279879 h 11747497"/>
              <a:gd name="connsiteX4" fmla="*/ 31653 w 4838702"/>
              <a:gd name="connsiteY4" fmla="*/ 6254243 h 11747497"/>
              <a:gd name="connsiteX5" fmla="*/ 31135 w 4838702"/>
              <a:gd name="connsiteY5" fmla="*/ 6252848 h 11747497"/>
              <a:gd name="connsiteX6" fmla="*/ 31135 w 4838702"/>
              <a:gd name="connsiteY6" fmla="*/ 6323448 h 11747497"/>
              <a:gd name="connsiteX7" fmla="*/ 31239 w 4838702"/>
              <a:gd name="connsiteY7" fmla="*/ 6323549 h 11747497"/>
              <a:gd name="connsiteX8" fmla="*/ 32894 w 4838702"/>
              <a:gd name="connsiteY8" fmla="*/ 6670175 h 11747497"/>
              <a:gd name="connsiteX9" fmla="*/ 32170 w 4838702"/>
              <a:gd name="connsiteY9" fmla="*/ 6476120 h 11747497"/>
              <a:gd name="connsiteX10" fmla="*/ 31135 w 4838702"/>
              <a:gd name="connsiteY10" fmla="*/ 6435435 h 11747497"/>
              <a:gd name="connsiteX11" fmla="*/ 31135 w 4838702"/>
              <a:gd name="connsiteY11" fmla="*/ 6679249 h 11747497"/>
              <a:gd name="connsiteX12" fmla="*/ 32894 w 4838702"/>
              <a:gd name="connsiteY12" fmla="*/ 6670175 h 11747497"/>
              <a:gd name="connsiteX13" fmla="*/ 33308 w 4838702"/>
              <a:gd name="connsiteY13" fmla="*/ 6919775 h 11747497"/>
              <a:gd name="connsiteX14" fmla="*/ 31188 w 4838702"/>
              <a:gd name="connsiteY14" fmla="*/ 6919675 h 11747497"/>
              <a:gd name="connsiteX15" fmla="*/ 31188 w 4838702"/>
              <a:gd name="connsiteY15" fmla="*/ 6975019 h 11747497"/>
              <a:gd name="connsiteX16" fmla="*/ 33308 w 4838702"/>
              <a:gd name="connsiteY16" fmla="*/ 6919775 h 11747497"/>
              <a:gd name="connsiteX17" fmla="*/ 37342 w 4838702"/>
              <a:gd name="connsiteY17" fmla="*/ 4937539 h 11747497"/>
              <a:gd name="connsiteX18" fmla="*/ 32067 w 4838702"/>
              <a:gd name="connsiteY18" fmla="*/ 4909718 h 11747497"/>
              <a:gd name="connsiteX19" fmla="*/ 31135 w 4838702"/>
              <a:gd name="connsiteY19" fmla="*/ 4917097 h 11747497"/>
              <a:gd name="connsiteX20" fmla="*/ 31135 w 4838702"/>
              <a:gd name="connsiteY20" fmla="*/ 5039354 h 11747497"/>
              <a:gd name="connsiteX21" fmla="*/ 31291 w 4838702"/>
              <a:gd name="connsiteY21" fmla="*/ 5048329 h 11747497"/>
              <a:gd name="connsiteX22" fmla="*/ 31135 w 4838702"/>
              <a:gd name="connsiteY22" fmla="*/ 5087020 h 11747497"/>
              <a:gd name="connsiteX23" fmla="*/ 31135 w 4838702"/>
              <a:gd name="connsiteY23" fmla="*/ 5189533 h 11747497"/>
              <a:gd name="connsiteX24" fmla="*/ 35739 w 4838702"/>
              <a:gd name="connsiteY24" fmla="*/ 5214762 h 11747497"/>
              <a:gd name="connsiteX25" fmla="*/ 34342 w 4838702"/>
              <a:gd name="connsiteY25" fmla="*/ 5145456 h 11747497"/>
              <a:gd name="connsiteX26" fmla="*/ 37187 w 4838702"/>
              <a:gd name="connsiteY26" fmla="*/ 4965262 h 11747497"/>
              <a:gd name="connsiteX27" fmla="*/ 37342 w 4838702"/>
              <a:gd name="connsiteY27" fmla="*/ 4937539 h 11747497"/>
              <a:gd name="connsiteX28" fmla="*/ 37704 w 4838702"/>
              <a:gd name="connsiteY28" fmla="*/ 5838610 h 11747497"/>
              <a:gd name="connsiteX29" fmla="*/ 36411 w 4838702"/>
              <a:gd name="connsiteY29" fmla="*/ 5741483 h 11747497"/>
              <a:gd name="connsiteX30" fmla="*/ 31188 w 4838702"/>
              <a:gd name="connsiteY30" fmla="*/ 5728220 h 11747497"/>
              <a:gd name="connsiteX31" fmla="*/ 31188 w 4838702"/>
              <a:gd name="connsiteY31" fmla="*/ 5863739 h 11747497"/>
              <a:gd name="connsiteX32" fmla="*/ 37704 w 4838702"/>
              <a:gd name="connsiteY32" fmla="*/ 5838610 h 11747497"/>
              <a:gd name="connsiteX33" fmla="*/ 39463 w 4838702"/>
              <a:gd name="connsiteY33" fmla="*/ 5519806 h 11747497"/>
              <a:gd name="connsiteX34" fmla="*/ 32377 w 4838702"/>
              <a:gd name="connsiteY34" fmla="*/ 5491883 h 11747497"/>
              <a:gd name="connsiteX35" fmla="*/ 32118 w 4838702"/>
              <a:gd name="connsiteY35" fmla="*/ 5533367 h 11747497"/>
              <a:gd name="connsiteX36" fmla="*/ 39463 w 4838702"/>
              <a:gd name="connsiteY36" fmla="*/ 5519806 h 11747497"/>
              <a:gd name="connsiteX37" fmla="*/ 41169 w 4838702"/>
              <a:gd name="connsiteY37" fmla="*/ 3634597 h 11747497"/>
              <a:gd name="connsiteX38" fmla="*/ 31135 w 4838702"/>
              <a:gd name="connsiteY38" fmla="*/ 3635994 h 11747497"/>
              <a:gd name="connsiteX39" fmla="*/ 31135 w 4838702"/>
              <a:gd name="connsiteY39" fmla="*/ 3728135 h 11747497"/>
              <a:gd name="connsiteX40" fmla="*/ 41169 w 4838702"/>
              <a:gd name="connsiteY40" fmla="*/ 3634597 h 11747497"/>
              <a:gd name="connsiteX41" fmla="*/ 44085 w 4838702"/>
              <a:gd name="connsiteY41" fmla="*/ 6411589 h 11747497"/>
              <a:gd name="connsiteX42" fmla="*/ 43652 w 4838702"/>
              <a:gd name="connsiteY42" fmla="*/ 6379392 h 11747497"/>
              <a:gd name="connsiteX43" fmla="*/ 35894 w 4838702"/>
              <a:gd name="connsiteY43" fmla="*/ 6462360 h 11747497"/>
              <a:gd name="connsiteX44" fmla="*/ 39670 w 4838702"/>
              <a:gd name="connsiteY44" fmla="*/ 6434737 h 11747497"/>
              <a:gd name="connsiteX45" fmla="*/ 44085 w 4838702"/>
              <a:gd name="connsiteY45" fmla="*/ 6411589 h 11747497"/>
              <a:gd name="connsiteX46" fmla="*/ 45772 w 4838702"/>
              <a:gd name="connsiteY46" fmla="*/ 4185838 h 11747497"/>
              <a:gd name="connsiteX47" fmla="*/ 45462 w 4838702"/>
              <a:gd name="connsiteY47" fmla="*/ 4147359 h 11747497"/>
              <a:gd name="connsiteX48" fmla="*/ 41997 w 4838702"/>
              <a:gd name="connsiteY48" fmla="*/ 4119536 h 11747497"/>
              <a:gd name="connsiteX49" fmla="*/ 38583 w 4838702"/>
              <a:gd name="connsiteY49" fmla="*/ 4077954 h 11747497"/>
              <a:gd name="connsiteX50" fmla="*/ 38118 w 4838702"/>
              <a:gd name="connsiteY50" fmla="*/ 4161119 h 11747497"/>
              <a:gd name="connsiteX51" fmla="*/ 41583 w 4838702"/>
              <a:gd name="connsiteY51" fmla="*/ 4188941 h 11747497"/>
              <a:gd name="connsiteX52" fmla="*/ 37704 w 4838702"/>
              <a:gd name="connsiteY52" fmla="*/ 4230425 h 11747497"/>
              <a:gd name="connsiteX53" fmla="*/ 31135 w 4838702"/>
              <a:gd name="connsiteY53" fmla="*/ 4218259 h 11747497"/>
              <a:gd name="connsiteX54" fmla="*/ 31135 w 4838702"/>
              <a:gd name="connsiteY54" fmla="*/ 4258247 h 11747497"/>
              <a:gd name="connsiteX55" fmla="*/ 37652 w 4838702"/>
              <a:gd name="connsiteY55" fmla="*/ 4244386 h 11747497"/>
              <a:gd name="connsiteX56" fmla="*/ 40807 w 4838702"/>
              <a:gd name="connsiteY56" fmla="*/ 4327653 h 11747497"/>
              <a:gd name="connsiteX57" fmla="*/ 38997 w 4838702"/>
              <a:gd name="connsiteY57" fmla="*/ 4327553 h 11747497"/>
              <a:gd name="connsiteX58" fmla="*/ 36928 w 4838702"/>
              <a:gd name="connsiteY58" fmla="*/ 4369036 h 11747497"/>
              <a:gd name="connsiteX59" fmla="*/ 35997 w 4838702"/>
              <a:gd name="connsiteY59" fmla="*/ 4535369 h 11747497"/>
              <a:gd name="connsiteX60" fmla="*/ 35687 w 4838702"/>
              <a:gd name="connsiteY60" fmla="*/ 4590814 h 11747497"/>
              <a:gd name="connsiteX61" fmla="*/ 31135 w 4838702"/>
              <a:gd name="connsiteY61" fmla="*/ 4600387 h 11747497"/>
              <a:gd name="connsiteX62" fmla="*/ 31135 w 4838702"/>
              <a:gd name="connsiteY62" fmla="*/ 4799228 h 11747497"/>
              <a:gd name="connsiteX63" fmla="*/ 36307 w 4838702"/>
              <a:gd name="connsiteY63" fmla="*/ 4798829 h 11747497"/>
              <a:gd name="connsiteX64" fmla="*/ 38583 w 4838702"/>
              <a:gd name="connsiteY64" fmla="*/ 4715662 h 11747497"/>
              <a:gd name="connsiteX65" fmla="*/ 39049 w 4838702"/>
              <a:gd name="connsiteY65" fmla="*/ 4632497 h 11747497"/>
              <a:gd name="connsiteX66" fmla="*/ 39204 w 4838702"/>
              <a:gd name="connsiteY66" fmla="*/ 4604774 h 11747497"/>
              <a:gd name="connsiteX67" fmla="*/ 39514 w 4838702"/>
              <a:gd name="connsiteY67" fmla="*/ 4549329 h 11747497"/>
              <a:gd name="connsiteX68" fmla="*/ 39773 w 4838702"/>
              <a:gd name="connsiteY68" fmla="*/ 4507746 h 11747497"/>
              <a:gd name="connsiteX69" fmla="*/ 41894 w 4838702"/>
              <a:gd name="connsiteY69" fmla="*/ 4452302 h 11747497"/>
              <a:gd name="connsiteX70" fmla="*/ 43807 w 4838702"/>
              <a:gd name="connsiteY70" fmla="*/ 4438441 h 11747497"/>
              <a:gd name="connsiteX71" fmla="*/ 42307 w 4838702"/>
              <a:gd name="connsiteY71" fmla="*/ 4382897 h 11747497"/>
              <a:gd name="connsiteX72" fmla="*/ 44376 w 4838702"/>
              <a:gd name="connsiteY72" fmla="*/ 4341413 h 11747497"/>
              <a:gd name="connsiteX73" fmla="*/ 44686 w 4838702"/>
              <a:gd name="connsiteY73" fmla="*/ 4285970 h 11747497"/>
              <a:gd name="connsiteX74" fmla="*/ 44997 w 4838702"/>
              <a:gd name="connsiteY74" fmla="*/ 4230525 h 11747497"/>
              <a:gd name="connsiteX75" fmla="*/ 45772 w 4838702"/>
              <a:gd name="connsiteY75" fmla="*/ 4185838 h 11747497"/>
              <a:gd name="connsiteX76" fmla="*/ 46820 w 4838702"/>
              <a:gd name="connsiteY76" fmla="*/ 969580 h 11747497"/>
              <a:gd name="connsiteX77" fmla="*/ 44790 w 4838702"/>
              <a:gd name="connsiteY77" fmla="*/ 1097820 h 11747497"/>
              <a:gd name="connsiteX78" fmla="*/ 35635 w 4838702"/>
              <a:gd name="connsiteY78" fmla="*/ 1111382 h 11747497"/>
              <a:gd name="connsiteX79" fmla="*/ 39100 w 4838702"/>
              <a:gd name="connsiteY79" fmla="*/ 1139204 h 11747497"/>
              <a:gd name="connsiteX80" fmla="*/ 38325 w 4838702"/>
              <a:gd name="connsiteY80" fmla="*/ 1277814 h 11747497"/>
              <a:gd name="connsiteX81" fmla="*/ 32739 w 4838702"/>
              <a:gd name="connsiteY81" fmla="*/ 1305437 h 11747497"/>
              <a:gd name="connsiteX82" fmla="*/ 26895 w 4838702"/>
              <a:gd name="connsiteY82" fmla="*/ 1374543 h 11747497"/>
              <a:gd name="connsiteX83" fmla="*/ 25240 w 4838702"/>
              <a:gd name="connsiteY83" fmla="*/ 1346821 h 11747497"/>
              <a:gd name="connsiteX84" fmla="*/ 17895 w 4838702"/>
              <a:gd name="connsiteY84" fmla="*/ 1360482 h 11747497"/>
              <a:gd name="connsiteX85" fmla="*/ 14741 w 4838702"/>
              <a:gd name="connsiteY85" fmla="*/ 1277217 h 11747497"/>
              <a:gd name="connsiteX86" fmla="*/ 20482 w 4838702"/>
              <a:gd name="connsiteY86" fmla="*/ 1221871 h 11747497"/>
              <a:gd name="connsiteX87" fmla="*/ 22550 w 4838702"/>
              <a:gd name="connsiteY87" fmla="*/ 1180389 h 11747497"/>
              <a:gd name="connsiteX88" fmla="*/ 28136 w 4838702"/>
              <a:gd name="connsiteY88" fmla="*/ 1152865 h 11747497"/>
              <a:gd name="connsiteX89" fmla="*/ 27412 w 4838702"/>
              <a:gd name="connsiteY89" fmla="*/ 958710 h 11747497"/>
              <a:gd name="connsiteX90" fmla="*/ 40238 w 4838702"/>
              <a:gd name="connsiteY90" fmla="*/ 945248 h 11747497"/>
              <a:gd name="connsiteX91" fmla="*/ 40549 w 4838702"/>
              <a:gd name="connsiteY91" fmla="*/ 889803 h 11747497"/>
              <a:gd name="connsiteX92" fmla="*/ 46820 w 4838702"/>
              <a:gd name="connsiteY92" fmla="*/ 969580 h 11747497"/>
              <a:gd name="connsiteX93" fmla="*/ 48307 w 4838702"/>
              <a:gd name="connsiteY93" fmla="*/ 3967364 h 11747497"/>
              <a:gd name="connsiteX94" fmla="*/ 45100 w 4838702"/>
              <a:gd name="connsiteY94" fmla="*/ 3898058 h 11747497"/>
              <a:gd name="connsiteX95" fmla="*/ 31135 w 4838702"/>
              <a:gd name="connsiteY95" fmla="*/ 3891576 h 11747497"/>
              <a:gd name="connsiteX96" fmla="*/ 31135 w 4838702"/>
              <a:gd name="connsiteY96" fmla="*/ 3922988 h 11747497"/>
              <a:gd name="connsiteX97" fmla="*/ 37601 w 4838702"/>
              <a:gd name="connsiteY97" fmla="*/ 3939342 h 11747497"/>
              <a:gd name="connsiteX98" fmla="*/ 39566 w 4838702"/>
              <a:gd name="connsiteY98" fmla="*/ 3911720 h 11747497"/>
              <a:gd name="connsiteX99" fmla="*/ 41169 w 4838702"/>
              <a:gd name="connsiteY99" fmla="*/ 3953403 h 11747497"/>
              <a:gd name="connsiteX100" fmla="*/ 32067 w 4838702"/>
              <a:gd name="connsiteY100" fmla="*/ 3953104 h 11747497"/>
              <a:gd name="connsiteX101" fmla="*/ 33308 w 4838702"/>
              <a:gd name="connsiteY101" fmla="*/ 4050231 h 11747497"/>
              <a:gd name="connsiteX102" fmla="*/ 42462 w 4838702"/>
              <a:gd name="connsiteY102" fmla="*/ 4036569 h 11747497"/>
              <a:gd name="connsiteX103" fmla="*/ 48307 w 4838702"/>
              <a:gd name="connsiteY103" fmla="*/ 3967364 h 11747497"/>
              <a:gd name="connsiteX104" fmla="*/ 48617 w 4838702"/>
              <a:gd name="connsiteY104" fmla="*/ 5506143 h 11747497"/>
              <a:gd name="connsiteX105" fmla="*/ 46341 w 4838702"/>
              <a:gd name="connsiteY105" fmla="*/ 5589310 h 11747497"/>
              <a:gd name="connsiteX106" fmla="*/ 48617 w 4838702"/>
              <a:gd name="connsiteY106" fmla="*/ 5506143 h 11747497"/>
              <a:gd name="connsiteX107" fmla="*/ 49703 w 4838702"/>
              <a:gd name="connsiteY107" fmla="*/ 557237 h 11747497"/>
              <a:gd name="connsiteX108" fmla="*/ 49289 w 4838702"/>
              <a:gd name="connsiteY108" fmla="*/ 626543 h 11747497"/>
              <a:gd name="connsiteX109" fmla="*/ 44272 w 4838702"/>
              <a:gd name="connsiteY109" fmla="*/ 557038 h 11747497"/>
              <a:gd name="connsiteX110" fmla="*/ 49910 w 4838702"/>
              <a:gd name="connsiteY110" fmla="*/ 1791073 h 11747497"/>
              <a:gd name="connsiteX111" fmla="*/ 42669 w 4838702"/>
              <a:gd name="connsiteY111" fmla="*/ 1790874 h 11747497"/>
              <a:gd name="connsiteX112" fmla="*/ 48668 w 4838702"/>
              <a:gd name="connsiteY112" fmla="*/ 1694046 h 11747497"/>
              <a:gd name="connsiteX113" fmla="*/ 49910 w 4838702"/>
              <a:gd name="connsiteY113" fmla="*/ 1791073 h 11747497"/>
              <a:gd name="connsiteX114" fmla="*/ 50220 w 4838702"/>
              <a:gd name="connsiteY114" fmla="*/ 779014 h 11747497"/>
              <a:gd name="connsiteX115" fmla="*/ 44324 w 4838702"/>
              <a:gd name="connsiteY115" fmla="*/ 862082 h 11747497"/>
              <a:gd name="connsiteX116" fmla="*/ 44583 w 4838702"/>
              <a:gd name="connsiteY116" fmla="*/ 820499 h 11747497"/>
              <a:gd name="connsiteX117" fmla="*/ 37601 w 4838702"/>
              <a:gd name="connsiteY117" fmla="*/ 764754 h 11747497"/>
              <a:gd name="connsiteX118" fmla="*/ 46755 w 4838702"/>
              <a:gd name="connsiteY118" fmla="*/ 751193 h 11747497"/>
              <a:gd name="connsiteX119" fmla="*/ 43342 w 4838702"/>
              <a:gd name="connsiteY119" fmla="*/ 709510 h 11747497"/>
              <a:gd name="connsiteX120" fmla="*/ 47220 w 4838702"/>
              <a:gd name="connsiteY120" fmla="*/ 668027 h 11747497"/>
              <a:gd name="connsiteX121" fmla="*/ 48461 w 4838702"/>
              <a:gd name="connsiteY121" fmla="*/ 765054 h 11747497"/>
              <a:gd name="connsiteX122" fmla="*/ 50220 w 4838702"/>
              <a:gd name="connsiteY122" fmla="*/ 779014 h 11747497"/>
              <a:gd name="connsiteX123" fmla="*/ 52600 w 4838702"/>
              <a:gd name="connsiteY123" fmla="*/ 1638701 h 11747497"/>
              <a:gd name="connsiteX124" fmla="*/ 45151 w 4838702"/>
              <a:gd name="connsiteY124" fmla="*/ 1666224 h 11747497"/>
              <a:gd name="connsiteX125" fmla="*/ 45411 w 4838702"/>
              <a:gd name="connsiteY125" fmla="*/ 1624641 h 11747497"/>
              <a:gd name="connsiteX126" fmla="*/ 52600 w 4838702"/>
              <a:gd name="connsiteY126" fmla="*/ 1638701 h 11747497"/>
              <a:gd name="connsiteX127" fmla="*/ 53498 w 4838702"/>
              <a:gd name="connsiteY127" fmla="*/ 424460 h 11747497"/>
              <a:gd name="connsiteX128" fmla="*/ 50323 w 4838702"/>
              <a:gd name="connsiteY128" fmla="*/ 446448 h 11747497"/>
              <a:gd name="connsiteX129" fmla="*/ 50582 w 4838702"/>
              <a:gd name="connsiteY129" fmla="*/ 404866 h 11747497"/>
              <a:gd name="connsiteX130" fmla="*/ 53498 w 4838702"/>
              <a:gd name="connsiteY130" fmla="*/ 424460 h 11747497"/>
              <a:gd name="connsiteX131" fmla="*/ 57719 w 4838702"/>
              <a:gd name="connsiteY131" fmla="*/ 2955803 h 11747497"/>
              <a:gd name="connsiteX132" fmla="*/ 55134 w 4838702"/>
              <a:gd name="connsiteY132" fmla="*/ 3094315 h 11747497"/>
              <a:gd name="connsiteX133" fmla="*/ 40704 w 4838702"/>
              <a:gd name="connsiteY133" fmla="*/ 3080054 h 11747497"/>
              <a:gd name="connsiteX134" fmla="*/ 44428 w 4838702"/>
              <a:gd name="connsiteY134" fmla="*/ 3052532 h 11747497"/>
              <a:gd name="connsiteX135" fmla="*/ 43031 w 4838702"/>
              <a:gd name="connsiteY135" fmla="*/ 2983127 h 11747497"/>
              <a:gd name="connsiteX136" fmla="*/ 47376 w 4838702"/>
              <a:gd name="connsiteY136" fmla="*/ 2858477 h 11747497"/>
              <a:gd name="connsiteX137" fmla="*/ 50789 w 4838702"/>
              <a:gd name="connsiteY137" fmla="*/ 2900160 h 11747497"/>
              <a:gd name="connsiteX138" fmla="*/ 57719 w 4838702"/>
              <a:gd name="connsiteY138" fmla="*/ 2955803 h 11747497"/>
              <a:gd name="connsiteX139" fmla="*/ 58429 w 4838702"/>
              <a:gd name="connsiteY139" fmla="*/ 1481566 h 11747497"/>
              <a:gd name="connsiteX140" fmla="*/ 49548 w 4838702"/>
              <a:gd name="connsiteY140" fmla="*/ 1541374 h 11747497"/>
              <a:gd name="connsiteX141" fmla="*/ 51668 w 4838702"/>
              <a:gd name="connsiteY141" fmla="*/ 1486030 h 11747497"/>
              <a:gd name="connsiteX142" fmla="*/ 57254 w 4838702"/>
              <a:gd name="connsiteY142" fmla="*/ 1458507 h 11747497"/>
              <a:gd name="connsiteX143" fmla="*/ 58429 w 4838702"/>
              <a:gd name="connsiteY143" fmla="*/ 1481566 h 11747497"/>
              <a:gd name="connsiteX144" fmla="*/ 59685 w 4838702"/>
              <a:gd name="connsiteY144" fmla="*/ 3260748 h 11747497"/>
              <a:gd name="connsiteX145" fmla="*/ 53996 w 4838702"/>
              <a:gd name="connsiteY145" fmla="*/ 3288370 h 11747497"/>
              <a:gd name="connsiteX146" fmla="*/ 51720 w 4838702"/>
              <a:gd name="connsiteY146" fmla="*/ 3371436 h 11747497"/>
              <a:gd name="connsiteX147" fmla="*/ 33722 w 4838702"/>
              <a:gd name="connsiteY147" fmla="*/ 3343215 h 11747497"/>
              <a:gd name="connsiteX148" fmla="*/ 37911 w 4838702"/>
              <a:gd name="connsiteY148" fmla="*/ 3246288 h 11747497"/>
              <a:gd name="connsiteX149" fmla="*/ 48824 w 4838702"/>
              <a:gd name="connsiteY149" fmla="*/ 3246587 h 11747497"/>
              <a:gd name="connsiteX150" fmla="*/ 41738 w 4838702"/>
              <a:gd name="connsiteY150" fmla="*/ 3218665 h 11747497"/>
              <a:gd name="connsiteX151" fmla="*/ 45617 w 4838702"/>
              <a:gd name="connsiteY151" fmla="*/ 3177182 h 11747497"/>
              <a:gd name="connsiteX152" fmla="*/ 42152 w 4838702"/>
              <a:gd name="connsiteY152" fmla="*/ 3149360 h 11747497"/>
              <a:gd name="connsiteX153" fmla="*/ 45721 w 4838702"/>
              <a:gd name="connsiteY153" fmla="*/ 3163321 h 11747497"/>
              <a:gd name="connsiteX154" fmla="*/ 54875 w 4838702"/>
              <a:gd name="connsiteY154" fmla="*/ 3149660 h 11747497"/>
              <a:gd name="connsiteX155" fmla="*/ 54306 w 4838702"/>
              <a:gd name="connsiteY155" fmla="*/ 3246687 h 11747497"/>
              <a:gd name="connsiteX156" fmla="*/ 59685 w 4838702"/>
              <a:gd name="connsiteY156" fmla="*/ 3260748 h 11747497"/>
              <a:gd name="connsiteX157" fmla="*/ 64288 w 4838702"/>
              <a:gd name="connsiteY157" fmla="*/ 5950197 h 11747497"/>
              <a:gd name="connsiteX158" fmla="*/ 63978 w 4838702"/>
              <a:gd name="connsiteY158" fmla="*/ 6005642 h 11747497"/>
              <a:gd name="connsiteX159" fmla="*/ 60357 w 4838702"/>
              <a:gd name="connsiteY159" fmla="*/ 6005541 h 11747497"/>
              <a:gd name="connsiteX160" fmla="*/ 60668 w 4838702"/>
              <a:gd name="connsiteY160" fmla="*/ 5950097 h 11747497"/>
              <a:gd name="connsiteX161" fmla="*/ 65271 w 4838702"/>
              <a:gd name="connsiteY161" fmla="*/ 2914321 h 11747497"/>
              <a:gd name="connsiteX162" fmla="*/ 61858 w 4838702"/>
              <a:gd name="connsiteY162" fmla="*/ 2872636 h 11747497"/>
              <a:gd name="connsiteX163" fmla="*/ 65271 w 4838702"/>
              <a:gd name="connsiteY163" fmla="*/ 2914321 h 11747497"/>
              <a:gd name="connsiteX164" fmla="*/ 65322 w 4838702"/>
              <a:gd name="connsiteY164" fmla="*/ 6407713 h 11747497"/>
              <a:gd name="connsiteX165" fmla="*/ 61754 w 4838702"/>
              <a:gd name="connsiteY165" fmla="*/ 6393752 h 11747497"/>
              <a:gd name="connsiteX166" fmla="*/ 61909 w 4838702"/>
              <a:gd name="connsiteY166" fmla="*/ 6366030 h 11747497"/>
              <a:gd name="connsiteX167" fmla="*/ 56478 w 4838702"/>
              <a:gd name="connsiteY167" fmla="*/ 6365830 h 11747497"/>
              <a:gd name="connsiteX168" fmla="*/ 56220 w 4838702"/>
              <a:gd name="connsiteY168" fmla="*/ 6407413 h 11747497"/>
              <a:gd name="connsiteX169" fmla="*/ 65168 w 4838702"/>
              <a:gd name="connsiteY169" fmla="*/ 6435435 h 11747497"/>
              <a:gd name="connsiteX170" fmla="*/ 65322 w 4838702"/>
              <a:gd name="connsiteY170" fmla="*/ 6407713 h 11747497"/>
              <a:gd name="connsiteX171" fmla="*/ 66616 w 4838702"/>
              <a:gd name="connsiteY171" fmla="*/ 3954101 h 11747497"/>
              <a:gd name="connsiteX172" fmla="*/ 60512 w 4838702"/>
              <a:gd name="connsiteY172" fmla="*/ 4064789 h 11747497"/>
              <a:gd name="connsiteX173" fmla="*/ 66616 w 4838702"/>
              <a:gd name="connsiteY173" fmla="*/ 3954101 h 11747497"/>
              <a:gd name="connsiteX174" fmla="*/ 67120 w 4838702"/>
              <a:gd name="connsiteY174" fmla="*/ 2695011 h 11747497"/>
              <a:gd name="connsiteX175" fmla="*/ 66357 w 4838702"/>
              <a:gd name="connsiteY175" fmla="*/ 2720265 h 11747497"/>
              <a:gd name="connsiteX176" fmla="*/ 55392 w 4838702"/>
              <a:gd name="connsiteY176" fmla="*/ 2733827 h 11747497"/>
              <a:gd name="connsiteX177" fmla="*/ 66150 w 4838702"/>
              <a:gd name="connsiteY177" fmla="*/ 2761847 h 11747497"/>
              <a:gd name="connsiteX178" fmla="*/ 47686 w 4838702"/>
              <a:gd name="connsiteY178" fmla="*/ 2802933 h 11747497"/>
              <a:gd name="connsiteX179" fmla="*/ 48410 w 4838702"/>
              <a:gd name="connsiteY179" fmla="*/ 2678183 h 11747497"/>
              <a:gd name="connsiteX180" fmla="*/ 53789 w 4838702"/>
              <a:gd name="connsiteY180" fmla="*/ 2692243 h 11747497"/>
              <a:gd name="connsiteX181" fmla="*/ 57978 w 4838702"/>
              <a:gd name="connsiteY181" fmla="*/ 2595316 h 11747497"/>
              <a:gd name="connsiteX182" fmla="*/ 65219 w 4838702"/>
              <a:gd name="connsiteY182" fmla="*/ 2595515 h 11747497"/>
              <a:gd name="connsiteX183" fmla="*/ 66823 w 4838702"/>
              <a:gd name="connsiteY183" fmla="*/ 2637098 h 11747497"/>
              <a:gd name="connsiteX184" fmla="*/ 64857 w 4838702"/>
              <a:gd name="connsiteY184" fmla="*/ 2664821 h 11747497"/>
              <a:gd name="connsiteX185" fmla="*/ 67120 w 4838702"/>
              <a:gd name="connsiteY185" fmla="*/ 2695011 h 11747497"/>
              <a:gd name="connsiteX186" fmla="*/ 67857 w 4838702"/>
              <a:gd name="connsiteY186" fmla="*/ 3413519 h 11747497"/>
              <a:gd name="connsiteX187" fmla="*/ 64133 w 4838702"/>
              <a:gd name="connsiteY187" fmla="*/ 3427280 h 11747497"/>
              <a:gd name="connsiteX188" fmla="*/ 67857 w 4838702"/>
              <a:gd name="connsiteY188" fmla="*/ 3413519 h 11747497"/>
              <a:gd name="connsiteX189" fmla="*/ 68484 w 4838702"/>
              <a:gd name="connsiteY189" fmla="*/ 3869314 h 11747497"/>
              <a:gd name="connsiteX190" fmla="*/ 65012 w 4838702"/>
              <a:gd name="connsiteY190" fmla="*/ 3912419 h 11747497"/>
              <a:gd name="connsiteX191" fmla="*/ 63616 w 4838702"/>
              <a:gd name="connsiteY191" fmla="*/ 3843113 h 11747497"/>
              <a:gd name="connsiteX192" fmla="*/ 68484 w 4838702"/>
              <a:gd name="connsiteY192" fmla="*/ 3869314 h 11747497"/>
              <a:gd name="connsiteX193" fmla="*/ 71425 w 4838702"/>
              <a:gd name="connsiteY193" fmla="*/ 5978118 h 11747497"/>
              <a:gd name="connsiteX194" fmla="*/ 68425 w 4838702"/>
              <a:gd name="connsiteY194" fmla="*/ 5867130 h 11747497"/>
              <a:gd name="connsiteX195" fmla="*/ 63047 w 4838702"/>
              <a:gd name="connsiteY195" fmla="*/ 5853069 h 11747497"/>
              <a:gd name="connsiteX196" fmla="*/ 63822 w 4838702"/>
              <a:gd name="connsiteY196" fmla="*/ 5714459 h 11747497"/>
              <a:gd name="connsiteX197" fmla="*/ 60719 w 4838702"/>
              <a:gd name="connsiteY197" fmla="*/ 5617331 h 11747497"/>
              <a:gd name="connsiteX198" fmla="*/ 60616 w 4838702"/>
              <a:gd name="connsiteY198" fmla="*/ 5631192 h 11747497"/>
              <a:gd name="connsiteX199" fmla="*/ 55392 w 4838702"/>
              <a:gd name="connsiteY199" fmla="*/ 5908314 h 11747497"/>
              <a:gd name="connsiteX200" fmla="*/ 58702 w 4838702"/>
              <a:gd name="connsiteY200" fmla="*/ 5963858 h 11747497"/>
              <a:gd name="connsiteX201" fmla="*/ 54513 w 4838702"/>
              <a:gd name="connsiteY201" fmla="*/ 6060787 h 11747497"/>
              <a:gd name="connsiteX202" fmla="*/ 67081 w 4838702"/>
              <a:gd name="connsiteY202" fmla="*/ 6088908 h 11747497"/>
              <a:gd name="connsiteX203" fmla="*/ 71425 w 4838702"/>
              <a:gd name="connsiteY203" fmla="*/ 5978118 h 11747497"/>
              <a:gd name="connsiteX204" fmla="*/ 73475 w 4838702"/>
              <a:gd name="connsiteY204" fmla="*/ 7032496 h 11747497"/>
              <a:gd name="connsiteX205" fmla="*/ 72770 w 4838702"/>
              <a:gd name="connsiteY205" fmla="*/ 7017799 h 11747497"/>
              <a:gd name="connsiteX206" fmla="*/ 72925 w 4838702"/>
              <a:gd name="connsiteY206" fmla="*/ 6990077 h 11747497"/>
              <a:gd name="connsiteX207" fmla="*/ 71322 w 4838702"/>
              <a:gd name="connsiteY207" fmla="*/ 6948394 h 11747497"/>
              <a:gd name="connsiteX208" fmla="*/ 68012 w 4838702"/>
              <a:gd name="connsiteY208" fmla="*/ 6892850 h 11747497"/>
              <a:gd name="connsiteX209" fmla="*/ 60409 w 4838702"/>
              <a:gd name="connsiteY209" fmla="*/ 6948095 h 11747497"/>
              <a:gd name="connsiteX210" fmla="*/ 59323 w 4838702"/>
              <a:gd name="connsiteY210" fmla="*/ 7142151 h 11747497"/>
              <a:gd name="connsiteX211" fmla="*/ 55910 w 4838702"/>
              <a:gd name="connsiteY211" fmla="*/ 7100468 h 11747497"/>
              <a:gd name="connsiteX212" fmla="*/ 53116 w 4838702"/>
              <a:gd name="connsiteY212" fmla="*/ 7266901 h 11747497"/>
              <a:gd name="connsiteX213" fmla="*/ 58857 w 4838702"/>
              <a:gd name="connsiteY213" fmla="*/ 7211555 h 11747497"/>
              <a:gd name="connsiteX214" fmla="*/ 64236 w 4838702"/>
              <a:gd name="connsiteY214" fmla="*/ 7225616 h 11747497"/>
              <a:gd name="connsiteX215" fmla="*/ 71270 w 4838702"/>
              <a:gd name="connsiteY215" fmla="*/ 7267398 h 11747497"/>
              <a:gd name="connsiteX216" fmla="*/ 70029 w 4838702"/>
              <a:gd name="connsiteY216" fmla="*/ 7170271 h 11747497"/>
              <a:gd name="connsiteX217" fmla="*/ 71943 w 4838702"/>
              <a:gd name="connsiteY217" fmla="*/ 7156410 h 11747497"/>
              <a:gd name="connsiteX218" fmla="*/ 70443 w 4838702"/>
              <a:gd name="connsiteY218" fmla="*/ 7100967 h 11747497"/>
              <a:gd name="connsiteX219" fmla="*/ 72357 w 4838702"/>
              <a:gd name="connsiteY219" fmla="*/ 7087105 h 11747497"/>
              <a:gd name="connsiteX220" fmla="*/ 72511 w 4838702"/>
              <a:gd name="connsiteY220" fmla="*/ 7059383 h 11747497"/>
              <a:gd name="connsiteX221" fmla="*/ 73475 w 4838702"/>
              <a:gd name="connsiteY221" fmla="*/ 7032496 h 11747497"/>
              <a:gd name="connsiteX222" fmla="*/ 75046 w 4838702"/>
              <a:gd name="connsiteY222" fmla="*/ 900673 h 11747497"/>
              <a:gd name="connsiteX223" fmla="*/ 72046 w 4838702"/>
              <a:gd name="connsiteY223" fmla="*/ 969180 h 11747497"/>
              <a:gd name="connsiteX224" fmla="*/ 72098 w 4838702"/>
              <a:gd name="connsiteY224" fmla="*/ 1043173 h 11747497"/>
              <a:gd name="connsiteX225" fmla="*/ 73598 w 4838702"/>
              <a:gd name="connsiteY225" fmla="*/ 1070297 h 11747497"/>
              <a:gd name="connsiteX226" fmla="*/ 72718 w 4838702"/>
              <a:gd name="connsiteY226" fmla="*/ 1138904 h 11747497"/>
              <a:gd name="connsiteX227" fmla="*/ 69563 w 4838702"/>
              <a:gd name="connsiteY227" fmla="*/ 1149674 h 11747497"/>
              <a:gd name="connsiteX228" fmla="*/ 69667 w 4838702"/>
              <a:gd name="connsiteY228" fmla="*/ 1195345 h 11747497"/>
              <a:gd name="connsiteX229" fmla="*/ 67702 w 4838702"/>
              <a:gd name="connsiteY229" fmla="*/ 1223068 h 11747497"/>
              <a:gd name="connsiteX230" fmla="*/ 65788 w 4838702"/>
              <a:gd name="connsiteY230" fmla="*/ 1236929 h 11747497"/>
              <a:gd name="connsiteX231" fmla="*/ 65478 w 4838702"/>
              <a:gd name="connsiteY231" fmla="*/ 1292374 h 11747497"/>
              <a:gd name="connsiteX232" fmla="*/ 59167 w 4838702"/>
              <a:gd name="connsiteY232" fmla="*/ 1444746 h 11747497"/>
              <a:gd name="connsiteX233" fmla="*/ 51979 w 4838702"/>
              <a:gd name="connsiteY233" fmla="*/ 1430685 h 11747497"/>
              <a:gd name="connsiteX234" fmla="*/ 54823 w 4838702"/>
              <a:gd name="connsiteY234" fmla="*/ 1250591 h 11747497"/>
              <a:gd name="connsiteX235" fmla="*/ 58702 w 4838702"/>
              <a:gd name="connsiteY235" fmla="*/ 1222669 h 11747497"/>
              <a:gd name="connsiteX236" fmla="*/ 60512 w 4838702"/>
              <a:gd name="connsiteY236" fmla="*/ 1222768 h 11747497"/>
              <a:gd name="connsiteX237" fmla="*/ 65012 w 4838702"/>
              <a:gd name="connsiteY237" fmla="*/ 961802 h 11747497"/>
              <a:gd name="connsiteX238" fmla="*/ 73701 w 4838702"/>
              <a:gd name="connsiteY238" fmla="*/ 850115 h 11747497"/>
              <a:gd name="connsiteX239" fmla="*/ 75046 w 4838702"/>
              <a:gd name="connsiteY239" fmla="*/ 900673 h 11747497"/>
              <a:gd name="connsiteX240" fmla="*/ 75356 w 4838702"/>
              <a:gd name="connsiteY240" fmla="*/ 6241679 h 11747497"/>
              <a:gd name="connsiteX241" fmla="*/ 68736 w 4838702"/>
              <a:gd name="connsiteY241" fmla="*/ 6130591 h 11747497"/>
              <a:gd name="connsiteX242" fmla="*/ 57823 w 4838702"/>
              <a:gd name="connsiteY242" fmla="*/ 6130291 h 11747497"/>
              <a:gd name="connsiteX243" fmla="*/ 55754 w 4838702"/>
              <a:gd name="connsiteY243" fmla="*/ 6171776 h 11747497"/>
              <a:gd name="connsiteX244" fmla="*/ 48617 w 4838702"/>
              <a:gd name="connsiteY244" fmla="*/ 6143853 h 11747497"/>
              <a:gd name="connsiteX245" fmla="*/ 46393 w 4838702"/>
              <a:gd name="connsiteY245" fmla="*/ 6531964 h 11747497"/>
              <a:gd name="connsiteX246" fmla="*/ 53427 w 4838702"/>
              <a:gd name="connsiteY246" fmla="*/ 6573746 h 11747497"/>
              <a:gd name="connsiteX247" fmla="*/ 52341 w 4838702"/>
              <a:gd name="connsiteY247" fmla="*/ 6448997 h 11747497"/>
              <a:gd name="connsiteX248" fmla="*/ 54565 w 4838702"/>
              <a:gd name="connsiteY248" fmla="*/ 6379691 h 11747497"/>
              <a:gd name="connsiteX249" fmla="*/ 56944 w 4838702"/>
              <a:gd name="connsiteY249" fmla="*/ 6282664 h 11747497"/>
              <a:gd name="connsiteX250" fmla="*/ 58392 w 4838702"/>
              <a:gd name="connsiteY250" fmla="*/ 6352069 h 11747497"/>
              <a:gd name="connsiteX251" fmla="*/ 72925 w 4838702"/>
              <a:gd name="connsiteY251" fmla="*/ 6352468 h 11747497"/>
              <a:gd name="connsiteX252" fmla="*/ 75356 w 4838702"/>
              <a:gd name="connsiteY252" fmla="*/ 6241679 h 11747497"/>
              <a:gd name="connsiteX253" fmla="*/ 78356 w 4838702"/>
              <a:gd name="connsiteY253" fmla="*/ 2207703 h 11747497"/>
              <a:gd name="connsiteX254" fmla="*/ 76287 w 4838702"/>
              <a:gd name="connsiteY254" fmla="*/ 2249287 h 11747497"/>
              <a:gd name="connsiteX255" fmla="*/ 72667 w 4838702"/>
              <a:gd name="connsiteY255" fmla="*/ 2249188 h 11747497"/>
              <a:gd name="connsiteX256" fmla="*/ 70546 w 4838702"/>
              <a:gd name="connsiteY256" fmla="*/ 2304532 h 11747497"/>
              <a:gd name="connsiteX257" fmla="*/ 77787 w 4838702"/>
              <a:gd name="connsiteY257" fmla="*/ 2304732 h 11747497"/>
              <a:gd name="connsiteX258" fmla="*/ 70287 w 4838702"/>
              <a:gd name="connsiteY258" fmla="*/ 2346115 h 11747497"/>
              <a:gd name="connsiteX259" fmla="*/ 68064 w 4838702"/>
              <a:gd name="connsiteY259" fmla="*/ 2415421 h 11747497"/>
              <a:gd name="connsiteX260" fmla="*/ 60822 w 4838702"/>
              <a:gd name="connsiteY260" fmla="*/ 2415221 h 11747497"/>
              <a:gd name="connsiteX261" fmla="*/ 57668 w 4838702"/>
              <a:gd name="connsiteY261" fmla="*/ 2331955 h 11747497"/>
              <a:gd name="connsiteX262" fmla="*/ 53582 w 4838702"/>
              <a:gd name="connsiteY262" fmla="*/ 2415023 h 11747497"/>
              <a:gd name="connsiteX263" fmla="*/ 62478 w 4838702"/>
              <a:gd name="connsiteY263" fmla="*/ 2442943 h 11747497"/>
              <a:gd name="connsiteX264" fmla="*/ 60409 w 4838702"/>
              <a:gd name="connsiteY264" fmla="*/ 2484527 h 11747497"/>
              <a:gd name="connsiteX265" fmla="*/ 69357 w 4838702"/>
              <a:gd name="connsiteY265" fmla="*/ 2512547 h 11747497"/>
              <a:gd name="connsiteX266" fmla="*/ 56582 w 4838702"/>
              <a:gd name="connsiteY266" fmla="*/ 2526010 h 11747497"/>
              <a:gd name="connsiteX267" fmla="*/ 48927 w 4838702"/>
              <a:gd name="connsiteY267" fmla="*/ 2595116 h 11747497"/>
              <a:gd name="connsiteX268" fmla="*/ 49600 w 4838702"/>
              <a:gd name="connsiteY268" fmla="*/ 2470267 h 11747497"/>
              <a:gd name="connsiteX269" fmla="*/ 49755 w 4838702"/>
              <a:gd name="connsiteY269" fmla="*/ 2442545 h 11747497"/>
              <a:gd name="connsiteX270" fmla="*/ 51720 w 4838702"/>
              <a:gd name="connsiteY270" fmla="*/ 2415719 h 11747497"/>
              <a:gd name="connsiteX271" fmla="*/ 50323 w 4838702"/>
              <a:gd name="connsiteY271" fmla="*/ 2345516 h 11747497"/>
              <a:gd name="connsiteX272" fmla="*/ 49237 w 4838702"/>
              <a:gd name="connsiteY272" fmla="*/ 2220767 h 11747497"/>
              <a:gd name="connsiteX273" fmla="*/ 51203 w 4838702"/>
              <a:gd name="connsiteY273" fmla="*/ 2193045 h 11747497"/>
              <a:gd name="connsiteX274" fmla="*/ 60461 w 4838702"/>
              <a:gd name="connsiteY274" fmla="*/ 2165523 h 11747497"/>
              <a:gd name="connsiteX275" fmla="*/ 64805 w 4838702"/>
              <a:gd name="connsiteY275" fmla="*/ 2040873 h 11747497"/>
              <a:gd name="connsiteX276" fmla="*/ 61961 w 4838702"/>
              <a:gd name="connsiteY276" fmla="*/ 2221067 h 11747497"/>
              <a:gd name="connsiteX277" fmla="*/ 67391 w 4838702"/>
              <a:gd name="connsiteY277" fmla="*/ 2221265 h 11747497"/>
              <a:gd name="connsiteX278" fmla="*/ 67805 w 4838702"/>
              <a:gd name="connsiteY278" fmla="*/ 2151961 h 11747497"/>
              <a:gd name="connsiteX279" fmla="*/ 76959 w 4838702"/>
              <a:gd name="connsiteY279" fmla="*/ 2138399 h 11747497"/>
              <a:gd name="connsiteX280" fmla="*/ 78356 w 4838702"/>
              <a:gd name="connsiteY280" fmla="*/ 2207703 h 11747497"/>
              <a:gd name="connsiteX281" fmla="*/ 78459 w 4838702"/>
              <a:gd name="connsiteY281" fmla="*/ 3150357 h 11747497"/>
              <a:gd name="connsiteX282" fmla="*/ 78045 w 4838702"/>
              <a:gd name="connsiteY282" fmla="*/ 3219663 h 11747497"/>
              <a:gd name="connsiteX283" fmla="*/ 68891 w 4838702"/>
              <a:gd name="connsiteY283" fmla="*/ 3233324 h 11747497"/>
              <a:gd name="connsiteX284" fmla="*/ 64961 w 4838702"/>
              <a:gd name="connsiteY284" fmla="*/ 3288669 h 11747497"/>
              <a:gd name="connsiteX285" fmla="*/ 67236 w 4838702"/>
              <a:gd name="connsiteY285" fmla="*/ 3205603 h 11747497"/>
              <a:gd name="connsiteX286" fmla="*/ 76390 w 4838702"/>
              <a:gd name="connsiteY286" fmla="*/ 3191940 h 11747497"/>
              <a:gd name="connsiteX287" fmla="*/ 78459 w 4838702"/>
              <a:gd name="connsiteY287" fmla="*/ 3150357 h 11747497"/>
              <a:gd name="connsiteX288" fmla="*/ 78718 w 4838702"/>
              <a:gd name="connsiteY288" fmla="*/ 8506881 h 11747497"/>
              <a:gd name="connsiteX289" fmla="*/ 77218 w 4838702"/>
              <a:gd name="connsiteY289" fmla="*/ 8445889 h 11747497"/>
              <a:gd name="connsiteX290" fmla="*/ 66253 w 4838702"/>
              <a:gd name="connsiteY290" fmla="*/ 8459352 h 11747497"/>
              <a:gd name="connsiteX291" fmla="*/ 70908 w 4838702"/>
              <a:gd name="connsiteY291" fmla="*/ 8598162 h 11747497"/>
              <a:gd name="connsiteX292" fmla="*/ 76494 w 4838702"/>
              <a:gd name="connsiteY292" fmla="*/ 8570640 h 11747497"/>
              <a:gd name="connsiteX293" fmla="*/ 78718 w 4838702"/>
              <a:gd name="connsiteY293" fmla="*/ 8506881 h 11747497"/>
              <a:gd name="connsiteX294" fmla="*/ 79545 w 4838702"/>
              <a:gd name="connsiteY294" fmla="*/ 3594012 h 11747497"/>
              <a:gd name="connsiteX295" fmla="*/ 79390 w 4838702"/>
              <a:gd name="connsiteY295" fmla="*/ 3621734 h 11747497"/>
              <a:gd name="connsiteX296" fmla="*/ 77476 w 4838702"/>
              <a:gd name="connsiteY296" fmla="*/ 3635595 h 11747497"/>
              <a:gd name="connsiteX297" fmla="*/ 79545 w 4838702"/>
              <a:gd name="connsiteY297" fmla="*/ 3594012 h 11747497"/>
              <a:gd name="connsiteX298" fmla="*/ 80786 w 4838702"/>
              <a:gd name="connsiteY298" fmla="*/ 4966458 h 11747497"/>
              <a:gd name="connsiteX299" fmla="*/ 80011 w 4838702"/>
              <a:gd name="connsiteY299" fmla="*/ 4786264 h 11747497"/>
              <a:gd name="connsiteX300" fmla="*/ 75098 w 4838702"/>
              <a:gd name="connsiteY300" fmla="*/ 4689138 h 11747497"/>
              <a:gd name="connsiteX301" fmla="*/ 69822 w 4838702"/>
              <a:gd name="connsiteY301" fmla="*/ 4661215 h 11747497"/>
              <a:gd name="connsiteX302" fmla="*/ 73753 w 4838702"/>
              <a:gd name="connsiteY302" fmla="*/ 4605871 h 11747497"/>
              <a:gd name="connsiteX303" fmla="*/ 72201 w 4838702"/>
              <a:gd name="connsiteY303" fmla="*/ 4564188 h 11747497"/>
              <a:gd name="connsiteX304" fmla="*/ 67081 w 4838702"/>
              <a:gd name="connsiteY304" fmla="*/ 4508644 h 11747497"/>
              <a:gd name="connsiteX305" fmla="*/ 61961 w 4838702"/>
              <a:gd name="connsiteY305" fmla="*/ 4453001 h 11747497"/>
              <a:gd name="connsiteX306" fmla="*/ 61236 w 4838702"/>
              <a:gd name="connsiteY306" fmla="*/ 4577750 h 11747497"/>
              <a:gd name="connsiteX307" fmla="*/ 66616 w 4838702"/>
              <a:gd name="connsiteY307" fmla="*/ 4591810 h 11747497"/>
              <a:gd name="connsiteX308" fmla="*/ 64340 w 4838702"/>
              <a:gd name="connsiteY308" fmla="*/ 4674977 h 11747497"/>
              <a:gd name="connsiteX309" fmla="*/ 61909 w 4838702"/>
              <a:gd name="connsiteY309" fmla="*/ 4785766 h 11747497"/>
              <a:gd name="connsiteX310" fmla="*/ 61340 w 4838702"/>
              <a:gd name="connsiteY310" fmla="*/ 4882794 h 11747497"/>
              <a:gd name="connsiteX311" fmla="*/ 59427 w 4838702"/>
              <a:gd name="connsiteY311" fmla="*/ 4896555 h 11747497"/>
              <a:gd name="connsiteX312" fmla="*/ 61029 w 4838702"/>
              <a:gd name="connsiteY312" fmla="*/ 4938138 h 11747497"/>
              <a:gd name="connsiteX313" fmla="*/ 58909 w 4838702"/>
              <a:gd name="connsiteY313" fmla="*/ 4993583 h 11747497"/>
              <a:gd name="connsiteX314" fmla="*/ 60306 w 4838702"/>
              <a:gd name="connsiteY314" fmla="*/ 5062888 h 11747497"/>
              <a:gd name="connsiteX315" fmla="*/ 58185 w 4838702"/>
              <a:gd name="connsiteY315" fmla="*/ 5118233 h 11747497"/>
              <a:gd name="connsiteX316" fmla="*/ 59530 w 4838702"/>
              <a:gd name="connsiteY316" fmla="*/ 5201399 h 11747497"/>
              <a:gd name="connsiteX317" fmla="*/ 57512 w 4838702"/>
              <a:gd name="connsiteY317" fmla="*/ 5229220 h 11747497"/>
              <a:gd name="connsiteX318" fmla="*/ 53737 w 4838702"/>
              <a:gd name="connsiteY318" fmla="*/ 5256843 h 11747497"/>
              <a:gd name="connsiteX319" fmla="*/ 57202 w 4838702"/>
              <a:gd name="connsiteY319" fmla="*/ 5284665 h 11747497"/>
              <a:gd name="connsiteX320" fmla="*/ 54772 w 4838702"/>
              <a:gd name="connsiteY320" fmla="*/ 5395454 h 11747497"/>
              <a:gd name="connsiteX321" fmla="*/ 63771 w 4838702"/>
              <a:gd name="connsiteY321" fmla="*/ 5409615 h 11747497"/>
              <a:gd name="connsiteX322" fmla="*/ 69667 w 4838702"/>
              <a:gd name="connsiteY322" fmla="*/ 5326548 h 11747497"/>
              <a:gd name="connsiteX323" fmla="*/ 72098 w 4838702"/>
              <a:gd name="connsiteY323" fmla="*/ 5215759 h 11747497"/>
              <a:gd name="connsiteX324" fmla="*/ 66874 w 4838702"/>
              <a:gd name="connsiteY324" fmla="*/ 5174077 h 11747497"/>
              <a:gd name="connsiteX325" fmla="*/ 65322 w 4838702"/>
              <a:gd name="connsiteY325" fmla="*/ 5132392 h 11747497"/>
              <a:gd name="connsiteX326" fmla="*/ 64288 w 4838702"/>
              <a:gd name="connsiteY326" fmla="*/ 4993782 h 11747497"/>
              <a:gd name="connsiteX327" fmla="*/ 66202 w 4838702"/>
              <a:gd name="connsiteY327" fmla="*/ 4979921 h 11747497"/>
              <a:gd name="connsiteX328" fmla="*/ 68943 w 4838702"/>
              <a:gd name="connsiteY328" fmla="*/ 4813588 h 11747497"/>
              <a:gd name="connsiteX329" fmla="*/ 72408 w 4838702"/>
              <a:gd name="connsiteY329" fmla="*/ 4841409 h 11747497"/>
              <a:gd name="connsiteX330" fmla="*/ 76028 w 4838702"/>
              <a:gd name="connsiteY330" fmla="*/ 4841509 h 11747497"/>
              <a:gd name="connsiteX331" fmla="*/ 75098 w 4838702"/>
              <a:gd name="connsiteY331" fmla="*/ 5007843 h 11747497"/>
              <a:gd name="connsiteX332" fmla="*/ 80786 w 4838702"/>
              <a:gd name="connsiteY332" fmla="*/ 4966458 h 11747497"/>
              <a:gd name="connsiteX333" fmla="*/ 81614 w 4838702"/>
              <a:gd name="connsiteY333" fmla="*/ 696746 h 11747497"/>
              <a:gd name="connsiteX334" fmla="*/ 81045 w 4838702"/>
              <a:gd name="connsiteY334" fmla="*/ 793774 h 11747497"/>
              <a:gd name="connsiteX335" fmla="*/ 68425 w 4838702"/>
              <a:gd name="connsiteY335" fmla="*/ 779613 h 11747497"/>
              <a:gd name="connsiteX336" fmla="*/ 74270 w 4838702"/>
              <a:gd name="connsiteY336" fmla="*/ 710407 h 11747497"/>
              <a:gd name="connsiteX337" fmla="*/ 81614 w 4838702"/>
              <a:gd name="connsiteY337" fmla="*/ 696746 h 11747497"/>
              <a:gd name="connsiteX338" fmla="*/ 81976 w 4838702"/>
              <a:gd name="connsiteY338" fmla="*/ 1902860 h 11747497"/>
              <a:gd name="connsiteX339" fmla="*/ 81511 w 4838702"/>
              <a:gd name="connsiteY339" fmla="*/ 1986027 h 11747497"/>
              <a:gd name="connsiteX340" fmla="*/ 79597 w 4838702"/>
              <a:gd name="connsiteY340" fmla="*/ 1999787 h 11747497"/>
              <a:gd name="connsiteX341" fmla="*/ 79494 w 4838702"/>
              <a:gd name="connsiteY341" fmla="*/ 2013648 h 11747497"/>
              <a:gd name="connsiteX342" fmla="*/ 77269 w 4838702"/>
              <a:gd name="connsiteY342" fmla="*/ 2082855 h 11747497"/>
              <a:gd name="connsiteX343" fmla="*/ 71684 w 4838702"/>
              <a:gd name="connsiteY343" fmla="*/ 2110477 h 11747497"/>
              <a:gd name="connsiteX344" fmla="*/ 71788 w 4838702"/>
              <a:gd name="connsiteY344" fmla="*/ 2096615 h 11747497"/>
              <a:gd name="connsiteX345" fmla="*/ 70443 w 4838702"/>
              <a:gd name="connsiteY345" fmla="*/ 2013450 h 11747497"/>
              <a:gd name="connsiteX346" fmla="*/ 75977 w 4838702"/>
              <a:gd name="connsiteY346" fmla="*/ 1999787 h 11747497"/>
              <a:gd name="connsiteX347" fmla="*/ 81976 w 4838702"/>
              <a:gd name="connsiteY347" fmla="*/ 1902860 h 11747497"/>
              <a:gd name="connsiteX348" fmla="*/ 82623 w 4838702"/>
              <a:gd name="connsiteY348" fmla="*/ 6824068 h 11747497"/>
              <a:gd name="connsiteX349" fmla="*/ 75874 w 4838702"/>
              <a:gd name="connsiteY349" fmla="*/ 6782261 h 11747497"/>
              <a:gd name="connsiteX350" fmla="*/ 75408 w 4838702"/>
              <a:gd name="connsiteY350" fmla="*/ 6865427 h 11747497"/>
              <a:gd name="connsiteX351" fmla="*/ 82623 w 4838702"/>
              <a:gd name="connsiteY351" fmla="*/ 6824068 h 11747497"/>
              <a:gd name="connsiteX352" fmla="*/ 83631 w 4838702"/>
              <a:gd name="connsiteY352" fmla="*/ 4162516 h 11747497"/>
              <a:gd name="connsiteX353" fmla="*/ 74735 w 4838702"/>
              <a:gd name="connsiteY353" fmla="*/ 4134494 h 11747497"/>
              <a:gd name="connsiteX354" fmla="*/ 75770 w 4838702"/>
              <a:gd name="connsiteY354" fmla="*/ 3954300 h 11747497"/>
              <a:gd name="connsiteX355" fmla="*/ 72511 w 4838702"/>
              <a:gd name="connsiteY355" fmla="*/ 4203700 h 11747497"/>
              <a:gd name="connsiteX356" fmla="*/ 70443 w 4838702"/>
              <a:gd name="connsiteY356" fmla="*/ 4245283 h 11747497"/>
              <a:gd name="connsiteX357" fmla="*/ 69873 w 4838702"/>
              <a:gd name="connsiteY357" fmla="*/ 4342311 h 11747497"/>
              <a:gd name="connsiteX358" fmla="*/ 76804 w 4838702"/>
              <a:gd name="connsiteY358" fmla="*/ 4397955 h 11747497"/>
              <a:gd name="connsiteX359" fmla="*/ 71218 w 4838702"/>
              <a:gd name="connsiteY359" fmla="*/ 4425477 h 11747497"/>
              <a:gd name="connsiteX360" fmla="*/ 82028 w 4838702"/>
              <a:gd name="connsiteY360" fmla="*/ 4439638 h 11747497"/>
              <a:gd name="connsiteX361" fmla="*/ 83321 w 4838702"/>
              <a:gd name="connsiteY361" fmla="*/ 4217860 h 11747497"/>
              <a:gd name="connsiteX362" fmla="*/ 78201 w 4838702"/>
              <a:gd name="connsiteY362" fmla="*/ 4162316 h 11747497"/>
              <a:gd name="connsiteX363" fmla="*/ 83631 w 4838702"/>
              <a:gd name="connsiteY363" fmla="*/ 4162516 h 11747497"/>
              <a:gd name="connsiteX364" fmla="*/ 84918 w 4838702"/>
              <a:gd name="connsiteY364" fmla="*/ 3329192 h 11747497"/>
              <a:gd name="connsiteX365" fmla="*/ 84355 w 4838702"/>
              <a:gd name="connsiteY365" fmla="*/ 3386196 h 11747497"/>
              <a:gd name="connsiteX366" fmla="*/ 83114 w 4838702"/>
              <a:gd name="connsiteY366" fmla="*/ 3289167 h 11747497"/>
              <a:gd name="connsiteX367" fmla="*/ 84918 w 4838702"/>
              <a:gd name="connsiteY367" fmla="*/ 3329192 h 11747497"/>
              <a:gd name="connsiteX368" fmla="*/ 86218 w 4838702"/>
              <a:gd name="connsiteY368" fmla="*/ 571261 h 11747497"/>
              <a:gd name="connsiteX369" fmla="*/ 82235 w 4838702"/>
              <a:gd name="connsiteY369" fmla="*/ 585957 h 11747497"/>
              <a:gd name="connsiteX370" fmla="*/ 84304 w 4838702"/>
              <a:gd name="connsiteY370" fmla="*/ 544373 h 11747497"/>
              <a:gd name="connsiteX371" fmla="*/ 86218 w 4838702"/>
              <a:gd name="connsiteY371" fmla="*/ 571261 h 11747497"/>
              <a:gd name="connsiteX372" fmla="*/ 87096 w 4838702"/>
              <a:gd name="connsiteY372" fmla="*/ 1639599 h 11747497"/>
              <a:gd name="connsiteX373" fmla="*/ 75925 w 4838702"/>
              <a:gd name="connsiteY373" fmla="*/ 1680983 h 11747497"/>
              <a:gd name="connsiteX374" fmla="*/ 73391 w 4838702"/>
              <a:gd name="connsiteY374" fmla="*/ 1805633 h 11747497"/>
              <a:gd name="connsiteX375" fmla="*/ 72925 w 4838702"/>
              <a:gd name="connsiteY375" fmla="*/ 1888800 h 11747497"/>
              <a:gd name="connsiteX376" fmla="*/ 69150 w 4838702"/>
              <a:gd name="connsiteY376" fmla="*/ 1916421 h 11747497"/>
              <a:gd name="connsiteX377" fmla="*/ 65426 w 4838702"/>
              <a:gd name="connsiteY377" fmla="*/ 1930183 h 11747497"/>
              <a:gd name="connsiteX378" fmla="*/ 67029 w 4838702"/>
              <a:gd name="connsiteY378" fmla="*/ 1971866 h 11747497"/>
              <a:gd name="connsiteX379" fmla="*/ 65115 w 4838702"/>
              <a:gd name="connsiteY379" fmla="*/ 1985628 h 11747497"/>
              <a:gd name="connsiteX380" fmla="*/ 64961 w 4838702"/>
              <a:gd name="connsiteY380" fmla="*/ 2013349 h 11747497"/>
              <a:gd name="connsiteX381" fmla="*/ 63719 w 4838702"/>
              <a:gd name="connsiteY381" fmla="*/ 1916322 h 11747497"/>
              <a:gd name="connsiteX382" fmla="*/ 65788 w 4838702"/>
              <a:gd name="connsiteY382" fmla="*/ 1874738 h 11747497"/>
              <a:gd name="connsiteX383" fmla="*/ 66253 w 4838702"/>
              <a:gd name="connsiteY383" fmla="*/ 1791573 h 11747497"/>
              <a:gd name="connsiteX384" fmla="*/ 68322 w 4838702"/>
              <a:gd name="connsiteY384" fmla="*/ 1749989 h 11747497"/>
              <a:gd name="connsiteX385" fmla="*/ 68943 w 4838702"/>
              <a:gd name="connsiteY385" fmla="*/ 1639101 h 11747497"/>
              <a:gd name="connsiteX386" fmla="*/ 74787 w 4838702"/>
              <a:gd name="connsiteY386" fmla="*/ 1569994 h 11747497"/>
              <a:gd name="connsiteX387" fmla="*/ 85700 w 4838702"/>
              <a:gd name="connsiteY387" fmla="*/ 1570293 h 11747497"/>
              <a:gd name="connsiteX388" fmla="*/ 87096 w 4838702"/>
              <a:gd name="connsiteY388" fmla="*/ 1639599 h 11747497"/>
              <a:gd name="connsiteX389" fmla="*/ 87096 w 4838702"/>
              <a:gd name="connsiteY389" fmla="*/ 5451796 h 11747497"/>
              <a:gd name="connsiteX390" fmla="*/ 81355 w 4838702"/>
              <a:gd name="connsiteY390" fmla="*/ 5507040 h 11747497"/>
              <a:gd name="connsiteX391" fmla="*/ 77425 w 4838702"/>
              <a:gd name="connsiteY391" fmla="*/ 5562386 h 11747497"/>
              <a:gd name="connsiteX392" fmla="*/ 77269 w 4838702"/>
              <a:gd name="connsiteY392" fmla="*/ 5590108 h 11747497"/>
              <a:gd name="connsiteX393" fmla="*/ 84511 w 4838702"/>
              <a:gd name="connsiteY393" fmla="*/ 5590307 h 11747497"/>
              <a:gd name="connsiteX394" fmla="*/ 87096 w 4838702"/>
              <a:gd name="connsiteY394" fmla="*/ 5451796 h 11747497"/>
              <a:gd name="connsiteX395" fmla="*/ 88286 w 4838702"/>
              <a:gd name="connsiteY395" fmla="*/ 2388197 h 11747497"/>
              <a:gd name="connsiteX396" fmla="*/ 86217 w 4838702"/>
              <a:gd name="connsiteY396" fmla="*/ 2443541 h 11747497"/>
              <a:gd name="connsiteX397" fmla="*/ 85959 w 4838702"/>
              <a:gd name="connsiteY397" fmla="*/ 2485125 h 11747497"/>
              <a:gd name="connsiteX398" fmla="*/ 87614 w 4838702"/>
              <a:gd name="connsiteY398" fmla="*/ 2512947 h 11747497"/>
              <a:gd name="connsiteX399" fmla="*/ 85545 w 4838702"/>
              <a:gd name="connsiteY399" fmla="*/ 2554431 h 11747497"/>
              <a:gd name="connsiteX400" fmla="*/ 83166 w 4838702"/>
              <a:gd name="connsiteY400" fmla="*/ 2651457 h 11747497"/>
              <a:gd name="connsiteX401" fmla="*/ 82907 w 4838702"/>
              <a:gd name="connsiteY401" fmla="*/ 2693041 h 11747497"/>
              <a:gd name="connsiteX402" fmla="*/ 80786 w 4838702"/>
              <a:gd name="connsiteY402" fmla="*/ 2748385 h 11747497"/>
              <a:gd name="connsiteX403" fmla="*/ 86166 w 4838702"/>
              <a:gd name="connsiteY403" fmla="*/ 2762347 h 11747497"/>
              <a:gd name="connsiteX404" fmla="*/ 82390 w 4838702"/>
              <a:gd name="connsiteY404" fmla="*/ 2789969 h 11747497"/>
              <a:gd name="connsiteX405" fmla="*/ 80269 w 4838702"/>
              <a:gd name="connsiteY405" fmla="*/ 2845413 h 11747497"/>
              <a:gd name="connsiteX406" fmla="*/ 81459 w 4838702"/>
              <a:gd name="connsiteY406" fmla="*/ 2956402 h 11747497"/>
              <a:gd name="connsiteX407" fmla="*/ 76235 w 4838702"/>
              <a:gd name="connsiteY407" fmla="*/ 2914619 h 11747497"/>
              <a:gd name="connsiteX408" fmla="*/ 74115 w 4838702"/>
              <a:gd name="connsiteY408" fmla="*/ 2969964 h 11747497"/>
              <a:gd name="connsiteX409" fmla="*/ 72150 w 4838702"/>
              <a:gd name="connsiteY409" fmla="*/ 2997686 h 11747497"/>
              <a:gd name="connsiteX410" fmla="*/ 73908 w 4838702"/>
              <a:gd name="connsiteY410" fmla="*/ 3011647 h 11747497"/>
              <a:gd name="connsiteX411" fmla="*/ 70133 w 4838702"/>
              <a:gd name="connsiteY411" fmla="*/ 3039270 h 11747497"/>
              <a:gd name="connsiteX412" fmla="*/ 71528 w 4838702"/>
              <a:gd name="connsiteY412" fmla="*/ 3108575 h 11747497"/>
              <a:gd name="connsiteX413" fmla="*/ 69615 w 4838702"/>
              <a:gd name="connsiteY413" fmla="*/ 3122436 h 11747497"/>
              <a:gd name="connsiteX414" fmla="*/ 68271 w 4838702"/>
              <a:gd name="connsiteY414" fmla="*/ 3039270 h 11747497"/>
              <a:gd name="connsiteX415" fmla="*/ 70494 w 4838702"/>
              <a:gd name="connsiteY415" fmla="*/ 2969964 h 11747497"/>
              <a:gd name="connsiteX416" fmla="*/ 70960 w 4838702"/>
              <a:gd name="connsiteY416" fmla="*/ 2886797 h 11747497"/>
              <a:gd name="connsiteX417" fmla="*/ 69357 w 4838702"/>
              <a:gd name="connsiteY417" fmla="*/ 2845114 h 11747497"/>
              <a:gd name="connsiteX418" fmla="*/ 69667 w 4838702"/>
              <a:gd name="connsiteY418" fmla="*/ 2789671 h 11747497"/>
              <a:gd name="connsiteX419" fmla="*/ 69822 w 4838702"/>
              <a:gd name="connsiteY419" fmla="*/ 2761948 h 11747497"/>
              <a:gd name="connsiteX420" fmla="*/ 70287 w 4838702"/>
              <a:gd name="connsiteY420" fmla="*/ 2678781 h 11747497"/>
              <a:gd name="connsiteX421" fmla="*/ 76080 w 4838702"/>
              <a:gd name="connsiteY421" fmla="*/ 2623437 h 11747497"/>
              <a:gd name="connsiteX422" fmla="*/ 76804 w 4838702"/>
              <a:gd name="connsiteY422" fmla="*/ 2498686 h 11747497"/>
              <a:gd name="connsiteX423" fmla="*/ 82235 w 4838702"/>
              <a:gd name="connsiteY423" fmla="*/ 2498887 h 11747497"/>
              <a:gd name="connsiteX424" fmla="*/ 85079 w 4838702"/>
              <a:gd name="connsiteY424" fmla="*/ 2318792 h 11747497"/>
              <a:gd name="connsiteX425" fmla="*/ 86631 w 4838702"/>
              <a:gd name="connsiteY425" fmla="*/ 2360375 h 11747497"/>
              <a:gd name="connsiteX426" fmla="*/ 88286 w 4838702"/>
              <a:gd name="connsiteY426" fmla="*/ 2388197 h 11747497"/>
              <a:gd name="connsiteX427" fmla="*/ 92010 w 4838702"/>
              <a:gd name="connsiteY427" fmla="*/ 5230119 h 11747497"/>
              <a:gd name="connsiteX428" fmla="*/ 88700 w 4838702"/>
              <a:gd name="connsiteY428" fmla="*/ 5174575 h 11747497"/>
              <a:gd name="connsiteX429" fmla="*/ 83579 w 4838702"/>
              <a:gd name="connsiteY429" fmla="*/ 5119031 h 11747497"/>
              <a:gd name="connsiteX430" fmla="*/ 90044 w 4838702"/>
              <a:gd name="connsiteY430" fmla="*/ 5257840 h 11747497"/>
              <a:gd name="connsiteX431" fmla="*/ 92010 w 4838702"/>
              <a:gd name="connsiteY431" fmla="*/ 5230119 h 11747497"/>
              <a:gd name="connsiteX432" fmla="*/ 92682 w 4838702"/>
              <a:gd name="connsiteY432" fmla="*/ 2249686 h 11747497"/>
              <a:gd name="connsiteX433" fmla="*/ 85234 w 4838702"/>
              <a:gd name="connsiteY433" fmla="*/ 2277208 h 11747497"/>
              <a:gd name="connsiteX434" fmla="*/ 92682 w 4838702"/>
              <a:gd name="connsiteY434" fmla="*/ 2249686 h 11747497"/>
              <a:gd name="connsiteX435" fmla="*/ 94234 w 4838702"/>
              <a:gd name="connsiteY435" fmla="*/ 3247883 h 11747497"/>
              <a:gd name="connsiteX436" fmla="*/ 92993 w 4838702"/>
              <a:gd name="connsiteY436" fmla="*/ 3150857 h 11747497"/>
              <a:gd name="connsiteX437" fmla="*/ 94234 w 4838702"/>
              <a:gd name="connsiteY437" fmla="*/ 3247883 h 11747497"/>
              <a:gd name="connsiteX438" fmla="*/ 94699 w 4838702"/>
              <a:gd name="connsiteY438" fmla="*/ 1903259 h 11747497"/>
              <a:gd name="connsiteX439" fmla="*/ 91389 w 4838702"/>
              <a:gd name="connsiteY439" fmla="*/ 1847714 h 11747497"/>
              <a:gd name="connsiteX440" fmla="*/ 94699 w 4838702"/>
              <a:gd name="connsiteY440" fmla="*/ 1903259 h 11747497"/>
              <a:gd name="connsiteX441" fmla="*/ 97389 w 4838702"/>
              <a:gd name="connsiteY441" fmla="*/ 1750787 h 11747497"/>
              <a:gd name="connsiteX442" fmla="*/ 97130 w 4838702"/>
              <a:gd name="connsiteY442" fmla="*/ 1792370 h 11747497"/>
              <a:gd name="connsiteX443" fmla="*/ 93510 w 4838702"/>
              <a:gd name="connsiteY443" fmla="*/ 1792270 h 11747497"/>
              <a:gd name="connsiteX444" fmla="*/ 93769 w 4838702"/>
              <a:gd name="connsiteY444" fmla="*/ 1750687 h 11747497"/>
              <a:gd name="connsiteX445" fmla="*/ 97970 w 4838702"/>
              <a:gd name="connsiteY445" fmla="*/ 1965571 h 11747497"/>
              <a:gd name="connsiteX446" fmla="*/ 97595 w 4838702"/>
              <a:gd name="connsiteY446" fmla="*/ 2028008 h 11747497"/>
              <a:gd name="connsiteX447" fmla="*/ 87821 w 4838702"/>
              <a:gd name="connsiteY447" fmla="*/ 2152459 h 11747497"/>
              <a:gd name="connsiteX448" fmla="*/ 86320 w 4838702"/>
              <a:gd name="connsiteY448" fmla="*/ 2097014 h 11747497"/>
              <a:gd name="connsiteX449" fmla="*/ 90924 w 4838702"/>
              <a:gd name="connsiteY449" fmla="*/ 1930781 h 11747497"/>
              <a:gd name="connsiteX450" fmla="*/ 94544 w 4838702"/>
              <a:gd name="connsiteY450" fmla="*/ 1930881 h 11747497"/>
              <a:gd name="connsiteX451" fmla="*/ 97970 w 4838702"/>
              <a:gd name="connsiteY451" fmla="*/ 1965571 h 11747497"/>
              <a:gd name="connsiteX452" fmla="*/ 98009 w 4838702"/>
              <a:gd name="connsiteY452" fmla="*/ 1002288 h 11747497"/>
              <a:gd name="connsiteX453" fmla="*/ 90769 w 4838702"/>
              <a:gd name="connsiteY453" fmla="*/ 1002088 h 11747497"/>
              <a:gd name="connsiteX454" fmla="*/ 92114 w 4838702"/>
              <a:gd name="connsiteY454" fmla="*/ 1085255 h 11747497"/>
              <a:gd name="connsiteX455" fmla="*/ 98009 w 4838702"/>
              <a:gd name="connsiteY455" fmla="*/ 1002288 h 11747497"/>
              <a:gd name="connsiteX456" fmla="*/ 100492 w 4838702"/>
              <a:gd name="connsiteY456" fmla="*/ 4689736 h 11747497"/>
              <a:gd name="connsiteX457" fmla="*/ 89114 w 4838702"/>
              <a:gd name="connsiteY457" fmla="*/ 4772603 h 11747497"/>
              <a:gd name="connsiteX458" fmla="*/ 85648 w 4838702"/>
              <a:gd name="connsiteY458" fmla="*/ 4809001 h 11747497"/>
              <a:gd name="connsiteX459" fmla="*/ 85474 w 4838702"/>
              <a:gd name="connsiteY459" fmla="*/ 4868066 h 11747497"/>
              <a:gd name="connsiteX460" fmla="*/ 85135 w 4838702"/>
              <a:gd name="connsiteY460" fmla="*/ 4884490 h 11747497"/>
              <a:gd name="connsiteX461" fmla="*/ 85131 w 4838702"/>
              <a:gd name="connsiteY461" fmla="*/ 4884688 h 11747497"/>
              <a:gd name="connsiteX462" fmla="*/ 88441 w 4838702"/>
              <a:gd name="connsiteY462" fmla="*/ 4897352 h 11747497"/>
              <a:gd name="connsiteX463" fmla="*/ 90406 w 4838702"/>
              <a:gd name="connsiteY463" fmla="*/ 4869731 h 11747497"/>
              <a:gd name="connsiteX464" fmla="*/ 91182 w 4838702"/>
              <a:gd name="connsiteY464" fmla="*/ 5049925 h 11747497"/>
              <a:gd name="connsiteX465" fmla="*/ 99251 w 4838702"/>
              <a:gd name="connsiteY465" fmla="*/ 4911513 h 11747497"/>
              <a:gd name="connsiteX466" fmla="*/ 95682 w 4838702"/>
              <a:gd name="connsiteY466" fmla="*/ 4897553 h 11747497"/>
              <a:gd name="connsiteX467" fmla="*/ 97958 w 4838702"/>
              <a:gd name="connsiteY467" fmla="*/ 4814385 h 11747497"/>
              <a:gd name="connsiteX468" fmla="*/ 100492 w 4838702"/>
              <a:gd name="connsiteY468" fmla="*/ 4689736 h 11747497"/>
              <a:gd name="connsiteX469" fmla="*/ 101203 w 4838702"/>
              <a:gd name="connsiteY469" fmla="*/ 4154787 h 11747497"/>
              <a:gd name="connsiteX470" fmla="*/ 98268 w 4838702"/>
              <a:gd name="connsiteY470" fmla="*/ 4135193 h 11747497"/>
              <a:gd name="connsiteX471" fmla="*/ 98009 w 4838702"/>
              <a:gd name="connsiteY471" fmla="*/ 4176776 h 11747497"/>
              <a:gd name="connsiteX472" fmla="*/ 101203 w 4838702"/>
              <a:gd name="connsiteY472" fmla="*/ 4154787 h 11747497"/>
              <a:gd name="connsiteX473" fmla="*/ 101319 w 4838702"/>
              <a:gd name="connsiteY473" fmla="*/ 4232320 h 11747497"/>
              <a:gd name="connsiteX474" fmla="*/ 94234 w 4838702"/>
              <a:gd name="connsiteY474" fmla="*/ 4204398 h 11747497"/>
              <a:gd name="connsiteX475" fmla="*/ 91285 w 4838702"/>
              <a:gd name="connsiteY475" fmla="*/ 4398453 h 11747497"/>
              <a:gd name="connsiteX476" fmla="*/ 87665 w 4838702"/>
              <a:gd name="connsiteY476" fmla="*/ 4398354 h 11747497"/>
              <a:gd name="connsiteX477" fmla="*/ 90975 w 4838702"/>
              <a:gd name="connsiteY477" fmla="*/ 4453898 h 11747497"/>
              <a:gd name="connsiteX478" fmla="*/ 90820 w 4838702"/>
              <a:gd name="connsiteY478" fmla="*/ 4481620 h 11747497"/>
              <a:gd name="connsiteX479" fmla="*/ 90562 w 4838702"/>
              <a:gd name="connsiteY479" fmla="*/ 4523204 h 11747497"/>
              <a:gd name="connsiteX480" fmla="*/ 86889 w 4838702"/>
              <a:gd name="connsiteY480" fmla="*/ 4536865 h 11747497"/>
              <a:gd name="connsiteX481" fmla="*/ 91699 w 4838702"/>
              <a:gd name="connsiteY481" fmla="*/ 4647953 h 11747497"/>
              <a:gd name="connsiteX482" fmla="*/ 93769 w 4838702"/>
              <a:gd name="connsiteY482" fmla="*/ 4606370 h 11747497"/>
              <a:gd name="connsiteX483" fmla="*/ 99613 w 4838702"/>
              <a:gd name="connsiteY483" fmla="*/ 4537264 h 11747497"/>
              <a:gd name="connsiteX484" fmla="*/ 97958 w 4838702"/>
              <a:gd name="connsiteY484" fmla="*/ 4509541 h 11747497"/>
              <a:gd name="connsiteX485" fmla="*/ 99923 w 4838702"/>
              <a:gd name="connsiteY485" fmla="*/ 4481819 h 11747497"/>
              <a:gd name="connsiteX486" fmla="*/ 98165 w 4838702"/>
              <a:gd name="connsiteY486" fmla="*/ 4467859 h 11747497"/>
              <a:gd name="connsiteX487" fmla="*/ 98578 w 4838702"/>
              <a:gd name="connsiteY487" fmla="*/ 4398553 h 11747497"/>
              <a:gd name="connsiteX488" fmla="*/ 98734 w 4838702"/>
              <a:gd name="connsiteY488" fmla="*/ 4370832 h 11747497"/>
              <a:gd name="connsiteX489" fmla="*/ 101112 w 4838702"/>
              <a:gd name="connsiteY489" fmla="*/ 4273903 h 11747497"/>
              <a:gd name="connsiteX490" fmla="*/ 99354 w 4838702"/>
              <a:gd name="connsiteY490" fmla="*/ 4259942 h 11747497"/>
              <a:gd name="connsiteX491" fmla="*/ 101319 w 4838702"/>
              <a:gd name="connsiteY491" fmla="*/ 4232320 h 11747497"/>
              <a:gd name="connsiteX492" fmla="*/ 104371 w 4838702"/>
              <a:gd name="connsiteY492" fmla="*/ 1649172 h 11747497"/>
              <a:gd name="connsiteX493" fmla="*/ 104216 w 4838702"/>
              <a:gd name="connsiteY493" fmla="*/ 1676895 h 11747497"/>
              <a:gd name="connsiteX494" fmla="*/ 100596 w 4838702"/>
              <a:gd name="connsiteY494" fmla="*/ 1676794 h 11747497"/>
              <a:gd name="connsiteX495" fmla="*/ 100750 w 4838702"/>
              <a:gd name="connsiteY495" fmla="*/ 1649073 h 11747497"/>
              <a:gd name="connsiteX496" fmla="*/ 106957 w 4838702"/>
              <a:gd name="connsiteY496" fmla="*/ 640104 h 11747497"/>
              <a:gd name="connsiteX497" fmla="*/ 101216 w 4838702"/>
              <a:gd name="connsiteY497" fmla="*/ 695349 h 11747497"/>
              <a:gd name="connsiteX498" fmla="*/ 106957 w 4838702"/>
              <a:gd name="connsiteY498" fmla="*/ 640104 h 11747497"/>
              <a:gd name="connsiteX499" fmla="*/ 107086 w 4838702"/>
              <a:gd name="connsiteY499" fmla="*/ 772271 h 11747497"/>
              <a:gd name="connsiteX500" fmla="*/ 105974 w 4838702"/>
              <a:gd name="connsiteY500" fmla="*/ 831368 h 11747497"/>
              <a:gd name="connsiteX501" fmla="*/ 99199 w 4838702"/>
              <a:gd name="connsiteY501" fmla="*/ 808134 h 11747497"/>
              <a:gd name="connsiteX502" fmla="*/ 96923 w 4838702"/>
              <a:gd name="connsiteY502" fmla="*/ 891299 h 11747497"/>
              <a:gd name="connsiteX503" fmla="*/ 104009 w 4838702"/>
              <a:gd name="connsiteY503" fmla="*/ 919222 h 11747497"/>
              <a:gd name="connsiteX504" fmla="*/ 103699 w 4838702"/>
              <a:gd name="connsiteY504" fmla="*/ 974665 h 11747497"/>
              <a:gd name="connsiteX505" fmla="*/ 99923 w 4838702"/>
              <a:gd name="connsiteY505" fmla="*/ 1002288 h 11747497"/>
              <a:gd name="connsiteX506" fmla="*/ 101319 w 4838702"/>
              <a:gd name="connsiteY506" fmla="*/ 1071693 h 11747497"/>
              <a:gd name="connsiteX507" fmla="*/ 102974 w 4838702"/>
              <a:gd name="connsiteY507" fmla="*/ 1099515 h 11747497"/>
              <a:gd name="connsiteX508" fmla="*/ 101061 w 4838702"/>
              <a:gd name="connsiteY508" fmla="*/ 1113277 h 11747497"/>
              <a:gd name="connsiteX509" fmla="*/ 104216 w 4838702"/>
              <a:gd name="connsiteY509" fmla="*/ 1149475 h 11747497"/>
              <a:gd name="connsiteX510" fmla="*/ 101164 w 4838702"/>
              <a:gd name="connsiteY510" fmla="*/ 1174305 h 11747497"/>
              <a:gd name="connsiteX511" fmla="*/ 101371 w 4838702"/>
              <a:gd name="connsiteY511" fmla="*/ 1221274 h 11747497"/>
              <a:gd name="connsiteX512" fmla="*/ 102044 w 4838702"/>
              <a:gd name="connsiteY512" fmla="*/ 1271831 h 11747497"/>
              <a:gd name="connsiteX513" fmla="*/ 101371 w 4838702"/>
              <a:gd name="connsiteY513" fmla="*/ 1292374 h 11747497"/>
              <a:gd name="connsiteX514" fmla="*/ 100130 w 4838702"/>
              <a:gd name="connsiteY514" fmla="*/ 1279709 h 11747497"/>
              <a:gd name="connsiteX515" fmla="*/ 94441 w 4838702"/>
              <a:gd name="connsiteY515" fmla="*/ 1321093 h 11747497"/>
              <a:gd name="connsiteX516" fmla="*/ 85338 w 4838702"/>
              <a:gd name="connsiteY516" fmla="*/ 1320793 h 11747497"/>
              <a:gd name="connsiteX517" fmla="*/ 88751 w 4838702"/>
              <a:gd name="connsiteY517" fmla="*/ 1362476 h 11747497"/>
              <a:gd name="connsiteX518" fmla="*/ 92217 w 4838702"/>
              <a:gd name="connsiteY518" fmla="*/ 1390298 h 11747497"/>
              <a:gd name="connsiteX519" fmla="*/ 85804 w 4838702"/>
              <a:gd name="connsiteY519" fmla="*/ 1556432 h 11747497"/>
              <a:gd name="connsiteX520" fmla="*/ 82545 w 4838702"/>
              <a:gd name="connsiteY520" fmla="*/ 1487027 h 11747497"/>
              <a:gd name="connsiteX521" fmla="*/ 75201 w 4838702"/>
              <a:gd name="connsiteY521" fmla="*/ 1500689 h 11747497"/>
              <a:gd name="connsiteX522" fmla="*/ 77890 w 4838702"/>
              <a:gd name="connsiteY522" fmla="*/ 1348216 h 11747497"/>
              <a:gd name="connsiteX523" fmla="*/ 83321 w 4838702"/>
              <a:gd name="connsiteY523" fmla="*/ 1348416 h 11747497"/>
              <a:gd name="connsiteX524" fmla="*/ 78045 w 4838702"/>
              <a:gd name="connsiteY524" fmla="*/ 1320495 h 11747497"/>
              <a:gd name="connsiteX525" fmla="*/ 78770 w 4838702"/>
              <a:gd name="connsiteY525" fmla="*/ 1195744 h 11747497"/>
              <a:gd name="connsiteX526" fmla="*/ 75563 w 4838702"/>
              <a:gd name="connsiteY526" fmla="*/ 1164233 h 11747497"/>
              <a:gd name="connsiteX527" fmla="*/ 77839 w 4838702"/>
              <a:gd name="connsiteY527" fmla="*/ 1105000 h 11747497"/>
              <a:gd name="connsiteX528" fmla="*/ 77373 w 4838702"/>
              <a:gd name="connsiteY528" fmla="*/ 1018343 h 11747497"/>
              <a:gd name="connsiteX529" fmla="*/ 81924 w 4838702"/>
              <a:gd name="connsiteY529" fmla="*/ 964295 h 11747497"/>
              <a:gd name="connsiteX530" fmla="*/ 81614 w 4838702"/>
              <a:gd name="connsiteY530" fmla="*/ 958212 h 11747497"/>
              <a:gd name="connsiteX531" fmla="*/ 85441 w 4838702"/>
              <a:gd name="connsiteY531" fmla="*/ 974167 h 11747497"/>
              <a:gd name="connsiteX532" fmla="*/ 89579 w 4838702"/>
              <a:gd name="connsiteY532" fmla="*/ 891101 h 11747497"/>
              <a:gd name="connsiteX533" fmla="*/ 91492 w 4838702"/>
              <a:gd name="connsiteY533" fmla="*/ 877239 h 11747497"/>
              <a:gd name="connsiteX534" fmla="*/ 92217 w 4838702"/>
              <a:gd name="connsiteY534" fmla="*/ 752489 h 11747497"/>
              <a:gd name="connsiteX535" fmla="*/ 102767 w 4838702"/>
              <a:gd name="connsiteY535" fmla="*/ 726562 h 11747497"/>
              <a:gd name="connsiteX536" fmla="*/ 107086 w 4838702"/>
              <a:gd name="connsiteY536" fmla="*/ 772271 h 11747497"/>
              <a:gd name="connsiteX537" fmla="*/ 109139 w 4838702"/>
              <a:gd name="connsiteY537" fmla="*/ 1229499 h 11747497"/>
              <a:gd name="connsiteX538" fmla="*/ 106957 w 4838702"/>
              <a:gd name="connsiteY538" fmla="*/ 1243311 h 11747497"/>
              <a:gd name="connsiteX539" fmla="*/ 107112 w 4838702"/>
              <a:gd name="connsiteY539" fmla="*/ 1215589 h 11747497"/>
              <a:gd name="connsiteX540" fmla="*/ 109139 w 4838702"/>
              <a:gd name="connsiteY540" fmla="*/ 1229499 h 11747497"/>
              <a:gd name="connsiteX541" fmla="*/ 111489 w 4838702"/>
              <a:gd name="connsiteY541" fmla="*/ 4601982 h 11747497"/>
              <a:gd name="connsiteX542" fmla="*/ 101423 w 4838702"/>
              <a:gd name="connsiteY542" fmla="*/ 4537264 h 11747497"/>
              <a:gd name="connsiteX543" fmla="*/ 100802 w 4838702"/>
              <a:gd name="connsiteY543" fmla="*/ 4648152 h 11747497"/>
              <a:gd name="connsiteX544" fmla="*/ 111489 w 4838702"/>
              <a:gd name="connsiteY544" fmla="*/ 4601982 h 11747497"/>
              <a:gd name="connsiteX545" fmla="*/ 111715 w 4838702"/>
              <a:gd name="connsiteY545" fmla="*/ 6228815 h 11747497"/>
              <a:gd name="connsiteX546" fmla="*/ 107939 w 4838702"/>
              <a:gd name="connsiteY546" fmla="*/ 6256438 h 11747497"/>
              <a:gd name="connsiteX547" fmla="*/ 111715 w 4838702"/>
              <a:gd name="connsiteY547" fmla="*/ 6228815 h 11747497"/>
              <a:gd name="connsiteX548" fmla="*/ 111974 w 4838702"/>
              <a:gd name="connsiteY548" fmla="*/ 1152067 h 11747497"/>
              <a:gd name="connsiteX549" fmla="*/ 111974 w 4838702"/>
              <a:gd name="connsiteY549" fmla="*/ 1152067 h 11747497"/>
              <a:gd name="connsiteX550" fmla="*/ 112885 w 4838702"/>
              <a:gd name="connsiteY550" fmla="*/ 2248801 h 11747497"/>
              <a:gd name="connsiteX551" fmla="*/ 112439 w 4838702"/>
              <a:gd name="connsiteY551" fmla="*/ 2291867 h 11747497"/>
              <a:gd name="connsiteX552" fmla="*/ 101526 w 4838702"/>
              <a:gd name="connsiteY552" fmla="*/ 2291568 h 11747497"/>
              <a:gd name="connsiteX553" fmla="*/ 101681 w 4838702"/>
              <a:gd name="connsiteY553" fmla="*/ 2263847 h 11747497"/>
              <a:gd name="connsiteX554" fmla="*/ 103595 w 4838702"/>
              <a:gd name="connsiteY554" fmla="*/ 2250085 h 11747497"/>
              <a:gd name="connsiteX555" fmla="*/ 108974 w 4838702"/>
              <a:gd name="connsiteY555" fmla="*/ 2264045 h 11747497"/>
              <a:gd name="connsiteX556" fmla="*/ 111042 w 4838702"/>
              <a:gd name="connsiteY556" fmla="*/ 2222563 h 11747497"/>
              <a:gd name="connsiteX557" fmla="*/ 112885 w 4838702"/>
              <a:gd name="connsiteY557" fmla="*/ 2248801 h 11747497"/>
              <a:gd name="connsiteX558" fmla="*/ 113526 w 4838702"/>
              <a:gd name="connsiteY558" fmla="*/ 2124537 h 11747497"/>
              <a:gd name="connsiteX559" fmla="*/ 112905 w 4838702"/>
              <a:gd name="connsiteY559" fmla="*/ 2208701 h 11747497"/>
              <a:gd name="connsiteX560" fmla="*/ 102095 w 4838702"/>
              <a:gd name="connsiteY560" fmla="*/ 2194541 h 11747497"/>
              <a:gd name="connsiteX561" fmla="*/ 102871 w 4838702"/>
              <a:gd name="connsiteY561" fmla="*/ 2055930 h 11747497"/>
              <a:gd name="connsiteX562" fmla="*/ 111974 w 4838702"/>
              <a:gd name="connsiteY562" fmla="*/ 2056228 h 11747497"/>
              <a:gd name="connsiteX563" fmla="*/ 113526 w 4838702"/>
              <a:gd name="connsiteY563" fmla="*/ 2124537 h 11747497"/>
              <a:gd name="connsiteX564" fmla="*/ 113887 w 4838702"/>
              <a:gd name="connsiteY564" fmla="*/ 1359485 h 11747497"/>
              <a:gd name="connsiteX565" fmla="*/ 113060 w 4838702"/>
              <a:gd name="connsiteY565" fmla="*/ 1397080 h 11747497"/>
              <a:gd name="connsiteX566" fmla="*/ 112181 w 4838702"/>
              <a:gd name="connsiteY566" fmla="*/ 1437965 h 11747497"/>
              <a:gd name="connsiteX567" fmla="*/ 109853 w 4838702"/>
              <a:gd name="connsiteY567" fmla="*/ 1485233 h 11747497"/>
              <a:gd name="connsiteX568" fmla="*/ 109543 w 4838702"/>
              <a:gd name="connsiteY568" fmla="*/ 1485032 h 11747497"/>
              <a:gd name="connsiteX569" fmla="*/ 101578 w 4838702"/>
              <a:gd name="connsiteY569" fmla="*/ 1609583 h 11747497"/>
              <a:gd name="connsiteX570" fmla="*/ 94389 w 4838702"/>
              <a:gd name="connsiteY570" fmla="*/ 1595523 h 11747497"/>
              <a:gd name="connsiteX571" fmla="*/ 102198 w 4838702"/>
              <a:gd name="connsiteY571" fmla="*/ 1498695 h 11747497"/>
              <a:gd name="connsiteX572" fmla="*/ 100802 w 4838702"/>
              <a:gd name="connsiteY572" fmla="*/ 1464690 h 11747497"/>
              <a:gd name="connsiteX573" fmla="*/ 100543 w 4838702"/>
              <a:gd name="connsiteY573" fmla="*/ 1373446 h 11747497"/>
              <a:gd name="connsiteX574" fmla="*/ 102613 w 4838702"/>
              <a:gd name="connsiteY574" fmla="*/ 1316207 h 11747497"/>
              <a:gd name="connsiteX575" fmla="*/ 112387 w 4838702"/>
              <a:gd name="connsiteY575" fmla="*/ 1304838 h 11747497"/>
              <a:gd name="connsiteX576" fmla="*/ 113887 w 4838702"/>
              <a:gd name="connsiteY576" fmla="*/ 1359485 h 11747497"/>
              <a:gd name="connsiteX577" fmla="*/ 117456 w 4838702"/>
              <a:gd name="connsiteY577" fmla="*/ 1099815 h 11747497"/>
              <a:gd name="connsiteX578" fmla="*/ 110370 w 4838702"/>
              <a:gd name="connsiteY578" fmla="*/ 1071892 h 11747497"/>
              <a:gd name="connsiteX579" fmla="*/ 117456 w 4838702"/>
              <a:gd name="connsiteY579" fmla="*/ 1099815 h 11747497"/>
              <a:gd name="connsiteX580" fmla="*/ 118542 w 4838702"/>
              <a:gd name="connsiteY580" fmla="*/ 826482 h 11747497"/>
              <a:gd name="connsiteX581" fmla="*/ 118387 w 4838702"/>
              <a:gd name="connsiteY581" fmla="*/ 854204 h 11747497"/>
              <a:gd name="connsiteX582" fmla="*/ 114767 w 4838702"/>
              <a:gd name="connsiteY582" fmla="*/ 854103 h 11747497"/>
              <a:gd name="connsiteX583" fmla="*/ 114922 w 4838702"/>
              <a:gd name="connsiteY583" fmla="*/ 826382 h 11747497"/>
              <a:gd name="connsiteX584" fmla="*/ 120353 w 4838702"/>
              <a:gd name="connsiteY584" fmla="*/ 4399152 h 11747497"/>
              <a:gd name="connsiteX585" fmla="*/ 115232 w 4838702"/>
              <a:gd name="connsiteY585" fmla="*/ 4343607 h 11747497"/>
              <a:gd name="connsiteX586" fmla="*/ 113112 w 4838702"/>
              <a:gd name="connsiteY586" fmla="*/ 4398951 h 11747497"/>
              <a:gd name="connsiteX587" fmla="*/ 112853 w 4838702"/>
              <a:gd name="connsiteY587" fmla="*/ 4440535 h 11747497"/>
              <a:gd name="connsiteX588" fmla="*/ 120353 w 4838702"/>
              <a:gd name="connsiteY588" fmla="*/ 4399152 h 11747497"/>
              <a:gd name="connsiteX589" fmla="*/ 120611 w 4838702"/>
              <a:gd name="connsiteY589" fmla="*/ 4676473 h 11747497"/>
              <a:gd name="connsiteX590" fmla="*/ 111612 w 4838702"/>
              <a:gd name="connsiteY590" fmla="*/ 4662313 h 11747497"/>
              <a:gd name="connsiteX591" fmla="*/ 109543 w 4838702"/>
              <a:gd name="connsiteY591" fmla="*/ 4703896 h 11747497"/>
              <a:gd name="connsiteX592" fmla="*/ 120611 w 4838702"/>
              <a:gd name="connsiteY592" fmla="*/ 4676473 h 11747497"/>
              <a:gd name="connsiteX593" fmla="*/ 121361 w 4838702"/>
              <a:gd name="connsiteY593" fmla="*/ 1453907 h 11747497"/>
              <a:gd name="connsiteX594" fmla="*/ 117043 w 4838702"/>
              <a:gd name="connsiteY594" fmla="*/ 1487925 h 11747497"/>
              <a:gd name="connsiteX595" fmla="*/ 119318 w 4838702"/>
              <a:gd name="connsiteY595" fmla="*/ 1404857 h 11747497"/>
              <a:gd name="connsiteX596" fmla="*/ 121361 w 4838702"/>
              <a:gd name="connsiteY596" fmla="*/ 1453907 h 11747497"/>
              <a:gd name="connsiteX597" fmla="*/ 121665 w 4838702"/>
              <a:gd name="connsiteY597" fmla="*/ 4617563 h 11747497"/>
              <a:gd name="connsiteX598" fmla="*/ 117301 w 4838702"/>
              <a:gd name="connsiteY598" fmla="*/ 4620929 h 11747497"/>
              <a:gd name="connsiteX599" fmla="*/ 121665 w 4838702"/>
              <a:gd name="connsiteY599" fmla="*/ 4617563 h 11747497"/>
              <a:gd name="connsiteX600" fmla="*/ 122162 w 4838702"/>
              <a:gd name="connsiteY600" fmla="*/ 905958 h 11747497"/>
              <a:gd name="connsiteX601" fmla="*/ 119783 w 4838702"/>
              <a:gd name="connsiteY601" fmla="*/ 1002886 h 11747497"/>
              <a:gd name="connsiteX602" fmla="*/ 112543 w 4838702"/>
              <a:gd name="connsiteY602" fmla="*/ 1002687 h 11747497"/>
              <a:gd name="connsiteX603" fmla="*/ 112853 w 4838702"/>
              <a:gd name="connsiteY603" fmla="*/ 947242 h 11747497"/>
              <a:gd name="connsiteX604" fmla="*/ 116473 w 4838702"/>
              <a:gd name="connsiteY604" fmla="*/ 947342 h 11747497"/>
              <a:gd name="connsiteX605" fmla="*/ 114715 w 4838702"/>
              <a:gd name="connsiteY605" fmla="*/ 933481 h 11747497"/>
              <a:gd name="connsiteX606" fmla="*/ 122162 w 4838702"/>
              <a:gd name="connsiteY606" fmla="*/ 905958 h 11747497"/>
              <a:gd name="connsiteX607" fmla="*/ 126507 w 4838702"/>
              <a:gd name="connsiteY607" fmla="*/ 781209 h 11747497"/>
              <a:gd name="connsiteX608" fmla="*/ 119163 w 4838702"/>
              <a:gd name="connsiteY608" fmla="*/ 794870 h 11747497"/>
              <a:gd name="connsiteX609" fmla="*/ 121594 w 4838702"/>
              <a:gd name="connsiteY609" fmla="*/ 684081 h 11747497"/>
              <a:gd name="connsiteX610" fmla="*/ 126507 w 4838702"/>
              <a:gd name="connsiteY610" fmla="*/ 781209 h 11747497"/>
              <a:gd name="connsiteX611" fmla="*/ 129920 w 4838702"/>
              <a:gd name="connsiteY611" fmla="*/ 504087 h 11747497"/>
              <a:gd name="connsiteX612" fmla="*/ 129455 w 4838702"/>
              <a:gd name="connsiteY612" fmla="*/ 587253 h 11747497"/>
              <a:gd name="connsiteX613" fmla="*/ 125680 w 4838702"/>
              <a:gd name="connsiteY613" fmla="*/ 614876 h 11747497"/>
              <a:gd name="connsiteX614" fmla="*/ 129920 w 4838702"/>
              <a:gd name="connsiteY614" fmla="*/ 504087 h 11747497"/>
              <a:gd name="connsiteX615" fmla="*/ 132028 w 4838702"/>
              <a:gd name="connsiteY615" fmla="*/ 2042281 h 11747497"/>
              <a:gd name="connsiteX616" fmla="*/ 128265 w 4838702"/>
              <a:gd name="connsiteY616" fmla="*/ 2070489 h 11747497"/>
              <a:gd name="connsiteX617" fmla="*/ 130231 w 4838702"/>
              <a:gd name="connsiteY617" fmla="*/ 2042767 h 11747497"/>
              <a:gd name="connsiteX618" fmla="*/ 128576 w 4838702"/>
              <a:gd name="connsiteY618" fmla="*/ 2015045 h 11747497"/>
              <a:gd name="connsiteX619" fmla="*/ 132028 w 4838702"/>
              <a:gd name="connsiteY619" fmla="*/ 2042281 h 11747497"/>
              <a:gd name="connsiteX620" fmla="*/ 133024 w 4838702"/>
              <a:gd name="connsiteY620" fmla="*/ 1182981 h 11747497"/>
              <a:gd name="connsiteX621" fmla="*/ 127800 w 4838702"/>
              <a:gd name="connsiteY621" fmla="*/ 1183379 h 11747497"/>
              <a:gd name="connsiteX622" fmla="*/ 131213 w 4838702"/>
              <a:gd name="connsiteY622" fmla="*/ 1225062 h 11747497"/>
              <a:gd name="connsiteX623" fmla="*/ 130748 w 4838702"/>
              <a:gd name="connsiteY623" fmla="*/ 1308229 h 11747497"/>
              <a:gd name="connsiteX624" fmla="*/ 125318 w 4838702"/>
              <a:gd name="connsiteY624" fmla="*/ 1308029 h 11747497"/>
              <a:gd name="connsiteX625" fmla="*/ 121852 w 4838702"/>
              <a:gd name="connsiteY625" fmla="*/ 1321591 h 11747497"/>
              <a:gd name="connsiteX626" fmla="*/ 121542 w 4838702"/>
              <a:gd name="connsiteY626" fmla="*/ 1298756 h 11747497"/>
              <a:gd name="connsiteX627" fmla="*/ 122576 w 4838702"/>
              <a:gd name="connsiteY627" fmla="*/ 1224066 h 11747497"/>
              <a:gd name="connsiteX628" fmla="*/ 123404 w 4838702"/>
              <a:gd name="connsiteY628" fmla="*/ 1192754 h 11747497"/>
              <a:gd name="connsiteX629" fmla="*/ 126094 w 4838702"/>
              <a:gd name="connsiteY629" fmla="*/ 1169319 h 11747497"/>
              <a:gd name="connsiteX630" fmla="*/ 128369 w 4838702"/>
              <a:gd name="connsiteY630" fmla="*/ 1086252 h 11747497"/>
              <a:gd name="connsiteX631" fmla="*/ 132300 w 4838702"/>
              <a:gd name="connsiteY631" fmla="*/ 1086751 h 11747497"/>
              <a:gd name="connsiteX632" fmla="*/ 132300 w 4838702"/>
              <a:gd name="connsiteY632" fmla="*/ 1088446 h 11747497"/>
              <a:gd name="connsiteX633" fmla="*/ 132454 w 4838702"/>
              <a:gd name="connsiteY633" fmla="*/ 1139004 h 11747497"/>
              <a:gd name="connsiteX634" fmla="*/ 133024 w 4838702"/>
              <a:gd name="connsiteY634" fmla="*/ 1182981 h 11747497"/>
              <a:gd name="connsiteX635" fmla="*/ 134162 w 4838702"/>
              <a:gd name="connsiteY635" fmla="*/ 1507968 h 11747497"/>
              <a:gd name="connsiteX636" fmla="*/ 134006 w 4838702"/>
              <a:gd name="connsiteY636" fmla="*/ 1535691 h 11747497"/>
              <a:gd name="connsiteX637" fmla="*/ 130386 w 4838702"/>
              <a:gd name="connsiteY637" fmla="*/ 1535591 h 11747497"/>
              <a:gd name="connsiteX638" fmla="*/ 130541 w 4838702"/>
              <a:gd name="connsiteY638" fmla="*/ 1507869 h 11747497"/>
              <a:gd name="connsiteX639" fmla="*/ 134524 w 4838702"/>
              <a:gd name="connsiteY639" fmla="*/ 975564 h 11747497"/>
              <a:gd name="connsiteX640" fmla="*/ 128834 w 4838702"/>
              <a:gd name="connsiteY640" fmla="*/ 1016947 h 11747497"/>
              <a:gd name="connsiteX641" fmla="*/ 134524 w 4838702"/>
              <a:gd name="connsiteY641" fmla="*/ 975564 h 11747497"/>
              <a:gd name="connsiteX642" fmla="*/ 134938 w 4838702"/>
              <a:gd name="connsiteY642" fmla="*/ 1835050 h 11747497"/>
              <a:gd name="connsiteX643" fmla="*/ 130438 w 4838702"/>
              <a:gd name="connsiteY643" fmla="*/ 1987422 h 11747497"/>
              <a:gd name="connsiteX644" fmla="*/ 121852 w 4838702"/>
              <a:gd name="connsiteY644" fmla="*/ 1903957 h 11747497"/>
              <a:gd name="connsiteX645" fmla="*/ 110888 w 4838702"/>
              <a:gd name="connsiteY645" fmla="*/ 1917519 h 11747497"/>
              <a:gd name="connsiteX646" fmla="*/ 112232 w 4838702"/>
              <a:gd name="connsiteY646" fmla="*/ 2000686 h 11747497"/>
              <a:gd name="connsiteX647" fmla="*/ 108922 w 4838702"/>
              <a:gd name="connsiteY647" fmla="*/ 1945141 h 11747497"/>
              <a:gd name="connsiteX648" fmla="*/ 111302 w 4838702"/>
              <a:gd name="connsiteY648" fmla="*/ 1848213 h 11747497"/>
              <a:gd name="connsiteX649" fmla="*/ 111560 w 4838702"/>
              <a:gd name="connsiteY649" fmla="*/ 1806630 h 11747497"/>
              <a:gd name="connsiteX650" fmla="*/ 113526 w 4838702"/>
              <a:gd name="connsiteY650" fmla="*/ 1779007 h 11747497"/>
              <a:gd name="connsiteX651" fmla="*/ 114146 w 4838702"/>
              <a:gd name="connsiteY651" fmla="*/ 1668119 h 11747497"/>
              <a:gd name="connsiteX652" fmla="*/ 115956 w 4838702"/>
              <a:gd name="connsiteY652" fmla="*/ 1668219 h 11747497"/>
              <a:gd name="connsiteX653" fmla="*/ 114301 w 4838702"/>
              <a:gd name="connsiteY653" fmla="*/ 1640397 h 11747497"/>
              <a:gd name="connsiteX654" fmla="*/ 116215 w 4838702"/>
              <a:gd name="connsiteY654" fmla="*/ 1626635 h 11747497"/>
              <a:gd name="connsiteX655" fmla="*/ 116473 w 4838702"/>
              <a:gd name="connsiteY655" fmla="*/ 1585051 h 11747497"/>
              <a:gd name="connsiteX656" fmla="*/ 118128 w 4838702"/>
              <a:gd name="connsiteY656" fmla="*/ 1612774 h 11747497"/>
              <a:gd name="connsiteX657" fmla="*/ 117715 w 4838702"/>
              <a:gd name="connsiteY657" fmla="*/ 1682080 h 11747497"/>
              <a:gd name="connsiteX658" fmla="*/ 116939 w 4838702"/>
              <a:gd name="connsiteY658" fmla="*/ 1820690 h 11747497"/>
              <a:gd name="connsiteX659" fmla="*/ 124128 w 4838702"/>
              <a:gd name="connsiteY659" fmla="*/ 1834750 h 11747497"/>
              <a:gd name="connsiteX660" fmla="*/ 125628 w 4838702"/>
              <a:gd name="connsiteY660" fmla="*/ 1890195 h 11747497"/>
              <a:gd name="connsiteX661" fmla="*/ 129558 w 4838702"/>
              <a:gd name="connsiteY661" fmla="*/ 1834851 h 11747497"/>
              <a:gd name="connsiteX662" fmla="*/ 129817 w 4838702"/>
              <a:gd name="connsiteY662" fmla="*/ 1793267 h 11747497"/>
              <a:gd name="connsiteX663" fmla="*/ 134938 w 4838702"/>
              <a:gd name="connsiteY663" fmla="*/ 1835050 h 11747497"/>
              <a:gd name="connsiteX664" fmla="*/ 139550 w 4838702"/>
              <a:gd name="connsiteY664" fmla="*/ 252514 h 11747497"/>
              <a:gd name="connsiteX665" fmla="*/ 134989 w 4838702"/>
              <a:gd name="connsiteY665" fmla="*/ 254687 h 11747497"/>
              <a:gd name="connsiteX666" fmla="*/ 139550 w 4838702"/>
              <a:gd name="connsiteY666" fmla="*/ 252514 h 11747497"/>
              <a:gd name="connsiteX667" fmla="*/ 139844 w 4838702"/>
              <a:gd name="connsiteY667" fmla="*/ 2977418 h 11747497"/>
              <a:gd name="connsiteX668" fmla="*/ 139592 w 4838702"/>
              <a:gd name="connsiteY668" fmla="*/ 2944137 h 11747497"/>
              <a:gd name="connsiteX669" fmla="*/ 139844 w 4838702"/>
              <a:gd name="connsiteY669" fmla="*/ 2977418 h 11747497"/>
              <a:gd name="connsiteX670" fmla="*/ 139850 w 4838702"/>
              <a:gd name="connsiteY670" fmla="*/ 1627234 h 11747497"/>
              <a:gd name="connsiteX671" fmla="*/ 128265 w 4838702"/>
              <a:gd name="connsiteY671" fmla="*/ 1751684 h 11747497"/>
              <a:gd name="connsiteX672" fmla="*/ 128886 w 4838702"/>
              <a:gd name="connsiteY672" fmla="*/ 1640796 h 11747497"/>
              <a:gd name="connsiteX673" fmla="*/ 139850 w 4838702"/>
              <a:gd name="connsiteY673" fmla="*/ 1627234 h 11747497"/>
              <a:gd name="connsiteX674" fmla="*/ 140161 w 4838702"/>
              <a:gd name="connsiteY674" fmla="*/ 310330 h 11747497"/>
              <a:gd name="connsiteX675" fmla="*/ 136437 w 4838702"/>
              <a:gd name="connsiteY675" fmla="*/ 324092 h 11747497"/>
              <a:gd name="connsiteX676" fmla="*/ 134938 w 4838702"/>
              <a:gd name="connsiteY676" fmla="*/ 391802 h 11747497"/>
              <a:gd name="connsiteX677" fmla="*/ 137679 w 4838702"/>
              <a:gd name="connsiteY677" fmla="*/ 406261 h 11747497"/>
              <a:gd name="connsiteX678" fmla="*/ 135299 w 4838702"/>
              <a:gd name="connsiteY678" fmla="*/ 445950 h 11747497"/>
              <a:gd name="connsiteX679" fmla="*/ 133437 w 4838702"/>
              <a:gd name="connsiteY679" fmla="*/ 485140 h 11747497"/>
              <a:gd name="connsiteX680" fmla="*/ 126455 w 4838702"/>
              <a:gd name="connsiteY680" fmla="*/ 476264 h 11747497"/>
              <a:gd name="connsiteX681" fmla="*/ 131162 w 4838702"/>
              <a:gd name="connsiteY681" fmla="*/ 296270 h 11747497"/>
              <a:gd name="connsiteX682" fmla="*/ 140161 w 4838702"/>
              <a:gd name="connsiteY682" fmla="*/ 310330 h 11747497"/>
              <a:gd name="connsiteX683" fmla="*/ 140782 w 4838702"/>
              <a:gd name="connsiteY683" fmla="*/ 1460900 h 11747497"/>
              <a:gd name="connsiteX684" fmla="*/ 140782 w 4838702"/>
              <a:gd name="connsiteY684" fmla="*/ 1460900 h 11747497"/>
              <a:gd name="connsiteX685" fmla="*/ 140821 w 4838702"/>
              <a:gd name="connsiteY685" fmla="*/ 2140142 h 11747497"/>
              <a:gd name="connsiteX686" fmla="*/ 138661 w 4838702"/>
              <a:gd name="connsiteY686" fmla="*/ 2153955 h 11747497"/>
              <a:gd name="connsiteX687" fmla="*/ 138816 w 4838702"/>
              <a:gd name="connsiteY687" fmla="*/ 2126233 h 11747497"/>
              <a:gd name="connsiteX688" fmla="*/ 140821 w 4838702"/>
              <a:gd name="connsiteY688" fmla="*/ 2140142 h 11747497"/>
              <a:gd name="connsiteX689" fmla="*/ 142850 w 4838702"/>
              <a:gd name="connsiteY689" fmla="*/ 2057026 h 11747497"/>
              <a:gd name="connsiteX690" fmla="*/ 142592 w 4838702"/>
              <a:gd name="connsiteY690" fmla="*/ 2098610 h 11747497"/>
              <a:gd name="connsiteX691" fmla="*/ 137161 w 4838702"/>
              <a:gd name="connsiteY691" fmla="*/ 2098411 h 11747497"/>
              <a:gd name="connsiteX692" fmla="*/ 137420 w 4838702"/>
              <a:gd name="connsiteY692" fmla="*/ 2056827 h 11747497"/>
              <a:gd name="connsiteX693" fmla="*/ 142954 w 4838702"/>
              <a:gd name="connsiteY693" fmla="*/ 767846 h 11747497"/>
              <a:gd name="connsiteX694" fmla="*/ 135713 w 4838702"/>
              <a:gd name="connsiteY694" fmla="*/ 767647 h 11747497"/>
              <a:gd name="connsiteX695" fmla="*/ 146212 w 4838702"/>
              <a:gd name="connsiteY695" fmla="*/ 593835 h 11747497"/>
              <a:gd name="connsiteX696" fmla="*/ 137834 w 4838702"/>
              <a:gd name="connsiteY696" fmla="*/ 664437 h 11747497"/>
              <a:gd name="connsiteX697" fmla="*/ 139230 w 4838702"/>
              <a:gd name="connsiteY697" fmla="*/ 547265 h 11747497"/>
              <a:gd name="connsiteX698" fmla="*/ 144402 w 4838702"/>
              <a:gd name="connsiteY698" fmla="*/ 547366 h 11747497"/>
              <a:gd name="connsiteX699" fmla="*/ 146212 w 4838702"/>
              <a:gd name="connsiteY699" fmla="*/ 593835 h 11747497"/>
              <a:gd name="connsiteX700" fmla="*/ 146212 w 4838702"/>
              <a:gd name="connsiteY700" fmla="*/ 3374129 h 11747497"/>
              <a:gd name="connsiteX701" fmla="*/ 128214 w 4838702"/>
              <a:gd name="connsiteY701" fmla="*/ 3345908 h 11747497"/>
              <a:gd name="connsiteX702" fmla="*/ 128524 w 4838702"/>
              <a:gd name="connsiteY702" fmla="*/ 3290463 h 11747497"/>
              <a:gd name="connsiteX703" fmla="*/ 140989 w 4838702"/>
              <a:gd name="connsiteY703" fmla="*/ 3332347 h 11747497"/>
              <a:gd name="connsiteX704" fmla="*/ 144868 w 4838702"/>
              <a:gd name="connsiteY704" fmla="*/ 3290862 h 11747497"/>
              <a:gd name="connsiteX705" fmla="*/ 146212 w 4838702"/>
              <a:gd name="connsiteY705" fmla="*/ 3374129 h 11747497"/>
              <a:gd name="connsiteX706" fmla="*/ 148333 w 4838702"/>
              <a:gd name="connsiteY706" fmla="*/ 2680975 h 11747497"/>
              <a:gd name="connsiteX707" fmla="*/ 148178 w 4838702"/>
              <a:gd name="connsiteY707" fmla="*/ 2708697 h 11747497"/>
              <a:gd name="connsiteX708" fmla="*/ 144557 w 4838702"/>
              <a:gd name="connsiteY708" fmla="*/ 2708597 h 11747497"/>
              <a:gd name="connsiteX709" fmla="*/ 144712 w 4838702"/>
              <a:gd name="connsiteY709" fmla="*/ 2680875 h 11747497"/>
              <a:gd name="connsiteX710" fmla="*/ 149212 w 4838702"/>
              <a:gd name="connsiteY710" fmla="*/ 310530 h 11747497"/>
              <a:gd name="connsiteX711" fmla="*/ 145333 w 4838702"/>
              <a:gd name="connsiteY711" fmla="*/ 352013 h 11747497"/>
              <a:gd name="connsiteX712" fmla="*/ 141868 w 4838702"/>
              <a:gd name="connsiteY712" fmla="*/ 324191 h 11747497"/>
              <a:gd name="connsiteX713" fmla="*/ 149212 w 4838702"/>
              <a:gd name="connsiteY713" fmla="*/ 310530 h 11747497"/>
              <a:gd name="connsiteX714" fmla="*/ 150816 w 4838702"/>
              <a:gd name="connsiteY714" fmla="*/ 377741 h 11747497"/>
              <a:gd name="connsiteX715" fmla="*/ 149108 w 4838702"/>
              <a:gd name="connsiteY715" fmla="*/ 428199 h 11747497"/>
              <a:gd name="connsiteX716" fmla="*/ 149264 w 4838702"/>
              <a:gd name="connsiteY716" fmla="*/ 484142 h 11747497"/>
              <a:gd name="connsiteX717" fmla="*/ 147195 w 4838702"/>
              <a:gd name="connsiteY717" fmla="*/ 519544 h 11747497"/>
              <a:gd name="connsiteX718" fmla="*/ 142799 w 4838702"/>
              <a:gd name="connsiteY718" fmla="*/ 476663 h 11747497"/>
              <a:gd name="connsiteX719" fmla="*/ 137627 w 4838702"/>
              <a:gd name="connsiteY719" fmla="*/ 483844 h 11747497"/>
              <a:gd name="connsiteX720" fmla="*/ 139799 w 4838702"/>
              <a:gd name="connsiteY720" fmla="*/ 442459 h 11747497"/>
              <a:gd name="connsiteX721" fmla="*/ 140316 w 4838702"/>
              <a:gd name="connsiteY721" fmla="*/ 402572 h 11747497"/>
              <a:gd name="connsiteX722" fmla="*/ 143420 w 4838702"/>
              <a:gd name="connsiteY722" fmla="*/ 365775 h 11747497"/>
              <a:gd name="connsiteX723" fmla="*/ 150816 w 4838702"/>
              <a:gd name="connsiteY723" fmla="*/ 377741 h 11747497"/>
              <a:gd name="connsiteX724" fmla="*/ 150919 w 4838702"/>
              <a:gd name="connsiteY724" fmla="*/ 1918715 h 11747497"/>
              <a:gd name="connsiteX725" fmla="*/ 141816 w 4838702"/>
              <a:gd name="connsiteY725" fmla="*/ 1918416 h 11747497"/>
              <a:gd name="connsiteX726" fmla="*/ 150919 w 4838702"/>
              <a:gd name="connsiteY726" fmla="*/ 1918715 h 11747497"/>
              <a:gd name="connsiteX727" fmla="*/ 150970 w 4838702"/>
              <a:gd name="connsiteY727" fmla="*/ 2542465 h 11747497"/>
              <a:gd name="connsiteX728" fmla="*/ 147557 w 4838702"/>
              <a:gd name="connsiteY728" fmla="*/ 2500781 h 11747497"/>
              <a:gd name="connsiteX729" fmla="*/ 150970 w 4838702"/>
              <a:gd name="connsiteY729" fmla="*/ 2542465 h 11747497"/>
              <a:gd name="connsiteX730" fmla="*/ 153091 w 4838702"/>
              <a:gd name="connsiteY730" fmla="*/ 2805923 h 11747497"/>
              <a:gd name="connsiteX731" fmla="*/ 147660 w 4838702"/>
              <a:gd name="connsiteY731" fmla="*/ 2805725 h 11747497"/>
              <a:gd name="connsiteX732" fmla="*/ 140471 w 4838702"/>
              <a:gd name="connsiteY732" fmla="*/ 2791663 h 11747497"/>
              <a:gd name="connsiteX733" fmla="*/ 144247 w 4838702"/>
              <a:gd name="connsiteY733" fmla="*/ 2764042 h 11747497"/>
              <a:gd name="connsiteX734" fmla="*/ 153091 w 4838702"/>
              <a:gd name="connsiteY734" fmla="*/ 2805923 h 11747497"/>
              <a:gd name="connsiteX735" fmla="*/ 155211 w 4838702"/>
              <a:gd name="connsiteY735" fmla="*/ 2431575 h 11747497"/>
              <a:gd name="connsiteX736" fmla="*/ 153091 w 4838702"/>
              <a:gd name="connsiteY736" fmla="*/ 2487020 h 11747497"/>
              <a:gd name="connsiteX737" fmla="*/ 153194 w 4838702"/>
              <a:gd name="connsiteY737" fmla="*/ 2473159 h 11747497"/>
              <a:gd name="connsiteX738" fmla="*/ 149522 w 4838702"/>
              <a:gd name="connsiteY738" fmla="*/ 2473059 h 11747497"/>
              <a:gd name="connsiteX739" fmla="*/ 145902 w 4838702"/>
              <a:gd name="connsiteY739" fmla="*/ 2472960 h 11747497"/>
              <a:gd name="connsiteX740" fmla="*/ 155211 w 4838702"/>
              <a:gd name="connsiteY740" fmla="*/ 2431575 h 11747497"/>
              <a:gd name="connsiteX741" fmla="*/ 157384 w 4838702"/>
              <a:gd name="connsiteY741" fmla="*/ 2695135 h 11747497"/>
              <a:gd name="connsiteX742" fmla="*/ 157229 w 4838702"/>
              <a:gd name="connsiteY742" fmla="*/ 2722857 h 11747497"/>
              <a:gd name="connsiteX743" fmla="*/ 153608 w 4838702"/>
              <a:gd name="connsiteY743" fmla="*/ 2722758 h 11747497"/>
              <a:gd name="connsiteX744" fmla="*/ 153763 w 4838702"/>
              <a:gd name="connsiteY744" fmla="*/ 2695035 h 11747497"/>
              <a:gd name="connsiteX745" fmla="*/ 157849 w 4838702"/>
              <a:gd name="connsiteY745" fmla="*/ 807435 h 11747497"/>
              <a:gd name="connsiteX746" fmla="*/ 155056 w 4838702"/>
              <a:gd name="connsiteY746" fmla="*/ 878934 h 11747497"/>
              <a:gd name="connsiteX747" fmla="*/ 154746 w 4838702"/>
              <a:gd name="connsiteY747" fmla="*/ 934379 h 11747497"/>
              <a:gd name="connsiteX748" fmla="*/ 152057 w 4838702"/>
              <a:gd name="connsiteY748" fmla="*/ 1056037 h 11747497"/>
              <a:gd name="connsiteX749" fmla="*/ 145075 w 4838702"/>
              <a:gd name="connsiteY749" fmla="*/ 1388303 h 11747497"/>
              <a:gd name="connsiteX750" fmla="*/ 139178 w 4838702"/>
              <a:gd name="connsiteY750" fmla="*/ 1402265 h 11747497"/>
              <a:gd name="connsiteX751" fmla="*/ 141765 w 4838702"/>
              <a:gd name="connsiteY751" fmla="*/ 1263754 h 11747497"/>
              <a:gd name="connsiteX752" fmla="*/ 138868 w 4838702"/>
              <a:gd name="connsiteY752" fmla="*/ 1247998 h 11747497"/>
              <a:gd name="connsiteX753" fmla="*/ 139592 w 4838702"/>
              <a:gd name="connsiteY753" fmla="*/ 1218083 h 11747497"/>
              <a:gd name="connsiteX754" fmla="*/ 139178 w 4838702"/>
              <a:gd name="connsiteY754" fmla="*/ 1165730 h 11747497"/>
              <a:gd name="connsiteX755" fmla="*/ 139075 w 4838702"/>
              <a:gd name="connsiteY755" fmla="*/ 1145985 h 11747497"/>
              <a:gd name="connsiteX756" fmla="*/ 140678 w 4838702"/>
              <a:gd name="connsiteY756" fmla="*/ 1139004 h 11747497"/>
              <a:gd name="connsiteX757" fmla="*/ 143368 w 4838702"/>
              <a:gd name="connsiteY757" fmla="*/ 986631 h 11747497"/>
              <a:gd name="connsiteX758" fmla="*/ 151591 w 4838702"/>
              <a:gd name="connsiteY758" fmla="*/ 851212 h 11747497"/>
              <a:gd name="connsiteX759" fmla="*/ 150246 w 4838702"/>
              <a:gd name="connsiteY759" fmla="*/ 768046 h 11747497"/>
              <a:gd name="connsiteX760" fmla="*/ 154642 w 4838702"/>
              <a:gd name="connsiteY760" fmla="*/ 751393 h 11747497"/>
              <a:gd name="connsiteX761" fmla="*/ 157694 w 4838702"/>
              <a:gd name="connsiteY761" fmla="*/ 755082 h 11747497"/>
              <a:gd name="connsiteX762" fmla="*/ 157849 w 4838702"/>
              <a:gd name="connsiteY762" fmla="*/ 807435 h 11747497"/>
              <a:gd name="connsiteX763" fmla="*/ 158366 w 4838702"/>
              <a:gd name="connsiteY763" fmla="*/ 2279452 h 11747497"/>
              <a:gd name="connsiteX764" fmla="*/ 152418 w 4838702"/>
              <a:gd name="connsiteY764" fmla="*/ 2292965 h 11747497"/>
              <a:gd name="connsiteX765" fmla="*/ 158108 w 4838702"/>
              <a:gd name="connsiteY765" fmla="*/ 2251581 h 11747497"/>
              <a:gd name="connsiteX766" fmla="*/ 158366 w 4838702"/>
              <a:gd name="connsiteY766" fmla="*/ 2279452 h 11747497"/>
              <a:gd name="connsiteX767" fmla="*/ 161780 w 4838702"/>
              <a:gd name="connsiteY767" fmla="*/ 1918915 h 11747497"/>
              <a:gd name="connsiteX768" fmla="*/ 154591 w 4838702"/>
              <a:gd name="connsiteY768" fmla="*/ 1904854 h 11747497"/>
              <a:gd name="connsiteX769" fmla="*/ 158625 w 4838702"/>
              <a:gd name="connsiteY769" fmla="*/ 1835649 h 11747497"/>
              <a:gd name="connsiteX770" fmla="*/ 161780 w 4838702"/>
              <a:gd name="connsiteY770" fmla="*/ 1918915 h 11747497"/>
              <a:gd name="connsiteX771" fmla="*/ 162273 w 4838702"/>
              <a:gd name="connsiteY771" fmla="*/ 1654241 h 11747497"/>
              <a:gd name="connsiteX772" fmla="*/ 161262 w 4838702"/>
              <a:gd name="connsiteY772" fmla="*/ 1697138 h 11747497"/>
              <a:gd name="connsiteX773" fmla="*/ 162273 w 4838702"/>
              <a:gd name="connsiteY773" fmla="*/ 1654241 h 11747497"/>
              <a:gd name="connsiteX774" fmla="*/ 165025 w 4838702"/>
              <a:gd name="connsiteY774" fmla="*/ 506468 h 11747497"/>
              <a:gd name="connsiteX775" fmla="*/ 162090 w 4838702"/>
              <a:gd name="connsiteY775" fmla="*/ 602112 h 11747497"/>
              <a:gd name="connsiteX776" fmla="*/ 160021 w 4838702"/>
              <a:gd name="connsiteY776" fmla="*/ 643694 h 11747497"/>
              <a:gd name="connsiteX777" fmla="*/ 159867 w 4838702"/>
              <a:gd name="connsiteY777" fmla="*/ 715193 h 11747497"/>
              <a:gd name="connsiteX778" fmla="*/ 152211 w 4838702"/>
              <a:gd name="connsiteY778" fmla="*/ 675705 h 11747497"/>
              <a:gd name="connsiteX779" fmla="*/ 152987 w 4838702"/>
              <a:gd name="connsiteY779" fmla="*/ 601813 h 11747497"/>
              <a:gd name="connsiteX780" fmla="*/ 151850 w 4838702"/>
              <a:gd name="connsiteY780" fmla="*/ 601613 h 11747497"/>
              <a:gd name="connsiteX781" fmla="*/ 153763 w 4838702"/>
              <a:gd name="connsiteY781" fmla="*/ 567409 h 11747497"/>
              <a:gd name="connsiteX782" fmla="*/ 155470 w 4838702"/>
              <a:gd name="connsiteY782" fmla="*/ 515355 h 11747497"/>
              <a:gd name="connsiteX783" fmla="*/ 153815 w 4838702"/>
              <a:gd name="connsiteY783" fmla="*/ 475567 h 11747497"/>
              <a:gd name="connsiteX784" fmla="*/ 154384 w 4838702"/>
              <a:gd name="connsiteY784" fmla="*/ 447047 h 11747497"/>
              <a:gd name="connsiteX785" fmla="*/ 159453 w 4838702"/>
              <a:gd name="connsiteY785" fmla="*/ 421918 h 11747497"/>
              <a:gd name="connsiteX786" fmla="*/ 163331 w 4838702"/>
              <a:gd name="connsiteY786" fmla="*/ 380434 h 11747497"/>
              <a:gd name="connsiteX787" fmla="*/ 161366 w 4838702"/>
              <a:gd name="connsiteY787" fmla="*/ 408057 h 11747497"/>
              <a:gd name="connsiteX788" fmla="*/ 165025 w 4838702"/>
              <a:gd name="connsiteY788" fmla="*/ 506468 h 11747497"/>
              <a:gd name="connsiteX789" fmla="*/ 168607 w 4838702"/>
              <a:gd name="connsiteY789" fmla="*/ 1161640 h 11747497"/>
              <a:gd name="connsiteX790" fmla="*/ 166642 w 4838702"/>
              <a:gd name="connsiteY790" fmla="*/ 1189263 h 11747497"/>
              <a:gd name="connsiteX791" fmla="*/ 163021 w 4838702"/>
              <a:gd name="connsiteY791" fmla="*/ 1189164 h 11747497"/>
              <a:gd name="connsiteX792" fmla="*/ 168607 w 4838702"/>
              <a:gd name="connsiteY792" fmla="*/ 1161640 h 11747497"/>
              <a:gd name="connsiteX793" fmla="*/ 232584 w 4838702"/>
              <a:gd name="connsiteY793" fmla="*/ 249003 h 11747497"/>
              <a:gd name="connsiteX794" fmla="*/ 213241 w 4838702"/>
              <a:gd name="connsiteY794" fmla="*/ 249003 h 11747497"/>
              <a:gd name="connsiteX795" fmla="*/ 232584 w 4838702"/>
              <a:gd name="connsiteY795" fmla="*/ 249003 h 11747497"/>
              <a:gd name="connsiteX796" fmla="*/ 1167782 w 4838702"/>
              <a:gd name="connsiteY796" fmla="*/ 40588 h 11747497"/>
              <a:gd name="connsiteX797" fmla="*/ 1149422 w 4838702"/>
              <a:gd name="connsiteY797" fmla="*/ 40588 h 11747497"/>
              <a:gd name="connsiteX798" fmla="*/ 1167782 w 4838702"/>
              <a:gd name="connsiteY798" fmla="*/ 40588 h 11747497"/>
              <a:gd name="connsiteX799" fmla="*/ 1346785 w 4838702"/>
              <a:gd name="connsiteY799" fmla="*/ 99522 h 11747497"/>
              <a:gd name="connsiteX800" fmla="*/ 1337630 w 4838702"/>
              <a:gd name="connsiteY800" fmla="*/ 99522 h 11747497"/>
              <a:gd name="connsiteX801" fmla="*/ 1346785 w 4838702"/>
              <a:gd name="connsiteY801" fmla="*/ 99522 h 11747497"/>
              <a:gd name="connsiteX802" fmla="*/ 1612935 w 4838702"/>
              <a:gd name="connsiteY802" fmla="*/ 125649 h 11747497"/>
              <a:gd name="connsiteX803" fmla="*/ 1603781 w 4838702"/>
              <a:gd name="connsiteY803" fmla="*/ 125649 h 11747497"/>
              <a:gd name="connsiteX804" fmla="*/ 1603781 w 4838702"/>
              <a:gd name="connsiteY804" fmla="*/ 112586 h 11747497"/>
              <a:gd name="connsiteX805" fmla="*/ 1612935 w 4838702"/>
              <a:gd name="connsiteY805" fmla="*/ 112586 h 11747497"/>
              <a:gd name="connsiteX806" fmla="*/ 1612935 w 4838702"/>
              <a:gd name="connsiteY806" fmla="*/ 125649 h 11747497"/>
              <a:gd name="connsiteX807" fmla="*/ 1741459 w 4838702"/>
              <a:gd name="connsiteY807" fmla="*/ 125649 h 11747497"/>
              <a:gd name="connsiteX808" fmla="*/ 1736856 w 4838702"/>
              <a:gd name="connsiteY808" fmla="*/ 151875 h 11747497"/>
              <a:gd name="connsiteX809" fmla="*/ 1741459 w 4838702"/>
              <a:gd name="connsiteY809" fmla="*/ 125649 h 11747497"/>
              <a:gd name="connsiteX810" fmla="*/ 1892895 w 4838702"/>
              <a:gd name="connsiteY810" fmla="*/ 248904 h 11747497"/>
              <a:gd name="connsiteX811" fmla="*/ 1883741 w 4838702"/>
              <a:gd name="connsiteY811" fmla="*/ 248904 h 11747497"/>
              <a:gd name="connsiteX812" fmla="*/ 1883741 w 4838702"/>
              <a:gd name="connsiteY812" fmla="*/ 236936 h 11747497"/>
              <a:gd name="connsiteX813" fmla="*/ 1892895 w 4838702"/>
              <a:gd name="connsiteY813" fmla="*/ 236936 h 11747497"/>
              <a:gd name="connsiteX814" fmla="*/ 1892895 w 4838702"/>
              <a:gd name="connsiteY814" fmla="*/ 248904 h 11747497"/>
              <a:gd name="connsiteX815" fmla="*/ 1920410 w 4838702"/>
              <a:gd name="connsiteY815" fmla="*/ 99522 h 11747497"/>
              <a:gd name="connsiteX816" fmla="*/ 1892843 w 4838702"/>
              <a:gd name="connsiteY816" fmla="*/ 112586 h 11747497"/>
              <a:gd name="connsiteX817" fmla="*/ 1902050 w 4838702"/>
              <a:gd name="connsiteY817" fmla="*/ 92942 h 11747497"/>
              <a:gd name="connsiteX818" fmla="*/ 1920410 w 4838702"/>
              <a:gd name="connsiteY818" fmla="*/ 99522 h 11747497"/>
              <a:gd name="connsiteX819" fmla="*/ 1921651 w 4838702"/>
              <a:gd name="connsiteY819" fmla="*/ 249003 h 11747497"/>
              <a:gd name="connsiteX820" fmla="*/ 1906601 w 4838702"/>
              <a:gd name="connsiteY820" fmla="*/ 249003 h 11747497"/>
              <a:gd name="connsiteX821" fmla="*/ 1921651 w 4838702"/>
              <a:gd name="connsiteY821" fmla="*/ 249003 h 11747497"/>
              <a:gd name="connsiteX822" fmla="*/ 1925013 w 4838702"/>
              <a:gd name="connsiteY822" fmla="*/ 151875 h 11747497"/>
              <a:gd name="connsiteX823" fmla="*/ 1902050 w 4838702"/>
              <a:gd name="connsiteY823" fmla="*/ 151875 h 11747497"/>
              <a:gd name="connsiteX824" fmla="*/ 1925013 w 4838702"/>
              <a:gd name="connsiteY824" fmla="*/ 151875 h 11747497"/>
              <a:gd name="connsiteX825" fmla="*/ 1952528 w 4838702"/>
              <a:gd name="connsiteY825" fmla="*/ 158458 h 11747497"/>
              <a:gd name="connsiteX826" fmla="*/ 1934219 w 4838702"/>
              <a:gd name="connsiteY826" fmla="*/ 165038 h 11747497"/>
              <a:gd name="connsiteX827" fmla="*/ 1943373 w 4838702"/>
              <a:gd name="connsiteY827" fmla="*/ 158458 h 11747497"/>
              <a:gd name="connsiteX828" fmla="*/ 1952528 w 4838702"/>
              <a:gd name="connsiteY828" fmla="*/ 158458 h 11747497"/>
              <a:gd name="connsiteX829" fmla="*/ 2067294 w 4838702"/>
              <a:gd name="connsiteY829" fmla="*/ 125649 h 11747497"/>
              <a:gd name="connsiteX830" fmla="*/ 2053536 w 4838702"/>
              <a:gd name="connsiteY830" fmla="*/ 132231 h 11747497"/>
              <a:gd name="connsiteX831" fmla="*/ 2067294 w 4838702"/>
              <a:gd name="connsiteY831" fmla="*/ 125649 h 11747497"/>
              <a:gd name="connsiteX832" fmla="*/ 2094809 w 4838702"/>
              <a:gd name="connsiteY832" fmla="*/ 178102 h 11747497"/>
              <a:gd name="connsiteX833" fmla="*/ 2085655 w 4838702"/>
              <a:gd name="connsiteY833" fmla="*/ 178102 h 11747497"/>
              <a:gd name="connsiteX834" fmla="*/ 2094809 w 4838702"/>
              <a:gd name="connsiteY834" fmla="*/ 178102 h 11747497"/>
              <a:gd name="connsiteX835" fmla="*/ 2108567 w 4838702"/>
              <a:gd name="connsiteY835" fmla="*/ 99522 h 11747497"/>
              <a:gd name="connsiteX836" fmla="*/ 2108567 w 4838702"/>
              <a:gd name="connsiteY836" fmla="*/ 99522 h 11747497"/>
              <a:gd name="connsiteX837" fmla="*/ 2126927 w 4838702"/>
              <a:gd name="connsiteY837" fmla="*/ 132231 h 11747497"/>
              <a:gd name="connsiteX838" fmla="*/ 2122376 w 4838702"/>
              <a:gd name="connsiteY838" fmla="*/ 132231 h 11747497"/>
              <a:gd name="connsiteX839" fmla="*/ 2122376 w 4838702"/>
              <a:gd name="connsiteY839" fmla="*/ 127064 h 11747497"/>
              <a:gd name="connsiteX840" fmla="*/ 2121129 w 4838702"/>
              <a:gd name="connsiteY840" fmla="*/ 125649 h 11747497"/>
              <a:gd name="connsiteX841" fmla="*/ 2117772 w 4838702"/>
              <a:gd name="connsiteY841" fmla="*/ 125649 h 11747497"/>
              <a:gd name="connsiteX842" fmla="*/ 2117637 w 4838702"/>
              <a:gd name="connsiteY842" fmla="*/ 121685 h 11747497"/>
              <a:gd name="connsiteX843" fmla="*/ 2121129 w 4838702"/>
              <a:gd name="connsiteY843" fmla="*/ 125649 h 11747497"/>
              <a:gd name="connsiteX844" fmla="*/ 2122376 w 4838702"/>
              <a:gd name="connsiteY844" fmla="*/ 125649 h 11747497"/>
              <a:gd name="connsiteX845" fmla="*/ 2122376 w 4838702"/>
              <a:gd name="connsiteY845" fmla="*/ 127064 h 11747497"/>
              <a:gd name="connsiteX846" fmla="*/ 2159045 w 4838702"/>
              <a:gd name="connsiteY846" fmla="*/ 106104 h 11747497"/>
              <a:gd name="connsiteX847" fmla="*/ 2154442 w 4838702"/>
              <a:gd name="connsiteY847" fmla="*/ 99522 h 11747497"/>
              <a:gd name="connsiteX848" fmla="*/ 2145287 w 4838702"/>
              <a:gd name="connsiteY848" fmla="*/ 99522 h 11747497"/>
              <a:gd name="connsiteX849" fmla="*/ 2154442 w 4838702"/>
              <a:gd name="connsiteY849" fmla="*/ 92942 h 11747497"/>
              <a:gd name="connsiteX850" fmla="*/ 2159045 w 4838702"/>
              <a:gd name="connsiteY850" fmla="*/ 106104 h 11747497"/>
              <a:gd name="connsiteX851" fmla="*/ 2196363 w 4838702"/>
              <a:gd name="connsiteY851" fmla="*/ 110993 h 11747497"/>
              <a:gd name="connsiteX852" fmla="*/ 2191163 w 4838702"/>
              <a:gd name="connsiteY852" fmla="*/ 99522 h 11747497"/>
              <a:gd name="connsiteX853" fmla="*/ 2196363 w 4838702"/>
              <a:gd name="connsiteY853" fmla="*/ 110993 h 11747497"/>
              <a:gd name="connsiteX854" fmla="*/ 2200369 w 4838702"/>
              <a:gd name="connsiteY854" fmla="*/ 151875 h 11747497"/>
              <a:gd name="connsiteX855" fmla="*/ 2177405 w 4838702"/>
              <a:gd name="connsiteY855" fmla="*/ 158458 h 11747497"/>
              <a:gd name="connsiteX856" fmla="*/ 2200369 w 4838702"/>
              <a:gd name="connsiteY856" fmla="*/ 151875 h 11747497"/>
              <a:gd name="connsiteX857" fmla="*/ 2227884 w 4838702"/>
              <a:gd name="connsiteY857" fmla="*/ 165038 h 11747497"/>
              <a:gd name="connsiteX858" fmla="*/ 2209523 w 4838702"/>
              <a:gd name="connsiteY858" fmla="*/ 165038 h 11747497"/>
              <a:gd name="connsiteX859" fmla="*/ 2209523 w 4838702"/>
              <a:gd name="connsiteY859" fmla="*/ 158458 h 11747497"/>
              <a:gd name="connsiteX860" fmla="*/ 2204921 w 4838702"/>
              <a:gd name="connsiteY860" fmla="*/ 151875 h 11747497"/>
              <a:gd name="connsiteX861" fmla="*/ 2209523 w 4838702"/>
              <a:gd name="connsiteY861" fmla="*/ 158458 h 11747497"/>
              <a:gd name="connsiteX862" fmla="*/ 2227884 w 4838702"/>
              <a:gd name="connsiteY862" fmla="*/ 165038 h 11747497"/>
              <a:gd name="connsiteX863" fmla="*/ 2292172 w 4838702"/>
              <a:gd name="connsiteY863" fmla="*/ 158458 h 11747497"/>
              <a:gd name="connsiteX864" fmla="*/ 2255451 w 4838702"/>
              <a:gd name="connsiteY864" fmla="*/ 165038 h 11747497"/>
              <a:gd name="connsiteX865" fmla="*/ 2292172 w 4838702"/>
              <a:gd name="connsiteY865" fmla="*/ 158458 h 11747497"/>
              <a:gd name="connsiteX866" fmla="*/ 2356408 w 4838702"/>
              <a:gd name="connsiteY866" fmla="*/ 178002 h 11747497"/>
              <a:gd name="connsiteX867" fmla="*/ 2347202 w 4838702"/>
              <a:gd name="connsiteY867" fmla="*/ 164939 h 11747497"/>
              <a:gd name="connsiteX868" fmla="*/ 2356408 w 4838702"/>
              <a:gd name="connsiteY868" fmla="*/ 178002 h 11747497"/>
              <a:gd name="connsiteX869" fmla="*/ 2374888 w 4838702"/>
              <a:gd name="connsiteY869" fmla="*/ 141980 h 11747497"/>
              <a:gd name="connsiteX870" fmla="*/ 2374769 w 4838702"/>
              <a:gd name="connsiteY870" fmla="*/ 145295 h 11747497"/>
              <a:gd name="connsiteX871" fmla="*/ 2361011 w 4838702"/>
              <a:gd name="connsiteY871" fmla="*/ 138713 h 11747497"/>
              <a:gd name="connsiteX872" fmla="*/ 2351805 w 4838702"/>
              <a:gd name="connsiteY872" fmla="*/ 138713 h 11747497"/>
              <a:gd name="connsiteX873" fmla="*/ 2356408 w 4838702"/>
              <a:gd name="connsiteY873" fmla="*/ 125649 h 11747497"/>
              <a:gd name="connsiteX874" fmla="*/ 2361011 w 4838702"/>
              <a:gd name="connsiteY874" fmla="*/ 138713 h 11747497"/>
              <a:gd name="connsiteX875" fmla="*/ 2374888 w 4838702"/>
              <a:gd name="connsiteY875" fmla="*/ 141980 h 11747497"/>
              <a:gd name="connsiteX876" fmla="*/ 2440039 w 4838702"/>
              <a:gd name="connsiteY876" fmla="*/ 148001 h 11747497"/>
              <a:gd name="connsiteX877" fmla="*/ 2397680 w 4838702"/>
              <a:gd name="connsiteY877" fmla="*/ 145295 h 11747497"/>
              <a:gd name="connsiteX878" fmla="*/ 2411438 w 4838702"/>
              <a:gd name="connsiteY878" fmla="*/ 112486 h 11747497"/>
              <a:gd name="connsiteX879" fmla="*/ 2425195 w 4838702"/>
              <a:gd name="connsiteY879" fmla="*/ 138713 h 11747497"/>
              <a:gd name="connsiteX880" fmla="*/ 2438953 w 4838702"/>
              <a:gd name="connsiteY880" fmla="*/ 145295 h 11747497"/>
              <a:gd name="connsiteX881" fmla="*/ 2440039 w 4838702"/>
              <a:gd name="connsiteY881" fmla="*/ 148001 h 11747497"/>
              <a:gd name="connsiteX882" fmla="*/ 2443607 w 4838702"/>
              <a:gd name="connsiteY882" fmla="*/ 178102 h 11747497"/>
              <a:gd name="connsiteX883" fmla="*/ 2429954 w 4838702"/>
              <a:gd name="connsiteY883" fmla="*/ 184783 h 11747497"/>
              <a:gd name="connsiteX884" fmla="*/ 2411593 w 4838702"/>
              <a:gd name="connsiteY884" fmla="*/ 191365 h 11747497"/>
              <a:gd name="connsiteX885" fmla="*/ 2406990 w 4838702"/>
              <a:gd name="connsiteY885" fmla="*/ 184783 h 11747497"/>
              <a:gd name="connsiteX886" fmla="*/ 2402387 w 4838702"/>
              <a:gd name="connsiteY886" fmla="*/ 184783 h 11747497"/>
              <a:gd name="connsiteX887" fmla="*/ 2397784 w 4838702"/>
              <a:gd name="connsiteY887" fmla="*/ 178201 h 11747497"/>
              <a:gd name="connsiteX888" fmla="*/ 2370217 w 4838702"/>
              <a:gd name="connsiteY888" fmla="*/ 178201 h 11747497"/>
              <a:gd name="connsiteX889" fmla="*/ 2383975 w 4838702"/>
              <a:gd name="connsiteY889" fmla="*/ 171620 h 11747497"/>
              <a:gd name="connsiteX890" fmla="*/ 2406887 w 4838702"/>
              <a:gd name="connsiteY890" fmla="*/ 165038 h 11747497"/>
              <a:gd name="connsiteX891" fmla="*/ 2411489 w 4838702"/>
              <a:gd name="connsiteY891" fmla="*/ 184684 h 11747497"/>
              <a:gd name="connsiteX892" fmla="*/ 2443607 w 4838702"/>
              <a:gd name="connsiteY892" fmla="*/ 178102 h 11747497"/>
              <a:gd name="connsiteX893" fmla="*/ 2466520 w 4838702"/>
              <a:gd name="connsiteY893" fmla="*/ 184584 h 11747497"/>
              <a:gd name="connsiteX894" fmla="*/ 2448159 w 4838702"/>
              <a:gd name="connsiteY894" fmla="*/ 164939 h 11747497"/>
              <a:gd name="connsiteX895" fmla="*/ 2466520 w 4838702"/>
              <a:gd name="connsiteY895" fmla="*/ 184584 h 11747497"/>
              <a:gd name="connsiteX896" fmla="*/ 2471123 w 4838702"/>
              <a:gd name="connsiteY896" fmla="*/ 138812 h 11747497"/>
              <a:gd name="connsiteX897" fmla="*/ 2457365 w 4838702"/>
              <a:gd name="connsiteY897" fmla="*/ 158458 h 11747497"/>
              <a:gd name="connsiteX898" fmla="*/ 2471123 w 4838702"/>
              <a:gd name="connsiteY898" fmla="*/ 138812 h 11747497"/>
              <a:gd name="connsiteX899" fmla="*/ 2494086 w 4838702"/>
              <a:gd name="connsiteY899" fmla="*/ 125649 h 11747497"/>
              <a:gd name="connsiteX900" fmla="*/ 2480329 w 4838702"/>
              <a:gd name="connsiteY900" fmla="*/ 99423 h 11747497"/>
              <a:gd name="connsiteX901" fmla="*/ 2494086 w 4838702"/>
              <a:gd name="connsiteY901" fmla="*/ 125649 h 11747497"/>
              <a:gd name="connsiteX902" fmla="*/ 2507844 w 4838702"/>
              <a:gd name="connsiteY902" fmla="*/ 184584 h 11747497"/>
              <a:gd name="connsiteX903" fmla="*/ 2484880 w 4838702"/>
              <a:gd name="connsiteY903" fmla="*/ 197646 h 11747497"/>
              <a:gd name="connsiteX904" fmla="*/ 2507844 w 4838702"/>
              <a:gd name="connsiteY904" fmla="*/ 184584 h 11747497"/>
              <a:gd name="connsiteX905" fmla="*/ 2512447 w 4838702"/>
              <a:gd name="connsiteY905" fmla="*/ 138812 h 11747497"/>
              <a:gd name="connsiteX906" fmla="*/ 2480329 w 4838702"/>
              <a:gd name="connsiteY906" fmla="*/ 151875 h 11747497"/>
              <a:gd name="connsiteX907" fmla="*/ 2512447 w 4838702"/>
              <a:gd name="connsiteY907" fmla="*/ 138812 h 11747497"/>
              <a:gd name="connsiteX908" fmla="*/ 2558322 w 4838702"/>
              <a:gd name="connsiteY908" fmla="*/ 236936 h 11747497"/>
              <a:gd name="connsiteX909" fmla="*/ 2535359 w 4838702"/>
              <a:gd name="connsiteY909" fmla="*/ 243518 h 11747497"/>
              <a:gd name="connsiteX910" fmla="*/ 2558322 w 4838702"/>
              <a:gd name="connsiteY910" fmla="*/ 236936 h 11747497"/>
              <a:gd name="connsiteX911" fmla="*/ 2575219 w 4838702"/>
              <a:gd name="connsiteY911" fmla="*/ 141798 h 11747497"/>
              <a:gd name="connsiteX912" fmla="*/ 2553771 w 4838702"/>
              <a:gd name="connsiteY912" fmla="*/ 158458 h 11747497"/>
              <a:gd name="connsiteX913" fmla="*/ 2549168 w 4838702"/>
              <a:gd name="connsiteY913" fmla="*/ 171521 h 11747497"/>
              <a:gd name="connsiteX914" fmla="*/ 2544565 w 4838702"/>
              <a:gd name="connsiteY914" fmla="*/ 145295 h 11747497"/>
              <a:gd name="connsiteX915" fmla="*/ 2567528 w 4838702"/>
              <a:gd name="connsiteY915" fmla="*/ 138812 h 11747497"/>
              <a:gd name="connsiteX916" fmla="*/ 2575219 w 4838702"/>
              <a:gd name="connsiteY916" fmla="*/ 141798 h 11747497"/>
              <a:gd name="connsiteX917" fmla="*/ 2576683 w 4838702"/>
              <a:gd name="connsiteY917" fmla="*/ 197747 h 11747497"/>
              <a:gd name="connsiteX918" fmla="*/ 2553771 w 4838702"/>
              <a:gd name="connsiteY918" fmla="*/ 204328 h 11747497"/>
              <a:gd name="connsiteX919" fmla="*/ 2567528 w 4838702"/>
              <a:gd name="connsiteY919" fmla="*/ 197747 h 11747497"/>
              <a:gd name="connsiteX920" fmla="*/ 2567528 w 4838702"/>
              <a:gd name="connsiteY920" fmla="*/ 184684 h 11747497"/>
              <a:gd name="connsiteX921" fmla="*/ 2576683 w 4838702"/>
              <a:gd name="connsiteY921" fmla="*/ 197747 h 11747497"/>
              <a:gd name="connsiteX922" fmla="*/ 2595354 w 4838702"/>
              <a:gd name="connsiteY922" fmla="*/ 248904 h 11747497"/>
              <a:gd name="connsiteX923" fmla="*/ 2589509 w 4838702"/>
              <a:gd name="connsiteY923" fmla="*/ 248904 h 11747497"/>
              <a:gd name="connsiteX924" fmla="*/ 2576683 w 4838702"/>
              <a:gd name="connsiteY924" fmla="*/ 243518 h 11747497"/>
              <a:gd name="connsiteX925" fmla="*/ 2595354 w 4838702"/>
              <a:gd name="connsiteY925" fmla="*/ 248904 h 11747497"/>
              <a:gd name="connsiteX926" fmla="*/ 2636174 w 4838702"/>
              <a:gd name="connsiteY926" fmla="*/ 196429 h 11747497"/>
              <a:gd name="connsiteX927" fmla="*/ 2622558 w 4838702"/>
              <a:gd name="connsiteY927" fmla="*/ 197747 h 11747497"/>
              <a:gd name="connsiteX928" fmla="*/ 2631765 w 4838702"/>
              <a:gd name="connsiteY928" fmla="*/ 191265 h 11747497"/>
              <a:gd name="connsiteX929" fmla="*/ 2636174 w 4838702"/>
              <a:gd name="connsiteY929" fmla="*/ 196429 h 11747497"/>
              <a:gd name="connsiteX930" fmla="*/ 2636368 w 4838702"/>
              <a:gd name="connsiteY930" fmla="*/ 243518 h 11747497"/>
              <a:gd name="connsiteX931" fmla="*/ 2633420 w 4838702"/>
              <a:gd name="connsiteY931" fmla="*/ 248904 h 11747497"/>
              <a:gd name="connsiteX932" fmla="*/ 2604663 w 4838702"/>
              <a:gd name="connsiteY932" fmla="*/ 248904 h 11747497"/>
              <a:gd name="connsiteX933" fmla="*/ 2636368 w 4838702"/>
              <a:gd name="connsiteY933" fmla="*/ 243518 h 11747497"/>
              <a:gd name="connsiteX934" fmla="*/ 2643257 w 4838702"/>
              <a:gd name="connsiteY934" fmla="*/ 149324 h 11747497"/>
              <a:gd name="connsiteX935" fmla="*/ 2640919 w 4838702"/>
              <a:gd name="connsiteY935" fmla="*/ 158458 h 11747497"/>
              <a:gd name="connsiteX936" fmla="*/ 2627161 w 4838702"/>
              <a:gd name="connsiteY936" fmla="*/ 151875 h 11747497"/>
              <a:gd name="connsiteX937" fmla="*/ 2643257 w 4838702"/>
              <a:gd name="connsiteY937" fmla="*/ 149324 h 11747497"/>
              <a:gd name="connsiteX938" fmla="*/ 2645522 w 4838702"/>
              <a:gd name="connsiteY938" fmla="*/ 132231 h 11747497"/>
              <a:gd name="connsiteX939" fmla="*/ 2631765 w 4838702"/>
              <a:gd name="connsiteY939" fmla="*/ 119168 h 11747497"/>
              <a:gd name="connsiteX940" fmla="*/ 2618007 w 4838702"/>
              <a:gd name="connsiteY940" fmla="*/ 132231 h 11747497"/>
              <a:gd name="connsiteX941" fmla="*/ 2645522 w 4838702"/>
              <a:gd name="connsiteY941" fmla="*/ 132231 h 11747497"/>
              <a:gd name="connsiteX942" fmla="*/ 2673037 w 4838702"/>
              <a:gd name="connsiteY942" fmla="*/ 204229 h 11747497"/>
              <a:gd name="connsiteX943" fmla="*/ 2608801 w 4838702"/>
              <a:gd name="connsiteY943" fmla="*/ 210710 h 11747497"/>
              <a:gd name="connsiteX944" fmla="*/ 2622558 w 4838702"/>
              <a:gd name="connsiteY944" fmla="*/ 204229 h 11747497"/>
              <a:gd name="connsiteX945" fmla="*/ 2627161 w 4838702"/>
              <a:gd name="connsiteY945" fmla="*/ 204229 h 11747497"/>
              <a:gd name="connsiteX946" fmla="*/ 2631765 w 4838702"/>
              <a:gd name="connsiteY946" fmla="*/ 210710 h 11747497"/>
              <a:gd name="connsiteX947" fmla="*/ 2640919 w 4838702"/>
              <a:gd name="connsiteY947" fmla="*/ 204229 h 11747497"/>
              <a:gd name="connsiteX948" fmla="*/ 2659279 w 4838702"/>
              <a:gd name="connsiteY948" fmla="*/ 197646 h 11747497"/>
              <a:gd name="connsiteX949" fmla="*/ 2673037 w 4838702"/>
              <a:gd name="connsiteY949" fmla="*/ 204229 h 11747497"/>
              <a:gd name="connsiteX950" fmla="*/ 2691397 w 4838702"/>
              <a:gd name="connsiteY950" fmla="*/ 119168 h 11747497"/>
              <a:gd name="connsiteX951" fmla="*/ 2682243 w 4838702"/>
              <a:gd name="connsiteY951" fmla="*/ 119168 h 11747497"/>
              <a:gd name="connsiteX952" fmla="*/ 2691397 w 4838702"/>
              <a:gd name="connsiteY952" fmla="*/ 119168 h 11747497"/>
              <a:gd name="connsiteX953" fmla="*/ 2723515 w 4838702"/>
              <a:gd name="connsiteY953" fmla="*/ 145295 h 11747497"/>
              <a:gd name="connsiteX954" fmla="*/ 2691397 w 4838702"/>
              <a:gd name="connsiteY954" fmla="*/ 151776 h 11747497"/>
              <a:gd name="connsiteX955" fmla="*/ 2723515 w 4838702"/>
              <a:gd name="connsiteY955" fmla="*/ 145295 h 11747497"/>
              <a:gd name="connsiteX956" fmla="*/ 2741876 w 4838702"/>
              <a:gd name="connsiteY956" fmla="*/ 164939 h 11747497"/>
              <a:gd name="connsiteX957" fmla="*/ 2732722 w 4838702"/>
              <a:gd name="connsiteY957" fmla="*/ 164939 h 11747497"/>
              <a:gd name="connsiteX958" fmla="*/ 2741876 w 4838702"/>
              <a:gd name="connsiteY958" fmla="*/ 164939 h 11747497"/>
              <a:gd name="connsiteX959" fmla="*/ 2778597 w 4838702"/>
              <a:gd name="connsiteY959" fmla="*/ 145295 h 11747497"/>
              <a:gd name="connsiteX960" fmla="*/ 2769391 w 4838702"/>
              <a:gd name="connsiteY960" fmla="*/ 151776 h 11747497"/>
              <a:gd name="connsiteX961" fmla="*/ 2769391 w 4838702"/>
              <a:gd name="connsiteY961" fmla="*/ 145295 h 11747497"/>
              <a:gd name="connsiteX962" fmla="*/ 2773994 w 4838702"/>
              <a:gd name="connsiteY962" fmla="*/ 138713 h 11747497"/>
              <a:gd name="connsiteX963" fmla="*/ 2778597 w 4838702"/>
              <a:gd name="connsiteY963" fmla="*/ 145295 h 11747497"/>
              <a:gd name="connsiteX964" fmla="*/ 2810715 w 4838702"/>
              <a:gd name="connsiteY964" fmla="*/ 138812 h 11747497"/>
              <a:gd name="connsiteX965" fmla="*/ 2787751 w 4838702"/>
              <a:gd name="connsiteY965" fmla="*/ 132231 h 11747497"/>
              <a:gd name="connsiteX966" fmla="*/ 2810715 w 4838702"/>
              <a:gd name="connsiteY966" fmla="*/ 138812 h 11747497"/>
              <a:gd name="connsiteX967" fmla="*/ 2829076 w 4838702"/>
              <a:gd name="connsiteY967" fmla="*/ 92942 h 11747497"/>
              <a:gd name="connsiteX968" fmla="*/ 2815318 w 4838702"/>
              <a:gd name="connsiteY968" fmla="*/ 99522 h 11747497"/>
              <a:gd name="connsiteX969" fmla="*/ 2801560 w 4838702"/>
              <a:gd name="connsiteY969" fmla="*/ 99522 h 11747497"/>
              <a:gd name="connsiteX970" fmla="*/ 2829076 w 4838702"/>
              <a:gd name="connsiteY970" fmla="*/ 92942 h 11747497"/>
              <a:gd name="connsiteX971" fmla="*/ 2878397 w 4838702"/>
              <a:gd name="connsiteY971" fmla="*/ 114767 h 11747497"/>
              <a:gd name="connsiteX972" fmla="*/ 2870400 w 4838702"/>
              <a:gd name="connsiteY972" fmla="*/ 119067 h 11747497"/>
              <a:gd name="connsiteX973" fmla="*/ 2856642 w 4838702"/>
              <a:gd name="connsiteY973" fmla="*/ 125649 h 11747497"/>
              <a:gd name="connsiteX974" fmla="*/ 2865796 w 4838702"/>
              <a:gd name="connsiteY974" fmla="*/ 112486 h 11747497"/>
              <a:gd name="connsiteX975" fmla="*/ 2878397 w 4838702"/>
              <a:gd name="connsiteY975" fmla="*/ 114767 h 11747497"/>
              <a:gd name="connsiteX976" fmla="*/ 2884158 w 4838702"/>
              <a:gd name="connsiteY976" fmla="*/ 158458 h 11747497"/>
              <a:gd name="connsiteX977" fmla="*/ 2838230 w 4838702"/>
              <a:gd name="connsiteY977" fmla="*/ 145493 h 11747497"/>
              <a:gd name="connsiteX978" fmla="*/ 2861194 w 4838702"/>
              <a:gd name="connsiteY978" fmla="*/ 138911 h 11747497"/>
              <a:gd name="connsiteX979" fmla="*/ 2861194 w 4838702"/>
              <a:gd name="connsiteY979" fmla="*/ 132331 h 11747497"/>
              <a:gd name="connsiteX980" fmla="*/ 2884158 w 4838702"/>
              <a:gd name="connsiteY980" fmla="*/ 145394 h 11747497"/>
              <a:gd name="connsiteX981" fmla="*/ 2884158 w 4838702"/>
              <a:gd name="connsiteY981" fmla="*/ 158458 h 11747497"/>
              <a:gd name="connsiteX982" fmla="*/ 2925482 w 4838702"/>
              <a:gd name="connsiteY982" fmla="*/ 92942 h 11747497"/>
              <a:gd name="connsiteX983" fmla="*/ 2916327 w 4838702"/>
              <a:gd name="connsiteY983" fmla="*/ 92942 h 11747497"/>
              <a:gd name="connsiteX984" fmla="*/ 2925482 w 4838702"/>
              <a:gd name="connsiteY984" fmla="*/ 92942 h 11747497"/>
              <a:gd name="connsiteX985" fmla="*/ 2939239 w 4838702"/>
              <a:gd name="connsiteY985" fmla="*/ 164939 h 11747497"/>
              <a:gd name="connsiteX986" fmla="*/ 2925482 w 4838702"/>
              <a:gd name="connsiteY986" fmla="*/ 164939 h 11747497"/>
              <a:gd name="connsiteX987" fmla="*/ 2939239 w 4838702"/>
              <a:gd name="connsiteY987" fmla="*/ 164939 h 11747497"/>
              <a:gd name="connsiteX988" fmla="*/ 2966418 w 4838702"/>
              <a:gd name="connsiteY988" fmla="*/ 172328 h 11747497"/>
              <a:gd name="connsiteX989" fmla="*/ 2962203 w 4838702"/>
              <a:gd name="connsiteY989" fmla="*/ 164939 h 11747497"/>
              <a:gd name="connsiteX990" fmla="*/ 2962203 w 4838702"/>
              <a:gd name="connsiteY990" fmla="*/ 151875 h 11747497"/>
              <a:gd name="connsiteX991" fmla="*/ 2943842 w 4838702"/>
              <a:gd name="connsiteY991" fmla="*/ 184584 h 11747497"/>
              <a:gd name="connsiteX992" fmla="*/ 2966418 w 4838702"/>
              <a:gd name="connsiteY992" fmla="*/ 172328 h 11747497"/>
              <a:gd name="connsiteX993" fmla="*/ 3012630 w 4838702"/>
              <a:gd name="connsiteY993" fmla="*/ 151875 h 11747497"/>
              <a:gd name="connsiteX994" fmla="*/ 3012630 w 4838702"/>
              <a:gd name="connsiteY994" fmla="*/ 138812 h 11747497"/>
              <a:gd name="connsiteX995" fmla="*/ 2998872 w 4838702"/>
              <a:gd name="connsiteY995" fmla="*/ 151875 h 11747497"/>
              <a:gd name="connsiteX996" fmla="*/ 3012630 w 4838702"/>
              <a:gd name="connsiteY996" fmla="*/ 151875 h 11747497"/>
              <a:gd name="connsiteX997" fmla="*/ 3031041 w 4838702"/>
              <a:gd name="connsiteY997" fmla="*/ 178102 h 11747497"/>
              <a:gd name="connsiteX998" fmla="*/ 3021887 w 4838702"/>
              <a:gd name="connsiteY998" fmla="*/ 158458 h 11747497"/>
              <a:gd name="connsiteX999" fmla="*/ 3017285 w 4838702"/>
              <a:gd name="connsiteY999" fmla="*/ 145394 h 11747497"/>
              <a:gd name="connsiteX1000" fmla="*/ 3012681 w 4838702"/>
              <a:gd name="connsiteY1000" fmla="*/ 178102 h 11747497"/>
              <a:gd name="connsiteX1001" fmla="*/ 3031041 w 4838702"/>
              <a:gd name="connsiteY1001" fmla="*/ 178102 h 11747497"/>
              <a:gd name="connsiteX1002" fmla="*/ 3031041 w 4838702"/>
              <a:gd name="connsiteY1002" fmla="*/ 236936 h 11747497"/>
              <a:gd name="connsiteX1003" fmla="*/ 3027111 w 4838702"/>
              <a:gd name="connsiteY1003" fmla="*/ 248904 h 11747497"/>
              <a:gd name="connsiteX1004" fmla="*/ 2893571 w 4838702"/>
              <a:gd name="connsiteY1004" fmla="*/ 248904 h 11747497"/>
              <a:gd name="connsiteX1005" fmla="*/ 2884261 w 4838702"/>
              <a:gd name="connsiteY1005" fmla="*/ 243518 h 11747497"/>
              <a:gd name="connsiteX1006" fmla="*/ 2882968 w 4838702"/>
              <a:gd name="connsiteY1006" fmla="*/ 248904 h 11747497"/>
              <a:gd name="connsiteX1007" fmla="*/ 2879606 w 4838702"/>
              <a:gd name="connsiteY1007" fmla="*/ 248904 h 11747497"/>
              <a:gd name="connsiteX1008" fmla="*/ 2879658 w 4838702"/>
              <a:gd name="connsiteY1008" fmla="*/ 243518 h 11747497"/>
              <a:gd name="connsiteX1009" fmla="*/ 2861297 w 4838702"/>
              <a:gd name="connsiteY1009" fmla="*/ 230455 h 11747497"/>
              <a:gd name="connsiteX1010" fmla="*/ 2916379 w 4838702"/>
              <a:gd name="connsiteY1010" fmla="*/ 236936 h 11747497"/>
              <a:gd name="connsiteX1011" fmla="*/ 2925533 w 4838702"/>
              <a:gd name="connsiteY1011" fmla="*/ 236936 h 11747497"/>
              <a:gd name="connsiteX1012" fmla="*/ 2930136 w 4838702"/>
              <a:gd name="connsiteY1012" fmla="*/ 230455 h 11747497"/>
              <a:gd name="connsiteX1013" fmla="*/ 2939290 w 4838702"/>
              <a:gd name="connsiteY1013" fmla="*/ 223874 h 11747497"/>
              <a:gd name="connsiteX1014" fmla="*/ 2971409 w 4838702"/>
              <a:gd name="connsiteY1014" fmla="*/ 236936 h 11747497"/>
              <a:gd name="connsiteX1015" fmla="*/ 2966805 w 4838702"/>
              <a:gd name="connsiteY1015" fmla="*/ 217292 h 11747497"/>
              <a:gd name="connsiteX1016" fmla="*/ 2975960 w 4838702"/>
              <a:gd name="connsiteY1016" fmla="*/ 236936 h 11747497"/>
              <a:gd name="connsiteX1017" fmla="*/ 3031041 w 4838702"/>
              <a:gd name="connsiteY1017" fmla="*/ 236936 h 11747497"/>
              <a:gd name="connsiteX1018" fmla="*/ 3095226 w 4838702"/>
              <a:gd name="connsiteY1018" fmla="*/ 125649 h 11747497"/>
              <a:gd name="connsiteX1019" fmla="*/ 3053954 w 4838702"/>
              <a:gd name="connsiteY1019" fmla="*/ 145295 h 11747497"/>
              <a:gd name="connsiteX1020" fmla="*/ 3058505 w 4838702"/>
              <a:gd name="connsiteY1020" fmla="*/ 125649 h 11747497"/>
              <a:gd name="connsiteX1021" fmla="*/ 3063108 w 4838702"/>
              <a:gd name="connsiteY1021" fmla="*/ 145295 h 11747497"/>
              <a:gd name="connsiteX1022" fmla="*/ 3072314 w 4838702"/>
              <a:gd name="connsiteY1022" fmla="*/ 125649 h 11747497"/>
              <a:gd name="connsiteX1023" fmla="*/ 3095226 w 4838702"/>
              <a:gd name="connsiteY1023" fmla="*/ 125649 h 11747497"/>
              <a:gd name="connsiteX1024" fmla="*/ 3127395 w 4838702"/>
              <a:gd name="connsiteY1024" fmla="*/ 138713 h 11747497"/>
              <a:gd name="connsiteX1025" fmla="*/ 3109035 w 4838702"/>
              <a:gd name="connsiteY1025" fmla="*/ 145295 h 11747497"/>
              <a:gd name="connsiteX1026" fmla="*/ 3127395 w 4838702"/>
              <a:gd name="connsiteY1026" fmla="*/ 138713 h 11747497"/>
              <a:gd name="connsiteX1027" fmla="*/ 3164117 w 4838702"/>
              <a:gd name="connsiteY1027" fmla="*/ 158458 h 11747497"/>
              <a:gd name="connsiteX1028" fmla="*/ 3154962 w 4838702"/>
              <a:gd name="connsiteY1028" fmla="*/ 138812 h 11747497"/>
              <a:gd name="connsiteX1029" fmla="*/ 3150359 w 4838702"/>
              <a:gd name="connsiteY1029" fmla="*/ 151875 h 11747497"/>
              <a:gd name="connsiteX1030" fmla="*/ 3164117 w 4838702"/>
              <a:gd name="connsiteY1030" fmla="*/ 158458 h 11747497"/>
              <a:gd name="connsiteX1031" fmla="*/ 3191684 w 4838702"/>
              <a:gd name="connsiteY1031" fmla="*/ 197747 h 11747497"/>
              <a:gd name="connsiteX1032" fmla="*/ 3173323 w 4838702"/>
              <a:gd name="connsiteY1032" fmla="*/ 204328 h 11747497"/>
              <a:gd name="connsiteX1033" fmla="*/ 3182477 w 4838702"/>
              <a:gd name="connsiteY1033" fmla="*/ 197747 h 11747497"/>
              <a:gd name="connsiteX1034" fmla="*/ 3191684 w 4838702"/>
              <a:gd name="connsiteY1034" fmla="*/ 197747 h 11747497"/>
              <a:gd name="connsiteX1035" fmla="*/ 3214595 w 4838702"/>
              <a:gd name="connsiteY1035" fmla="*/ 92942 h 11747497"/>
              <a:gd name="connsiteX1036" fmla="*/ 3205441 w 4838702"/>
              <a:gd name="connsiteY1036" fmla="*/ 92942 h 11747497"/>
              <a:gd name="connsiteX1037" fmla="*/ 3205441 w 4838702"/>
              <a:gd name="connsiteY1037" fmla="*/ 79878 h 11747497"/>
              <a:gd name="connsiteX1038" fmla="*/ 3214595 w 4838702"/>
              <a:gd name="connsiteY1038" fmla="*/ 79878 h 11747497"/>
              <a:gd name="connsiteX1039" fmla="*/ 3214595 w 4838702"/>
              <a:gd name="connsiteY1039" fmla="*/ 92942 h 11747497"/>
              <a:gd name="connsiteX1040" fmla="*/ 3242162 w 4838702"/>
              <a:gd name="connsiteY1040" fmla="*/ 204328 h 11747497"/>
              <a:gd name="connsiteX1041" fmla="*/ 3219198 w 4838702"/>
              <a:gd name="connsiteY1041" fmla="*/ 217391 h 11747497"/>
              <a:gd name="connsiteX1042" fmla="*/ 3242162 w 4838702"/>
              <a:gd name="connsiteY1042" fmla="*/ 204328 h 11747497"/>
              <a:gd name="connsiteX1043" fmla="*/ 3315553 w 4838702"/>
              <a:gd name="connsiteY1043" fmla="*/ 249003 h 11747497"/>
              <a:gd name="connsiteX1044" fmla="*/ 3304692 w 4838702"/>
              <a:gd name="connsiteY1044" fmla="*/ 249003 h 11747497"/>
              <a:gd name="connsiteX1045" fmla="*/ 3315553 w 4838702"/>
              <a:gd name="connsiteY1045" fmla="*/ 243618 h 11747497"/>
              <a:gd name="connsiteX1046" fmla="*/ 3315553 w 4838702"/>
              <a:gd name="connsiteY1046" fmla="*/ 249003 h 11747497"/>
              <a:gd name="connsiteX1047" fmla="*/ 3333913 w 4838702"/>
              <a:gd name="connsiteY1047" fmla="*/ 86459 h 11747497"/>
              <a:gd name="connsiteX1048" fmla="*/ 3324759 w 4838702"/>
              <a:gd name="connsiteY1048" fmla="*/ 66815 h 11747497"/>
              <a:gd name="connsiteX1049" fmla="*/ 3320156 w 4838702"/>
              <a:gd name="connsiteY1049" fmla="*/ 86459 h 11747497"/>
              <a:gd name="connsiteX1050" fmla="*/ 3333913 w 4838702"/>
              <a:gd name="connsiteY1050" fmla="*/ 86459 h 11747497"/>
              <a:gd name="connsiteX1051" fmla="*/ 3341309 w 4838702"/>
              <a:gd name="connsiteY1051" fmla="*/ 249003 h 11747497"/>
              <a:gd name="connsiteX1052" fmla="*/ 3329310 w 4838702"/>
              <a:gd name="connsiteY1052" fmla="*/ 249003 h 11747497"/>
              <a:gd name="connsiteX1053" fmla="*/ 3341309 w 4838702"/>
              <a:gd name="connsiteY1053" fmla="*/ 249003 h 11747497"/>
              <a:gd name="connsiteX1054" fmla="*/ 3352274 w 4838702"/>
              <a:gd name="connsiteY1054" fmla="*/ 249003 h 11747497"/>
              <a:gd name="connsiteX1055" fmla="*/ 3345912 w 4838702"/>
              <a:gd name="connsiteY1055" fmla="*/ 249003 h 11747497"/>
              <a:gd name="connsiteX1056" fmla="*/ 3347671 w 4838702"/>
              <a:gd name="connsiteY1056" fmla="*/ 243618 h 11747497"/>
              <a:gd name="connsiteX1057" fmla="*/ 3352274 w 4838702"/>
              <a:gd name="connsiteY1057" fmla="*/ 249003 h 11747497"/>
              <a:gd name="connsiteX1058" fmla="*/ 3357474 w 4838702"/>
              <a:gd name="connsiteY1058" fmla="*/ 58640 h 11747497"/>
              <a:gd name="connsiteX1059" fmla="*/ 3352274 w 4838702"/>
              <a:gd name="connsiteY1059" fmla="*/ 47169 h 11747497"/>
              <a:gd name="connsiteX1060" fmla="*/ 3357474 w 4838702"/>
              <a:gd name="connsiteY1060" fmla="*/ 58640 h 11747497"/>
              <a:gd name="connsiteX1061" fmla="*/ 3375754 w 4838702"/>
              <a:gd name="connsiteY1061" fmla="*/ 249003 h 11747497"/>
              <a:gd name="connsiteX1062" fmla="*/ 3356567 w 4838702"/>
              <a:gd name="connsiteY1062" fmla="*/ 249003 h 11747497"/>
              <a:gd name="connsiteX1063" fmla="*/ 3375237 w 4838702"/>
              <a:gd name="connsiteY1063" fmla="*/ 243618 h 11747497"/>
              <a:gd name="connsiteX1064" fmla="*/ 3375754 w 4838702"/>
              <a:gd name="connsiteY1064" fmla="*/ 249003 h 11747497"/>
              <a:gd name="connsiteX1065" fmla="*/ 3385245 w 4838702"/>
              <a:gd name="connsiteY1065" fmla="*/ 168242 h 11747497"/>
              <a:gd name="connsiteX1066" fmla="*/ 3375237 w 4838702"/>
              <a:gd name="connsiteY1066" fmla="*/ 158458 h 11747497"/>
              <a:gd name="connsiteX1067" fmla="*/ 3375237 w 4838702"/>
              <a:gd name="connsiteY1067" fmla="*/ 178102 h 11747497"/>
              <a:gd name="connsiteX1068" fmla="*/ 3385245 w 4838702"/>
              <a:gd name="connsiteY1068" fmla="*/ 168242 h 11747497"/>
              <a:gd name="connsiteX1069" fmla="*/ 3419613 w 4838702"/>
              <a:gd name="connsiteY1069" fmla="*/ 249003 h 11747497"/>
              <a:gd name="connsiteX1070" fmla="*/ 3404925 w 4838702"/>
              <a:gd name="connsiteY1070" fmla="*/ 249003 h 11747497"/>
              <a:gd name="connsiteX1071" fmla="*/ 3416510 w 4838702"/>
              <a:gd name="connsiteY1071" fmla="*/ 243618 h 11747497"/>
              <a:gd name="connsiteX1072" fmla="*/ 3419613 w 4838702"/>
              <a:gd name="connsiteY1072" fmla="*/ 249003 h 11747497"/>
              <a:gd name="connsiteX1073" fmla="*/ 3430267 w 4838702"/>
              <a:gd name="connsiteY1073" fmla="*/ 184584 h 11747497"/>
              <a:gd name="connsiteX1074" fmla="*/ 3430267 w 4838702"/>
              <a:gd name="connsiteY1074" fmla="*/ 158357 h 11747497"/>
              <a:gd name="connsiteX1075" fmla="*/ 3411907 w 4838702"/>
              <a:gd name="connsiteY1075" fmla="*/ 151776 h 11747497"/>
              <a:gd name="connsiteX1076" fmla="*/ 3393546 w 4838702"/>
              <a:gd name="connsiteY1076" fmla="*/ 171420 h 11747497"/>
              <a:gd name="connsiteX1077" fmla="*/ 3407356 w 4838702"/>
              <a:gd name="connsiteY1077" fmla="*/ 178002 h 11747497"/>
              <a:gd name="connsiteX1078" fmla="*/ 3411907 w 4838702"/>
              <a:gd name="connsiteY1078" fmla="*/ 184584 h 11747497"/>
              <a:gd name="connsiteX1079" fmla="*/ 3430267 w 4838702"/>
              <a:gd name="connsiteY1079" fmla="*/ 184584 h 11747497"/>
              <a:gd name="connsiteX1080" fmla="*/ 3434870 w 4838702"/>
              <a:gd name="connsiteY1080" fmla="*/ 40588 h 11747497"/>
              <a:gd name="connsiteX1081" fmla="*/ 3366031 w 4838702"/>
              <a:gd name="connsiteY1081" fmla="*/ 40588 h 11747497"/>
              <a:gd name="connsiteX1082" fmla="*/ 3361428 w 4838702"/>
              <a:gd name="connsiteY1082" fmla="*/ 73296 h 11747497"/>
              <a:gd name="connsiteX1083" fmla="*/ 3347671 w 4838702"/>
              <a:gd name="connsiteY1083" fmla="*/ 79878 h 11747497"/>
              <a:gd name="connsiteX1084" fmla="*/ 3361428 w 4838702"/>
              <a:gd name="connsiteY1084" fmla="*/ 86459 h 11747497"/>
              <a:gd name="connsiteX1085" fmla="*/ 3370634 w 4838702"/>
              <a:gd name="connsiteY1085" fmla="*/ 66815 h 11747497"/>
              <a:gd name="connsiteX1086" fmla="*/ 3379788 w 4838702"/>
              <a:gd name="connsiteY1086" fmla="*/ 99522 h 11747497"/>
              <a:gd name="connsiteX1087" fmla="*/ 3361428 w 4838702"/>
              <a:gd name="connsiteY1087" fmla="*/ 92942 h 11747497"/>
              <a:gd name="connsiteX1088" fmla="*/ 3352274 w 4838702"/>
              <a:gd name="connsiteY1088" fmla="*/ 125649 h 11747497"/>
              <a:gd name="connsiteX1089" fmla="*/ 3384392 w 4838702"/>
              <a:gd name="connsiteY1089" fmla="*/ 106005 h 11747497"/>
              <a:gd name="connsiteX1090" fmla="*/ 3407356 w 4838702"/>
              <a:gd name="connsiteY1090" fmla="*/ 132231 h 11747497"/>
              <a:gd name="connsiteX1091" fmla="*/ 3411907 w 4838702"/>
              <a:gd name="connsiteY1091" fmla="*/ 119168 h 11747497"/>
              <a:gd name="connsiteX1092" fmla="*/ 3430267 w 4838702"/>
              <a:gd name="connsiteY1092" fmla="*/ 119168 h 11747497"/>
              <a:gd name="connsiteX1093" fmla="*/ 3430267 w 4838702"/>
              <a:gd name="connsiteY1093" fmla="*/ 73296 h 11747497"/>
              <a:gd name="connsiteX1094" fmla="*/ 3407356 w 4838702"/>
              <a:gd name="connsiteY1094" fmla="*/ 60233 h 11747497"/>
              <a:gd name="connsiteX1095" fmla="*/ 3434870 w 4838702"/>
              <a:gd name="connsiteY1095" fmla="*/ 40588 h 11747497"/>
              <a:gd name="connsiteX1096" fmla="*/ 3443300 w 4838702"/>
              <a:gd name="connsiteY1096" fmla="*/ 249003 h 11747497"/>
              <a:gd name="connsiteX1097" fmla="*/ 3432491 w 4838702"/>
              <a:gd name="connsiteY1097" fmla="*/ 249003 h 11747497"/>
              <a:gd name="connsiteX1098" fmla="*/ 3443300 w 4838702"/>
              <a:gd name="connsiteY1098" fmla="*/ 249003 h 11747497"/>
              <a:gd name="connsiteX1099" fmla="*/ 3448679 w 4838702"/>
              <a:gd name="connsiteY1099" fmla="*/ 53751 h 11747497"/>
              <a:gd name="connsiteX1100" fmla="*/ 3439474 w 4838702"/>
              <a:gd name="connsiteY1100" fmla="*/ 40688 h 11747497"/>
              <a:gd name="connsiteX1101" fmla="*/ 3444076 w 4838702"/>
              <a:gd name="connsiteY1101" fmla="*/ 60233 h 11747497"/>
              <a:gd name="connsiteX1102" fmla="*/ 3448679 w 4838702"/>
              <a:gd name="connsiteY1102" fmla="*/ 53751 h 11747497"/>
              <a:gd name="connsiteX1103" fmla="*/ 3471591 w 4838702"/>
              <a:gd name="connsiteY1103" fmla="*/ 164939 h 11747497"/>
              <a:gd name="connsiteX1104" fmla="*/ 3453231 w 4838702"/>
              <a:gd name="connsiteY1104" fmla="*/ 164939 h 11747497"/>
              <a:gd name="connsiteX1105" fmla="*/ 3434870 w 4838702"/>
              <a:gd name="connsiteY1105" fmla="*/ 158357 h 11747497"/>
              <a:gd name="connsiteX1106" fmla="*/ 3471591 w 4838702"/>
              <a:gd name="connsiteY1106" fmla="*/ 164939 h 11747497"/>
              <a:gd name="connsiteX1107" fmla="*/ 3471591 w 4838702"/>
              <a:gd name="connsiteY1107" fmla="*/ 197747 h 11747497"/>
              <a:gd name="connsiteX1108" fmla="*/ 3471591 w 4838702"/>
              <a:gd name="connsiteY1108" fmla="*/ 184684 h 11747497"/>
              <a:gd name="connsiteX1109" fmla="*/ 3457834 w 4838702"/>
              <a:gd name="connsiteY1109" fmla="*/ 184684 h 11747497"/>
              <a:gd name="connsiteX1110" fmla="*/ 3457834 w 4838702"/>
              <a:gd name="connsiteY1110" fmla="*/ 197747 h 11747497"/>
              <a:gd name="connsiteX1111" fmla="*/ 3471591 w 4838702"/>
              <a:gd name="connsiteY1111" fmla="*/ 197747 h 11747497"/>
              <a:gd name="connsiteX1112" fmla="*/ 3476194 w 4838702"/>
              <a:gd name="connsiteY1112" fmla="*/ 40588 h 11747497"/>
              <a:gd name="connsiteX1113" fmla="*/ 3453231 w 4838702"/>
              <a:gd name="connsiteY1113" fmla="*/ 40588 h 11747497"/>
              <a:gd name="connsiteX1114" fmla="*/ 3476194 w 4838702"/>
              <a:gd name="connsiteY1114" fmla="*/ 40588 h 11747497"/>
              <a:gd name="connsiteX1115" fmla="*/ 3494555 w 4838702"/>
              <a:gd name="connsiteY1115" fmla="*/ 165038 h 11747497"/>
              <a:gd name="connsiteX1116" fmla="*/ 3476194 w 4838702"/>
              <a:gd name="connsiteY1116" fmla="*/ 158458 h 11747497"/>
              <a:gd name="connsiteX1117" fmla="*/ 3476194 w 4838702"/>
              <a:gd name="connsiteY1117" fmla="*/ 178102 h 11747497"/>
              <a:gd name="connsiteX1118" fmla="*/ 3494555 w 4838702"/>
              <a:gd name="connsiteY1118" fmla="*/ 165038 h 11747497"/>
              <a:gd name="connsiteX1119" fmla="*/ 3503710 w 4838702"/>
              <a:gd name="connsiteY1119" fmla="*/ 191165 h 11747497"/>
              <a:gd name="connsiteX1120" fmla="*/ 3485349 w 4838702"/>
              <a:gd name="connsiteY1120" fmla="*/ 197646 h 11747497"/>
              <a:gd name="connsiteX1121" fmla="*/ 3503710 w 4838702"/>
              <a:gd name="connsiteY1121" fmla="*/ 191165 h 11747497"/>
              <a:gd name="connsiteX1122" fmla="*/ 3520518 w 4838702"/>
              <a:gd name="connsiteY1122" fmla="*/ 249003 h 11747497"/>
              <a:gd name="connsiteX1123" fmla="*/ 3510846 w 4838702"/>
              <a:gd name="connsiteY1123" fmla="*/ 249003 h 11747497"/>
              <a:gd name="connsiteX1124" fmla="*/ 3517519 w 4838702"/>
              <a:gd name="connsiteY1124" fmla="*/ 243618 h 11747497"/>
              <a:gd name="connsiteX1125" fmla="*/ 3520518 w 4838702"/>
              <a:gd name="connsiteY1125" fmla="*/ 249003 h 11747497"/>
              <a:gd name="connsiteX1126" fmla="*/ 3545033 w 4838702"/>
              <a:gd name="connsiteY1126" fmla="*/ 178002 h 11747497"/>
              <a:gd name="connsiteX1127" fmla="*/ 3499158 w 4838702"/>
              <a:gd name="connsiteY1127" fmla="*/ 158357 h 11747497"/>
              <a:gd name="connsiteX1128" fmla="*/ 3490004 w 4838702"/>
              <a:gd name="connsiteY1128" fmla="*/ 138713 h 11747497"/>
              <a:gd name="connsiteX1129" fmla="*/ 3499158 w 4838702"/>
              <a:gd name="connsiteY1129" fmla="*/ 171420 h 11747497"/>
              <a:gd name="connsiteX1130" fmla="*/ 3526673 w 4838702"/>
              <a:gd name="connsiteY1130" fmla="*/ 171521 h 11747497"/>
              <a:gd name="connsiteX1131" fmla="*/ 3531276 w 4838702"/>
              <a:gd name="connsiteY1131" fmla="*/ 184584 h 11747497"/>
              <a:gd name="connsiteX1132" fmla="*/ 3545033 w 4838702"/>
              <a:gd name="connsiteY1132" fmla="*/ 178002 h 11747497"/>
              <a:gd name="connsiteX1133" fmla="*/ 3549637 w 4838702"/>
              <a:gd name="connsiteY1133" fmla="*/ 47169 h 11747497"/>
              <a:gd name="connsiteX1134" fmla="*/ 3499158 w 4838702"/>
              <a:gd name="connsiteY1134" fmla="*/ 40588 h 11747497"/>
              <a:gd name="connsiteX1135" fmla="*/ 3508312 w 4838702"/>
              <a:gd name="connsiteY1135" fmla="*/ 60233 h 11747497"/>
              <a:gd name="connsiteX1136" fmla="*/ 3549637 w 4838702"/>
              <a:gd name="connsiteY1136" fmla="*/ 47169 h 11747497"/>
              <a:gd name="connsiteX1137" fmla="*/ 3561273 w 4838702"/>
              <a:gd name="connsiteY1137" fmla="*/ 249003 h 11747497"/>
              <a:gd name="connsiteX1138" fmla="*/ 3530966 w 4838702"/>
              <a:gd name="connsiteY1138" fmla="*/ 249003 h 11747497"/>
              <a:gd name="connsiteX1139" fmla="*/ 3540430 w 4838702"/>
              <a:gd name="connsiteY1139" fmla="*/ 243618 h 11747497"/>
              <a:gd name="connsiteX1140" fmla="*/ 3561273 w 4838702"/>
              <a:gd name="connsiteY1140" fmla="*/ 249003 h 11747497"/>
              <a:gd name="connsiteX1141" fmla="*/ 3581755 w 4838702"/>
              <a:gd name="connsiteY1141" fmla="*/ 164939 h 11747497"/>
              <a:gd name="connsiteX1142" fmla="*/ 3549637 w 4838702"/>
              <a:gd name="connsiteY1142" fmla="*/ 184584 h 11747497"/>
              <a:gd name="connsiteX1143" fmla="*/ 3581755 w 4838702"/>
              <a:gd name="connsiteY1143" fmla="*/ 164939 h 11747497"/>
              <a:gd name="connsiteX1144" fmla="*/ 3595512 w 4838702"/>
              <a:gd name="connsiteY1144" fmla="*/ 92942 h 11747497"/>
              <a:gd name="connsiteX1145" fmla="*/ 3545033 w 4838702"/>
              <a:gd name="connsiteY1145" fmla="*/ 73296 h 11747497"/>
              <a:gd name="connsiteX1146" fmla="*/ 3558791 w 4838702"/>
              <a:gd name="connsiteY1146" fmla="*/ 99522 h 11747497"/>
              <a:gd name="connsiteX1147" fmla="*/ 3595512 w 4838702"/>
              <a:gd name="connsiteY1147" fmla="*/ 92942 h 11747497"/>
              <a:gd name="connsiteX1148" fmla="*/ 3595512 w 4838702"/>
              <a:gd name="connsiteY1148" fmla="*/ 191165 h 11747497"/>
              <a:gd name="connsiteX1149" fmla="*/ 3567997 w 4838702"/>
              <a:gd name="connsiteY1149" fmla="*/ 184584 h 11747497"/>
              <a:gd name="connsiteX1150" fmla="*/ 3595512 w 4838702"/>
              <a:gd name="connsiteY1150" fmla="*/ 191165 h 11747497"/>
              <a:gd name="connsiteX1151" fmla="*/ 3596109 w 4838702"/>
              <a:gd name="connsiteY1151" fmla="*/ 150283 h 11747497"/>
              <a:gd name="connsiteX1152" fmla="*/ 3590909 w 4838702"/>
              <a:gd name="connsiteY1152" fmla="*/ 138812 h 11747497"/>
              <a:gd name="connsiteX1153" fmla="*/ 3596109 w 4838702"/>
              <a:gd name="connsiteY1153" fmla="*/ 150283 h 11747497"/>
              <a:gd name="connsiteX1154" fmla="*/ 3613873 w 4838702"/>
              <a:gd name="connsiteY1154" fmla="*/ 164939 h 11747497"/>
              <a:gd name="connsiteX1155" fmla="*/ 3600115 w 4838702"/>
              <a:gd name="connsiteY1155" fmla="*/ 171521 h 11747497"/>
              <a:gd name="connsiteX1156" fmla="*/ 3613873 w 4838702"/>
              <a:gd name="connsiteY1156" fmla="*/ 164939 h 11747497"/>
              <a:gd name="connsiteX1157" fmla="*/ 3622975 w 4838702"/>
              <a:gd name="connsiteY1157" fmla="*/ 132131 h 11747497"/>
              <a:gd name="connsiteX1158" fmla="*/ 3609218 w 4838702"/>
              <a:gd name="connsiteY1158" fmla="*/ 99423 h 11747497"/>
              <a:gd name="connsiteX1159" fmla="*/ 3622975 w 4838702"/>
              <a:gd name="connsiteY1159" fmla="*/ 79777 h 11747497"/>
              <a:gd name="connsiteX1160" fmla="*/ 3600011 w 4838702"/>
              <a:gd name="connsiteY1160" fmla="*/ 106005 h 11747497"/>
              <a:gd name="connsiteX1161" fmla="*/ 3535776 w 4838702"/>
              <a:gd name="connsiteY1161" fmla="*/ 99423 h 11747497"/>
              <a:gd name="connsiteX1162" fmla="*/ 3517415 w 4838702"/>
              <a:gd name="connsiteY1162" fmla="*/ 86359 h 11747497"/>
              <a:gd name="connsiteX1163" fmla="*/ 3531173 w 4838702"/>
              <a:gd name="connsiteY1163" fmla="*/ 99423 h 11747497"/>
              <a:gd name="connsiteX1164" fmla="*/ 3485297 w 4838702"/>
              <a:gd name="connsiteY1164" fmla="*/ 99423 h 11747497"/>
              <a:gd name="connsiteX1165" fmla="*/ 3466937 w 4838702"/>
              <a:gd name="connsiteY1165" fmla="*/ 106005 h 11747497"/>
              <a:gd name="connsiteX1166" fmla="*/ 3462385 w 4838702"/>
              <a:gd name="connsiteY1166" fmla="*/ 92942 h 11747497"/>
              <a:gd name="connsiteX1167" fmla="*/ 3457782 w 4838702"/>
              <a:gd name="connsiteY1167" fmla="*/ 106005 h 11747497"/>
              <a:gd name="connsiteX1168" fmla="*/ 3434819 w 4838702"/>
              <a:gd name="connsiteY1168" fmla="*/ 99423 h 11747497"/>
              <a:gd name="connsiteX1169" fmla="*/ 3448628 w 4838702"/>
              <a:gd name="connsiteY1169" fmla="*/ 132231 h 11747497"/>
              <a:gd name="connsiteX1170" fmla="*/ 3471591 w 4838702"/>
              <a:gd name="connsiteY1170" fmla="*/ 112586 h 11747497"/>
              <a:gd name="connsiteX1171" fmla="*/ 3476194 w 4838702"/>
              <a:gd name="connsiteY1171" fmla="*/ 125649 h 11747497"/>
              <a:gd name="connsiteX1172" fmla="*/ 3480797 w 4838702"/>
              <a:gd name="connsiteY1172" fmla="*/ 112586 h 11747497"/>
              <a:gd name="connsiteX1173" fmla="*/ 3494555 w 4838702"/>
              <a:gd name="connsiteY1173" fmla="*/ 125649 h 11747497"/>
              <a:gd name="connsiteX1174" fmla="*/ 3512916 w 4838702"/>
              <a:gd name="connsiteY1174" fmla="*/ 119067 h 11747497"/>
              <a:gd name="connsiteX1175" fmla="*/ 3522070 w 4838702"/>
              <a:gd name="connsiteY1175" fmla="*/ 119067 h 11747497"/>
              <a:gd name="connsiteX1176" fmla="*/ 3526673 w 4838702"/>
              <a:gd name="connsiteY1176" fmla="*/ 125649 h 11747497"/>
              <a:gd name="connsiteX1177" fmla="*/ 3535828 w 4838702"/>
              <a:gd name="connsiteY1177" fmla="*/ 125649 h 11747497"/>
              <a:gd name="connsiteX1178" fmla="*/ 3558791 w 4838702"/>
              <a:gd name="connsiteY1178" fmla="*/ 119067 h 11747497"/>
              <a:gd name="connsiteX1179" fmla="*/ 3572548 w 4838702"/>
              <a:gd name="connsiteY1179" fmla="*/ 125649 h 11747497"/>
              <a:gd name="connsiteX1180" fmla="*/ 3586306 w 4838702"/>
              <a:gd name="connsiteY1180" fmla="*/ 119067 h 11747497"/>
              <a:gd name="connsiteX1181" fmla="*/ 3600064 w 4838702"/>
              <a:gd name="connsiteY1181" fmla="*/ 125649 h 11747497"/>
              <a:gd name="connsiteX1182" fmla="*/ 3609218 w 4838702"/>
              <a:gd name="connsiteY1182" fmla="*/ 119067 h 11747497"/>
              <a:gd name="connsiteX1183" fmla="*/ 3622975 w 4838702"/>
              <a:gd name="connsiteY1183" fmla="*/ 132131 h 11747497"/>
              <a:gd name="connsiteX1184" fmla="*/ 3641387 w 4838702"/>
              <a:gd name="connsiteY1184" fmla="*/ 178102 h 11747497"/>
              <a:gd name="connsiteX1185" fmla="*/ 3641387 w 4838702"/>
              <a:gd name="connsiteY1185" fmla="*/ 165038 h 11747497"/>
              <a:gd name="connsiteX1186" fmla="*/ 3632233 w 4838702"/>
              <a:gd name="connsiteY1186" fmla="*/ 165038 h 11747497"/>
              <a:gd name="connsiteX1187" fmla="*/ 3632233 w 4838702"/>
              <a:gd name="connsiteY1187" fmla="*/ 178102 h 11747497"/>
              <a:gd name="connsiteX1188" fmla="*/ 3641387 w 4838702"/>
              <a:gd name="connsiteY1188" fmla="*/ 178102 h 11747497"/>
              <a:gd name="connsiteX1189" fmla="*/ 3673506 w 4838702"/>
              <a:gd name="connsiteY1189" fmla="*/ 53652 h 11747497"/>
              <a:gd name="connsiteX1190" fmla="*/ 3673506 w 4838702"/>
              <a:gd name="connsiteY1190" fmla="*/ 40588 h 11747497"/>
              <a:gd name="connsiteX1191" fmla="*/ 3664300 w 4838702"/>
              <a:gd name="connsiteY1191" fmla="*/ 40588 h 11747497"/>
              <a:gd name="connsiteX1192" fmla="*/ 3664300 w 4838702"/>
              <a:gd name="connsiteY1192" fmla="*/ 53652 h 11747497"/>
              <a:gd name="connsiteX1193" fmla="*/ 3673506 w 4838702"/>
              <a:gd name="connsiteY1193" fmla="*/ 53652 h 11747497"/>
              <a:gd name="connsiteX1194" fmla="*/ 3682660 w 4838702"/>
              <a:gd name="connsiteY1194" fmla="*/ 125649 h 11747497"/>
              <a:gd name="connsiteX1195" fmla="*/ 3682660 w 4838702"/>
              <a:gd name="connsiteY1195" fmla="*/ 112586 h 11747497"/>
              <a:gd name="connsiteX1196" fmla="*/ 3673506 w 4838702"/>
              <a:gd name="connsiteY1196" fmla="*/ 112586 h 11747497"/>
              <a:gd name="connsiteX1197" fmla="*/ 3673506 w 4838702"/>
              <a:gd name="connsiteY1197" fmla="*/ 125649 h 11747497"/>
              <a:gd name="connsiteX1198" fmla="*/ 3682660 w 4838702"/>
              <a:gd name="connsiteY1198" fmla="*/ 125649 h 11747497"/>
              <a:gd name="connsiteX1199" fmla="*/ 3705675 w 4838702"/>
              <a:gd name="connsiteY1199" fmla="*/ 92942 h 11747497"/>
              <a:gd name="connsiteX1200" fmla="*/ 3664403 w 4838702"/>
              <a:gd name="connsiteY1200" fmla="*/ 79878 h 11747497"/>
              <a:gd name="connsiteX1201" fmla="*/ 3627682 w 4838702"/>
              <a:gd name="connsiteY1201" fmla="*/ 73296 h 11747497"/>
              <a:gd name="connsiteX1202" fmla="*/ 3636836 w 4838702"/>
              <a:gd name="connsiteY1202" fmla="*/ 92942 h 11747497"/>
              <a:gd name="connsiteX1203" fmla="*/ 3705675 w 4838702"/>
              <a:gd name="connsiteY1203" fmla="*/ 92942 h 11747497"/>
              <a:gd name="connsiteX1204" fmla="*/ 3741052 w 4838702"/>
              <a:gd name="connsiteY1204" fmla="*/ 249003 h 11747497"/>
              <a:gd name="connsiteX1205" fmla="*/ 3720105 w 4838702"/>
              <a:gd name="connsiteY1205" fmla="*/ 249003 h 11747497"/>
              <a:gd name="connsiteX1206" fmla="*/ 3733190 w 4838702"/>
              <a:gd name="connsiteY1206" fmla="*/ 243618 h 11747497"/>
              <a:gd name="connsiteX1207" fmla="*/ 3741052 w 4838702"/>
              <a:gd name="connsiteY1207" fmla="*/ 249003 h 11747497"/>
              <a:gd name="connsiteX1208" fmla="*/ 3766860 w 4838702"/>
              <a:gd name="connsiteY1208" fmla="*/ 249003 h 11747497"/>
              <a:gd name="connsiteX1209" fmla="*/ 3758481 w 4838702"/>
              <a:gd name="connsiteY1209" fmla="*/ 249003 h 11747497"/>
              <a:gd name="connsiteX1210" fmla="*/ 3760705 w 4838702"/>
              <a:gd name="connsiteY1210" fmla="*/ 243618 h 11747497"/>
              <a:gd name="connsiteX1211" fmla="*/ 3766860 w 4838702"/>
              <a:gd name="connsiteY1211" fmla="*/ 249003 h 11747497"/>
              <a:gd name="connsiteX1212" fmla="*/ 3769860 w 4838702"/>
              <a:gd name="connsiteY1212" fmla="*/ 164939 h 11747497"/>
              <a:gd name="connsiteX1213" fmla="*/ 3751499 w 4838702"/>
              <a:gd name="connsiteY1213" fmla="*/ 171521 h 11747497"/>
              <a:gd name="connsiteX1214" fmla="*/ 3742293 w 4838702"/>
              <a:gd name="connsiteY1214" fmla="*/ 164939 h 11747497"/>
              <a:gd name="connsiteX1215" fmla="*/ 3705572 w 4838702"/>
              <a:gd name="connsiteY1215" fmla="*/ 164939 h 11747497"/>
              <a:gd name="connsiteX1216" fmla="*/ 3691866 w 4838702"/>
              <a:gd name="connsiteY1216" fmla="*/ 171521 h 11747497"/>
              <a:gd name="connsiteX1217" fmla="*/ 3659748 w 4838702"/>
              <a:gd name="connsiteY1217" fmla="*/ 164939 h 11747497"/>
              <a:gd name="connsiteX1218" fmla="*/ 3682712 w 4838702"/>
              <a:gd name="connsiteY1218" fmla="*/ 178002 h 11747497"/>
              <a:gd name="connsiteX1219" fmla="*/ 3691866 w 4838702"/>
              <a:gd name="connsiteY1219" fmla="*/ 184584 h 11747497"/>
              <a:gd name="connsiteX1220" fmla="*/ 3696469 w 4838702"/>
              <a:gd name="connsiteY1220" fmla="*/ 178002 h 11747497"/>
              <a:gd name="connsiteX1221" fmla="*/ 3705623 w 4838702"/>
              <a:gd name="connsiteY1221" fmla="*/ 184584 h 11747497"/>
              <a:gd name="connsiteX1222" fmla="*/ 3714778 w 4838702"/>
              <a:gd name="connsiteY1222" fmla="*/ 171521 h 11747497"/>
              <a:gd name="connsiteX1223" fmla="*/ 3728587 w 4838702"/>
              <a:gd name="connsiteY1223" fmla="*/ 178102 h 11747497"/>
              <a:gd name="connsiteX1224" fmla="*/ 3737742 w 4838702"/>
              <a:gd name="connsiteY1224" fmla="*/ 191165 h 11747497"/>
              <a:gd name="connsiteX1225" fmla="*/ 3769860 w 4838702"/>
              <a:gd name="connsiteY1225" fmla="*/ 164939 h 11747497"/>
              <a:gd name="connsiteX1226" fmla="*/ 3769911 w 4838702"/>
              <a:gd name="connsiteY1226" fmla="*/ 217292 h 11747497"/>
              <a:gd name="connsiteX1227" fmla="*/ 3756154 w 4838702"/>
              <a:gd name="connsiteY1227" fmla="*/ 217292 h 11747497"/>
              <a:gd name="connsiteX1228" fmla="*/ 3746948 w 4838702"/>
              <a:gd name="connsiteY1228" fmla="*/ 223874 h 11747497"/>
              <a:gd name="connsiteX1229" fmla="*/ 3769911 w 4838702"/>
              <a:gd name="connsiteY1229" fmla="*/ 217292 h 11747497"/>
              <a:gd name="connsiteX1230" fmla="*/ 3774657 w 4838702"/>
              <a:gd name="connsiteY1230" fmla="*/ 139024 h 11747497"/>
              <a:gd name="connsiteX1231" fmla="*/ 3774463 w 4838702"/>
              <a:gd name="connsiteY1231" fmla="*/ 119067 h 11747497"/>
              <a:gd name="connsiteX1232" fmla="*/ 3737742 w 4838702"/>
              <a:gd name="connsiteY1232" fmla="*/ 132131 h 11747497"/>
              <a:gd name="connsiteX1233" fmla="*/ 3769860 w 4838702"/>
              <a:gd name="connsiteY1233" fmla="*/ 125550 h 11747497"/>
              <a:gd name="connsiteX1234" fmla="*/ 3765309 w 4838702"/>
              <a:gd name="connsiteY1234" fmla="*/ 145295 h 11747497"/>
              <a:gd name="connsiteX1235" fmla="*/ 3774657 w 4838702"/>
              <a:gd name="connsiteY1235" fmla="*/ 139024 h 11747497"/>
              <a:gd name="connsiteX1236" fmla="*/ 3792823 w 4838702"/>
              <a:gd name="connsiteY1236" fmla="*/ 86459 h 11747497"/>
              <a:gd name="connsiteX1237" fmla="*/ 3769911 w 4838702"/>
              <a:gd name="connsiteY1237" fmla="*/ 73296 h 11747497"/>
              <a:gd name="connsiteX1238" fmla="*/ 3774514 w 4838702"/>
              <a:gd name="connsiteY1238" fmla="*/ 79878 h 11747497"/>
              <a:gd name="connsiteX1239" fmla="*/ 3746948 w 4838702"/>
              <a:gd name="connsiteY1239" fmla="*/ 79878 h 11747497"/>
              <a:gd name="connsiteX1240" fmla="*/ 3737742 w 4838702"/>
              <a:gd name="connsiteY1240" fmla="*/ 73296 h 11747497"/>
              <a:gd name="connsiteX1241" fmla="*/ 3733138 w 4838702"/>
              <a:gd name="connsiteY1241" fmla="*/ 79878 h 11747497"/>
              <a:gd name="connsiteX1242" fmla="*/ 3723984 w 4838702"/>
              <a:gd name="connsiteY1242" fmla="*/ 86459 h 11747497"/>
              <a:gd name="connsiteX1243" fmla="*/ 3792823 w 4838702"/>
              <a:gd name="connsiteY1243" fmla="*/ 86459 h 11747497"/>
              <a:gd name="connsiteX1244" fmla="*/ 3797426 w 4838702"/>
              <a:gd name="connsiteY1244" fmla="*/ 119168 h 11747497"/>
              <a:gd name="connsiteX1245" fmla="*/ 3788272 w 4838702"/>
              <a:gd name="connsiteY1245" fmla="*/ 119168 h 11747497"/>
              <a:gd name="connsiteX1246" fmla="*/ 3797426 w 4838702"/>
              <a:gd name="connsiteY1246" fmla="*/ 119168 h 11747497"/>
              <a:gd name="connsiteX1247" fmla="*/ 3801098 w 4838702"/>
              <a:gd name="connsiteY1247" fmla="*/ 249003 h 11747497"/>
              <a:gd name="connsiteX1248" fmla="*/ 3781652 w 4838702"/>
              <a:gd name="connsiteY1248" fmla="*/ 249003 h 11747497"/>
              <a:gd name="connsiteX1249" fmla="*/ 3801098 w 4838702"/>
              <a:gd name="connsiteY1249" fmla="*/ 249003 h 11747497"/>
              <a:gd name="connsiteX1250" fmla="*/ 3815787 w 4838702"/>
              <a:gd name="connsiteY1250" fmla="*/ 79878 h 11747497"/>
              <a:gd name="connsiteX1251" fmla="*/ 3806632 w 4838702"/>
              <a:gd name="connsiteY1251" fmla="*/ 79878 h 11747497"/>
              <a:gd name="connsiteX1252" fmla="*/ 3802029 w 4838702"/>
              <a:gd name="connsiteY1252" fmla="*/ 92942 h 11747497"/>
              <a:gd name="connsiteX1253" fmla="*/ 3815787 w 4838702"/>
              <a:gd name="connsiteY1253" fmla="*/ 79878 h 11747497"/>
              <a:gd name="connsiteX1254" fmla="*/ 3820390 w 4838702"/>
              <a:gd name="connsiteY1254" fmla="*/ 184584 h 11747497"/>
              <a:gd name="connsiteX1255" fmla="*/ 3811236 w 4838702"/>
              <a:gd name="connsiteY1255" fmla="*/ 171521 h 11747497"/>
              <a:gd name="connsiteX1256" fmla="*/ 3788324 w 4838702"/>
              <a:gd name="connsiteY1256" fmla="*/ 171521 h 11747497"/>
              <a:gd name="connsiteX1257" fmla="*/ 3783669 w 4838702"/>
              <a:gd name="connsiteY1257" fmla="*/ 164939 h 11747497"/>
              <a:gd name="connsiteX1258" fmla="*/ 3820390 w 4838702"/>
              <a:gd name="connsiteY1258" fmla="*/ 184584 h 11747497"/>
              <a:gd name="connsiteX1259" fmla="*/ 3824993 w 4838702"/>
              <a:gd name="connsiteY1259" fmla="*/ 119168 h 11747497"/>
              <a:gd name="connsiteX1260" fmla="*/ 3815839 w 4838702"/>
              <a:gd name="connsiteY1260" fmla="*/ 119168 h 11747497"/>
              <a:gd name="connsiteX1261" fmla="*/ 3824993 w 4838702"/>
              <a:gd name="connsiteY1261" fmla="*/ 119168 h 11747497"/>
              <a:gd name="connsiteX1262" fmla="*/ 3831820 w 4838702"/>
              <a:gd name="connsiteY1262" fmla="*/ 249003 h 11747497"/>
              <a:gd name="connsiteX1263" fmla="*/ 3824787 w 4838702"/>
              <a:gd name="connsiteY1263" fmla="*/ 249003 h 11747497"/>
              <a:gd name="connsiteX1264" fmla="*/ 3831820 w 4838702"/>
              <a:gd name="connsiteY1264" fmla="*/ 249003 h 11747497"/>
              <a:gd name="connsiteX1265" fmla="*/ 3870868 w 4838702"/>
              <a:gd name="connsiteY1265" fmla="*/ 171521 h 11747497"/>
              <a:gd name="connsiteX1266" fmla="*/ 3857111 w 4838702"/>
              <a:gd name="connsiteY1266" fmla="*/ 171521 h 11747497"/>
              <a:gd name="connsiteX1267" fmla="*/ 3843354 w 4838702"/>
              <a:gd name="connsiteY1267" fmla="*/ 178102 h 11747497"/>
              <a:gd name="connsiteX1268" fmla="*/ 3870868 w 4838702"/>
              <a:gd name="connsiteY1268" fmla="*/ 171521 h 11747497"/>
              <a:gd name="connsiteX1269" fmla="*/ 3944311 w 4838702"/>
              <a:gd name="connsiteY1269" fmla="*/ 92942 h 11747497"/>
              <a:gd name="connsiteX1270" fmla="*/ 3889229 w 4838702"/>
              <a:gd name="connsiteY1270" fmla="*/ 92942 h 11747497"/>
              <a:gd name="connsiteX1271" fmla="*/ 3902986 w 4838702"/>
              <a:gd name="connsiteY1271" fmla="*/ 92942 h 11747497"/>
              <a:gd name="connsiteX1272" fmla="*/ 3944311 w 4838702"/>
              <a:gd name="connsiteY1272" fmla="*/ 92942 h 11747497"/>
              <a:gd name="connsiteX1273" fmla="*/ 3944311 w 4838702"/>
              <a:gd name="connsiteY1273" fmla="*/ 178102 h 11747497"/>
              <a:gd name="connsiteX1274" fmla="*/ 3935104 w 4838702"/>
              <a:gd name="connsiteY1274" fmla="*/ 178102 h 11747497"/>
              <a:gd name="connsiteX1275" fmla="*/ 3944311 w 4838702"/>
              <a:gd name="connsiteY1275" fmla="*/ 178102 h 11747497"/>
              <a:gd name="connsiteX1276" fmla="*/ 3953413 w 4838702"/>
              <a:gd name="connsiteY1276" fmla="*/ 132231 h 11747497"/>
              <a:gd name="connsiteX1277" fmla="*/ 3935104 w 4838702"/>
              <a:gd name="connsiteY1277" fmla="*/ 125649 h 11747497"/>
              <a:gd name="connsiteX1278" fmla="*/ 3912141 w 4838702"/>
              <a:gd name="connsiteY1278" fmla="*/ 132231 h 11747497"/>
              <a:gd name="connsiteX1279" fmla="*/ 3953413 w 4838702"/>
              <a:gd name="connsiteY1279" fmla="*/ 132231 h 11747497"/>
              <a:gd name="connsiteX1280" fmla="*/ 3976429 w 4838702"/>
              <a:gd name="connsiteY1280" fmla="*/ 66815 h 11747497"/>
              <a:gd name="connsiteX1281" fmla="*/ 3953465 w 4838702"/>
              <a:gd name="connsiteY1281" fmla="*/ 73296 h 11747497"/>
              <a:gd name="connsiteX1282" fmla="*/ 3976429 w 4838702"/>
              <a:gd name="connsiteY1282" fmla="*/ 66815 h 11747497"/>
              <a:gd name="connsiteX1283" fmla="*/ 3985583 w 4838702"/>
              <a:gd name="connsiteY1283" fmla="*/ 106005 h 11747497"/>
              <a:gd name="connsiteX1284" fmla="*/ 3953465 w 4838702"/>
              <a:gd name="connsiteY1284" fmla="*/ 86359 h 11747497"/>
              <a:gd name="connsiteX1285" fmla="*/ 3948914 w 4838702"/>
              <a:gd name="connsiteY1285" fmla="*/ 106005 h 11747497"/>
              <a:gd name="connsiteX1286" fmla="*/ 3985583 w 4838702"/>
              <a:gd name="connsiteY1286" fmla="*/ 106005 h 11747497"/>
              <a:gd name="connsiteX1287" fmla="*/ 4022304 w 4838702"/>
              <a:gd name="connsiteY1287" fmla="*/ 236936 h 11747497"/>
              <a:gd name="connsiteX1288" fmla="*/ 4022304 w 4838702"/>
              <a:gd name="connsiteY1288" fmla="*/ 223874 h 11747497"/>
              <a:gd name="connsiteX1289" fmla="*/ 4013150 w 4838702"/>
              <a:gd name="connsiteY1289" fmla="*/ 223874 h 11747497"/>
              <a:gd name="connsiteX1290" fmla="*/ 4013150 w 4838702"/>
              <a:gd name="connsiteY1290" fmla="*/ 236936 h 11747497"/>
              <a:gd name="connsiteX1291" fmla="*/ 4022304 w 4838702"/>
              <a:gd name="connsiteY1291" fmla="*/ 236936 h 11747497"/>
              <a:gd name="connsiteX1292" fmla="*/ 4026907 w 4838702"/>
              <a:gd name="connsiteY1292" fmla="*/ 79878 h 11747497"/>
              <a:gd name="connsiteX1293" fmla="*/ 4026907 w 4838702"/>
              <a:gd name="connsiteY1293" fmla="*/ 66815 h 11747497"/>
              <a:gd name="connsiteX1294" fmla="*/ 4017701 w 4838702"/>
              <a:gd name="connsiteY1294" fmla="*/ 66815 h 11747497"/>
              <a:gd name="connsiteX1295" fmla="*/ 4017701 w 4838702"/>
              <a:gd name="connsiteY1295" fmla="*/ 79878 h 11747497"/>
              <a:gd name="connsiteX1296" fmla="*/ 4026907 w 4838702"/>
              <a:gd name="connsiteY1296" fmla="*/ 79878 h 11747497"/>
              <a:gd name="connsiteX1297" fmla="*/ 4054422 w 4838702"/>
              <a:gd name="connsiteY1297" fmla="*/ 138713 h 11747497"/>
              <a:gd name="connsiteX1298" fmla="*/ 4022304 w 4838702"/>
              <a:gd name="connsiteY1298" fmla="*/ 145295 h 11747497"/>
              <a:gd name="connsiteX1299" fmla="*/ 4054422 w 4838702"/>
              <a:gd name="connsiteY1299" fmla="*/ 138713 h 11747497"/>
              <a:gd name="connsiteX1300" fmla="*/ 4115917 w 4838702"/>
              <a:gd name="connsiteY1300" fmla="*/ 150230 h 11747497"/>
              <a:gd name="connsiteX1301" fmla="*/ 4104901 w 4838702"/>
              <a:gd name="connsiteY1301" fmla="*/ 151875 h 11747497"/>
              <a:gd name="connsiteX1302" fmla="*/ 4115917 w 4838702"/>
              <a:gd name="connsiteY1302" fmla="*/ 150230 h 11747497"/>
              <a:gd name="connsiteX1303" fmla="*/ 4132467 w 4838702"/>
              <a:gd name="connsiteY1303" fmla="*/ 158357 h 11747497"/>
              <a:gd name="connsiteX1304" fmla="*/ 4132467 w 4838702"/>
              <a:gd name="connsiteY1304" fmla="*/ 145295 h 11747497"/>
              <a:gd name="connsiteX1305" fmla="*/ 4123313 w 4838702"/>
              <a:gd name="connsiteY1305" fmla="*/ 145295 h 11747497"/>
              <a:gd name="connsiteX1306" fmla="*/ 4123313 w 4838702"/>
              <a:gd name="connsiteY1306" fmla="*/ 158357 h 11747497"/>
              <a:gd name="connsiteX1307" fmla="*/ 4132467 w 4838702"/>
              <a:gd name="connsiteY1307" fmla="*/ 158357 h 11747497"/>
              <a:gd name="connsiteX1308" fmla="*/ 4700307 w 4838702"/>
              <a:gd name="connsiteY1308" fmla="*/ 11598562 h 11747497"/>
              <a:gd name="connsiteX1309" fmla="*/ 4697972 w 4838702"/>
              <a:gd name="connsiteY1309" fmla="*/ 11569520 h 11747497"/>
              <a:gd name="connsiteX1310" fmla="*/ 4700307 w 4838702"/>
              <a:gd name="connsiteY1310" fmla="*/ 11598562 h 11747497"/>
              <a:gd name="connsiteX1311" fmla="*/ 4705728 w 4838702"/>
              <a:gd name="connsiteY1311" fmla="*/ 11382598 h 11747497"/>
              <a:gd name="connsiteX1312" fmla="*/ 4700972 w 4838702"/>
              <a:gd name="connsiteY1312" fmla="*/ 11427220 h 11747497"/>
              <a:gd name="connsiteX1313" fmla="*/ 4697299 w 4838702"/>
              <a:gd name="connsiteY1313" fmla="*/ 11341659 h 11747497"/>
              <a:gd name="connsiteX1314" fmla="*/ 4705678 w 4838702"/>
              <a:gd name="connsiteY1314" fmla="*/ 11356119 h 11747497"/>
              <a:gd name="connsiteX1315" fmla="*/ 4705728 w 4838702"/>
              <a:gd name="connsiteY1315" fmla="*/ 11382598 h 11747497"/>
              <a:gd name="connsiteX1316" fmla="*/ 4706919 w 4838702"/>
              <a:gd name="connsiteY1316" fmla="*/ 10516278 h 11747497"/>
              <a:gd name="connsiteX1317" fmla="*/ 4706713 w 4838702"/>
              <a:gd name="connsiteY1317" fmla="*/ 10544698 h 11747497"/>
              <a:gd name="connsiteX1318" fmla="*/ 4702472 w 4838702"/>
              <a:gd name="connsiteY1318" fmla="*/ 10544598 h 11747497"/>
              <a:gd name="connsiteX1319" fmla="*/ 4702679 w 4838702"/>
              <a:gd name="connsiteY1319" fmla="*/ 10516178 h 11747497"/>
              <a:gd name="connsiteX1320" fmla="*/ 4708387 w 4838702"/>
              <a:gd name="connsiteY1320" fmla="*/ 10980851 h 11747497"/>
              <a:gd name="connsiteX1321" fmla="*/ 4701644 w 4838702"/>
              <a:gd name="connsiteY1321" fmla="*/ 11000118 h 11747497"/>
              <a:gd name="connsiteX1322" fmla="*/ 4708265 w 4838702"/>
              <a:gd name="connsiteY1322" fmla="*/ 10957638 h 11747497"/>
              <a:gd name="connsiteX1323" fmla="*/ 4708387 w 4838702"/>
              <a:gd name="connsiteY1323" fmla="*/ 10980851 h 11747497"/>
              <a:gd name="connsiteX1324" fmla="*/ 4713850 w 4838702"/>
              <a:gd name="connsiteY1324" fmla="*/ 10744238 h 11747497"/>
              <a:gd name="connsiteX1325" fmla="*/ 4709919 w 4838702"/>
              <a:gd name="connsiteY1325" fmla="*/ 10701458 h 11747497"/>
              <a:gd name="connsiteX1326" fmla="*/ 4713850 w 4838702"/>
              <a:gd name="connsiteY1326" fmla="*/ 10744238 h 11747497"/>
              <a:gd name="connsiteX1327" fmla="*/ 4715764 w 4838702"/>
              <a:gd name="connsiteY1327" fmla="*/ 10772758 h 11747497"/>
              <a:gd name="connsiteX1328" fmla="*/ 4704954 w 4838702"/>
              <a:gd name="connsiteY1328" fmla="*/ 10815239 h 11747497"/>
              <a:gd name="connsiteX1329" fmla="*/ 4707436 w 4838702"/>
              <a:gd name="connsiteY1329" fmla="*/ 10758298 h 11747497"/>
              <a:gd name="connsiteX1330" fmla="*/ 4707334 w 4838702"/>
              <a:gd name="connsiteY1330" fmla="*/ 10772558 h 11747497"/>
              <a:gd name="connsiteX1331" fmla="*/ 4711523 w 4838702"/>
              <a:gd name="connsiteY1331" fmla="*/ 10772657 h 11747497"/>
              <a:gd name="connsiteX1332" fmla="*/ 4715764 w 4838702"/>
              <a:gd name="connsiteY1332" fmla="*/ 10772758 h 11747497"/>
              <a:gd name="connsiteX1333" fmla="*/ 4717368 w 4838702"/>
              <a:gd name="connsiteY1333" fmla="*/ 10530837 h 11747497"/>
              <a:gd name="connsiteX1334" fmla="*/ 4717160 w 4838702"/>
              <a:gd name="connsiteY1334" fmla="*/ 10559256 h 11747497"/>
              <a:gd name="connsiteX1335" fmla="*/ 4712919 w 4838702"/>
              <a:gd name="connsiteY1335" fmla="*/ 10559157 h 11747497"/>
              <a:gd name="connsiteX1336" fmla="*/ 4713126 w 4838702"/>
              <a:gd name="connsiteY1336" fmla="*/ 10530737 h 11747497"/>
              <a:gd name="connsiteX1337" fmla="*/ 4720522 w 4838702"/>
              <a:gd name="connsiteY1337" fmla="*/ 11342258 h 11747497"/>
              <a:gd name="connsiteX1338" fmla="*/ 4709971 w 4838702"/>
              <a:gd name="connsiteY1338" fmla="*/ 11341958 h 11747497"/>
              <a:gd name="connsiteX1339" fmla="*/ 4720522 w 4838702"/>
              <a:gd name="connsiteY1339" fmla="*/ 11342258 h 11747497"/>
              <a:gd name="connsiteX1340" fmla="*/ 4722125 w 4838702"/>
              <a:gd name="connsiteY1340" fmla="*/ 10445576 h 11747497"/>
              <a:gd name="connsiteX1341" fmla="*/ 4717729 w 4838702"/>
              <a:gd name="connsiteY1341" fmla="*/ 10473897 h 11747497"/>
              <a:gd name="connsiteX1342" fmla="*/ 4707436 w 4838702"/>
              <a:gd name="connsiteY1342" fmla="*/ 10430917 h 11747497"/>
              <a:gd name="connsiteX1343" fmla="*/ 4713746 w 4838702"/>
              <a:gd name="connsiteY1343" fmla="*/ 10431117 h 11747497"/>
              <a:gd name="connsiteX1344" fmla="*/ 4722125 w 4838702"/>
              <a:gd name="connsiteY1344" fmla="*/ 10445576 h 11747497"/>
              <a:gd name="connsiteX1345" fmla="*/ 4724288 w 4838702"/>
              <a:gd name="connsiteY1345" fmla="*/ 11079379 h 11747497"/>
              <a:gd name="connsiteX1346" fmla="*/ 4724246 w 4838702"/>
              <a:gd name="connsiteY1346" fmla="*/ 11100437 h 11747497"/>
              <a:gd name="connsiteX1347" fmla="*/ 4724039 w 4838702"/>
              <a:gd name="connsiteY1347" fmla="*/ 11128858 h 11747497"/>
              <a:gd name="connsiteX1348" fmla="*/ 4724288 w 4838702"/>
              <a:gd name="connsiteY1348" fmla="*/ 11079379 h 11747497"/>
              <a:gd name="connsiteX1349" fmla="*/ 4724913 w 4838702"/>
              <a:gd name="connsiteY1349" fmla="*/ 10262664 h 11747497"/>
              <a:gd name="connsiteX1350" fmla="*/ 4723160 w 4838702"/>
              <a:gd name="connsiteY1350" fmla="*/ 10288915 h 11747497"/>
              <a:gd name="connsiteX1351" fmla="*/ 4724913 w 4838702"/>
              <a:gd name="connsiteY1351" fmla="*/ 10262664 h 11747497"/>
              <a:gd name="connsiteX1352" fmla="*/ 4726005 w 4838702"/>
              <a:gd name="connsiteY1352" fmla="*/ 11157377 h 11747497"/>
              <a:gd name="connsiteX1353" fmla="*/ 4725746 w 4838702"/>
              <a:gd name="connsiteY1353" fmla="*/ 11200057 h 11747497"/>
              <a:gd name="connsiteX1354" fmla="*/ 4719384 w 4838702"/>
              <a:gd name="connsiteY1354" fmla="*/ 11199857 h 11747497"/>
              <a:gd name="connsiteX1355" fmla="*/ 4719643 w 4838702"/>
              <a:gd name="connsiteY1355" fmla="*/ 11157178 h 11747497"/>
              <a:gd name="connsiteX1356" fmla="*/ 4736349 w 4838702"/>
              <a:gd name="connsiteY1356" fmla="*/ 9876275 h 11747497"/>
              <a:gd name="connsiteX1357" fmla="*/ 4735986 w 4838702"/>
              <a:gd name="connsiteY1357" fmla="*/ 9933214 h 11747497"/>
              <a:gd name="connsiteX1358" fmla="*/ 4721505 w 4838702"/>
              <a:gd name="connsiteY1358" fmla="*/ 9890235 h 11747497"/>
              <a:gd name="connsiteX1359" fmla="*/ 4717005 w 4838702"/>
              <a:gd name="connsiteY1359" fmla="*/ 9932815 h 11747497"/>
              <a:gd name="connsiteX1360" fmla="*/ 4715401 w 4838702"/>
              <a:gd name="connsiteY1360" fmla="*/ 9847255 h 11747497"/>
              <a:gd name="connsiteX1361" fmla="*/ 4736349 w 4838702"/>
              <a:gd name="connsiteY1361" fmla="*/ 9876275 h 11747497"/>
              <a:gd name="connsiteX1362" fmla="*/ 4736349 w 4838702"/>
              <a:gd name="connsiteY1362" fmla="*/ 11513577 h 11747497"/>
              <a:gd name="connsiteX1363" fmla="*/ 4735624 w 4838702"/>
              <a:gd name="connsiteY1363" fmla="*/ 11627458 h 11747497"/>
              <a:gd name="connsiteX1364" fmla="*/ 4722849 w 4838702"/>
              <a:gd name="connsiteY1364" fmla="*/ 11641319 h 11747497"/>
              <a:gd name="connsiteX1365" fmla="*/ 4736349 w 4838702"/>
              <a:gd name="connsiteY1365" fmla="*/ 11513577 h 11747497"/>
              <a:gd name="connsiteX1366" fmla="*/ 4736723 w 4838702"/>
              <a:gd name="connsiteY1366" fmla="*/ 11231992 h 11747497"/>
              <a:gd name="connsiteX1367" fmla="*/ 4735934 w 4838702"/>
              <a:gd name="connsiteY1367" fmla="*/ 11243036 h 11747497"/>
              <a:gd name="connsiteX1368" fmla="*/ 4736297 w 4838702"/>
              <a:gd name="connsiteY1368" fmla="*/ 11186097 h 11747497"/>
              <a:gd name="connsiteX1369" fmla="*/ 4734021 w 4838702"/>
              <a:gd name="connsiteY1369" fmla="*/ 11214516 h 11747497"/>
              <a:gd name="connsiteX1370" fmla="*/ 4736723 w 4838702"/>
              <a:gd name="connsiteY1370" fmla="*/ 11231992 h 11747497"/>
              <a:gd name="connsiteX1371" fmla="*/ 4749071 w 4838702"/>
              <a:gd name="connsiteY1371" fmla="*/ 8567050 h 11747497"/>
              <a:gd name="connsiteX1372" fmla="*/ 4749071 w 4838702"/>
              <a:gd name="connsiteY1372" fmla="*/ 8567050 h 11747497"/>
              <a:gd name="connsiteX1373" fmla="*/ 4755278 w 4838702"/>
              <a:gd name="connsiteY1373" fmla="*/ 8772921 h 11747497"/>
              <a:gd name="connsiteX1374" fmla="*/ 4754192 w 4838702"/>
              <a:gd name="connsiteY1374" fmla="*/ 8752130 h 11747497"/>
              <a:gd name="connsiteX1375" fmla="*/ 4745451 w 4838702"/>
              <a:gd name="connsiteY1375" fmla="*/ 8794611 h 11747497"/>
              <a:gd name="connsiteX1376" fmla="*/ 4751398 w 4838702"/>
              <a:gd name="connsiteY1376" fmla="*/ 8851750 h 11747497"/>
              <a:gd name="connsiteX1377" fmla="*/ 4753881 w 4838702"/>
              <a:gd name="connsiteY1377" fmla="*/ 8794910 h 11747497"/>
              <a:gd name="connsiteX1378" fmla="*/ 4755278 w 4838702"/>
              <a:gd name="connsiteY1378" fmla="*/ 8772921 h 11747497"/>
              <a:gd name="connsiteX1379" fmla="*/ 4758071 w 4838702"/>
              <a:gd name="connsiteY1379" fmla="*/ 8481789 h 11747497"/>
              <a:gd name="connsiteX1380" fmla="*/ 4745193 w 4838702"/>
              <a:gd name="connsiteY1380" fmla="*/ 8509910 h 11747497"/>
              <a:gd name="connsiteX1381" fmla="*/ 4755640 w 4838702"/>
              <a:gd name="connsiteY1381" fmla="*/ 8524469 h 11747497"/>
              <a:gd name="connsiteX1382" fmla="*/ 4758071 w 4838702"/>
              <a:gd name="connsiteY1382" fmla="*/ 8481789 h 11747497"/>
              <a:gd name="connsiteX1383" fmla="*/ 4759241 w 4838702"/>
              <a:gd name="connsiteY1383" fmla="*/ 11277701 h 11747497"/>
              <a:gd name="connsiteX1384" fmla="*/ 4758640 w 4838702"/>
              <a:gd name="connsiteY1384" fmla="*/ 11314936 h 11747497"/>
              <a:gd name="connsiteX1385" fmla="*/ 4755898 w 4838702"/>
              <a:gd name="connsiteY1385" fmla="*/ 11414455 h 11747497"/>
              <a:gd name="connsiteX1386" fmla="*/ 4755640 w 4838702"/>
              <a:gd name="connsiteY1386" fmla="*/ 11457136 h 11747497"/>
              <a:gd name="connsiteX1387" fmla="*/ 4753364 w 4838702"/>
              <a:gd name="connsiteY1387" fmla="*/ 11485555 h 11747497"/>
              <a:gd name="connsiteX1388" fmla="*/ 4752640 w 4838702"/>
              <a:gd name="connsiteY1388" fmla="*/ 11599436 h 11747497"/>
              <a:gd name="connsiteX1389" fmla="*/ 4750519 w 4838702"/>
              <a:gd name="connsiteY1389" fmla="*/ 11599336 h 11747497"/>
              <a:gd name="connsiteX1390" fmla="*/ 4752433 w 4838702"/>
              <a:gd name="connsiteY1390" fmla="*/ 11627856 h 11747497"/>
              <a:gd name="connsiteX1391" fmla="*/ 4750209 w 4838702"/>
              <a:gd name="connsiteY1391" fmla="*/ 11642016 h 11747497"/>
              <a:gd name="connsiteX1392" fmla="*/ 4749950 w 4838702"/>
              <a:gd name="connsiteY1392" fmla="*/ 11684697 h 11747497"/>
              <a:gd name="connsiteX1393" fmla="*/ 4748037 w 4838702"/>
              <a:gd name="connsiteY1393" fmla="*/ 11656176 h 11747497"/>
              <a:gd name="connsiteX1394" fmla="*/ 4748502 w 4838702"/>
              <a:gd name="connsiteY1394" fmla="*/ 11584975 h 11747497"/>
              <a:gd name="connsiteX1395" fmla="*/ 4749433 w 4838702"/>
              <a:gd name="connsiteY1395" fmla="*/ 11442676 h 11747497"/>
              <a:gd name="connsiteX1396" fmla="*/ 4741106 w 4838702"/>
              <a:gd name="connsiteY1396" fmla="*/ 11428217 h 11747497"/>
              <a:gd name="connsiteX1397" fmla="*/ 4739347 w 4838702"/>
              <a:gd name="connsiteY1397" fmla="*/ 11371277 h 11747497"/>
              <a:gd name="connsiteX1398" fmla="*/ 4734745 w 4838702"/>
              <a:gd name="connsiteY1398" fmla="*/ 11428118 h 11747497"/>
              <a:gd name="connsiteX1399" fmla="*/ 4734486 w 4838702"/>
              <a:gd name="connsiteY1399" fmla="*/ 11470797 h 11747497"/>
              <a:gd name="connsiteX1400" fmla="*/ 4728331 w 4838702"/>
              <a:gd name="connsiteY1400" fmla="*/ 11428118 h 11747497"/>
              <a:gd name="connsiteX1401" fmla="*/ 4733555 w 4838702"/>
              <a:gd name="connsiteY1401" fmla="*/ 11271657 h 11747497"/>
              <a:gd name="connsiteX1402" fmla="*/ 4743537 w 4838702"/>
              <a:gd name="connsiteY1402" fmla="*/ 11357316 h 11747497"/>
              <a:gd name="connsiteX1403" fmla="*/ 4756312 w 4838702"/>
              <a:gd name="connsiteY1403" fmla="*/ 11343355 h 11747497"/>
              <a:gd name="connsiteX1404" fmla="*/ 4754761 w 4838702"/>
              <a:gd name="connsiteY1404" fmla="*/ 11257895 h 11747497"/>
              <a:gd name="connsiteX1405" fmla="*/ 4759241 w 4838702"/>
              <a:gd name="connsiteY1405" fmla="*/ 11277701 h 11747497"/>
              <a:gd name="connsiteX1406" fmla="*/ 4760973 w 4838702"/>
              <a:gd name="connsiteY1406" fmla="*/ 6914938 h 11747497"/>
              <a:gd name="connsiteX1407" fmla="*/ 4755536 w 4838702"/>
              <a:gd name="connsiteY1407" fmla="*/ 6915786 h 11747497"/>
              <a:gd name="connsiteX1408" fmla="*/ 4759933 w 4838702"/>
              <a:gd name="connsiteY1408" fmla="*/ 6887466 h 11747497"/>
              <a:gd name="connsiteX1409" fmla="*/ 4760973 w 4838702"/>
              <a:gd name="connsiteY1409" fmla="*/ 6914938 h 11747497"/>
              <a:gd name="connsiteX1410" fmla="*/ 4766708 w 4838702"/>
              <a:gd name="connsiteY1410" fmla="*/ 11058754 h 11747497"/>
              <a:gd name="connsiteX1411" fmla="*/ 4765777 w 4838702"/>
              <a:gd name="connsiteY1411" fmla="*/ 11201054 h 11747497"/>
              <a:gd name="connsiteX1412" fmla="*/ 4755226 w 4838702"/>
              <a:gd name="connsiteY1412" fmla="*/ 11200754 h 11747497"/>
              <a:gd name="connsiteX1413" fmla="*/ 4754141 w 4838702"/>
              <a:gd name="connsiteY1413" fmla="*/ 11044195 h 11747497"/>
              <a:gd name="connsiteX1414" fmla="*/ 4766708 w 4838702"/>
              <a:gd name="connsiteY1414" fmla="*/ 11058754 h 11747497"/>
              <a:gd name="connsiteX1415" fmla="*/ 4767432 w 4838702"/>
              <a:gd name="connsiteY1415" fmla="*/ 10959033 h 11747497"/>
              <a:gd name="connsiteX1416" fmla="*/ 4767225 w 4838702"/>
              <a:gd name="connsiteY1416" fmla="*/ 10987455 h 11747497"/>
              <a:gd name="connsiteX1417" fmla="*/ 4765001 w 4838702"/>
              <a:gd name="connsiteY1417" fmla="*/ 11001615 h 11747497"/>
              <a:gd name="connsiteX1418" fmla="*/ 4758743 w 4838702"/>
              <a:gd name="connsiteY1418" fmla="*/ 10987255 h 11747497"/>
              <a:gd name="connsiteX1419" fmla="*/ 4756364 w 4838702"/>
              <a:gd name="connsiteY1419" fmla="*/ 11029935 h 11747497"/>
              <a:gd name="connsiteX1420" fmla="*/ 4754761 w 4838702"/>
              <a:gd name="connsiteY1420" fmla="*/ 10958735 h 11747497"/>
              <a:gd name="connsiteX1421" fmla="*/ 4767432 w 4838702"/>
              <a:gd name="connsiteY1421" fmla="*/ 10959033 h 11747497"/>
              <a:gd name="connsiteX1422" fmla="*/ 4768259 w 4838702"/>
              <a:gd name="connsiteY1422" fmla="*/ 8539028 h 11747497"/>
              <a:gd name="connsiteX1423" fmla="*/ 4767535 w 4838702"/>
              <a:gd name="connsiteY1423" fmla="*/ 8652909 h 11747497"/>
              <a:gd name="connsiteX1424" fmla="*/ 4768259 w 4838702"/>
              <a:gd name="connsiteY1424" fmla="*/ 8539028 h 11747497"/>
              <a:gd name="connsiteX1425" fmla="*/ 4768518 w 4838702"/>
              <a:gd name="connsiteY1425" fmla="*/ 11590462 h 11747497"/>
              <a:gd name="connsiteX1426" fmla="*/ 4768311 w 4838702"/>
              <a:gd name="connsiteY1426" fmla="*/ 11618881 h 11747497"/>
              <a:gd name="connsiteX1427" fmla="*/ 4764070 w 4838702"/>
              <a:gd name="connsiteY1427" fmla="*/ 11618782 h 11747497"/>
              <a:gd name="connsiteX1428" fmla="*/ 4764276 w 4838702"/>
              <a:gd name="connsiteY1428" fmla="*/ 11590361 h 11747497"/>
              <a:gd name="connsiteX1429" fmla="*/ 4772895 w 4838702"/>
              <a:gd name="connsiteY1429" fmla="*/ 9044546 h 11747497"/>
              <a:gd name="connsiteX1430" fmla="*/ 4771414 w 4838702"/>
              <a:gd name="connsiteY1430" fmla="*/ 9023169 h 11747497"/>
              <a:gd name="connsiteX1431" fmla="*/ 4771155 w 4838702"/>
              <a:gd name="connsiteY1431" fmla="*/ 9065849 h 11747497"/>
              <a:gd name="connsiteX1432" fmla="*/ 4772895 w 4838702"/>
              <a:gd name="connsiteY1432" fmla="*/ 9044546 h 11747497"/>
              <a:gd name="connsiteX1433" fmla="*/ 4776742 w 4838702"/>
              <a:gd name="connsiteY1433" fmla="*/ 11471795 h 11747497"/>
              <a:gd name="connsiteX1434" fmla="*/ 4776483 w 4838702"/>
              <a:gd name="connsiteY1434" fmla="*/ 11514575 h 11747497"/>
              <a:gd name="connsiteX1435" fmla="*/ 4772241 w 4838702"/>
              <a:gd name="connsiteY1435" fmla="*/ 11514474 h 11747497"/>
              <a:gd name="connsiteX1436" fmla="*/ 4772501 w 4838702"/>
              <a:gd name="connsiteY1436" fmla="*/ 11471694 h 11747497"/>
              <a:gd name="connsiteX1437" fmla="*/ 4779172 w 4838702"/>
              <a:gd name="connsiteY1437" fmla="*/ 11414955 h 11747497"/>
              <a:gd name="connsiteX1438" fmla="*/ 4775345 w 4838702"/>
              <a:gd name="connsiteY1438" fmla="*/ 11357913 h 11747497"/>
              <a:gd name="connsiteX1439" fmla="*/ 4779172 w 4838702"/>
              <a:gd name="connsiteY1439" fmla="*/ 11414955 h 11747497"/>
              <a:gd name="connsiteX1440" fmla="*/ 4780123 w 4838702"/>
              <a:gd name="connsiteY1440" fmla="*/ 10020792 h 11747497"/>
              <a:gd name="connsiteX1441" fmla="*/ 4777259 w 4838702"/>
              <a:gd name="connsiteY1441" fmla="*/ 10076710 h 11747497"/>
              <a:gd name="connsiteX1442" fmla="*/ 4775811 w 4838702"/>
              <a:gd name="connsiteY1442" fmla="*/ 9976991 h 11747497"/>
              <a:gd name="connsiteX1443" fmla="*/ 4780123 w 4838702"/>
              <a:gd name="connsiteY1443" fmla="*/ 10020792 h 11747497"/>
              <a:gd name="connsiteX1444" fmla="*/ 4784609 w 4838702"/>
              <a:gd name="connsiteY1444" fmla="*/ 8581908 h 11747497"/>
              <a:gd name="connsiteX1445" fmla="*/ 4778810 w 4838702"/>
              <a:gd name="connsiteY1445" fmla="*/ 8539228 h 11747497"/>
              <a:gd name="connsiteX1446" fmla="*/ 4776431 w 4838702"/>
              <a:gd name="connsiteY1446" fmla="*/ 8581908 h 11747497"/>
              <a:gd name="connsiteX1447" fmla="*/ 4769656 w 4838702"/>
              <a:gd name="connsiteY1447" fmla="*/ 8652909 h 11747497"/>
              <a:gd name="connsiteX1448" fmla="*/ 4771570 w 4838702"/>
              <a:gd name="connsiteY1448" fmla="*/ 8681429 h 11747497"/>
              <a:gd name="connsiteX1449" fmla="*/ 4769294 w 4838702"/>
              <a:gd name="connsiteY1449" fmla="*/ 8709848 h 11747497"/>
              <a:gd name="connsiteX1450" fmla="*/ 4771311 w 4838702"/>
              <a:gd name="connsiteY1450" fmla="*/ 8724110 h 11747497"/>
              <a:gd name="connsiteX1451" fmla="*/ 4770845 w 4838702"/>
              <a:gd name="connsiteY1451" fmla="*/ 8795208 h 11747497"/>
              <a:gd name="connsiteX1452" fmla="*/ 4770639 w 4838702"/>
              <a:gd name="connsiteY1452" fmla="*/ 8823730 h 11747497"/>
              <a:gd name="connsiteX1453" fmla="*/ 4767897 w 4838702"/>
              <a:gd name="connsiteY1453" fmla="*/ 8923249 h 11747497"/>
              <a:gd name="connsiteX1454" fmla="*/ 4769914 w 4838702"/>
              <a:gd name="connsiteY1454" fmla="*/ 8937509 h 11747497"/>
              <a:gd name="connsiteX1455" fmla="*/ 4767639 w 4838702"/>
              <a:gd name="connsiteY1455" fmla="*/ 8965930 h 11747497"/>
              <a:gd name="connsiteX1456" fmla="*/ 4775914 w 4838702"/>
              <a:gd name="connsiteY1456" fmla="*/ 8994649 h 11747497"/>
              <a:gd name="connsiteX1457" fmla="*/ 4779328 w 4838702"/>
              <a:gd name="connsiteY1457" fmla="*/ 8795408 h 11747497"/>
              <a:gd name="connsiteX1458" fmla="*/ 4783569 w 4838702"/>
              <a:gd name="connsiteY1458" fmla="*/ 8795508 h 11747497"/>
              <a:gd name="connsiteX1459" fmla="*/ 4779690 w 4838702"/>
              <a:gd name="connsiteY1459" fmla="*/ 8738469 h 11747497"/>
              <a:gd name="connsiteX1460" fmla="*/ 4779897 w 4838702"/>
              <a:gd name="connsiteY1460" fmla="*/ 8710048 h 11747497"/>
              <a:gd name="connsiteX1461" fmla="*/ 4780155 w 4838702"/>
              <a:gd name="connsiteY1461" fmla="*/ 8667369 h 11747497"/>
              <a:gd name="connsiteX1462" fmla="*/ 4784396 w 4838702"/>
              <a:gd name="connsiteY1462" fmla="*/ 8653307 h 11747497"/>
              <a:gd name="connsiteX1463" fmla="*/ 4784609 w 4838702"/>
              <a:gd name="connsiteY1463" fmla="*/ 8581908 h 11747497"/>
              <a:gd name="connsiteX1464" fmla="*/ 4786257 w 4838702"/>
              <a:gd name="connsiteY1464" fmla="*/ 10973791 h 11747497"/>
              <a:gd name="connsiteX1465" fmla="*/ 4777621 w 4838702"/>
              <a:gd name="connsiteY1465" fmla="*/ 11002013 h 11747497"/>
              <a:gd name="connsiteX1466" fmla="*/ 4786257 w 4838702"/>
              <a:gd name="connsiteY1466" fmla="*/ 10973791 h 11747497"/>
              <a:gd name="connsiteX1467" fmla="*/ 4786413 w 4838702"/>
              <a:gd name="connsiteY1467" fmla="*/ 8296011 h 11747497"/>
              <a:gd name="connsiteX1468" fmla="*/ 4782586 w 4838702"/>
              <a:gd name="connsiteY1468" fmla="*/ 8283047 h 11747497"/>
              <a:gd name="connsiteX1469" fmla="*/ 4780310 w 4838702"/>
              <a:gd name="connsiteY1469" fmla="*/ 8311467 h 11747497"/>
              <a:gd name="connsiteX1470" fmla="*/ 4779379 w 4838702"/>
              <a:gd name="connsiteY1470" fmla="*/ 8126387 h 11747497"/>
              <a:gd name="connsiteX1471" fmla="*/ 4770018 w 4838702"/>
              <a:gd name="connsiteY1471" fmla="*/ 8268488 h 11747497"/>
              <a:gd name="connsiteX1472" fmla="*/ 4774156 w 4838702"/>
              <a:gd name="connsiteY1472" fmla="*/ 8282848 h 11747497"/>
              <a:gd name="connsiteX1473" fmla="*/ 4771518 w 4838702"/>
              <a:gd name="connsiteY1473" fmla="*/ 8368208 h 11747497"/>
              <a:gd name="connsiteX1474" fmla="*/ 4768569 w 4838702"/>
              <a:gd name="connsiteY1474" fmla="*/ 8496248 h 11747497"/>
              <a:gd name="connsiteX1475" fmla="*/ 4781810 w 4838702"/>
              <a:gd name="connsiteY1475" fmla="*/ 8411187 h 11747497"/>
              <a:gd name="connsiteX1476" fmla="*/ 4785844 w 4838702"/>
              <a:gd name="connsiteY1476" fmla="*/ 8373792 h 11747497"/>
              <a:gd name="connsiteX1477" fmla="*/ 4785835 w 4838702"/>
              <a:gd name="connsiteY1477" fmla="*/ 8373315 h 11747497"/>
              <a:gd name="connsiteX1478" fmla="*/ 4785620 w 4838702"/>
              <a:gd name="connsiteY1478" fmla="*/ 8362130 h 11747497"/>
              <a:gd name="connsiteX1479" fmla="*/ 4786026 w 4838702"/>
              <a:gd name="connsiteY1479" fmla="*/ 8313114 h 11747497"/>
              <a:gd name="connsiteX1480" fmla="*/ 4786406 w 4838702"/>
              <a:gd name="connsiteY1480" fmla="*/ 8296299 h 11747497"/>
              <a:gd name="connsiteX1481" fmla="*/ 4786788 w 4838702"/>
              <a:gd name="connsiteY1481" fmla="*/ 11122001 h 11747497"/>
              <a:gd name="connsiteX1482" fmla="*/ 4785069 w 4838702"/>
              <a:gd name="connsiteY1482" fmla="*/ 11158773 h 11747497"/>
              <a:gd name="connsiteX1483" fmla="*/ 4779741 w 4838702"/>
              <a:gd name="connsiteY1483" fmla="*/ 11329494 h 11747497"/>
              <a:gd name="connsiteX1484" fmla="*/ 4775500 w 4838702"/>
              <a:gd name="connsiteY1484" fmla="*/ 11329394 h 11747497"/>
              <a:gd name="connsiteX1485" fmla="*/ 4771931 w 4838702"/>
              <a:gd name="connsiteY1485" fmla="*/ 11229673 h 11747497"/>
              <a:gd name="connsiteX1486" fmla="*/ 4783310 w 4838702"/>
              <a:gd name="connsiteY1486" fmla="*/ 11101834 h 11747497"/>
              <a:gd name="connsiteX1487" fmla="*/ 4786788 w 4838702"/>
              <a:gd name="connsiteY1487" fmla="*/ 11122001 h 11747497"/>
              <a:gd name="connsiteX1488" fmla="*/ 4789652 w 4838702"/>
              <a:gd name="connsiteY1488" fmla="*/ 7961699 h 11747497"/>
              <a:gd name="connsiteX1489" fmla="*/ 4780776 w 4838702"/>
              <a:gd name="connsiteY1489" fmla="*/ 7912885 h 11747497"/>
              <a:gd name="connsiteX1490" fmla="*/ 4778500 w 4838702"/>
              <a:gd name="connsiteY1490" fmla="*/ 7941306 h 11747497"/>
              <a:gd name="connsiteX1491" fmla="*/ 4782378 w 4838702"/>
              <a:gd name="connsiteY1491" fmla="*/ 7998346 h 11747497"/>
              <a:gd name="connsiteX1492" fmla="*/ 4788327 w 4838702"/>
              <a:gd name="connsiteY1492" fmla="*/ 8055387 h 11747497"/>
              <a:gd name="connsiteX1493" fmla="*/ 4789652 w 4838702"/>
              <a:gd name="connsiteY1493" fmla="*/ 7961699 h 11747497"/>
              <a:gd name="connsiteX1494" fmla="*/ 4792181 w 4838702"/>
              <a:gd name="connsiteY1494" fmla="*/ 9850373 h 11747497"/>
              <a:gd name="connsiteX1495" fmla="*/ 4788793 w 4838702"/>
              <a:gd name="connsiteY1495" fmla="*/ 9934609 h 11747497"/>
              <a:gd name="connsiteX1496" fmla="*/ 4787344 w 4838702"/>
              <a:gd name="connsiteY1496" fmla="*/ 9834890 h 11747497"/>
              <a:gd name="connsiteX1497" fmla="*/ 4792181 w 4838702"/>
              <a:gd name="connsiteY1497" fmla="*/ 9850373 h 11747497"/>
              <a:gd name="connsiteX1498" fmla="*/ 4795671 w 4838702"/>
              <a:gd name="connsiteY1498" fmla="*/ 7571645 h 11747497"/>
              <a:gd name="connsiteX1499" fmla="*/ 4787240 w 4838702"/>
              <a:gd name="connsiteY1499" fmla="*/ 7571445 h 11747497"/>
              <a:gd name="connsiteX1500" fmla="*/ 4784137 w 4838702"/>
              <a:gd name="connsiteY1500" fmla="*/ 7713746 h 11747497"/>
              <a:gd name="connsiteX1501" fmla="*/ 4790861 w 4838702"/>
              <a:gd name="connsiteY1501" fmla="*/ 7657005 h 11747497"/>
              <a:gd name="connsiteX1502" fmla="*/ 4795464 w 4838702"/>
              <a:gd name="connsiteY1502" fmla="*/ 7600165 h 11747497"/>
              <a:gd name="connsiteX1503" fmla="*/ 4797572 w 4838702"/>
              <a:gd name="connsiteY1503" fmla="*/ 9606531 h 11747497"/>
              <a:gd name="connsiteX1504" fmla="*/ 4792930 w 4838702"/>
              <a:gd name="connsiteY1504" fmla="*/ 9621589 h 11747497"/>
              <a:gd name="connsiteX1505" fmla="*/ 4793085 w 4838702"/>
              <a:gd name="connsiteY1505" fmla="*/ 9593069 h 11747497"/>
              <a:gd name="connsiteX1506" fmla="*/ 4795308 w 4838702"/>
              <a:gd name="connsiteY1506" fmla="*/ 9578908 h 11747497"/>
              <a:gd name="connsiteX1507" fmla="*/ 4797572 w 4838702"/>
              <a:gd name="connsiteY1507" fmla="*/ 9606531 h 11747497"/>
              <a:gd name="connsiteX1508" fmla="*/ 4798768 w 4838702"/>
              <a:gd name="connsiteY1508" fmla="*/ 6308965 h 11747497"/>
              <a:gd name="connsiteX1509" fmla="*/ 4797792 w 4838702"/>
              <a:gd name="connsiteY1509" fmla="*/ 6262022 h 11747497"/>
              <a:gd name="connsiteX1510" fmla="*/ 4797223 w 4838702"/>
              <a:gd name="connsiteY1510" fmla="*/ 6347382 h 11747497"/>
              <a:gd name="connsiteX1511" fmla="*/ 4798768 w 4838702"/>
              <a:gd name="connsiteY1511" fmla="*/ 6308965 h 11747497"/>
              <a:gd name="connsiteX1512" fmla="*/ 4803804 w 4838702"/>
              <a:gd name="connsiteY1512" fmla="*/ 11142457 h 11747497"/>
              <a:gd name="connsiteX1513" fmla="*/ 4801929 w 4838702"/>
              <a:gd name="connsiteY1513" fmla="*/ 11159273 h 11747497"/>
              <a:gd name="connsiteX1514" fmla="*/ 4803480 w 4838702"/>
              <a:gd name="connsiteY1514" fmla="*/ 11244731 h 11747497"/>
              <a:gd name="connsiteX1515" fmla="*/ 4797067 w 4838702"/>
              <a:gd name="connsiteY1515" fmla="*/ 11258792 h 11747497"/>
              <a:gd name="connsiteX1516" fmla="*/ 4790085 w 4838702"/>
              <a:gd name="connsiteY1516" fmla="*/ 11358313 h 11747497"/>
              <a:gd name="connsiteX1517" fmla="*/ 4790654 w 4838702"/>
              <a:gd name="connsiteY1517" fmla="*/ 11272854 h 11747497"/>
              <a:gd name="connsiteX1518" fmla="*/ 4792879 w 4838702"/>
              <a:gd name="connsiteY1518" fmla="*/ 11258693 h 11747497"/>
              <a:gd name="connsiteX1519" fmla="*/ 4792981 w 4838702"/>
              <a:gd name="connsiteY1519" fmla="*/ 11244432 h 11747497"/>
              <a:gd name="connsiteX1520" fmla="*/ 4795516 w 4838702"/>
              <a:gd name="connsiteY1520" fmla="*/ 11173331 h 11747497"/>
              <a:gd name="connsiteX1521" fmla="*/ 4802033 w 4838702"/>
              <a:gd name="connsiteY1521" fmla="*/ 11145011 h 11747497"/>
              <a:gd name="connsiteX1522" fmla="*/ 4803804 w 4838702"/>
              <a:gd name="connsiteY1522" fmla="*/ 11142457 h 11747497"/>
              <a:gd name="connsiteX1523" fmla="*/ 4804152 w 4838702"/>
              <a:gd name="connsiteY1523" fmla="*/ 8852947 h 11747497"/>
              <a:gd name="connsiteX1524" fmla="*/ 4796137 w 4838702"/>
              <a:gd name="connsiteY1524" fmla="*/ 8795907 h 11747497"/>
              <a:gd name="connsiteX1525" fmla="*/ 4802653 w 4838702"/>
              <a:gd name="connsiteY1525" fmla="*/ 8767587 h 11747497"/>
              <a:gd name="connsiteX1526" fmla="*/ 4790085 w 4838702"/>
              <a:gd name="connsiteY1526" fmla="*/ 8753027 h 11747497"/>
              <a:gd name="connsiteX1527" fmla="*/ 4788585 w 4838702"/>
              <a:gd name="connsiteY1527" fmla="*/ 8980788 h 11747497"/>
              <a:gd name="connsiteX1528" fmla="*/ 4794534 w 4838702"/>
              <a:gd name="connsiteY1528" fmla="*/ 9037828 h 11747497"/>
              <a:gd name="connsiteX1529" fmla="*/ 4788224 w 4838702"/>
              <a:gd name="connsiteY1529" fmla="*/ 9037629 h 11747497"/>
              <a:gd name="connsiteX1530" fmla="*/ 4798567 w 4838702"/>
              <a:gd name="connsiteY1530" fmla="*/ 9066348 h 11747497"/>
              <a:gd name="connsiteX1531" fmla="*/ 4797378 w 4838702"/>
              <a:gd name="connsiteY1531" fmla="*/ 9251428 h 11747497"/>
              <a:gd name="connsiteX1532" fmla="*/ 4801154 w 4838702"/>
              <a:gd name="connsiteY1532" fmla="*/ 8995248 h 11747497"/>
              <a:gd name="connsiteX1533" fmla="*/ 4803532 w 4838702"/>
              <a:gd name="connsiteY1533" fmla="*/ 8952567 h 11747497"/>
              <a:gd name="connsiteX1534" fmla="*/ 4804152 w 4838702"/>
              <a:gd name="connsiteY1534" fmla="*/ 8852947 h 11747497"/>
              <a:gd name="connsiteX1535" fmla="*/ 4806933 w 4838702"/>
              <a:gd name="connsiteY1535" fmla="*/ 10146752 h 11747497"/>
              <a:gd name="connsiteX1536" fmla="*/ 4806118 w 4838702"/>
              <a:gd name="connsiteY1536" fmla="*/ 10191389 h 11747497"/>
              <a:gd name="connsiteX1537" fmla="*/ 4803532 w 4838702"/>
              <a:gd name="connsiteY1537" fmla="*/ 10262490 h 11747497"/>
              <a:gd name="connsiteX1538" fmla="*/ 4802963 w 4838702"/>
              <a:gd name="connsiteY1538" fmla="*/ 10347850 h 11747497"/>
              <a:gd name="connsiteX1539" fmla="*/ 4804825 w 4838702"/>
              <a:gd name="connsiteY1539" fmla="*/ 10390629 h 11747497"/>
              <a:gd name="connsiteX1540" fmla="*/ 4804463 w 4838702"/>
              <a:gd name="connsiteY1540" fmla="*/ 10447570 h 11747497"/>
              <a:gd name="connsiteX1541" fmla="*/ 4804256 w 4838702"/>
              <a:gd name="connsiteY1541" fmla="*/ 10475991 h 11747497"/>
              <a:gd name="connsiteX1542" fmla="*/ 4803688 w 4838702"/>
              <a:gd name="connsiteY1542" fmla="*/ 10561350 h 11747497"/>
              <a:gd name="connsiteX1543" fmla="*/ 4796963 w 4838702"/>
              <a:gd name="connsiteY1543" fmla="*/ 10618191 h 11747497"/>
              <a:gd name="connsiteX1544" fmla="*/ 4796137 w 4838702"/>
              <a:gd name="connsiteY1544" fmla="*/ 10746332 h 11747497"/>
              <a:gd name="connsiteX1545" fmla="*/ 4789827 w 4838702"/>
              <a:gd name="connsiteY1545" fmla="*/ 10746131 h 11747497"/>
              <a:gd name="connsiteX1546" fmla="*/ 4786517 w 4838702"/>
              <a:gd name="connsiteY1546" fmla="*/ 10931113 h 11747497"/>
              <a:gd name="connsiteX1547" fmla="*/ 4784706 w 4838702"/>
              <a:gd name="connsiteY1547" fmla="*/ 10888333 h 11747497"/>
              <a:gd name="connsiteX1548" fmla="*/ 4782793 w 4838702"/>
              <a:gd name="connsiteY1548" fmla="*/ 10859813 h 11747497"/>
              <a:gd name="connsiteX1549" fmla="*/ 4785378 w 4838702"/>
              <a:gd name="connsiteY1549" fmla="*/ 10802773 h 11747497"/>
              <a:gd name="connsiteX1550" fmla="*/ 4785637 w 4838702"/>
              <a:gd name="connsiteY1550" fmla="*/ 10760093 h 11747497"/>
              <a:gd name="connsiteX1551" fmla="*/ 4783723 w 4838702"/>
              <a:gd name="connsiteY1551" fmla="*/ 10731573 h 11747497"/>
              <a:gd name="connsiteX1552" fmla="*/ 4786103 w 4838702"/>
              <a:gd name="connsiteY1552" fmla="*/ 10688992 h 11747497"/>
              <a:gd name="connsiteX1553" fmla="*/ 4788844 w 4838702"/>
              <a:gd name="connsiteY1553" fmla="*/ 10589372 h 11747497"/>
              <a:gd name="connsiteX1554" fmla="*/ 4789103 w 4838702"/>
              <a:gd name="connsiteY1554" fmla="*/ 10546692 h 11747497"/>
              <a:gd name="connsiteX1555" fmla="*/ 4791585 w 4838702"/>
              <a:gd name="connsiteY1555" fmla="*/ 10489852 h 11747497"/>
              <a:gd name="connsiteX1556" fmla="*/ 4785327 w 4838702"/>
              <a:gd name="connsiteY1556" fmla="*/ 10475491 h 11747497"/>
              <a:gd name="connsiteX1557" fmla="*/ 4789723 w 4838702"/>
              <a:gd name="connsiteY1557" fmla="*/ 10447171 h 11747497"/>
              <a:gd name="connsiteX1558" fmla="*/ 4792206 w 4838702"/>
              <a:gd name="connsiteY1558" fmla="*/ 10390331 h 11747497"/>
              <a:gd name="connsiteX1559" fmla="*/ 4790809 w 4838702"/>
              <a:gd name="connsiteY1559" fmla="*/ 10276351 h 11747497"/>
              <a:gd name="connsiteX1560" fmla="*/ 4796861 w 4838702"/>
              <a:gd name="connsiteY1560" fmla="*/ 10319231 h 11747497"/>
              <a:gd name="connsiteX1561" fmla="*/ 4799343 w 4838702"/>
              <a:gd name="connsiteY1561" fmla="*/ 10262389 h 11747497"/>
              <a:gd name="connsiteX1562" fmla="*/ 4801618 w 4838702"/>
              <a:gd name="connsiteY1562" fmla="*/ 10233970 h 11747497"/>
              <a:gd name="connsiteX1563" fmla="*/ 4799601 w 4838702"/>
              <a:gd name="connsiteY1563" fmla="*/ 10219611 h 11747497"/>
              <a:gd name="connsiteX1564" fmla="*/ 4803998 w 4838702"/>
              <a:gd name="connsiteY1564" fmla="*/ 10191289 h 11747497"/>
              <a:gd name="connsiteX1565" fmla="*/ 4802343 w 4838702"/>
              <a:gd name="connsiteY1565" fmla="*/ 10120090 h 11747497"/>
              <a:gd name="connsiteX1566" fmla="*/ 4804567 w 4838702"/>
              <a:gd name="connsiteY1566" fmla="*/ 10105929 h 11747497"/>
              <a:gd name="connsiteX1567" fmla="*/ 4806933 w 4838702"/>
              <a:gd name="connsiteY1567" fmla="*/ 10146752 h 11747497"/>
              <a:gd name="connsiteX1568" fmla="*/ 4808394 w 4838702"/>
              <a:gd name="connsiteY1568" fmla="*/ 4625117 h 11747497"/>
              <a:gd name="connsiteX1569" fmla="*/ 4802963 w 4838702"/>
              <a:gd name="connsiteY1569" fmla="*/ 4482617 h 11747497"/>
              <a:gd name="connsiteX1570" fmla="*/ 4796447 w 4838702"/>
              <a:gd name="connsiteY1570" fmla="*/ 4510938 h 11747497"/>
              <a:gd name="connsiteX1571" fmla="*/ 4795619 w 4838702"/>
              <a:gd name="connsiteY1571" fmla="*/ 4639077 h 11747497"/>
              <a:gd name="connsiteX1572" fmla="*/ 4808394 w 4838702"/>
              <a:gd name="connsiteY1572" fmla="*/ 4625117 h 11747497"/>
              <a:gd name="connsiteX1573" fmla="*/ 4811016 w 4838702"/>
              <a:gd name="connsiteY1573" fmla="*/ 9962793 h 11747497"/>
              <a:gd name="connsiteX1574" fmla="*/ 4807204 w 4838702"/>
              <a:gd name="connsiteY1574" fmla="*/ 10020569 h 11747497"/>
              <a:gd name="connsiteX1575" fmla="*/ 4796550 w 4838702"/>
              <a:gd name="connsiteY1575" fmla="*/ 10034529 h 11747497"/>
              <a:gd name="connsiteX1576" fmla="*/ 4794171 w 4838702"/>
              <a:gd name="connsiteY1576" fmla="*/ 10077210 h 11747497"/>
              <a:gd name="connsiteX1577" fmla="*/ 4794636 w 4838702"/>
              <a:gd name="connsiteY1577" fmla="*/ 10006011 h 11747497"/>
              <a:gd name="connsiteX1578" fmla="*/ 4805239 w 4838702"/>
              <a:gd name="connsiteY1578" fmla="*/ 9992049 h 11747497"/>
              <a:gd name="connsiteX1579" fmla="*/ 4809842 w 4838702"/>
              <a:gd name="connsiteY1579" fmla="*/ 9935208 h 11747497"/>
              <a:gd name="connsiteX1580" fmla="*/ 4811016 w 4838702"/>
              <a:gd name="connsiteY1580" fmla="*/ 9962793 h 11747497"/>
              <a:gd name="connsiteX1581" fmla="*/ 4811478 w 4838702"/>
              <a:gd name="connsiteY1581" fmla="*/ 9812827 h 11747497"/>
              <a:gd name="connsiteX1582" fmla="*/ 4806480 w 4838702"/>
              <a:gd name="connsiteY1582" fmla="*/ 9806969 h 11747497"/>
              <a:gd name="connsiteX1583" fmla="*/ 4810773 w 4838702"/>
              <a:gd name="connsiteY1583" fmla="*/ 9792808 h 11747497"/>
              <a:gd name="connsiteX1584" fmla="*/ 4811478 w 4838702"/>
              <a:gd name="connsiteY1584" fmla="*/ 9812827 h 11747497"/>
              <a:gd name="connsiteX1585" fmla="*/ 4811943 w 4838702"/>
              <a:gd name="connsiteY1585" fmla="*/ 11264240 h 11747497"/>
              <a:gd name="connsiteX1586" fmla="*/ 4811290 w 4838702"/>
              <a:gd name="connsiteY1586" fmla="*/ 11344452 h 11747497"/>
              <a:gd name="connsiteX1587" fmla="*/ 4808911 w 4838702"/>
              <a:gd name="connsiteY1587" fmla="*/ 11387132 h 11747497"/>
              <a:gd name="connsiteX1588" fmla="*/ 4808343 w 4838702"/>
              <a:gd name="connsiteY1588" fmla="*/ 11472492 h 11747497"/>
              <a:gd name="connsiteX1589" fmla="*/ 4805963 w 4838702"/>
              <a:gd name="connsiteY1589" fmla="*/ 11515173 h 11747497"/>
              <a:gd name="connsiteX1590" fmla="*/ 4805239 w 4838702"/>
              <a:gd name="connsiteY1590" fmla="*/ 11629053 h 11747497"/>
              <a:gd name="connsiteX1591" fmla="*/ 4798464 w 4838702"/>
              <a:gd name="connsiteY1591" fmla="*/ 11700054 h 11747497"/>
              <a:gd name="connsiteX1592" fmla="*/ 4785792 w 4838702"/>
              <a:gd name="connsiteY1592" fmla="*/ 11699754 h 11747497"/>
              <a:gd name="connsiteX1593" fmla="*/ 4784137 w 4838702"/>
              <a:gd name="connsiteY1593" fmla="*/ 11628553 h 11747497"/>
              <a:gd name="connsiteX1594" fmla="*/ 4797067 w 4838702"/>
              <a:gd name="connsiteY1594" fmla="*/ 11586172 h 11747497"/>
              <a:gd name="connsiteX1595" fmla="*/ 4800015 w 4838702"/>
              <a:gd name="connsiteY1595" fmla="*/ 11458132 h 11747497"/>
              <a:gd name="connsiteX1596" fmla="*/ 4800585 w 4838702"/>
              <a:gd name="connsiteY1596" fmla="*/ 11372772 h 11747497"/>
              <a:gd name="connsiteX1597" fmla="*/ 4804980 w 4838702"/>
              <a:gd name="connsiteY1597" fmla="*/ 11344252 h 11747497"/>
              <a:gd name="connsiteX1598" fmla="*/ 4809273 w 4838702"/>
              <a:gd name="connsiteY1598" fmla="*/ 11330192 h 11747497"/>
              <a:gd name="connsiteX1599" fmla="*/ 4807411 w 4838702"/>
              <a:gd name="connsiteY1599" fmla="*/ 11287412 h 11747497"/>
              <a:gd name="connsiteX1600" fmla="*/ 4809635 w 4838702"/>
              <a:gd name="connsiteY1600" fmla="*/ 11273251 h 11747497"/>
              <a:gd name="connsiteX1601" fmla="*/ 4809842 w 4838702"/>
              <a:gd name="connsiteY1601" fmla="*/ 11244832 h 11747497"/>
              <a:gd name="connsiteX1602" fmla="*/ 4811943 w 4838702"/>
              <a:gd name="connsiteY1602" fmla="*/ 11264240 h 11747497"/>
              <a:gd name="connsiteX1603" fmla="*/ 4811956 w 4838702"/>
              <a:gd name="connsiteY1603" fmla="*/ 9321506 h 11747497"/>
              <a:gd name="connsiteX1604" fmla="*/ 4811446 w 4838702"/>
              <a:gd name="connsiteY1604" fmla="*/ 9365707 h 11747497"/>
              <a:gd name="connsiteX1605" fmla="*/ 4809790 w 4838702"/>
              <a:gd name="connsiteY1605" fmla="*/ 9294508 h 11747497"/>
              <a:gd name="connsiteX1606" fmla="*/ 4811956 w 4838702"/>
              <a:gd name="connsiteY1606" fmla="*/ 9321506 h 11747497"/>
              <a:gd name="connsiteX1607" fmla="*/ 4813463 w 4838702"/>
              <a:gd name="connsiteY1607" fmla="*/ 10362409 h 11747497"/>
              <a:gd name="connsiteX1608" fmla="*/ 4809531 w 4838702"/>
              <a:gd name="connsiteY1608" fmla="*/ 10319529 h 11747497"/>
              <a:gd name="connsiteX1609" fmla="*/ 4813463 w 4838702"/>
              <a:gd name="connsiteY1609" fmla="*/ 10362409 h 11747497"/>
              <a:gd name="connsiteX1610" fmla="*/ 4815065 w 4838702"/>
              <a:gd name="connsiteY1610" fmla="*/ 9138046 h 11747497"/>
              <a:gd name="connsiteX1611" fmla="*/ 4807980 w 4838702"/>
              <a:gd name="connsiteY1611" fmla="*/ 9251728 h 11747497"/>
              <a:gd name="connsiteX1612" fmla="*/ 4815065 w 4838702"/>
              <a:gd name="connsiteY1612" fmla="*/ 9138046 h 11747497"/>
              <a:gd name="connsiteX1613" fmla="*/ 4815273 w 4838702"/>
              <a:gd name="connsiteY1613" fmla="*/ 7145043 h 11747497"/>
              <a:gd name="connsiteX1614" fmla="*/ 4814911 w 4838702"/>
              <a:gd name="connsiteY1614" fmla="*/ 7201982 h 11747497"/>
              <a:gd name="connsiteX1615" fmla="*/ 4810669 w 4838702"/>
              <a:gd name="connsiteY1615" fmla="*/ 7201883 h 11747497"/>
              <a:gd name="connsiteX1616" fmla="*/ 4811032 w 4838702"/>
              <a:gd name="connsiteY1616" fmla="*/ 7144942 h 11747497"/>
              <a:gd name="connsiteX1617" fmla="*/ 4820083 w 4838702"/>
              <a:gd name="connsiteY1617" fmla="*/ 6732401 h 11747497"/>
              <a:gd name="connsiteX1618" fmla="*/ 4809687 w 4838702"/>
              <a:gd name="connsiteY1618" fmla="*/ 6703681 h 11747497"/>
              <a:gd name="connsiteX1619" fmla="*/ 4809480 w 4838702"/>
              <a:gd name="connsiteY1619" fmla="*/ 6732202 h 11747497"/>
              <a:gd name="connsiteX1620" fmla="*/ 4813617 w 4838702"/>
              <a:gd name="connsiteY1620" fmla="*/ 6746562 h 11747497"/>
              <a:gd name="connsiteX1621" fmla="*/ 4813463 w 4838702"/>
              <a:gd name="connsiteY1621" fmla="*/ 6774882 h 11747497"/>
              <a:gd name="connsiteX1622" fmla="*/ 4819824 w 4838702"/>
              <a:gd name="connsiteY1622" fmla="*/ 6775081 h 11747497"/>
              <a:gd name="connsiteX1623" fmla="*/ 4821996 w 4838702"/>
              <a:gd name="connsiteY1623" fmla="*/ 7088201 h 11747497"/>
              <a:gd name="connsiteX1624" fmla="*/ 4807411 w 4838702"/>
              <a:gd name="connsiteY1624" fmla="*/ 7059383 h 11747497"/>
              <a:gd name="connsiteX1625" fmla="*/ 4802498 w 4838702"/>
              <a:gd name="connsiteY1625" fmla="*/ 7173263 h 11747497"/>
              <a:gd name="connsiteX1626" fmla="*/ 4805963 w 4838702"/>
              <a:gd name="connsiteY1626" fmla="*/ 7287243 h 11747497"/>
              <a:gd name="connsiteX1627" fmla="*/ 4812221 w 4838702"/>
              <a:gd name="connsiteY1627" fmla="*/ 7301602 h 11747497"/>
              <a:gd name="connsiteX1628" fmla="*/ 4811290 w 4838702"/>
              <a:gd name="connsiteY1628" fmla="*/ 7443904 h 11747497"/>
              <a:gd name="connsiteX1629" fmla="*/ 4814859 w 4838702"/>
              <a:gd name="connsiteY1629" fmla="*/ 7543623 h 11747497"/>
              <a:gd name="connsiteX1630" fmla="*/ 4814962 w 4838702"/>
              <a:gd name="connsiteY1630" fmla="*/ 7529363 h 11747497"/>
              <a:gd name="connsiteX1631" fmla="*/ 4821013 w 4838702"/>
              <a:gd name="connsiteY1631" fmla="*/ 7244762 h 11747497"/>
              <a:gd name="connsiteX1632" fmla="*/ 4817135 w 4838702"/>
              <a:gd name="connsiteY1632" fmla="*/ 7187722 h 11747497"/>
              <a:gd name="connsiteX1633" fmla="*/ 4821996 w 4838702"/>
              <a:gd name="connsiteY1633" fmla="*/ 7088201 h 11747497"/>
              <a:gd name="connsiteX1634" fmla="*/ 4822979 w 4838702"/>
              <a:gd name="connsiteY1634" fmla="*/ 7913983 h 11747497"/>
              <a:gd name="connsiteX1635" fmla="*/ 4818944 w 4838702"/>
              <a:gd name="connsiteY1635" fmla="*/ 7885463 h 11747497"/>
              <a:gd name="connsiteX1636" fmla="*/ 4821790 w 4838702"/>
              <a:gd name="connsiteY1636" fmla="*/ 7771683 h 11747497"/>
              <a:gd name="connsiteX1637" fmla="*/ 4811342 w 4838702"/>
              <a:gd name="connsiteY1637" fmla="*/ 7757123 h 11747497"/>
              <a:gd name="connsiteX1638" fmla="*/ 4804463 w 4838702"/>
              <a:gd name="connsiteY1638" fmla="*/ 7842384 h 11747497"/>
              <a:gd name="connsiteX1639" fmla="*/ 4801618 w 4838702"/>
              <a:gd name="connsiteY1639" fmla="*/ 7956165 h 11747497"/>
              <a:gd name="connsiteX1640" fmla="*/ 4807670 w 4838702"/>
              <a:gd name="connsiteY1640" fmla="*/ 7999045 h 11747497"/>
              <a:gd name="connsiteX1641" fmla="*/ 4809480 w 4838702"/>
              <a:gd name="connsiteY1641" fmla="*/ 8041824 h 11747497"/>
              <a:gd name="connsiteX1642" fmla="*/ 4810669 w 4838702"/>
              <a:gd name="connsiteY1642" fmla="*/ 8184224 h 11747497"/>
              <a:gd name="connsiteX1643" fmla="*/ 4808445 w 4838702"/>
              <a:gd name="connsiteY1643" fmla="*/ 8198385 h 11747497"/>
              <a:gd name="connsiteX1644" fmla="*/ 4805239 w 4838702"/>
              <a:gd name="connsiteY1644" fmla="*/ 8369106 h 11747497"/>
              <a:gd name="connsiteX1645" fmla="*/ 4801205 w 4838702"/>
              <a:gd name="connsiteY1645" fmla="*/ 8340486 h 11747497"/>
              <a:gd name="connsiteX1646" fmla="*/ 4796963 w 4838702"/>
              <a:gd name="connsiteY1646" fmla="*/ 8340386 h 11747497"/>
              <a:gd name="connsiteX1647" fmla="*/ 4798051 w 4838702"/>
              <a:gd name="connsiteY1647" fmla="*/ 8169565 h 11747497"/>
              <a:gd name="connsiteX1648" fmla="*/ 4791429 w 4838702"/>
              <a:gd name="connsiteY1648" fmla="*/ 8212046 h 11747497"/>
              <a:gd name="connsiteX1649" fmla="*/ 4792361 w 4838702"/>
              <a:gd name="connsiteY1649" fmla="*/ 8397126 h 11747497"/>
              <a:gd name="connsiteX1650" fmla="*/ 4798051 w 4838702"/>
              <a:gd name="connsiteY1650" fmla="*/ 8496946 h 11747497"/>
              <a:gd name="connsiteX1651" fmla="*/ 4804205 w 4838702"/>
              <a:gd name="connsiteY1651" fmla="*/ 8525566 h 11747497"/>
              <a:gd name="connsiteX1652" fmla="*/ 4799601 w 4838702"/>
              <a:gd name="connsiteY1652" fmla="*/ 8582406 h 11747497"/>
              <a:gd name="connsiteX1653" fmla="*/ 4801412 w 4838702"/>
              <a:gd name="connsiteY1653" fmla="*/ 8625186 h 11747497"/>
              <a:gd name="connsiteX1654" fmla="*/ 4807359 w 4838702"/>
              <a:gd name="connsiteY1654" fmla="*/ 8682226 h 11747497"/>
              <a:gd name="connsiteX1655" fmla="*/ 4813307 w 4838702"/>
              <a:gd name="connsiteY1655" fmla="*/ 8739366 h 11747497"/>
              <a:gd name="connsiteX1656" fmla="*/ 4814135 w 4838702"/>
              <a:gd name="connsiteY1656" fmla="*/ 8611325 h 11747497"/>
              <a:gd name="connsiteX1657" fmla="*/ 4807876 w 4838702"/>
              <a:gd name="connsiteY1657" fmla="*/ 8596966 h 11747497"/>
              <a:gd name="connsiteX1658" fmla="*/ 4810566 w 4838702"/>
              <a:gd name="connsiteY1658" fmla="*/ 8511605 h 11747497"/>
              <a:gd name="connsiteX1659" fmla="*/ 4813411 w 4838702"/>
              <a:gd name="connsiteY1659" fmla="*/ 8397824 h 11747497"/>
              <a:gd name="connsiteX1660" fmla="*/ 4814031 w 4838702"/>
              <a:gd name="connsiteY1660" fmla="*/ 8298204 h 11747497"/>
              <a:gd name="connsiteX1661" fmla="*/ 4816255 w 4838702"/>
              <a:gd name="connsiteY1661" fmla="*/ 8284045 h 11747497"/>
              <a:gd name="connsiteX1662" fmla="*/ 4814445 w 4838702"/>
              <a:gd name="connsiteY1662" fmla="*/ 8241264 h 11747497"/>
              <a:gd name="connsiteX1663" fmla="*/ 4816928 w 4838702"/>
              <a:gd name="connsiteY1663" fmla="*/ 8184325 h 11747497"/>
              <a:gd name="connsiteX1664" fmla="*/ 4815273 w 4838702"/>
              <a:gd name="connsiteY1664" fmla="*/ 8113124 h 11747497"/>
              <a:gd name="connsiteX1665" fmla="*/ 4817755 w 4838702"/>
              <a:gd name="connsiteY1665" fmla="*/ 8056284 h 11747497"/>
              <a:gd name="connsiteX1666" fmla="*/ 4816204 w 4838702"/>
              <a:gd name="connsiteY1666" fmla="*/ 7970823 h 11747497"/>
              <a:gd name="connsiteX1667" fmla="*/ 4818583 w 4838702"/>
              <a:gd name="connsiteY1667" fmla="*/ 7942304 h 11747497"/>
              <a:gd name="connsiteX1668" fmla="*/ 4822979 w 4838702"/>
              <a:gd name="connsiteY1668" fmla="*/ 7913983 h 11747497"/>
              <a:gd name="connsiteX1669" fmla="*/ 4823651 w 4838702"/>
              <a:gd name="connsiteY1669" fmla="*/ 5849779 h 11747497"/>
              <a:gd name="connsiteX1670" fmla="*/ 4816980 w 4838702"/>
              <a:gd name="connsiteY1670" fmla="*/ 5906619 h 11747497"/>
              <a:gd name="connsiteX1671" fmla="*/ 4810721 w 4838702"/>
              <a:gd name="connsiteY1671" fmla="*/ 5892259 h 11747497"/>
              <a:gd name="connsiteX1672" fmla="*/ 4802550 w 4838702"/>
              <a:gd name="connsiteY1672" fmla="*/ 5849380 h 11747497"/>
              <a:gd name="connsiteX1673" fmla="*/ 4803998 w 4838702"/>
              <a:gd name="connsiteY1673" fmla="*/ 5949100 h 11747497"/>
              <a:gd name="connsiteX1674" fmla="*/ 4801774 w 4838702"/>
              <a:gd name="connsiteY1674" fmla="*/ 5963260 h 11747497"/>
              <a:gd name="connsiteX1675" fmla="*/ 4803532 w 4838702"/>
              <a:gd name="connsiteY1675" fmla="*/ 6020201 h 11747497"/>
              <a:gd name="connsiteX1676" fmla="*/ 4801308 w 4838702"/>
              <a:gd name="connsiteY1676" fmla="*/ 6034360 h 11747497"/>
              <a:gd name="connsiteX1677" fmla="*/ 4801101 w 4838702"/>
              <a:gd name="connsiteY1677" fmla="*/ 6062781 h 11747497"/>
              <a:gd name="connsiteX1678" fmla="*/ 4800843 w 4838702"/>
              <a:gd name="connsiteY1678" fmla="*/ 6105461 h 11747497"/>
              <a:gd name="connsiteX1679" fmla="*/ 4800636 w 4838702"/>
              <a:gd name="connsiteY1679" fmla="*/ 6133881 h 11747497"/>
              <a:gd name="connsiteX1680" fmla="*/ 4802498 w 4838702"/>
              <a:gd name="connsiteY1680" fmla="*/ 6176661 h 11747497"/>
              <a:gd name="connsiteX1681" fmla="*/ 4806326 w 4838702"/>
              <a:gd name="connsiteY1681" fmla="*/ 6233700 h 11747497"/>
              <a:gd name="connsiteX1682" fmla="*/ 4815118 w 4838702"/>
              <a:gd name="connsiteY1682" fmla="*/ 6176960 h 11747497"/>
              <a:gd name="connsiteX1683" fmla="*/ 4816410 w 4838702"/>
              <a:gd name="connsiteY1683" fmla="*/ 5977719 h 11747497"/>
              <a:gd name="connsiteX1684" fmla="*/ 4820342 w 4838702"/>
              <a:gd name="connsiteY1684" fmla="*/ 6020499 h 11747497"/>
              <a:gd name="connsiteX1685" fmla="*/ 4823651 w 4838702"/>
              <a:gd name="connsiteY1685" fmla="*/ 5849779 h 11747497"/>
              <a:gd name="connsiteX1686" fmla="*/ 4825255 w 4838702"/>
              <a:gd name="connsiteY1686" fmla="*/ 5000663 h 11747497"/>
              <a:gd name="connsiteX1687" fmla="*/ 4825255 w 4838702"/>
              <a:gd name="connsiteY1687" fmla="*/ 4965362 h 11747497"/>
              <a:gd name="connsiteX1688" fmla="*/ 4816824 w 4838702"/>
              <a:gd name="connsiteY1688" fmla="*/ 4952698 h 11747497"/>
              <a:gd name="connsiteX1689" fmla="*/ 4815376 w 4838702"/>
              <a:gd name="connsiteY1689" fmla="*/ 4852978 h 11747497"/>
              <a:gd name="connsiteX1690" fmla="*/ 4809584 w 4838702"/>
              <a:gd name="connsiteY1690" fmla="*/ 4767418 h 11747497"/>
              <a:gd name="connsiteX1691" fmla="*/ 4812221 w 4838702"/>
              <a:gd name="connsiteY1691" fmla="*/ 5009538 h 11747497"/>
              <a:gd name="connsiteX1692" fmla="*/ 4825255 w 4838702"/>
              <a:gd name="connsiteY1692" fmla="*/ 5000663 h 11747497"/>
              <a:gd name="connsiteX1693" fmla="*/ 4825255 w 4838702"/>
              <a:gd name="connsiteY1693" fmla="*/ 7006232 h 11747497"/>
              <a:gd name="connsiteX1694" fmla="*/ 4825255 w 4838702"/>
              <a:gd name="connsiteY1694" fmla="*/ 6559686 h 11747497"/>
              <a:gd name="connsiteX1695" fmla="*/ 4823289 w 4838702"/>
              <a:gd name="connsiteY1695" fmla="*/ 6561579 h 11747497"/>
              <a:gd name="connsiteX1696" fmla="*/ 4824582 w 4838702"/>
              <a:gd name="connsiteY1696" fmla="*/ 6689721 h 11747497"/>
              <a:gd name="connsiteX1697" fmla="*/ 4821996 w 4838702"/>
              <a:gd name="connsiteY1697" fmla="*/ 6760822 h 11747497"/>
              <a:gd name="connsiteX1698" fmla="*/ 4819256 w 4838702"/>
              <a:gd name="connsiteY1698" fmla="*/ 6860442 h 11747497"/>
              <a:gd name="connsiteX1699" fmla="*/ 4817600 w 4838702"/>
              <a:gd name="connsiteY1699" fmla="*/ 6789241 h 11747497"/>
              <a:gd name="connsiteX1700" fmla="*/ 4800688 w 4838702"/>
              <a:gd name="connsiteY1700" fmla="*/ 6788842 h 11747497"/>
              <a:gd name="connsiteX1701" fmla="*/ 4797842 w 4838702"/>
              <a:gd name="connsiteY1701" fmla="*/ 6902623 h 11747497"/>
              <a:gd name="connsiteX1702" fmla="*/ 4805549 w 4838702"/>
              <a:gd name="connsiteY1702" fmla="*/ 7016702 h 11747497"/>
              <a:gd name="connsiteX1703" fmla="*/ 4818221 w 4838702"/>
              <a:gd name="connsiteY1703" fmla="*/ 7017002 h 11747497"/>
              <a:gd name="connsiteX1704" fmla="*/ 4820600 w 4838702"/>
              <a:gd name="connsiteY1704" fmla="*/ 6974421 h 11747497"/>
              <a:gd name="connsiteX1705" fmla="*/ 4825255 w 4838702"/>
              <a:gd name="connsiteY1705" fmla="*/ 7006232 h 11747497"/>
              <a:gd name="connsiteX1706" fmla="*/ 4829044 w 4838702"/>
              <a:gd name="connsiteY1706" fmla="*/ 10750914 h 11747497"/>
              <a:gd name="connsiteX1707" fmla="*/ 4828468 w 4838702"/>
              <a:gd name="connsiteY1707" fmla="*/ 10714583 h 11747497"/>
              <a:gd name="connsiteX1708" fmla="*/ 4827892 w 4838702"/>
              <a:gd name="connsiteY1708" fmla="*/ 10685908 h 11747497"/>
              <a:gd name="connsiteX1709" fmla="*/ 4825203 w 4838702"/>
              <a:gd name="connsiteY1709" fmla="*/ 10831493 h 11747497"/>
              <a:gd name="connsiteX1710" fmla="*/ 4827479 w 4838702"/>
              <a:gd name="connsiteY1710" fmla="*/ 10803969 h 11747497"/>
              <a:gd name="connsiteX1711" fmla="*/ 4827686 w 4838702"/>
              <a:gd name="connsiteY1711" fmla="*/ 10775550 h 11747497"/>
              <a:gd name="connsiteX1712" fmla="*/ 4829044 w 4838702"/>
              <a:gd name="connsiteY1712" fmla="*/ 10750914 h 11747497"/>
              <a:gd name="connsiteX1713" fmla="*/ 4838702 w 4838702"/>
              <a:gd name="connsiteY1713" fmla="*/ 11048185 h 11747497"/>
              <a:gd name="connsiteX1714" fmla="*/ 4826185 w 4838702"/>
              <a:gd name="connsiteY1714" fmla="*/ 11047985 h 11747497"/>
              <a:gd name="connsiteX1715" fmla="*/ 4825824 w 4838702"/>
              <a:gd name="connsiteY1715" fmla="*/ 11060149 h 11747497"/>
              <a:gd name="connsiteX1716" fmla="*/ 4815065 w 4838702"/>
              <a:gd name="connsiteY1716" fmla="*/ 11088371 h 11747497"/>
              <a:gd name="connsiteX1717" fmla="*/ 4809997 w 4838702"/>
              <a:gd name="connsiteY1717" fmla="*/ 11216312 h 11747497"/>
              <a:gd name="connsiteX1718" fmla="*/ 4813307 w 4838702"/>
              <a:gd name="connsiteY1718" fmla="*/ 11031331 h 11747497"/>
              <a:gd name="connsiteX1719" fmla="*/ 4806997 w 4838702"/>
              <a:gd name="connsiteY1719" fmla="*/ 11031131 h 11747497"/>
              <a:gd name="connsiteX1720" fmla="*/ 4806532 w 4838702"/>
              <a:gd name="connsiteY1720" fmla="*/ 11102331 h 11747497"/>
              <a:gd name="connsiteX1721" fmla="*/ 4795877 w 4838702"/>
              <a:gd name="connsiteY1721" fmla="*/ 11116293 h 11747497"/>
              <a:gd name="connsiteX1722" fmla="*/ 4794223 w 4838702"/>
              <a:gd name="connsiteY1722" fmla="*/ 11045092 h 11747497"/>
              <a:gd name="connsiteX1723" fmla="*/ 4796602 w 4838702"/>
              <a:gd name="connsiteY1723" fmla="*/ 11002412 h 11747497"/>
              <a:gd name="connsiteX1724" fmla="*/ 4800843 w 4838702"/>
              <a:gd name="connsiteY1724" fmla="*/ 11002512 h 11747497"/>
              <a:gd name="connsiteX1725" fmla="*/ 4803326 w 4838702"/>
              <a:gd name="connsiteY1725" fmla="*/ 10945672 h 11747497"/>
              <a:gd name="connsiteX1726" fmla="*/ 4794895 w 4838702"/>
              <a:gd name="connsiteY1726" fmla="*/ 10945471 h 11747497"/>
              <a:gd name="connsiteX1727" fmla="*/ 4803636 w 4838702"/>
              <a:gd name="connsiteY1727" fmla="*/ 10902991 h 11747497"/>
              <a:gd name="connsiteX1728" fmla="*/ 4806222 w 4838702"/>
              <a:gd name="connsiteY1728" fmla="*/ 10831891 h 11747497"/>
              <a:gd name="connsiteX1729" fmla="*/ 4814652 w 4838702"/>
              <a:gd name="connsiteY1729" fmla="*/ 10832091 h 11747497"/>
              <a:gd name="connsiteX1730" fmla="*/ 4818324 w 4838702"/>
              <a:gd name="connsiteY1730" fmla="*/ 10917651 h 11747497"/>
              <a:gd name="connsiteX1731" fmla="*/ 4823082 w 4838702"/>
              <a:gd name="connsiteY1731" fmla="*/ 10832390 h 11747497"/>
              <a:gd name="connsiteX1732" fmla="*/ 4812738 w 4838702"/>
              <a:gd name="connsiteY1732" fmla="*/ 10803670 h 11747497"/>
              <a:gd name="connsiteX1733" fmla="*/ 4815118 w 4838702"/>
              <a:gd name="connsiteY1733" fmla="*/ 10760990 h 11747497"/>
              <a:gd name="connsiteX1734" fmla="*/ 4804722 w 4838702"/>
              <a:gd name="connsiteY1734" fmla="*/ 10732270 h 11747497"/>
              <a:gd name="connsiteX1735" fmla="*/ 4819617 w 4838702"/>
              <a:gd name="connsiteY1735" fmla="*/ 10718409 h 11747497"/>
              <a:gd name="connsiteX1736" fmla="*/ 4828513 w 4838702"/>
              <a:gd name="connsiteY1736" fmla="*/ 10647408 h 11747497"/>
              <a:gd name="connsiteX1737" fmla="*/ 4827707 w 4838702"/>
              <a:gd name="connsiteY1737" fmla="*/ 10676700 h 11747497"/>
              <a:gd name="connsiteX1738" fmla="*/ 4827892 w 4838702"/>
              <a:gd name="connsiteY1738" fmla="*/ 10685908 h 11747497"/>
              <a:gd name="connsiteX1739" fmla="*/ 4831668 w 4838702"/>
              <a:gd name="connsiteY1739" fmla="*/ 10481474 h 11747497"/>
              <a:gd name="connsiteX1740" fmla="*/ 4829134 w 4838702"/>
              <a:gd name="connsiteY1740" fmla="*/ 10560952 h 11747497"/>
              <a:gd name="connsiteX1741" fmla="*/ 4822875 w 4838702"/>
              <a:gd name="connsiteY1741" fmla="*/ 10546591 h 11747497"/>
              <a:gd name="connsiteX1742" fmla="*/ 4818014 w 4838702"/>
              <a:gd name="connsiteY1742" fmla="*/ 10646112 h 11747497"/>
              <a:gd name="connsiteX1743" fmla="*/ 4809584 w 4838702"/>
              <a:gd name="connsiteY1743" fmla="*/ 10645914 h 11747497"/>
              <a:gd name="connsiteX1744" fmla="*/ 4807722 w 4838702"/>
              <a:gd name="connsiteY1744" fmla="*/ 10603233 h 11747497"/>
              <a:gd name="connsiteX1745" fmla="*/ 4809997 w 4838702"/>
              <a:gd name="connsiteY1745" fmla="*/ 10574813 h 11747497"/>
              <a:gd name="connsiteX1746" fmla="*/ 4808239 w 4838702"/>
              <a:gd name="connsiteY1746" fmla="*/ 10517872 h 11747497"/>
              <a:gd name="connsiteX1747" fmla="*/ 4821013 w 4838702"/>
              <a:gd name="connsiteY1747" fmla="*/ 10504011 h 11747497"/>
              <a:gd name="connsiteX1748" fmla="*/ 4808549 w 4838702"/>
              <a:gd name="connsiteY1748" fmla="*/ 10475192 h 11747497"/>
              <a:gd name="connsiteX1749" fmla="*/ 4825306 w 4838702"/>
              <a:gd name="connsiteY1749" fmla="*/ 10460135 h 11747497"/>
              <a:gd name="connsiteX1750" fmla="*/ 4825306 w 4838702"/>
              <a:gd name="connsiteY1750" fmla="*/ 10322920 h 11747497"/>
              <a:gd name="connsiteX1751" fmla="*/ 4818324 w 4838702"/>
              <a:gd name="connsiteY1751" fmla="*/ 10276151 h 11747497"/>
              <a:gd name="connsiteX1752" fmla="*/ 4821375 w 4838702"/>
              <a:gd name="connsiteY1752" fmla="*/ 10133851 h 11747497"/>
              <a:gd name="connsiteX1753" fmla="*/ 4825358 w 4838702"/>
              <a:gd name="connsiteY1753" fmla="*/ 10146415 h 11747497"/>
              <a:gd name="connsiteX1754" fmla="*/ 4825358 w 4838702"/>
              <a:gd name="connsiteY1754" fmla="*/ 10073720 h 11747497"/>
              <a:gd name="connsiteX1755" fmla="*/ 4821738 w 4838702"/>
              <a:gd name="connsiteY1755" fmla="*/ 10077010 h 11747497"/>
              <a:gd name="connsiteX1756" fmla="*/ 4822359 w 4838702"/>
              <a:gd name="connsiteY1756" fmla="*/ 9977390 h 11747497"/>
              <a:gd name="connsiteX1757" fmla="*/ 4816100 w 4838702"/>
              <a:gd name="connsiteY1757" fmla="*/ 9963030 h 11747497"/>
              <a:gd name="connsiteX1758" fmla="*/ 4822617 w 4838702"/>
              <a:gd name="connsiteY1758" fmla="*/ 9934710 h 11747497"/>
              <a:gd name="connsiteX1759" fmla="*/ 4825255 w 4838702"/>
              <a:gd name="connsiteY1759" fmla="*/ 9849350 h 11747497"/>
              <a:gd name="connsiteX1760" fmla="*/ 4825255 w 4838702"/>
              <a:gd name="connsiteY1760" fmla="*/ 9749031 h 11747497"/>
              <a:gd name="connsiteX1761" fmla="*/ 4823755 w 4838702"/>
              <a:gd name="connsiteY1761" fmla="*/ 9749629 h 11747497"/>
              <a:gd name="connsiteX1762" fmla="*/ 4825255 w 4838702"/>
              <a:gd name="connsiteY1762" fmla="*/ 9701165 h 11747497"/>
              <a:gd name="connsiteX1763" fmla="*/ 4825255 w 4838702"/>
              <a:gd name="connsiteY1763" fmla="*/ 9671847 h 11747497"/>
              <a:gd name="connsiteX1764" fmla="*/ 4822203 w 4838702"/>
              <a:gd name="connsiteY1764" fmla="*/ 9664169 h 11747497"/>
              <a:gd name="connsiteX1765" fmla="*/ 4825255 w 4838702"/>
              <a:gd name="connsiteY1765" fmla="*/ 9648314 h 11747497"/>
              <a:gd name="connsiteX1766" fmla="*/ 4825255 w 4838702"/>
              <a:gd name="connsiteY1766" fmla="*/ 9547997 h 11747497"/>
              <a:gd name="connsiteX1767" fmla="*/ 4822772 w 4838702"/>
              <a:gd name="connsiteY1767" fmla="*/ 9578809 h 11747497"/>
              <a:gd name="connsiteX1768" fmla="*/ 4818531 w 4838702"/>
              <a:gd name="connsiteY1768" fmla="*/ 9578710 h 11747497"/>
              <a:gd name="connsiteX1769" fmla="*/ 4818324 w 4838702"/>
              <a:gd name="connsiteY1769" fmla="*/ 9607129 h 11747497"/>
              <a:gd name="connsiteX1770" fmla="*/ 4811911 w 4838702"/>
              <a:gd name="connsiteY1770" fmla="*/ 9621190 h 11747497"/>
              <a:gd name="connsiteX1771" fmla="*/ 4818066 w 4838702"/>
              <a:gd name="connsiteY1771" fmla="*/ 9649810 h 11747497"/>
              <a:gd name="connsiteX1772" fmla="*/ 4805291 w 4838702"/>
              <a:gd name="connsiteY1772" fmla="*/ 9663671 h 11747497"/>
              <a:gd name="connsiteX1773" fmla="*/ 4803532 w 4838702"/>
              <a:gd name="connsiteY1773" fmla="*/ 9606730 h 11747497"/>
              <a:gd name="connsiteX1774" fmla="*/ 4807929 w 4838702"/>
              <a:gd name="connsiteY1774" fmla="*/ 9578410 h 11747497"/>
              <a:gd name="connsiteX1775" fmla="*/ 4806635 w 4838702"/>
              <a:gd name="connsiteY1775" fmla="*/ 9450270 h 11747497"/>
              <a:gd name="connsiteX1776" fmla="*/ 4808445 w 4838702"/>
              <a:gd name="connsiteY1776" fmla="*/ 9493050 h 11747497"/>
              <a:gd name="connsiteX1777" fmla="*/ 4812377 w 4838702"/>
              <a:gd name="connsiteY1777" fmla="*/ 9535830 h 11747497"/>
              <a:gd name="connsiteX1778" fmla="*/ 4814290 w 4838702"/>
              <a:gd name="connsiteY1778" fmla="*/ 9564349 h 11747497"/>
              <a:gd name="connsiteX1779" fmla="*/ 4818531 w 4838702"/>
              <a:gd name="connsiteY1779" fmla="*/ 9564450 h 11747497"/>
              <a:gd name="connsiteX1780" fmla="*/ 4819152 w 4838702"/>
              <a:gd name="connsiteY1780" fmla="*/ 9464829 h 11747497"/>
              <a:gd name="connsiteX1781" fmla="*/ 4819979 w 4838702"/>
              <a:gd name="connsiteY1781" fmla="*/ 9336689 h 11747497"/>
              <a:gd name="connsiteX1782" fmla="*/ 4818221 w 4838702"/>
              <a:gd name="connsiteY1782" fmla="*/ 9279748 h 11747497"/>
              <a:gd name="connsiteX1783" fmla="*/ 4822099 w 4838702"/>
              <a:gd name="connsiteY1783" fmla="*/ 9009308 h 11747497"/>
              <a:gd name="connsiteX1784" fmla="*/ 4805032 w 4838702"/>
              <a:gd name="connsiteY1784" fmla="*/ 9037330 h 11747497"/>
              <a:gd name="connsiteX1785" fmla="*/ 4806480 w 4838702"/>
              <a:gd name="connsiteY1785" fmla="*/ 9137050 h 11747497"/>
              <a:gd name="connsiteX1786" fmla="*/ 4804101 w 4838702"/>
              <a:gd name="connsiteY1786" fmla="*/ 9179730 h 11747497"/>
              <a:gd name="connsiteX1787" fmla="*/ 4803894 w 4838702"/>
              <a:gd name="connsiteY1787" fmla="*/ 9208150 h 11747497"/>
              <a:gd name="connsiteX1788" fmla="*/ 4803636 w 4838702"/>
              <a:gd name="connsiteY1788" fmla="*/ 9250829 h 11747497"/>
              <a:gd name="connsiteX1789" fmla="*/ 4800791 w 4838702"/>
              <a:gd name="connsiteY1789" fmla="*/ 9364610 h 11747497"/>
              <a:gd name="connsiteX1790" fmla="*/ 4798308 w 4838702"/>
              <a:gd name="connsiteY1790" fmla="*/ 9421452 h 11747497"/>
              <a:gd name="connsiteX1791" fmla="*/ 4786206 w 4838702"/>
              <a:gd name="connsiteY1791" fmla="*/ 9335792 h 11747497"/>
              <a:gd name="connsiteX1792" fmla="*/ 4785844 w 4838702"/>
              <a:gd name="connsiteY1792" fmla="*/ 9392731 h 11747497"/>
              <a:gd name="connsiteX1793" fmla="*/ 4783465 w 4838702"/>
              <a:gd name="connsiteY1793" fmla="*/ 9435412 h 11747497"/>
              <a:gd name="connsiteX1794" fmla="*/ 4785327 w 4838702"/>
              <a:gd name="connsiteY1794" fmla="*/ 9478092 h 11747497"/>
              <a:gd name="connsiteX1795" fmla="*/ 4784034 w 4838702"/>
              <a:gd name="connsiteY1795" fmla="*/ 9677433 h 11747497"/>
              <a:gd name="connsiteX1796" fmla="*/ 4785690 w 4838702"/>
              <a:gd name="connsiteY1796" fmla="*/ 9748632 h 11747497"/>
              <a:gd name="connsiteX1797" fmla="*/ 4783465 w 4838702"/>
              <a:gd name="connsiteY1797" fmla="*/ 9762793 h 11747497"/>
              <a:gd name="connsiteX1798" fmla="*/ 4780155 w 4838702"/>
              <a:gd name="connsiteY1798" fmla="*/ 9947774 h 11747497"/>
              <a:gd name="connsiteX1799" fmla="*/ 4774310 w 4838702"/>
              <a:gd name="connsiteY1799" fmla="*/ 9876473 h 11747497"/>
              <a:gd name="connsiteX1800" fmla="*/ 4769914 w 4838702"/>
              <a:gd name="connsiteY1800" fmla="*/ 9904894 h 11747497"/>
              <a:gd name="connsiteX1801" fmla="*/ 4759364 w 4838702"/>
              <a:gd name="connsiteY1801" fmla="*/ 9904595 h 11747497"/>
              <a:gd name="connsiteX1802" fmla="*/ 4761019 w 4838702"/>
              <a:gd name="connsiteY1802" fmla="*/ 9975794 h 11747497"/>
              <a:gd name="connsiteX1803" fmla="*/ 4771776 w 4838702"/>
              <a:gd name="connsiteY1803" fmla="*/ 9947574 h 11747497"/>
              <a:gd name="connsiteX1804" fmla="*/ 4769036 w 4838702"/>
              <a:gd name="connsiteY1804" fmla="*/ 10047194 h 11747497"/>
              <a:gd name="connsiteX1805" fmla="*/ 4762777 w 4838702"/>
              <a:gd name="connsiteY1805" fmla="*/ 10032834 h 11747497"/>
              <a:gd name="connsiteX1806" fmla="*/ 4758174 w 4838702"/>
              <a:gd name="connsiteY1806" fmla="*/ 10089675 h 11747497"/>
              <a:gd name="connsiteX1807" fmla="*/ 4756622 w 4838702"/>
              <a:gd name="connsiteY1807" fmla="*/ 10004215 h 11747497"/>
              <a:gd name="connsiteX1808" fmla="*/ 4749537 w 4838702"/>
              <a:gd name="connsiteY1808" fmla="*/ 10117895 h 11747497"/>
              <a:gd name="connsiteX1809" fmla="*/ 4768363 w 4838702"/>
              <a:gd name="connsiteY1809" fmla="*/ 10146814 h 11747497"/>
              <a:gd name="connsiteX1810" fmla="*/ 4774879 w 4838702"/>
              <a:gd name="connsiteY1810" fmla="*/ 10118494 h 11747497"/>
              <a:gd name="connsiteX1811" fmla="*/ 4784965 w 4838702"/>
              <a:gd name="connsiteY1811" fmla="*/ 10189894 h 11747497"/>
              <a:gd name="connsiteX1812" fmla="*/ 4782120 w 4838702"/>
              <a:gd name="connsiteY1812" fmla="*/ 10303774 h 11747497"/>
              <a:gd name="connsiteX1813" fmla="*/ 4763036 w 4838702"/>
              <a:gd name="connsiteY1813" fmla="*/ 10317535 h 11747497"/>
              <a:gd name="connsiteX1814" fmla="*/ 4763656 w 4838702"/>
              <a:gd name="connsiteY1814" fmla="*/ 10217914 h 11747497"/>
              <a:gd name="connsiteX1815" fmla="*/ 4755278 w 4838702"/>
              <a:gd name="connsiteY1815" fmla="*/ 10203456 h 11747497"/>
              <a:gd name="connsiteX1816" fmla="*/ 4750882 w 4838702"/>
              <a:gd name="connsiteY1816" fmla="*/ 10231776 h 11747497"/>
              <a:gd name="connsiteX1817" fmla="*/ 4754812 w 4838702"/>
              <a:gd name="connsiteY1817" fmla="*/ 10274556 h 11747497"/>
              <a:gd name="connsiteX1818" fmla="*/ 4758018 w 4838702"/>
              <a:gd name="connsiteY1818" fmla="*/ 10431216 h 11747497"/>
              <a:gd name="connsiteX1819" fmla="*/ 4760501 w 4838702"/>
              <a:gd name="connsiteY1819" fmla="*/ 10374275 h 11747497"/>
              <a:gd name="connsiteX1820" fmla="*/ 4762156 w 4838702"/>
              <a:gd name="connsiteY1820" fmla="*/ 10445576 h 11747497"/>
              <a:gd name="connsiteX1821" fmla="*/ 4772810 w 4838702"/>
              <a:gd name="connsiteY1821" fmla="*/ 10431614 h 11747497"/>
              <a:gd name="connsiteX1822" fmla="*/ 4777311 w 4838702"/>
              <a:gd name="connsiteY1822" fmla="*/ 10389035 h 11747497"/>
              <a:gd name="connsiteX1823" fmla="*/ 4776948 w 4838702"/>
              <a:gd name="connsiteY1823" fmla="*/ 10445975 h 11747497"/>
              <a:gd name="connsiteX1824" fmla="*/ 4774569 w 4838702"/>
              <a:gd name="connsiteY1824" fmla="*/ 10488555 h 11747497"/>
              <a:gd name="connsiteX1825" fmla="*/ 4776379 w 4838702"/>
              <a:gd name="connsiteY1825" fmla="*/ 10531335 h 11747497"/>
              <a:gd name="connsiteX1826" fmla="*/ 4772914 w 4838702"/>
              <a:gd name="connsiteY1826" fmla="*/ 10744835 h 11747497"/>
              <a:gd name="connsiteX1827" fmla="*/ 4768673 w 4838702"/>
              <a:gd name="connsiteY1827" fmla="*/ 10744736 h 11747497"/>
              <a:gd name="connsiteX1828" fmla="*/ 4769966 w 4838702"/>
              <a:gd name="connsiteY1828" fmla="*/ 10872875 h 11747497"/>
              <a:gd name="connsiteX1829" fmla="*/ 4763812 w 4838702"/>
              <a:gd name="connsiteY1829" fmla="*/ 10844256 h 11747497"/>
              <a:gd name="connsiteX1830" fmla="*/ 4757398 w 4838702"/>
              <a:gd name="connsiteY1830" fmla="*/ 10858317 h 11747497"/>
              <a:gd name="connsiteX1831" fmla="*/ 4753260 w 4838702"/>
              <a:gd name="connsiteY1831" fmla="*/ 10843957 h 11747497"/>
              <a:gd name="connsiteX1832" fmla="*/ 4740486 w 4838702"/>
              <a:gd name="connsiteY1832" fmla="*/ 10857918 h 11747497"/>
              <a:gd name="connsiteX1833" fmla="*/ 4741778 w 4838702"/>
              <a:gd name="connsiteY1833" fmla="*/ 10986058 h 11747497"/>
              <a:gd name="connsiteX1834" fmla="*/ 4746278 w 4838702"/>
              <a:gd name="connsiteY1834" fmla="*/ 10943478 h 11747497"/>
              <a:gd name="connsiteX1835" fmla="*/ 4743640 w 4838702"/>
              <a:gd name="connsiteY1835" fmla="*/ 11028837 h 11747497"/>
              <a:gd name="connsiteX1836" fmla="*/ 4745193 w 4838702"/>
              <a:gd name="connsiteY1836" fmla="*/ 11114298 h 11747497"/>
              <a:gd name="connsiteX1837" fmla="*/ 4740796 w 4838702"/>
              <a:gd name="connsiteY1837" fmla="*/ 11142618 h 11747497"/>
              <a:gd name="connsiteX1838" fmla="*/ 4736400 w 4838702"/>
              <a:gd name="connsiteY1838" fmla="*/ 11171039 h 11747497"/>
              <a:gd name="connsiteX1839" fmla="*/ 4732624 w 4838702"/>
              <a:gd name="connsiteY1839" fmla="*/ 11099739 h 11747497"/>
              <a:gd name="connsiteX1840" fmla="*/ 4735314 w 4838702"/>
              <a:gd name="connsiteY1840" fmla="*/ 11014378 h 11747497"/>
              <a:gd name="connsiteX1841" fmla="*/ 4724763 w 4838702"/>
              <a:gd name="connsiteY1841" fmla="*/ 11014079 h 11747497"/>
              <a:gd name="connsiteX1842" fmla="*/ 4727246 w 4838702"/>
              <a:gd name="connsiteY1842" fmla="*/ 10957239 h 11747497"/>
              <a:gd name="connsiteX1843" fmla="*/ 4725487 w 4838702"/>
              <a:gd name="connsiteY1843" fmla="*/ 10900200 h 11747497"/>
              <a:gd name="connsiteX1844" fmla="*/ 4727711 w 4838702"/>
              <a:gd name="connsiteY1844" fmla="*/ 10886039 h 11747497"/>
              <a:gd name="connsiteX1845" fmla="*/ 4728331 w 4838702"/>
              <a:gd name="connsiteY1845" fmla="*/ 10786419 h 11747497"/>
              <a:gd name="connsiteX1846" fmla="*/ 4727039 w 4838702"/>
              <a:gd name="connsiteY1846" fmla="*/ 10658279 h 11747497"/>
              <a:gd name="connsiteX1847" fmla="*/ 4730090 w 4838702"/>
              <a:gd name="connsiteY1847" fmla="*/ 10515979 h 11747497"/>
              <a:gd name="connsiteX1848" fmla="*/ 4740641 w 4838702"/>
              <a:gd name="connsiteY1848" fmla="*/ 10516278 h 11747497"/>
              <a:gd name="connsiteX1849" fmla="*/ 4736710 w 4838702"/>
              <a:gd name="connsiteY1849" fmla="*/ 10800878 h 11747497"/>
              <a:gd name="connsiteX1850" fmla="*/ 4745451 w 4838702"/>
              <a:gd name="connsiteY1850" fmla="*/ 10758397 h 11747497"/>
              <a:gd name="connsiteX1851" fmla="*/ 4745916 w 4838702"/>
              <a:gd name="connsiteY1851" fmla="*/ 10687297 h 11747497"/>
              <a:gd name="connsiteX1852" fmla="*/ 4746175 w 4838702"/>
              <a:gd name="connsiteY1852" fmla="*/ 10644618 h 11747497"/>
              <a:gd name="connsiteX1853" fmla="*/ 4750468 w 4838702"/>
              <a:gd name="connsiteY1853" fmla="*/ 10630457 h 11747497"/>
              <a:gd name="connsiteX1854" fmla="*/ 4752226 w 4838702"/>
              <a:gd name="connsiteY1854" fmla="*/ 10687496 h 11747497"/>
              <a:gd name="connsiteX1855" fmla="*/ 4758484 w 4838702"/>
              <a:gd name="connsiteY1855" fmla="*/ 10701856 h 11747497"/>
              <a:gd name="connsiteX1856" fmla="*/ 4758018 w 4838702"/>
              <a:gd name="connsiteY1856" fmla="*/ 10773057 h 11747497"/>
              <a:gd name="connsiteX1857" fmla="*/ 4764381 w 4838702"/>
              <a:gd name="connsiteY1857" fmla="*/ 10773255 h 11747497"/>
              <a:gd name="connsiteX1858" fmla="*/ 4767225 w 4838702"/>
              <a:gd name="connsiteY1858" fmla="*/ 10659475 h 11747497"/>
              <a:gd name="connsiteX1859" fmla="*/ 4769914 w 4838702"/>
              <a:gd name="connsiteY1859" fmla="*/ 10574115 h 11747497"/>
              <a:gd name="connsiteX1860" fmla="*/ 4755226 w 4838702"/>
              <a:gd name="connsiteY1860" fmla="*/ 10559555 h 11747497"/>
              <a:gd name="connsiteX1861" fmla="*/ 4752744 w 4838702"/>
              <a:gd name="connsiteY1861" fmla="*/ 10616496 h 11747497"/>
              <a:gd name="connsiteX1862" fmla="*/ 4748347 w 4838702"/>
              <a:gd name="connsiteY1862" fmla="*/ 10317435 h 11747497"/>
              <a:gd name="connsiteX1863" fmla="*/ 4741572 w 4838702"/>
              <a:gd name="connsiteY1863" fmla="*/ 10388436 h 11747497"/>
              <a:gd name="connsiteX1864" fmla="*/ 4744519 w 4838702"/>
              <a:gd name="connsiteY1864" fmla="*/ 10260396 h 11747497"/>
              <a:gd name="connsiteX1865" fmla="*/ 4733866 w 4838702"/>
              <a:gd name="connsiteY1865" fmla="*/ 10274357 h 11747497"/>
              <a:gd name="connsiteX1866" fmla="*/ 4736451 w 4838702"/>
              <a:gd name="connsiteY1866" fmla="*/ 10203255 h 11747497"/>
              <a:gd name="connsiteX1867" fmla="*/ 4732573 w 4838702"/>
              <a:gd name="connsiteY1867" fmla="*/ 10146217 h 11747497"/>
              <a:gd name="connsiteX1868" fmla="*/ 4717677 w 4838702"/>
              <a:gd name="connsiteY1868" fmla="*/ 10160078 h 11747497"/>
              <a:gd name="connsiteX1869" fmla="*/ 4722281 w 4838702"/>
              <a:gd name="connsiteY1869" fmla="*/ 10103236 h 11747497"/>
              <a:gd name="connsiteX1870" fmla="*/ 4730556 w 4838702"/>
              <a:gd name="connsiteY1870" fmla="*/ 10131956 h 11747497"/>
              <a:gd name="connsiteX1871" fmla="*/ 4737176 w 4838702"/>
              <a:gd name="connsiteY1871" fmla="*/ 10089476 h 11747497"/>
              <a:gd name="connsiteX1872" fmla="*/ 4733142 w 4838702"/>
              <a:gd name="connsiteY1872" fmla="*/ 10060856 h 11747497"/>
              <a:gd name="connsiteX1873" fmla="*/ 4735779 w 4838702"/>
              <a:gd name="connsiteY1873" fmla="*/ 9975496 h 11747497"/>
              <a:gd name="connsiteX1874" fmla="*/ 4742399 w 4838702"/>
              <a:gd name="connsiteY1874" fmla="*/ 9932915 h 11747497"/>
              <a:gd name="connsiteX1875" fmla="*/ 4742606 w 4838702"/>
              <a:gd name="connsiteY1875" fmla="*/ 9904495 h 11747497"/>
              <a:gd name="connsiteX1876" fmla="*/ 4745089 w 4838702"/>
              <a:gd name="connsiteY1876" fmla="*/ 9847554 h 11747497"/>
              <a:gd name="connsiteX1877" fmla="*/ 4749486 w 4838702"/>
              <a:gd name="connsiteY1877" fmla="*/ 9819135 h 11747497"/>
              <a:gd name="connsiteX1878" fmla="*/ 4748295 w 4838702"/>
              <a:gd name="connsiteY1878" fmla="*/ 9676735 h 11747497"/>
              <a:gd name="connsiteX1879" fmla="*/ 4748502 w 4838702"/>
              <a:gd name="connsiteY1879" fmla="*/ 9648314 h 11747497"/>
              <a:gd name="connsiteX1880" fmla="*/ 4756933 w 4838702"/>
              <a:gd name="connsiteY1880" fmla="*/ 9648513 h 11747497"/>
              <a:gd name="connsiteX1881" fmla="*/ 4763295 w 4838702"/>
              <a:gd name="connsiteY1881" fmla="*/ 9648713 h 11747497"/>
              <a:gd name="connsiteX1882" fmla="*/ 4759984 w 4838702"/>
              <a:gd name="connsiteY1882" fmla="*/ 9833693 h 11747497"/>
              <a:gd name="connsiteX1883" fmla="*/ 4766035 w 4838702"/>
              <a:gd name="connsiteY1883" fmla="*/ 9876573 h 11747497"/>
              <a:gd name="connsiteX1884" fmla="*/ 4770432 w 4838702"/>
              <a:gd name="connsiteY1884" fmla="*/ 9848253 h 11747497"/>
              <a:gd name="connsiteX1885" fmla="*/ 4774569 w 4838702"/>
              <a:gd name="connsiteY1885" fmla="*/ 9862612 h 11747497"/>
              <a:gd name="connsiteX1886" fmla="*/ 4779897 w 4838702"/>
              <a:gd name="connsiteY1886" fmla="*/ 9691892 h 11747497"/>
              <a:gd name="connsiteX1887" fmla="*/ 4773742 w 4838702"/>
              <a:gd name="connsiteY1887" fmla="*/ 9663272 h 11747497"/>
              <a:gd name="connsiteX1888" fmla="*/ 4778138 w 4838702"/>
              <a:gd name="connsiteY1888" fmla="*/ 9634951 h 11747497"/>
              <a:gd name="connsiteX1889" fmla="*/ 4776379 w 4838702"/>
              <a:gd name="connsiteY1889" fmla="*/ 9578011 h 11747497"/>
              <a:gd name="connsiteX1890" fmla="*/ 4778500 w 4838702"/>
              <a:gd name="connsiteY1890" fmla="*/ 9578111 h 11747497"/>
              <a:gd name="connsiteX1891" fmla="*/ 4779069 w 4838702"/>
              <a:gd name="connsiteY1891" fmla="*/ 9492751 h 11747497"/>
              <a:gd name="connsiteX1892" fmla="*/ 4781448 w 4838702"/>
              <a:gd name="connsiteY1892" fmla="*/ 9450071 h 11747497"/>
              <a:gd name="connsiteX1893" fmla="*/ 4782172 w 4838702"/>
              <a:gd name="connsiteY1893" fmla="*/ 9336189 h 11747497"/>
              <a:gd name="connsiteX1894" fmla="*/ 4778603 w 4838702"/>
              <a:gd name="connsiteY1894" fmla="*/ 9236470 h 11747497"/>
              <a:gd name="connsiteX1895" fmla="*/ 4791378 w 4838702"/>
              <a:gd name="connsiteY1895" fmla="*/ 9222509 h 11747497"/>
              <a:gd name="connsiteX1896" fmla="*/ 4791844 w 4838702"/>
              <a:gd name="connsiteY1896" fmla="*/ 9151310 h 11747497"/>
              <a:gd name="connsiteX1897" fmla="*/ 4779172 w 4838702"/>
              <a:gd name="connsiteY1897" fmla="*/ 9151010 h 11747497"/>
              <a:gd name="connsiteX1898" fmla="*/ 4774310 w 4838702"/>
              <a:gd name="connsiteY1898" fmla="*/ 9250531 h 11747497"/>
              <a:gd name="connsiteX1899" fmla="*/ 4774104 w 4838702"/>
              <a:gd name="connsiteY1899" fmla="*/ 9278950 h 11747497"/>
              <a:gd name="connsiteX1900" fmla="*/ 4771983 w 4838702"/>
              <a:gd name="connsiteY1900" fmla="*/ 9278851 h 11747497"/>
              <a:gd name="connsiteX1901" fmla="*/ 4775655 w 4838702"/>
              <a:gd name="connsiteY1901" fmla="*/ 9364311 h 11747497"/>
              <a:gd name="connsiteX1902" fmla="*/ 4773173 w 4838702"/>
              <a:gd name="connsiteY1902" fmla="*/ 9421152 h 11747497"/>
              <a:gd name="connsiteX1903" fmla="*/ 4747727 w 4838702"/>
              <a:gd name="connsiteY1903" fmla="*/ 9434813 h 11747497"/>
              <a:gd name="connsiteX1904" fmla="*/ 4756106 w 4838702"/>
              <a:gd name="connsiteY1904" fmla="*/ 9449273 h 11747497"/>
              <a:gd name="connsiteX1905" fmla="*/ 4742813 w 4838702"/>
              <a:gd name="connsiteY1905" fmla="*/ 9548594 h 11747497"/>
              <a:gd name="connsiteX1906" fmla="*/ 4739710 w 4838702"/>
              <a:gd name="connsiteY1906" fmla="*/ 9705154 h 11747497"/>
              <a:gd name="connsiteX1907" fmla="*/ 4729521 w 4838702"/>
              <a:gd name="connsiteY1907" fmla="*/ 9648014 h 11747497"/>
              <a:gd name="connsiteX1908" fmla="*/ 4734021 w 4838702"/>
              <a:gd name="connsiteY1908" fmla="*/ 9605434 h 11747497"/>
              <a:gd name="connsiteX1909" fmla="*/ 4732469 w 4838702"/>
              <a:gd name="connsiteY1909" fmla="*/ 9519975 h 11747497"/>
              <a:gd name="connsiteX1910" fmla="*/ 4745244 w 4838702"/>
              <a:gd name="connsiteY1910" fmla="*/ 9506014 h 11747497"/>
              <a:gd name="connsiteX1911" fmla="*/ 4739452 w 4838702"/>
              <a:gd name="connsiteY1911" fmla="*/ 9420454 h 11747497"/>
              <a:gd name="connsiteX1912" fmla="*/ 4728901 w 4838702"/>
              <a:gd name="connsiteY1912" fmla="*/ 9420154 h 11747497"/>
              <a:gd name="connsiteX1913" fmla="*/ 4733296 w 4838702"/>
              <a:gd name="connsiteY1913" fmla="*/ 9391834 h 11747497"/>
              <a:gd name="connsiteX1914" fmla="*/ 4729521 w 4838702"/>
              <a:gd name="connsiteY1914" fmla="*/ 9320633 h 11747497"/>
              <a:gd name="connsiteX1915" fmla="*/ 4731694 w 4838702"/>
              <a:gd name="connsiteY1915" fmla="*/ 9306373 h 11747497"/>
              <a:gd name="connsiteX1916" fmla="*/ 4732055 w 4838702"/>
              <a:gd name="connsiteY1916" fmla="*/ 9249434 h 11747497"/>
              <a:gd name="connsiteX1917" fmla="*/ 4744830 w 4838702"/>
              <a:gd name="connsiteY1917" fmla="*/ 9235573 h 11747497"/>
              <a:gd name="connsiteX1918" fmla="*/ 4744365 w 4838702"/>
              <a:gd name="connsiteY1918" fmla="*/ 9306673 h 11747497"/>
              <a:gd name="connsiteX1919" fmla="*/ 4759053 w 4838702"/>
              <a:gd name="connsiteY1919" fmla="*/ 9321332 h 11747497"/>
              <a:gd name="connsiteX1920" fmla="*/ 4765932 w 4838702"/>
              <a:gd name="connsiteY1920" fmla="*/ 9236071 h 11747497"/>
              <a:gd name="connsiteX1921" fmla="*/ 4772449 w 4838702"/>
              <a:gd name="connsiteY1921" fmla="*/ 9207751 h 11747497"/>
              <a:gd name="connsiteX1922" fmla="*/ 4770535 w 4838702"/>
              <a:gd name="connsiteY1922" fmla="*/ 9179231 h 11747497"/>
              <a:gd name="connsiteX1923" fmla="*/ 4757967 w 4838702"/>
              <a:gd name="connsiteY1923" fmla="*/ 9164673 h 11747497"/>
              <a:gd name="connsiteX1924" fmla="*/ 4745502 w 4838702"/>
              <a:gd name="connsiteY1924" fmla="*/ 9135853 h 11747497"/>
              <a:gd name="connsiteX1925" fmla="*/ 4734745 w 4838702"/>
              <a:gd name="connsiteY1925" fmla="*/ 9164074 h 11747497"/>
              <a:gd name="connsiteX1926" fmla="*/ 4741158 w 4838702"/>
              <a:gd name="connsiteY1926" fmla="*/ 9150014 h 11747497"/>
              <a:gd name="connsiteX1927" fmla="*/ 4734900 w 4838702"/>
              <a:gd name="connsiteY1927" fmla="*/ 9135653 h 11747497"/>
              <a:gd name="connsiteX1928" fmla="*/ 4752071 w 4838702"/>
              <a:gd name="connsiteY1928" fmla="*/ 9093372 h 11747497"/>
              <a:gd name="connsiteX1929" fmla="*/ 4737279 w 4838702"/>
              <a:gd name="connsiteY1929" fmla="*/ 9092973 h 11747497"/>
              <a:gd name="connsiteX1930" fmla="*/ 4733348 w 4838702"/>
              <a:gd name="connsiteY1930" fmla="*/ 9050193 h 11747497"/>
              <a:gd name="connsiteX1931" fmla="*/ 4737589 w 4838702"/>
              <a:gd name="connsiteY1931" fmla="*/ 9050293 h 11747497"/>
              <a:gd name="connsiteX1932" fmla="*/ 4740072 w 4838702"/>
              <a:gd name="connsiteY1932" fmla="*/ 8993452 h 11747497"/>
              <a:gd name="connsiteX1933" fmla="*/ 4744572 w 4838702"/>
              <a:gd name="connsiteY1933" fmla="*/ 8950872 h 11747497"/>
              <a:gd name="connsiteX1934" fmla="*/ 4734176 w 4838702"/>
              <a:gd name="connsiteY1934" fmla="*/ 8922153 h 11747497"/>
              <a:gd name="connsiteX1935" fmla="*/ 4737020 w 4838702"/>
              <a:gd name="connsiteY1935" fmla="*/ 8808373 h 11747497"/>
              <a:gd name="connsiteX1936" fmla="*/ 4743537 w 4838702"/>
              <a:gd name="connsiteY1936" fmla="*/ 8780053 h 11747497"/>
              <a:gd name="connsiteX1937" fmla="*/ 4739296 w 4838702"/>
              <a:gd name="connsiteY1937" fmla="*/ 8779952 h 11747497"/>
              <a:gd name="connsiteX1938" fmla="*/ 4739555 w 4838702"/>
              <a:gd name="connsiteY1938" fmla="*/ 8737271 h 11747497"/>
              <a:gd name="connsiteX1939" fmla="*/ 4737796 w 4838702"/>
              <a:gd name="connsiteY1939" fmla="*/ 8680232 h 11747497"/>
              <a:gd name="connsiteX1940" fmla="*/ 4740072 w 4838702"/>
              <a:gd name="connsiteY1940" fmla="*/ 8651811 h 11747497"/>
              <a:gd name="connsiteX1941" fmla="*/ 4744365 w 4838702"/>
              <a:gd name="connsiteY1941" fmla="*/ 8637751 h 11747497"/>
              <a:gd name="connsiteX1942" fmla="*/ 4740330 w 4838702"/>
              <a:gd name="connsiteY1942" fmla="*/ 8609132 h 11747497"/>
              <a:gd name="connsiteX1943" fmla="*/ 4740537 w 4838702"/>
              <a:gd name="connsiteY1943" fmla="*/ 8580612 h 11747497"/>
              <a:gd name="connsiteX1944" fmla="*/ 4738417 w 4838702"/>
              <a:gd name="connsiteY1944" fmla="*/ 8580512 h 11747497"/>
              <a:gd name="connsiteX1945" fmla="*/ 4737020 w 4838702"/>
              <a:gd name="connsiteY1945" fmla="*/ 8466632 h 11747497"/>
              <a:gd name="connsiteX1946" fmla="*/ 4738934 w 4838702"/>
              <a:gd name="connsiteY1946" fmla="*/ 8495152 h 11747497"/>
              <a:gd name="connsiteX1947" fmla="*/ 4745451 w 4838702"/>
              <a:gd name="connsiteY1947" fmla="*/ 8466831 h 11747497"/>
              <a:gd name="connsiteX1948" fmla="*/ 4745554 w 4838702"/>
              <a:gd name="connsiteY1948" fmla="*/ 8452571 h 11747497"/>
              <a:gd name="connsiteX1949" fmla="*/ 4756001 w 4838702"/>
              <a:gd name="connsiteY1949" fmla="*/ 8467031 h 11747497"/>
              <a:gd name="connsiteX1950" fmla="*/ 4756570 w 4838702"/>
              <a:gd name="connsiteY1950" fmla="*/ 8381670 h 11747497"/>
              <a:gd name="connsiteX1951" fmla="*/ 4758794 w 4838702"/>
              <a:gd name="connsiteY1951" fmla="*/ 8367510 h 11747497"/>
              <a:gd name="connsiteX1952" fmla="*/ 4759053 w 4838702"/>
              <a:gd name="connsiteY1952" fmla="*/ 8324829 h 11747497"/>
              <a:gd name="connsiteX1953" fmla="*/ 4759519 w 4838702"/>
              <a:gd name="connsiteY1953" fmla="*/ 8253629 h 11747497"/>
              <a:gd name="connsiteX1954" fmla="*/ 4755485 w 4838702"/>
              <a:gd name="connsiteY1954" fmla="*/ 8225010 h 11747497"/>
              <a:gd name="connsiteX1955" fmla="*/ 4747519 w 4838702"/>
              <a:gd name="connsiteY1955" fmla="*/ 8153610 h 11747497"/>
              <a:gd name="connsiteX1956" fmla="*/ 4748347 w 4838702"/>
              <a:gd name="connsiteY1956" fmla="*/ 8025470 h 11747497"/>
              <a:gd name="connsiteX1957" fmla="*/ 4750209 w 4838702"/>
              <a:gd name="connsiteY1957" fmla="*/ 8068250 h 11747497"/>
              <a:gd name="connsiteX1958" fmla="*/ 4756829 w 4838702"/>
              <a:gd name="connsiteY1958" fmla="*/ 8025670 h 11747497"/>
              <a:gd name="connsiteX1959" fmla="*/ 4761328 w 4838702"/>
              <a:gd name="connsiteY1959" fmla="*/ 7983090 h 11747497"/>
              <a:gd name="connsiteX1960" fmla="*/ 4752899 w 4838702"/>
              <a:gd name="connsiteY1960" fmla="*/ 7982890 h 11747497"/>
              <a:gd name="connsiteX1961" fmla="*/ 4751089 w 4838702"/>
              <a:gd name="connsiteY1961" fmla="*/ 7940110 h 11747497"/>
              <a:gd name="connsiteX1962" fmla="*/ 4755381 w 4838702"/>
              <a:gd name="connsiteY1962" fmla="*/ 7926050 h 11747497"/>
              <a:gd name="connsiteX1963" fmla="*/ 4751450 w 4838702"/>
              <a:gd name="connsiteY1963" fmla="*/ 7883270 h 11747497"/>
              <a:gd name="connsiteX1964" fmla="*/ 4753623 w 4838702"/>
              <a:gd name="connsiteY1964" fmla="*/ 7869109 h 11747497"/>
              <a:gd name="connsiteX1965" fmla="*/ 4751605 w 4838702"/>
              <a:gd name="connsiteY1965" fmla="*/ 7854750 h 11747497"/>
              <a:gd name="connsiteX1966" fmla="*/ 4754243 w 4838702"/>
              <a:gd name="connsiteY1966" fmla="*/ 7769389 h 11747497"/>
              <a:gd name="connsiteX1967" fmla="*/ 4747933 w 4838702"/>
              <a:gd name="connsiteY1967" fmla="*/ 7769191 h 11747497"/>
              <a:gd name="connsiteX1968" fmla="*/ 4750674 w 4838702"/>
              <a:gd name="connsiteY1968" fmla="*/ 7669570 h 11747497"/>
              <a:gd name="connsiteX1969" fmla="*/ 4756933 w 4838702"/>
              <a:gd name="connsiteY1969" fmla="*/ 7684029 h 11747497"/>
              <a:gd name="connsiteX1970" fmla="*/ 4761795 w 4838702"/>
              <a:gd name="connsiteY1970" fmla="*/ 7584508 h 11747497"/>
              <a:gd name="connsiteX1971" fmla="*/ 4757657 w 4838702"/>
              <a:gd name="connsiteY1971" fmla="*/ 7570149 h 11747497"/>
              <a:gd name="connsiteX1972" fmla="*/ 4757915 w 4838702"/>
              <a:gd name="connsiteY1972" fmla="*/ 7527469 h 11747497"/>
              <a:gd name="connsiteX1973" fmla="*/ 4753881 w 4838702"/>
              <a:gd name="connsiteY1973" fmla="*/ 7498948 h 11747497"/>
              <a:gd name="connsiteX1974" fmla="*/ 4758278 w 4838702"/>
              <a:gd name="connsiteY1974" fmla="*/ 7470628 h 11747497"/>
              <a:gd name="connsiteX1975" fmla="*/ 4752123 w 4838702"/>
              <a:gd name="connsiteY1975" fmla="*/ 7442009 h 11747497"/>
              <a:gd name="connsiteX1976" fmla="*/ 4760759 w 4838702"/>
              <a:gd name="connsiteY1976" fmla="*/ 7413788 h 11747497"/>
              <a:gd name="connsiteX1977" fmla="*/ 4752484 w 4838702"/>
              <a:gd name="connsiteY1977" fmla="*/ 7385069 h 11747497"/>
              <a:gd name="connsiteX1978" fmla="*/ 4761122 w 4838702"/>
              <a:gd name="connsiteY1978" fmla="*/ 7356847 h 11747497"/>
              <a:gd name="connsiteX1979" fmla="*/ 4755071 w 4838702"/>
              <a:gd name="connsiteY1979" fmla="*/ 7313967 h 11747497"/>
              <a:gd name="connsiteX1980" fmla="*/ 4759673 w 4838702"/>
              <a:gd name="connsiteY1980" fmla="*/ 7257127 h 11747497"/>
              <a:gd name="connsiteX1981" fmla="*/ 4755743 w 4838702"/>
              <a:gd name="connsiteY1981" fmla="*/ 7214347 h 11747497"/>
              <a:gd name="connsiteX1982" fmla="*/ 4768776 w 4838702"/>
              <a:gd name="connsiteY1982" fmla="*/ 7157707 h 11747497"/>
              <a:gd name="connsiteX1983" fmla="*/ 4778965 w 4838702"/>
              <a:gd name="connsiteY1983" fmla="*/ 7214847 h 11747497"/>
              <a:gd name="connsiteX1984" fmla="*/ 4784086 w 4838702"/>
              <a:gd name="connsiteY1984" fmla="*/ 7072645 h 11747497"/>
              <a:gd name="connsiteX1985" fmla="*/ 4769138 w 4838702"/>
              <a:gd name="connsiteY1985" fmla="*/ 7100766 h 11747497"/>
              <a:gd name="connsiteX1986" fmla="*/ 4765208 w 4838702"/>
              <a:gd name="connsiteY1986" fmla="*/ 7057986 h 11747497"/>
              <a:gd name="connsiteX1987" fmla="*/ 4752433 w 4838702"/>
              <a:gd name="connsiteY1987" fmla="*/ 7071947 h 11747497"/>
              <a:gd name="connsiteX1988" fmla="*/ 4752899 w 4838702"/>
              <a:gd name="connsiteY1988" fmla="*/ 7000848 h 11747497"/>
              <a:gd name="connsiteX1989" fmla="*/ 4763346 w 4838702"/>
              <a:gd name="connsiteY1989" fmla="*/ 7015307 h 11747497"/>
              <a:gd name="connsiteX1990" fmla="*/ 4755381 w 4838702"/>
              <a:gd name="connsiteY1990" fmla="*/ 6943907 h 11747497"/>
              <a:gd name="connsiteX1991" fmla="*/ 4761795 w 4838702"/>
              <a:gd name="connsiteY1991" fmla="*/ 6929846 h 11747497"/>
              <a:gd name="connsiteX1992" fmla="*/ 4772241 w 4838702"/>
              <a:gd name="connsiteY1992" fmla="*/ 6944405 h 11747497"/>
              <a:gd name="connsiteX1993" fmla="*/ 4772810 w 4838702"/>
              <a:gd name="connsiteY1993" fmla="*/ 6859045 h 11747497"/>
              <a:gd name="connsiteX1994" fmla="*/ 4767018 w 4838702"/>
              <a:gd name="connsiteY1994" fmla="*/ 6773484 h 11747497"/>
              <a:gd name="connsiteX1995" fmla="*/ 4767588 w 4838702"/>
              <a:gd name="connsiteY1995" fmla="*/ 6688025 h 11747497"/>
              <a:gd name="connsiteX1996" fmla="*/ 4763553 w 4838702"/>
              <a:gd name="connsiteY1996" fmla="*/ 6659406 h 11747497"/>
              <a:gd name="connsiteX1997" fmla="*/ 4759415 w 4838702"/>
              <a:gd name="connsiteY1997" fmla="*/ 6645145 h 11747497"/>
              <a:gd name="connsiteX1998" fmla="*/ 4763915 w 4838702"/>
              <a:gd name="connsiteY1998" fmla="*/ 6602566 h 11747497"/>
              <a:gd name="connsiteX1999" fmla="*/ 4768518 w 4838702"/>
              <a:gd name="connsiteY1999" fmla="*/ 6545725 h 11747497"/>
              <a:gd name="connsiteX2000" fmla="*/ 4766863 w 4838702"/>
              <a:gd name="connsiteY2000" fmla="*/ 6474525 h 11747497"/>
              <a:gd name="connsiteX2001" fmla="*/ 4756208 w 4838702"/>
              <a:gd name="connsiteY2001" fmla="*/ 6488486 h 11747497"/>
              <a:gd name="connsiteX2002" fmla="*/ 4759260 w 4838702"/>
              <a:gd name="connsiteY2002" fmla="*/ 6346185 h 11747497"/>
              <a:gd name="connsiteX2003" fmla="*/ 4763656 w 4838702"/>
              <a:gd name="connsiteY2003" fmla="*/ 6317766 h 11747497"/>
              <a:gd name="connsiteX2004" fmla="*/ 4757812 w 4838702"/>
              <a:gd name="connsiteY2004" fmla="*/ 6246466 h 11747497"/>
              <a:gd name="connsiteX2005" fmla="*/ 4760294 w 4838702"/>
              <a:gd name="connsiteY2005" fmla="*/ 6189624 h 11747497"/>
              <a:gd name="connsiteX2006" fmla="*/ 4765052 w 4838702"/>
              <a:gd name="connsiteY2006" fmla="*/ 6104365 h 11747497"/>
              <a:gd name="connsiteX2007" fmla="*/ 4763036 w 4838702"/>
              <a:gd name="connsiteY2007" fmla="*/ 6090105 h 11747497"/>
              <a:gd name="connsiteX2008" fmla="*/ 4765156 w 4838702"/>
              <a:gd name="connsiteY2008" fmla="*/ 6090204 h 11747497"/>
              <a:gd name="connsiteX2009" fmla="*/ 4765363 w 4838702"/>
              <a:gd name="connsiteY2009" fmla="*/ 6061783 h 11747497"/>
              <a:gd name="connsiteX2010" fmla="*/ 4763346 w 4838702"/>
              <a:gd name="connsiteY2010" fmla="*/ 6047523 h 11747497"/>
              <a:gd name="connsiteX2011" fmla="*/ 4772345 w 4838702"/>
              <a:gd name="connsiteY2011" fmla="*/ 5962363 h 11747497"/>
              <a:gd name="connsiteX2012" fmla="*/ 4768208 w 4838702"/>
              <a:gd name="connsiteY2012" fmla="*/ 5948004 h 11747497"/>
              <a:gd name="connsiteX2013" fmla="*/ 4759933 w 4838702"/>
              <a:gd name="connsiteY2013" fmla="*/ 5919283 h 11747497"/>
              <a:gd name="connsiteX2014" fmla="*/ 4762570 w 4838702"/>
              <a:gd name="connsiteY2014" fmla="*/ 5833923 h 11747497"/>
              <a:gd name="connsiteX2015" fmla="*/ 4768828 w 4838702"/>
              <a:gd name="connsiteY2015" fmla="*/ 5848283 h 11747497"/>
              <a:gd name="connsiteX2016" fmla="*/ 4773535 w 4838702"/>
              <a:gd name="connsiteY2016" fmla="*/ 5777182 h 11747497"/>
              <a:gd name="connsiteX2017" fmla="*/ 4766449 w 4838702"/>
              <a:gd name="connsiteY2017" fmla="*/ 5563483 h 11747497"/>
              <a:gd name="connsiteX2018" fmla="*/ 4768259 w 4838702"/>
              <a:gd name="connsiteY2018" fmla="*/ 5606262 h 11747497"/>
              <a:gd name="connsiteX2019" fmla="*/ 4768828 w 4838702"/>
              <a:gd name="connsiteY2019" fmla="*/ 5520902 h 11747497"/>
              <a:gd name="connsiteX2020" fmla="*/ 4765001 w 4838702"/>
              <a:gd name="connsiteY2020" fmla="*/ 5463863 h 11747497"/>
              <a:gd name="connsiteX2021" fmla="*/ 4766914 w 4838702"/>
              <a:gd name="connsiteY2021" fmla="*/ 5492383 h 11747497"/>
              <a:gd name="connsiteX2022" fmla="*/ 4765467 w 4838702"/>
              <a:gd name="connsiteY2022" fmla="*/ 5392662 h 11747497"/>
              <a:gd name="connsiteX2023" fmla="*/ 4769863 w 4838702"/>
              <a:gd name="connsiteY2023" fmla="*/ 5364342 h 11747497"/>
              <a:gd name="connsiteX2024" fmla="*/ 4763915 w 4838702"/>
              <a:gd name="connsiteY2024" fmla="*/ 5307202 h 11747497"/>
              <a:gd name="connsiteX2025" fmla="*/ 4762518 w 4838702"/>
              <a:gd name="connsiteY2025" fmla="*/ 5193322 h 11747497"/>
              <a:gd name="connsiteX2026" fmla="*/ 4768931 w 4838702"/>
              <a:gd name="connsiteY2026" fmla="*/ 5179261 h 11747497"/>
              <a:gd name="connsiteX2027" fmla="*/ 4763346 w 4838702"/>
              <a:gd name="connsiteY2027" fmla="*/ 5065281 h 11747497"/>
              <a:gd name="connsiteX2028" fmla="*/ 4765105 w 4838702"/>
              <a:gd name="connsiteY2028" fmla="*/ 5122222 h 11747497"/>
              <a:gd name="connsiteX2029" fmla="*/ 4770070 w 4838702"/>
              <a:gd name="connsiteY2029" fmla="*/ 5008441 h 11747497"/>
              <a:gd name="connsiteX2030" fmla="*/ 4767690 w 4838702"/>
              <a:gd name="connsiteY2030" fmla="*/ 5051121 h 11747497"/>
              <a:gd name="connsiteX2031" fmla="*/ 4762208 w 4838702"/>
              <a:gd name="connsiteY2031" fmla="*/ 4922880 h 11747497"/>
              <a:gd name="connsiteX2032" fmla="*/ 4770845 w 4838702"/>
              <a:gd name="connsiteY2032" fmla="*/ 4894660 h 11747497"/>
              <a:gd name="connsiteX2033" fmla="*/ 4764587 w 4838702"/>
              <a:gd name="connsiteY2033" fmla="*/ 4880201 h 11747497"/>
              <a:gd name="connsiteX2034" fmla="*/ 4771207 w 4838702"/>
              <a:gd name="connsiteY2034" fmla="*/ 4837621 h 11747497"/>
              <a:gd name="connsiteX2035" fmla="*/ 4770018 w 4838702"/>
              <a:gd name="connsiteY2035" fmla="*/ 4695220 h 11747497"/>
              <a:gd name="connsiteX2036" fmla="*/ 4763759 w 4838702"/>
              <a:gd name="connsiteY2036" fmla="*/ 4680861 h 11747497"/>
              <a:gd name="connsiteX2037" fmla="*/ 4770276 w 4838702"/>
              <a:gd name="connsiteY2037" fmla="*/ 4652540 h 11747497"/>
              <a:gd name="connsiteX2038" fmla="*/ 4775397 w 4838702"/>
              <a:gd name="connsiteY2038" fmla="*/ 4510339 h 11747497"/>
              <a:gd name="connsiteX2039" fmla="*/ 4769138 w 4838702"/>
              <a:gd name="connsiteY2039" fmla="*/ 4495980 h 11747497"/>
              <a:gd name="connsiteX2040" fmla="*/ 4771880 w 4838702"/>
              <a:gd name="connsiteY2040" fmla="*/ 4396359 h 11747497"/>
              <a:gd name="connsiteX2041" fmla="*/ 4769863 w 4838702"/>
              <a:gd name="connsiteY2041" fmla="*/ 4382000 h 11747497"/>
              <a:gd name="connsiteX2042" fmla="*/ 4772087 w 4838702"/>
              <a:gd name="connsiteY2042" fmla="*/ 4367839 h 11747497"/>
              <a:gd name="connsiteX2043" fmla="*/ 4768052 w 4838702"/>
              <a:gd name="connsiteY2043" fmla="*/ 4339220 h 11747497"/>
              <a:gd name="connsiteX2044" fmla="*/ 4772655 w 4838702"/>
              <a:gd name="connsiteY2044" fmla="*/ 4282380 h 11747497"/>
              <a:gd name="connsiteX2045" fmla="*/ 4766708 w 4838702"/>
              <a:gd name="connsiteY2045" fmla="*/ 4225240 h 11747497"/>
              <a:gd name="connsiteX2046" fmla="*/ 4770742 w 4838702"/>
              <a:gd name="connsiteY2046" fmla="*/ 4253860 h 11747497"/>
              <a:gd name="connsiteX2047" fmla="*/ 4771207 w 4838702"/>
              <a:gd name="connsiteY2047" fmla="*/ 4182660 h 11747497"/>
              <a:gd name="connsiteX2048" fmla="*/ 4777827 w 4838702"/>
              <a:gd name="connsiteY2048" fmla="*/ 4140079 h 11747497"/>
              <a:gd name="connsiteX2049" fmla="*/ 4773898 w 4838702"/>
              <a:gd name="connsiteY2049" fmla="*/ 4097298 h 11747497"/>
              <a:gd name="connsiteX2050" fmla="*/ 4776638 w 4838702"/>
              <a:gd name="connsiteY2050" fmla="*/ 3997678 h 11747497"/>
              <a:gd name="connsiteX2051" fmla="*/ 4770380 w 4838702"/>
              <a:gd name="connsiteY2051" fmla="*/ 3983319 h 11747497"/>
              <a:gd name="connsiteX2052" fmla="*/ 4775138 w 4838702"/>
              <a:gd name="connsiteY2052" fmla="*/ 3898058 h 11747497"/>
              <a:gd name="connsiteX2053" fmla="*/ 4773121 w 4838702"/>
              <a:gd name="connsiteY2053" fmla="*/ 3883798 h 11747497"/>
              <a:gd name="connsiteX2054" fmla="*/ 4775345 w 4838702"/>
              <a:gd name="connsiteY2054" fmla="*/ 3869638 h 11747497"/>
              <a:gd name="connsiteX2055" fmla="*/ 4776276 w 4838702"/>
              <a:gd name="connsiteY2055" fmla="*/ 3727337 h 11747497"/>
              <a:gd name="connsiteX2056" fmla="*/ 4772397 w 4838702"/>
              <a:gd name="connsiteY2056" fmla="*/ 3670298 h 11747497"/>
              <a:gd name="connsiteX2057" fmla="*/ 4776896 w 4838702"/>
              <a:gd name="connsiteY2057" fmla="*/ 3627717 h 11747497"/>
              <a:gd name="connsiteX2058" fmla="*/ 4772966 w 4838702"/>
              <a:gd name="connsiteY2058" fmla="*/ 3584837 h 11747497"/>
              <a:gd name="connsiteX2059" fmla="*/ 4777259 w 4838702"/>
              <a:gd name="connsiteY2059" fmla="*/ 3570677 h 11747497"/>
              <a:gd name="connsiteX2060" fmla="*/ 4773224 w 4838702"/>
              <a:gd name="connsiteY2060" fmla="*/ 3542158 h 11747497"/>
              <a:gd name="connsiteX2061" fmla="*/ 4779586 w 4838702"/>
              <a:gd name="connsiteY2061" fmla="*/ 3214876 h 11747497"/>
              <a:gd name="connsiteX2062" fmla="*/ 4775552 w 4838702"/>
              <a:gd name="connsiteY2062" fmla="*/ 3186356 h 11747497"/>
              <a:gd name="connsiteX2063" fmla="*/ 4778603 w 4838702"/>
              <a:gd name="connsiteY2063" fmla="*/ 3044055 h 11747497"/>
              <a:gd name="connsiteX2064" fmla="*/ 4777155 w 4838702"/>
              <a:gd name="connsiteY2064" fmla="*/ 2944335 h 11747497"/>
              <a:gd name="connsiteX2065" fmla="*/ 4779430 w 4838702"/>
              <a:gd name="connsiteY2065" fmla="*/ 2915916 h 11747497"/>
              <a:gd name="connsiteX2066" fmla="*/ 4775397 w 4838702"/>
              <a:gd name="connsiteY2066" fmla="*/ 2887396 h 11747497"/>
              <a:gd name="connsiteX2067" fmla="*/ 4777982 w 4838702"/>
              <a:gd name="connsiteY2067" fmla="*/ 2816296 h 11747497"/>
              <a:gd name="connsiteX2068" fmla="*/ 4776225 w 4838702"/>
              <a:gd name="connsiteY2068" fmla="*/ 2759355 h 11747497"/>
              <a:gd name="connsiteX2069" fmla="*/ 4778707 w 4838702"/>
              <a:gd name="connsiteY2069" fmla="*/ 2702515 h 11747497"/>
              <a:gd name="connsiteX2070" fmla="*/ 4781397 w 4838702"/>
              <a:gd name="connsiteY2070" fmla="*/ 2617155 h 11747497"/>
              <a:gd name="connsiteX2071" fmla="*/ 4775448 w 4838702"/>
              <a:gd name="connsiteY2071" fmla="*/ 2560015 h 11747497"/>
              <a:gd name="connsiteX2072" fmla="*/ 4777724 w 4838702"/>
              <a:gd name="connsiteY2072" fmla="*/ 2531594 h 11747497"/>
              <a:gd name="connsiteX2073" fmla="*/ 4775811 w 4838702"/>
              <a:gd name="connsiteY2073" fmla="*/ 2503074 h 11747497"/>
              <a:gd name="connsiteX2074" fmla="*/ 4778190 w 4838702"/>
              <a:gd name="connsiteY2074" fmla="*/ 2460395 h 11747497"/>
              <a:gd name="connsiteX2075" fmla="*/ 4781034 w 4838702"/>
              <a:gd name="connsiteY2075" fmla="*/ 2346613 h 11747497"/>
              <a:gd name="connsiteX2076" fmla="*/ 4777155 w 4838702"/>
              <a:gd name="connsiteY2076" fmla="*/ 2289573 h 11747497"/>
              <a:gd name="connsiteX2077" fmla="*/ 4778551 w 4838702"/>
              <a:gd name="connsiteY2077" fmla="*/ 2076073 h 11747497"/>
              <a:gd name="connsiteX2078" fmla="*/ 4777000 w 4838702"/>
              <a:gd name="connsiteY2078" fmla="*/ 1990613 h 11747497"/>
              <a:gd name="connsiteX2079" fmla="*/ 4777466 w 4838702"/>
              <a:gd name="connsiteY2079" fmla="*/ 1919413 h 11747497"/>
              <a:gd name="connsiteX2080" fmla="*/ 4775707 w 4838702"/>
              <a:gd name="connsiteY2080" fmla="*/ 1862473 h 11747497"/>
              <a:gd name="connsiteX2081" fmla="*/ 4780000 w 4838702"/>
              <a:gd name="connsiteY2081" fmla="*/ 1848313 h 11747497"/>
              <a:gd name="connsiteX2082" fmla="*/ 4775862 w 4838702"/>
              <a:gd name="connsiteY2082" fmla="*/ 1833953 h 11747497"/>
              <a:gd name="connsiteX2083" fmla="*/ 4778241 w 4838702"/>
              <a:gd name="connsiteY2083" fmla="*/ 1791373 h 11747497"/>
              <a:gd name="connsiteX2084" fmla="*/ 4776225 w 4838702"/>
              <a:gd name="connsiteY2084" fmla="*/ 1777013 h 11747497"/>
              <a:gd name="connsiteX2085" fmla="*/ 4778448 w 4838702"/>
              <a:gd name="connsiteY2085" fmla="*/ 1762852 h 11747497"/>
              <a:gd name="connsiteX2086" fmla="*/ 4777155 w 4838702"/>
              <a:gd name="connsiteY2086" fmla="*/ 1634712 h 11747497"/>
              <a:gd name="connsiteX2087" fmla="*/ 4772397 w 4838702"/>
              <a:gd name="connsiteY2087" fmla="*/ 1392592 h 11747497"/>
              <a:gd name="connsiteX2088" fmla="*/ 4771001 w 4838702"/>
              <a:gd name="connsiteY2088" fmla="*/ 1278711 h 11747497"/>
              <a:gd name="connsiteX2089" fmla="*/ 4771362 w 4838702"/>
              <a:gd name="connsiteY2089" fmla="*/ 1221772 h 11747497"/>
              <a:gd name="connsiteX2090" fmla="*/ 4771725 w 4838702"/>
              <a:gd name="connsiteY2090" fmla="*/ 1164831 h 11747497"/>
              <a:gd name="connsiteX2091" fmla="*/ 4768052 w 4838702"/>
              <a:gd name="connsiteY2091" fmla="*/ 1079272 h 11747497"/>
              <a:gd name="connsiteX2092" fmla="*/ 4766760 w 4838702"/>
              <a:gd name="connsiteY2092" fmla="*/ 951132 h 11747497"/>
              <a:gd name="connsiteX2093" fmla="*/ 4766967 w 4838702"/>
              <a:gd name="connsiteY2093" fmla="*/ 922711 h 11747497"/>
              <a:gd name="connsiteX2094" fmla="*/ 4765208 w 4838702"/>
              <a:gd name="connsiteY2094" fmla="*/ 865771 h 11747497"/>
              <a:gd name="connsiteX2095" fmla="*/ 4760139 w 4838702"/>
              <a:gd name="connsiteY2095" fmla="*/ 666331 h 11747497"/>
              <a:gd name="connsiteX2096" fmla="*/ 4760398 w 4838702"/>
              <a:gd name="connsiteY2096" fmla="*/ 623651 h 11747497"/>
              <a:gd name="connsiteX2097" fmla="*/ 4758381 w 4838702"/>
              <a:gd name="connsiteY2097" fmla="*/ 609391 h 11747497"/>
              <a:gd name="connsiteX2098" fmla="*/ 4760863 w 4838702"/>
              <a:gd name="connsiteY2098" fmla="*/ 552551 h 11747497"/>
              <a:gd name="connsiteX2099" fmla="*/ 4757088 w 4838702"/>
              <a:gd name="connsiteY2099" fmla="*/ 481251 h 11747497"/>
              <a:gd name="connsiteX2100" fmla="*/ 4753778 w 4838702"/>
              <a:gd name="connsiteY2100" fmla="*/ 338850 h 11747497"/>
              <a:gd name="connsiteX2101" fmla="*/ 4743382 w 4838702"/>
              <a:gd name="connsiteY2101" fmla="*/ 310131 h 11747497"/>
              <a:gd name="connsiteX2102" fmla="*/ 4738779 w 4838702"/>
              <a:gd name="connsiteY2102" fmla="*/ 249103 h 11747497"/>
              <a:gd name="connsiteX2103" fmla="*/ 3984963 w 4838702"/>
              <a:gd name="connsiteY2103" fmla="*/ 249103 h 11747497"/>
              <a:gd name="connsiteX2104" fmla="*/ 3949741 w 4838702"/>
              <a:gd name="connsiteY2104" fmla="*/ 249103 h 11747497"/>
              <a:gd name="connsiteX2105" fmla="*/ 3910435 w 4838702"/>
              <a:gd name="connsiteY2105" fmla="*/ 249103 h 11747497"/>
              <a:gd name="connsiteX2106" fmla="*/ 3917106 w 4838702"/>
              <a:gd name="connsiteY2106" fmla="*/ 243718 h 11747497"/>
              <a:gd name="connsiteX2107" fmla="*/ 3811546 w 4838702"/>
              <a:gd name="connsiteY2107" fmla="*/ 237136 h 11747497"/>
              <a:gd name="connsiteX2108" fmla="*/ 3802392 w 4838702"/>
              <a:gd name="connsiteY2108" fmla="*/ 224073 h 11747497"/>
              <a:gd name="connsiteX2109" fmla="*/ 3765670 w 4838702"/>
              <a:gd name="connsiteY2109" fmla="*/ 230655 h 11747497"/>
              <a:gd name="connsiteX2110" fmla="*/ 3660110 w 4838702"/>
              <a:gd name="connsiteY2110" fmla="*/ 230655 h 11747497"/>
              <a:gd name="connsiteX2111" fmla="*/ 3655559 w 4838702"/>
              <a:gd name="connsiteY2111" fmla="*/ 230655 h 11747497"/>
              <a:gd name="connsiteX2112" fmla="*/ 3646353 w 4838702"/>
              <a:gd name="connsiteY2112" fmla="*/ 230655 h 11747497"/>
              <a:gd name="connsiteX2113" fmla="*/ 3623389 w 4838702"/>
              <a:gd name="connsiteY2113" fmla="*/ 230655 h 11747497"/>
              <a:gd name="connsiteX2114" fmla="*/ 3618786 w 4838702"/>
              <a:gd name="connsiteY2114" fmla="*/ 224073 h 11747497"/>
              <a:gd name="connsiteX2115" fmla="*/ 3600426 w 4838702"/>
              <a:gd name="connsiteY2115" fmla="*/ 237136 h 11747497"/>
              <a:gd name="connsiteX2116" fmla="*/ 3641698 w 4838702"/>
              <a:gd name="connsiteY2116" fmla="*/ 243718 h 11747497"/>
              <a:gd name="connsiteX2117" fmla="*/ 3660058 w 4838702"/>
              <a:gd name="connsiteY2117" fmla="*/ 243718 h 11747497"/>
              <a:gd name="connsiteX2118" fmla="*/ 3664662 w 4838702"/>
              <a:gd name="connsiteY2118" fmla="*/ 237136 h 11747497"/>
              <a:gd name="connsiteX2119" fmla="*/ 3678419 w 4838702"/>
              <a:gd name="connsiteY2119" fmla="*/ 243718 h 11747497"/>
              <a:gd name="connsiteX2120" fmla="*/ 3710537 w 4838702"/>
              <a:gd name="connsiteY2120" fmla="*/ 243718 h 11747497"/>
              <a:gd name="connsiteX2121" fmla="*/ 3715089 w 4838702"/>
              <a:gd name="connsiteY2121" fmla="*/ 249103 h 11747497"/>
              <a:gd name="connsiteX2122" fmla="*/ 3572238 w 4838702"/>
              <a:gd name="connsiteY2122" fmla="*/ 249103 h 11747497"/>
              <a:gd name="connsiteX2123" fmla="*/ 3595822 w 4838702"/>
              <a:gd name="connsiteY2123" fmla="*/ 243718 h 11747497"/>
              <a:gd name="connsiteX2124" fmla="*/ 3572859 w 4838702"/>
              <a:gd name="connsiteY2124" fmla="*/ 217491 h 11747497"/>
              <a:gd name="connsiteX2125" fmla="*/ 3568256 w 4838702"/>
              <a:gd name="connsiteY2125" fmla="*/ 224073 h 11747497"/>
              <a:gd name="connsiteX2126" fmla="*/ 3563653 w 4838702"/>
              <a:gd name="connsiteY2126" fmla="*/ 217491 h 11747497"/>
              <a:gd name="connsiteX2127" fmla="*/ 3536138 w 4838702"/>
              <a:gd name="connsiteY2127" fmla="*/ 224073 h 11747497"/>
              <a:gd name="connsiteX2128" fmla="*/ 3504020 w 4838702"/>
              <a:gd name="connsiteY2128" fmla="*/ 211009 h 11747497"/>
              <a:gd name="connsiteX2129" fmla="*/ 3494866 w 4838702"/>
              <a:gd name="connsiteY2129" fmla="*/ 224073 h 11747497"/>
              <a:gd name="connsiteX2130" fmla="*/ 3471902 w 4838702"/>
              <a:gd name="connsiteY2130" fmla="*/ 224073 h 11747497"/>
              <a:gd name="connsiteX2131" fmla="*/ 3467299 w 4838702"/>
              <a:gd name="connsiteY2131" fmla="*/ 230655 h 11747497"/>
              <a:gd name="connsiteX2132" fmla="*/ 3448938 w 4838702"/>
              <a:gd name="connsiteY2132" fmla="*/ 230655 h 11747497"/>
              <a:gd name="connsiteX2133" fmla="*/ 3421372 w 4838702"/>
              <a:gd name="connsiteY2133" fmla="*/ 230655 h 11747497"/>
              <a:gd name="connsiteX2134" fmla="*/ 3403011 w 4838702"/>
              <a:gd name="connsiteY2134" fmla="*/ 224073 h 11747497"/>
              <a:gd name="connsiteX2135" fmla="*/ 3398408 w 4838702"/>
              <a:gd name="connsiteY2135" fmla="*/ 230655 h 11747497"/>
              <a:gd name="connsiteX2136" fmla="*/ 3384650 w 4838702"/>
              <a:gd name="connsiteY2136" fmla="*/ 230655 h 11747497"/>
              <a:gd name="connsiteX2137" fmla="*/ 3366290 w 4838702"/>
              <a:gd name="connsiteY2137" fmla="*/ 230655 h 11747497"/>
              <a:gd name="connsiteX2138" fmla="*/ 3352532 w 4838702"/>
              <a:gd name="connsiteY2138" fmla="*/ 224073 h 11747497"/>
              <a:gd name="connsiteX2139" fmla="*/ 3320414 w 4838702"/>
              <a:gd name="connsiteY2139" fmla="*/ 237136 h 11747497"/>
              <a:gd name="connsiteX2140" fmla="*/ 3297451 w 4838702"/>
              <a:gd name="connsiteY2140" fmla="*/ 237136 h 11747497"/>
              <a:gd name="connsiteX2141" fmla="*/ 3296364 w 4838702"/>
              <a:gd name="connsiteY2141" fmla="*/ 249103 h 11747497"/>
              <a:gd name="connsiteX2142" fmla="*/ 3289124 w 4838702"/>
              <a:gd name="connsiteY2142" fmla="*/ 249103 h 11747497"/>
              <a:gd name="connsiteX2143" fmla="*/ 3288296 w 4838702"/>
              <a:gd name="connsiteY2143" fmla="*/ 237136 h 11747497"/>
              <a:gd name="connsiteX2144" fmla="*/ 3274539 w 4838702"/>
              <a:gd name="connsiteY2144" fmla="*/ 224073 h 11747497"/>
              <a:gd name="connsiteX2145" fmla="*/ 3242421 w 4838702"/>
              <a:gd name="connsiteY2145" fmla="*/ 243718 h 11747497"/>
              <a:gd name="connsiteX2146" fmla="*/ 3233266 w 4838702"/>
              <a:gd name="connsiteY2146" fmla="*/ 224073 h 11747497"/>
              <a:gd name="connsiteX2147" fmla="*/ 3224060 w 4838702"/>
              <a:gd name="connsiteY2147" fmla="*/ 243718 h 11747497"/>
              <a:gd name="connsiteX2148" fmla="*/ 3196545 w 4838702"/>
              <a:gd name="connsiteY2148" fmla="*/ 197847 h 11747497"/>
              <a:gd name="connsiteX2149" fmla="*/ 3233266 w 4838702"/>
              <a:gd name="connsiteY2149" fmla="*/ 184783 h 11747497"/>
              <a:gd name="connsiteX2150" fmla="*/ 3247024 w 4838702"/>
              <a:gd name="connsiteY2150" fmla="*/ 191365 h 11747497"/>
              <a:gd name="connsiteX2151" fmla="*/ 3265384 w 4838702"/>
              <a:gd name="connsiteY2151" fmla="*/ 184783 h 11747497"/>
              <a:gd name="connsiteX2152" fmla="*/ 3279142 w 4838702"/>
              <a:gd name="connsiteY2152" fmla="*/ 191365 h 11747497"/>
              <a:gd name="connsiteX2153" fmla="*/ 3292899 w 4838702"/>
              <a:gd name="connsiteY2153" fmla="*/ 184783 h 11747497"/>
              <a:gd name="connsiteX2154" fmla="*/ 3302054 w 4838702"/>
              <a:gd name="connsiteY2154" fmla="*/ 184783 h 11747497"/>
              <a:gd name="connsiteX2155" fmla="*/ 3311260 w 4838702"/>
              <a:gd name="connsiteY2155" fmla="*/ 184783 h 11747497"/>
              <a:gd name="connsiteX2156" fmla="*/ 3320414 w 4838702"/>
              <a:gd name="connsiteY2156" fmla="*/ 178201 h 11747497"/>
              <a:gd name="connsiteX2157" fmla="*/ 3361687 w 4838702"/>
              <a:gd name="connsiteY2157" fmla="*/ 184783 h 11747497"/>
              <a:gd name="connsiteX2158" fmla="*/ 3366290 w 4838702"/>
              <a:gd name="connsiteY2158" fmla="*/ 139012 h 11747497"/>
              <a:gd name="connsiteX2159" fmla="*/ 3361687 w 4838702"/>
              <a:gd name="connsiteY2159" fmla="*/ 165139 h 11747497"/>
              <a:gd name="connsiteX2160" fmla="*/ 3347929 w 4838702"/>
              <a:gd name="connsiteY2160" fmla="*/ 139012 h 11747497"/>
              <a:gd name="connsiteX2161" fmla="*/ 3324965 w 4838702"/>
              <a:gd name="connsiteY2161" fmla="*/ 158656 h 11747497"/>
              <a:gd name="connsiteX2162" fmla="*/ 3329569 w 4838702"/>
              <a:gd name="connsiteY2162" fmla="*/ 171720 h 11747497"/>
              <a:gd name="connsiteX2163" fmla="*/ 3283693 w 4838702"/>
              <a:gd name="connsiteY2163" fmla="*/ 165139 h 11747497"/>
              <a:gd name="connsiteX2164" fmla="*/ 3274539 w 4838702"/>
              <a:gd name="connsiteY2164" fmla="*/ 132430 h 11747497"/>
              <a:gd name="connsiteX2165" fmla="*/ 3256178 w 4838702"/>
              <a:gd name="connsiteY2165" fmla="*/ 145493 h 11747497"/>
              <a:gd name="connsiteX2166" fmla="*/ 3233266 w 4838702"/>
              <a:gd name="connsiteY2166" fmla="*/ 132430 h 11747497"/>
              <a:gd name="connsiteX2167" fmla="*/ 3269987 w 4838702"/>
              <a:gd name="connsiteY2167" fmla="*/ 119367 h 11747497"/>
              <a:gd name="connsiteX2168" fmla="*/ 3274591 w 4838702"/>
              <a:gd name="connsiteY2168" fmla="*/ 125949 h 11747497"/>
              <a:gd name="connsiteX2169" fmla="*/ 3283745 w 4838702"/>
              <a:gd name="connsiteY2169" fmla="*/ 119367 h 11747497"/>
              <a:gd name="connsiteX2170" fmla="*/ 3288348 w 4838702"/>
              <a:gd name="connsiteY2170" fmla="*/ 132430 h 11747497"/>
              <a:gd name="connsiteX2171" fmla="*/ 3297502 w 4838702"/>
              <a:gd name="connsiteY2171" fmla="*/ 112786 h 11747497"/>
              <a:gd name="connsiteX2172" fmla="*/ 3302105 w 4838702"/>
              <a:gd name="connsiteY2172" fmla="*/ 132430 h 11747497"/>
              <a:gd name="connsiteX2173" fmla="*/ 3315863 w 4838702"/>
              <a:gd name="connsiteY2173" fmla="*/ 106204 h 11747497"/>
              <a:gd name="connsiteX2174" fmla="*/ 3288348 w 4838702"/>
              <a:gd name="connsiteY2174" fmla="*/ 93140 h 11747497"/>
              <a:gd name="connsiteX2175" fmla="*/ 3306708 w 4838702"/>
              <a:gd name="connsiteY2175" fmla="*/ 73496 h 11747497"/>
              <a:gd name="connsiteX2176" fmla="*/ 3274591 w 4838702"/>
              <a:gd name="connsiteY2176" fmla="*/ 67013 h 11747497"/>
              <a:gd name="connsiteX2177" fmla="*/ 3292951 w 4838702"/>
              <a:gd name="connsiteY2177" fmla="*/ 53950 h 11747497"/>
              <a:gd name="connsiteX2178" fmla="*/ 3274591 w 4838702"/>
              <a:gd name="connsiteY2178" fmla="*/ 47369 h 11747497"/>
              <a:gd name="connsiteX2179" fmla="*/ 3233318 w 4838702"/>
              <a:gd name="connsiteY2179" fmla="*/ 53950 h 11747497"/>
              <a:gd name="connsiteX2180" fmla="*/ 3224112 w 4838702"/>
              <a:gd name="connsiteY2180" fmla="*/ 53950 h 11747497"/>
              <a:gd name="connsiteX2181" fmla="*/ 3214958 w 4838702"/>
              <a:gd name="connsiteY2181" fmla="*/ 53950 h 11747497"/>
              <a:gd name="connsiteX2182" fmla="*/ 3187442 w 4838702"/>
              <a:gd name="connsiteY2182" fmla="*/ 60433 h 11747497"/>
              <a:gd name="connsiteX2183" fmla="*/ 3201200 w 4838702"/>
              <a:gd name="connsiteY2183" fmla="*/ 86659 h 11747497"/>
              <a:gd name="connsiteX2184" fmla="*/ 3196597 w 4838702"/>
              <a:gd name="connsiteY2184" fmla="*/ 112786 h 11747497"/>
              <a:gd name="connsiteX2185" fmla="*/ 3214958 w 4838702"/>
              <a:gd name="connsiteY2185" fmla="*/ 119367 h 11747497"/>
              <a:gd name="connsiteX2186" fmla="*/ 3214958 w 4838702"/>
              <a:gd name="connsiteY2186" fmla="*/ 125949 h 11747497"/>
              <a:gd name="connsiteX2187" fmla="*/ 3210355 w 4838702"/>
              <a:gd name="connsiteY2187" fmla="*/ 152175 h 11747497"/>
              <a:gd name="connsiteX2188" fmla="*/ 3178237 w 4838702"/>
              <a:gd name="connsiteY2188" fmla="*/ 158756 h 11747497"/>
              <a:gd name="connsiteX2189" fmla="*/ 3210355 w 4838702"/>
              <a:gd name="connsiteY2189" fmla="*/ 171819 h 11747497"/>
              <a:gd name="connsiteX2190" fmla="*/ 3155273 w 4838702"/>
              <a:gd name="connsiteY2190" fmla="*/ 171819 h 11747497"/>
              <a:gd name="connsiteX2191" fmla="*/ 3141515 w 4838702"/>
              <a:gd name="connsiteY2191" fmla="*/ 191465 h 11747497"/>
              <a:gd name="connsiteX2192" fmla="*/ 3169082 w 4838702"/>
              <a:gd name="connsiteY2192" fmla="*/ 204528 h 11747497"/>
              <a:gd name="connsiteX2193" fmla="*/ 3159928 w 4838702"/>
              <a:gd name="connsiteY2193" fmla="*/ 217592 h 11747497"/>
              <a:gd name="connsiteX2194" fmla="*/ 3178288 w 4838702"/>
              <a:gd name="connsiteY2194" fmla="*/ 211009 h 11747497"/>
              <a:gd name="connsiteX2195" fmla="*/ 3187442 w 4838702"/>
              <a:gd name="connsiteY2195" fmla="*/ 243718 h 11747497"/>
              <a:gd name="connsiteX2196" fmla="*/ 3155324 w 4838702"/>
              <a:gd name="connsiteY2196" fmla="*/ 243718 h 11747497"/>
              <a:gd name="connsiteX2197" fmla="*/ 3150722 w 4838702"/>
              <a:gd name="connsiteY2197" fmla="*/ 237136 h 11747497"/>
              <a:gd name="connsiteX2198" fmla="*/ 3123206 w 4838702"/>
              <a:gd name="connsiteY2198" fmla="*/ 243718 h 11747497"/>
              <a:gd name="connsiteX2199" fmla="*/ 3118604 w 4838702"/>
              <a:gd name="connsiteY2199" fmla="*/ 237136 h 11747497"/>
              <a:gd name="connsiteX2200" fmla="*/ 3114001 w 4838702"/>
              <a:gd name="connsiteY2200" fmla="*/ 243718 h 11747497"/>
              <a:gd name="connsiteX2201" fmla="*/ 3100242 w 4838702"/>
              <a:gd name="connsiteY2201" fmla="*/ 230655 h 11747497"/>
              <a:gd name="connsiteX2202" fmla="*/ 3095640 w 4838702"/>
              <a:gd name="connsiteY2202" fmla="*/ 243718 h 11747497"/>
              <a:gd name="connsiteX2203" fmla="*/ 3086486 w 4838702"/>
              <a:gd name="connsiteY2203" fmla="*/ 237136 h 11747497"/>
              <a:gd name="connsiteX2204" fmla="*/ 3085193 w 4838702"/>
              <a:gd name="connsiteY2204" fmla="*/ 249103 h 11747497"/>
              <a:gd name="connsiteX2205" fmla="*/ 3068849 w 4838702"/>
              <a:gd name="connsiteY2205" fmla="*/ 249103 h 11747497"/>
              <a:gd name="connsiteX2206" fmla="*/ 3058919 w 4838702"/>
              <a:gd name="connsiteY2206" fmla="*/ 217491 h 11747497"/>
              <a:gd name="connsiteX2207" fmla="*/ 3081882 w 4838702"/>
              <a:gd name="connsiteY2207" fmla="*/ 210910 h 11747497"/>
              <a:gd name="connsiteX2208" fmla="*/ 2999234 w 4838702"/>
              <a:gd name="connsiteY2208" fmla="*/ 217491 h 11747497"/>
              <a:gd name="connsiteX2209" fmla="*/ 2999234 w 4838702"/>
              <a:gd name="connsiteY2209" fmla="*/ 191365 h 11747497"/>
              <a:gd name="connsiteX2210" fmla="*/ 2990079 w 4838702"/>
              <a:gd name="connsiteY2210" fmla="*/ 184783 h 11747497"/>
              <a:gd name="connsiteX2211" fmla="*/ 2944204 w 4838702"/>
              <a:gd name="connsiteY2211" fmla="*/ 191365 h 11747497"/>
              <a:gd name="connsiteX2212" fmla="*/ 2921241 w 4838702"/>
              <a:gd name="connsiteY2212" fmla="*/ 191365 h 11747497"/>
              <a:gd name="connsiteX2213" fmla="*/ 2889123 w 4838702"/>
              <a:gd name="connsiteY2213" fmla="*/ 191365 h 11747497"/>
              <a:gd name="connsiteX2214" fmla="*/ 2884520 w 4838702"/>
              <a:gd name="connsiteY2214" fmla="*/ 178302 h 11747497"/>
              <a:gd name="connsiteX2215" fmla="*/ 2921241 w 4838702"/>
              <a:gd name="connsiteY2215" fmla="*/ 178302 h 11747497"/>
              <a:gd name="connsiteX2216" fmla="*/ 2925843 w 4838702"/>
              <a:gd name="connsiteY2216" fmla="*/ 152076 h 11747497"/>
              <a:gd name="connsiteX2217" fmla="*/ 2902880 w 4838702"/>
              <a:gd name="connsiteY2217" fmla="*/ 158656 h 11747497"/>
              <a:gd name="connsiteX2218" fmla="*/ 2884520 w 4838702"/>
              <a:gd name="connsiteY2218" fmla="*/ 132430 h 11747497"/>
              <a:gd name="connsiteX2219" fmla="*/ 2902880 w 4838702"/>
              <a:gd name="connsiteY2219" fmla="*/ 145493 h 11747497"/>
              <a:gd name="connsiteX2220" fmla="*/ 2916637 w 4838702"/>
              <a:gd name="connsiteY2220" fmla="*/ 119267 h 11747497"/>
              <a:gd name="connsiteX2221" fmla="*/ 2893674 w 4838702"/>
              <a:gd name="connsiteY2221" fmla="*/ 112685 h 11747497"/>
              <a:gd name="connsiteX2222" fmla="*/ 2939549 w 4838702"/>
              <a:gd name="connsiteY2222" fmla="*/ 119267 h 11747497"/>
              <a:gd name="connsiteX2223" fmla="*/ 2939549 w 4838702"/>
              <a:gd name="connsiteY2223" fmla="*/ 145493 h 11747497"/>
              <a:gd name="connsiteX2224" fmla="*/ 2980873 w 4838702"/>
              <a:gd name="connsiteY2224" fmla="*/ 132430 h 11747497"/>
              <a:gd name="connsiteX2225" fmla="*/ 2985477 w 4838702"/>
              <a:gd name="connsiteY2225" fmla="*/ 145493 h 11747497"/>
              <a:gd name="connsiteX2226" fmla="*/ 3012992 w 4838702"/>
              <a:gd name="connsiteY2226" fmla="*/ 125849 h 11747497"/>
              <a:gd name="connsiteX2227" fmla="*/ 3035955 w 4838702"/>
              <a:gd name="connsiteY2227" fmla="*/ 119267 h 11747497"/>
              <a:gd name="connsiteX2228" fmla="*/ 3022198 w 4838702"/>
              <a:gd name="connsiteY2228" fmla="*/ 93140 h 11747497"/>
              <a:gd name="connsiteX2229" fmla="*/ 3035955 w 4838702"/>
              <a:gd name="connsiteY2229" fmla="*/ 80077 h 11747497"/>
              <a:gd name="connsiteX2230" fmla="*/ 3045110 w 4838702"/>
              <a:gd name="connsiteY2230" fmla="*/ 99722 h 11747497"/>
              <a:gd name="connsiteX2231" fmla="*/ 3035955 w 4838702"/>
              <a:gd name="connsiteY2231" fmla="*/ 112786 h 11747497"/>
              <a:gd name="connsiteX2232" fmla="*/ 3031352 w 4838702"/>
              <a:gd name="connsiteY2232" fmla="*/ 139012 h 11747497"/>
              <a:gd name="connsiteX2233" fmla="*/ 3045110 w 4838702"/>
              <a:gd name="connsiteY2233" fmla="*/ 165139 h 11747497"/>
              <a:gd name="connsiteX2234" fmla="*/ 3054315 w 4838702"/>
              <a:gd name="connsiteY2234" fmla="*/ 178201 h 11747497"/>
              <a:gd name="connsiteX2235" fmla="*/ 3035955 w 4838702"/>
              <a:gd name="connsiteY2235" fmla="*/ 184783 h 11747497"/>
              <a:gd name="connsiteX2236" fmla="*/ 3031352 w 4838702"/>
              <a:gd name="connsiteY2236" fmla="*/ 197847 h 11747497"/>
              <a:gd name="connsiteX2237" fmla="*/ 3026749 w 4838702"/>
              <a:gd name="connsiteY2237" fmla="*/ 197847 h 11747497"/>
              <a:gd name="connsiteX2238" fmla="*/ 3045110 w 4838702"/>
              <a:gd name="connsiteY2238" fmla="*/ 204429 h 11747497"/>
              <a:gd name="connsiteX2239" fmla="*/ 3058867 w 4838702"/>
              <a:gd name="connsiteY2239" fmla="*/ 197847 h 11747497"/>
              <a:gd name="connsiteX2240" fmla="*/ 3072625 w 4838702"/>
              <a:gd name="connsiteY2240" fmla="*/ 178201 h 11747497"/>
              <a:gd name="connsiteX2241" fmla="*/ 3077176 w 4838702"/>
              <a:gd name="connsiteY2241" fmla="*/ 197847 h 11747497"/>
              <a:gd name="connsiteX2242" fmla="*/ 3081779 w 4838702"/>
              <a:gd name="connsiteY2242" fmla="*/ 158557 h 11747497"/>
              <a:gd name="connsiteX2243" fmla="*/ 3146015 w 4838702"/>
              <a:gd name="connsiteY2243" fmla="*/ 158557 h 11747497"/>
              <a:gd name="connsiteX2244" fmla="*/ 3136861 w 4838702"/>
              <a:gd name="connsiteY2244" fmla="*/ 145493 h 11747497"/>
              <a:gd name="connsiteX2245" fmla="*/ 3173582 w 4838702"/>
              <a:gd name="connsiteY2245" fmla="*/ 125849 h 11747497"/>
              <a:gd name="connsiteX2246" fmla="*/ 3155221 w 4838702"/>
              <a:gd name="connsiteY2246" fmla="*/ 99622 h 11747497"/>
              <a:gd name="connsiteX2247" fmla="*/ 3168979 w 4838702"/>
              <a:gd name="connsiteY2247" fmla="*/ 86560 h 11747497"/>
              <a:gd name="connsiteX2248" fmla="*/ 3118500 w 4838702"/>
              <a:gd name="connsiteY2248" fmla="*/ 86560 h 11747497"/>
              <a:gd name="connsiteX2249" fmla="*/ 3109346 w 4838702"/>
              <a:gd name="connsiteY2249" fmla="*/ 86560 h 11747497"/>
              <a:gd name="connsiteX2250" fmla="*/ 3113949 w 4838702"/>
              <a:gd name="connsiteY2250" fmla="*/ 73395 h 11747497"/>
              <a:gd name="connsiteX2251" fmla="*/ 3155273 w 4838702"/>
              <a:gd name="connsiteY2251" fmla="*/ 73395 h 11747497"/>
              <a:gd name="connsiteX2252" fmla="*/ 3141515 w 4838702"/>
              <a:gd name="connsiteY2252" fmla="*/ 53751 h 11747497"/>
              <a:gd name="connsiteX2253" fmla="*/ 3123155 w 4838702"/>
              <a:gd name="connsiteY2253" fmla="*/ 53751 h 11747497"/>
              <a:gd name="connsiteX2254" fmla="*/ 3109397 w 4838702"/>
              <a:gd name="connsiteY2254" fmla="*/ 60233 h 11747497"/>
              <a:gd name="connsiteX2255" fmla="*/ 2980873 w 4838702"/>
              <a:gd name="connsiteY2255" fmla="*/ 53751 h 11747497"/>
              <a:gd name="connsiteX2256" fmla="*/ 2925792 w 4838702"/>
              <a:gd name="connsiteY2256" fmla="*/ 79878 h 11747497"/>
              <a:gd name="connsiteX2257" fmla="*/ 2898277 w 4838702"/>
              <a:gd name="connsiteY2257" fmla="*/ 66815 h 11747497"/>
              <a:gd name="connsiteX2258" fmla="*/ 2870762 w 4838702"/>
              <a:gd name="connsiteY2258" fmla="*/ 86459 h 11747497"/>
              <a:gd name="connsiteX2259" fmla="*/ 2847798 w 4838702"/>
              <a:gd name="connsiteY2259" fmla="*/ 66815 h 11747497"/>
              <a:gd name="connsiteX2260" fmla="*/ 2797320 w 4838702"/>
              <a:gd name="connsiteY2260" fmla="*/ 66815 h 11747497"/>
              <a:gd name="connsiteX2261" fmla="*/ 2783562 w 4838702"/>
              <a:gd name="connsiteY2261" fmla="*/ 66815 h 11747497"/>
              <a:gd name="connsiteX2262" fmla="*/ 2746841 w 4838702"/>
              <a:gd name="connsiteY2262" fmla="*/ 73296 h 11747497"/>
              <a:gd name="connsiteX2263" fmla="*/ 2714723 w 4838702"/>
              <a:gd name="connsiteY2263" fmla="*/ 73296 h 11747497"/>
              <a:gd name="connsiteX2264" fmla="*/ 2710120 w 4838702"/>
              <a:gd name="connsiteY2264" fmla="*/ 66815 h 11747497"/>
              <a:gd name="connsiteX2265" fmla="*/ 2691759 w 4838702"/>
              <a:gd name="connsiteY2265" fmla="*/ 66815 h 11747497"/>
              <a:gd name="connsiteX2266" fmla="*/ 2682605 w 4838702"/>
              <a:gd name="connsiteY2266" fmla="*/ 66815 h 11747497"/>
              <a:gd name="connsiteX2267" fmla="*/ 2595405 w 4838702"/>
              <a:gd name="connsiteY2267" fmla="*/ 66815 h 11747497"/>
              <a:gd name="connsiteX2268" fmla="*/ 2590802 w 4838702"/>
              <a:gd name="connsiteY2268" fmla="*/ 60233 h 11747497"/>
              <a:gd name="connsiteX2269" fmla="*/ 2572442 w 4838702"/>
              <a:gd name="connsiteY2269" fmla="*/ 66815 h 11747497"/>
              <a:gd name="connsiteX2270" fmla="*/ 2554081 w 4838702"/>
              <a:gd name="connsiteY2270" fmla="*/ 66815 h 11747497"/>
              <a:gd name="connsiteX2271" fmla="*/ 2531118 w 4838702"/>
              <a:gd name="connsiteY2271" fmla="*/ 66815 h 11747497"/>
              <a:gd name="connsiteX2272" fmla="*/ 2521912 w 4838702"/>
              <a:gd name="connsiteY2272" fmla="*/ 66815 h 11747497"/>
              <a:gd name="connsiteX2273" fmla="*/ 2503551 w 4838702"/>
              <a:gd name="connsiteY2273" fmla="*/ 60233 h 11747497"/>
              <a:gd name="connsiteX2274" fmla="*/ 2480587 w 4838702"/>
              <a:gd name="connsiteY2274" fmla="*/ 53751 h 11747497"/>
              <a:gd name="connsiteX2275" fmla="*/ 2462227 w 4838702"/>
              <a:gd name="connsiteY2275" fmla="*/ 66815 h 11747497"/>
              <a:gd name="connsiteX2276" fmla="*/ 2361269 w 4838702"/>
              <a:gd name="connsiteY2276" fmla="*/ 53751 h 11747497"/>
              <a:gd name="connsiteX2277" fmla="*/ 2347512 w 4838702"/>
              <a:gd name="connsiteY2277" fmla="*/ 47169 h 11747497"/>
              <a:gd name="connsiteX2278" fmla="*/ 2329151 w 4838702"/>
              <a:gd name="connsiteY2278" fmla="*/ 53751 h 11747497"/>
              <a:gd name="connsiteX2279" fmla="*/ 2255710 w 4838702"/>
              <a:gd name="connsiteY2279" fmla="*/ 53751 h 11747497"/>
              <a:gd name="connsiteX2280" fmla="*/ 2237349 w 4838702"/>
              <a:gd name="connsiteY2280" fmla="*/ 47169 h 11747497"/>
              <a:gd name="connsiteX2281" fmla="*/ 2214385 w 4838702"/>
              <a:gd name="connsiteY2281" fmla="*/ 53751 h 11747497"/>
              <a:gd name="connsiteX2282" fmla="*/ 2200628 w 4838702"/>
              <a:gd name="connsiteY2282" fmla="*/ 47169 h 11747497"/>
              <a:gd name="connsiteX2283" fmla="*/ 2186819 w 4838702"/>
              <a:gd name="connsiteY2283" fmla="*/ 53751 h 11747497"/>
              <a:gd name="connsiteX2284" fmla="*/ 2136340 w 4838702"/>
              <a:gd name="connsiteY2284" fmla="*/ 47169 h 11747497"/>
              <a:gd name="connsiteX2285" fmla="*/ 2113376 w 4838702"/>
              <a:gd name="connsiteY2285" fmla="*/ 53751 h 11747497"/>
              <a:gd name="connsiteX2286" fmla="*/ 2081258 w 4838702"/>
              <a:gd name="connsiteY2286" fmla="*/ 47169 h 11747497"/>
              <a:gd name="connsiteX2287" fmla="*/ 2062898 w 4838702"/>
              <a:gd name="connsiteY2287" fmla="*/ 47169 h 11747497"/>
              <a:gd name="connsiteX2288" fmla="*/ 2017022 w 4838702"/>
              <a:gd name="connsiteY2288" fmla="*/ 47169 h 11747497"/>
              <a:gd name="connsiteX2289" fmla="*/ 1998662 w 4838702"/>
              <a:gd name="connsiteY2289" fmla="*/ 40588 h 11747497"/>
              <a:gd name="connsiteX2290" fmla="*/ 1989507 w 4838702"/>
              <a:gd name="connsiteY2290" fmla="*/ 47169 h 11747497"/>
              <a:gd name="connsiteX2291" fmla="*/ 1975750 w 4838702"/>
              <a:gd name="connsiteY2291" fmla="*/ 40588 h 11747497"/>
              <a:gd name="connsiteX2292" fmla="*/ 1971147 w 4838702"/>
              <a:gd name="connsiteY2292" fmla="*/ 47169 h 11747497"/>
              <a:gd name="connsiteX2293" fmla="*/ 1966544 w 4838702"/>
              <a:gd name="connsiteY2293" fmla="*/ 40588 h 11747497"/>
              <a:gd name="connsiteX2294" fmla="*/ 1952786 w 4838702"/>
              <a:gd name="connsiteY2294" fmla="*/ 47169 h 11747497"/>
              <a:gd name="connsiteX2295" fmla="*/ 1911462 w 4838702"/>
              <a:gd name="connsiteY2295" fmla="*/ 47169 h 11747497"/>
              <a:gd name="connsiteX2296" fmla="*/ 1897705 w 4838702"/>
              <a:gd name="connsiteY2296" fmla="*/ 40588 h 11747497"/>
              <a:gd name="connsiteX2297" fmla="*/ 1883948 w 4838702"/>
              <a:gd name="connsiteY2297" fmla="*/ 53652 h 11747497"/>
              <a:gd name="connsiteX2298" fmla="*/ 1847226 w 4838702"/>
              <a:gd name="connsiteY2298" fmla="*/ 47070 h 11747497"/>
              <a:gd name="connsiteX2299" fmla="*/ 1842623 w 4838702"/>
              <a:gd name="connsiteY2299" fmla="*/ 40488 h 11747497"/>
              <a:gd name="connsiteX2300" fmla="*/ 1833417 w 4838702"/>
              <a:gd name="connsiteY2300" fmla="*/ 40488 h 11747497"/>
              <a:gd name="connsiteX2301" fmla="*/ 1759975 w 4838702"/>
              <a:gd name="connsiteY2301" fmla="*/ 33907 h 11747497"/>
              <a:gd name="connsiteX2302" fmla="*/ 1732408 w 4838702"/>
              <a:gd name="connsiteY2302" fmla="*/ 33907 h 11747497"/>
              <a:gd name="connsiteX2303" fmla="*/ 1718650 w 4838702"/>
              <a:gd name="connsiteY2303" fmla="*/ 53551 h 11747497"/>
              <a:gd name="connsiteX2304" fmla="*/ 1709496 w 4838702"/>
              <a:gd name="connsiteY2304" fmla="*/ 33907 h 11747497"/>
              <a:gd name="connsiteX2305" fmla="*/ 1672775 w 4838702"/>
              <a:gd name="connsiteY2305" fmla="*/ 33907 h 11747497"/>
              <a:gd name="connsiteX2306" fmla="*/ 1645260 w 4838702"/>
              <a:gd name="connsiteY2306" fmla="*/ 33907 h 11747497"/>
              <a:gd name="connsiteX2307" fmla="*/ 1622296 w 4838702"/>
              <a:gd name="connsiteY2307" fmla="*/ 33907 h 11747497"/>
              <a:gd name="connsiteX2308" fmla="*/ 1613142 w 4838702"/>
              <a:gd name="connsiteY2308" fmla="*/ 40488 h 11747497"/>
              <a:gd name="connsiteX2309" fmla="*/ 1581024 w 4838702"/>
              <a:gd name="connsiteY2309" fmla="*/ 33907 h 11747497"/>
              <a:gd name="connsiteX2310" fmla="*/ 1548906 w 4838702"/>
              <a:gd name="connsiteY2310" fmla="*/ 27325 h 11747497"/>
              <a:gd name="connsiteX2311" fmla="*/ 1544303 w 4838702"/>
              <a:gd name="connsiteY2311" fmla="*/ 33907 h 11747497"/>
              <a:gd name="connsiteX2312" fmla="*/ 1535097 w 4838702"/>
              <a:gd name="connsiteY2312" fmla="*/ 33907 h 11747497"/>
              <a:gd name="connsiteX2313" fmla="*/ 1512185 w 4838702"/>
              <a:gd name="connsiteY2313" fmla="*/ 27325 h 11747497"/>
              <a:gd name="connsiteX2314" fmla="*/ 1424986 w 4838702"/>
              <a:gd name="connsiteY2314" fmla="*/ 14261 h 11747497"/>
              <a:gd name="connsiteX2315" fmla="*/ 1397419 w 4838702"/>
              <a:gd name="connsiteY2315" fmla="*/ 27325 h 11747497"/>
              <a:gd name="connsiteX2316" fmla="*/ 1365301 w 4838702"/>
              <a:gd name="connsiteY2316" fmla="*/ 7681 h 11747497"/>
              <a:gd name="connsiteX2317" fmla="*/ 1328579 w 4838702"/>
              <a:gd name="connsiteY2317" fmla="*/ 20744 h 11747497"/>
              <a:gd name="connsiteX2318" fmla="*/ 1314822 w 4838702"/>
              <a:gd name="connsiteY2318" fmla="*/ 7681 h 11747497"/>
              <a:gd name="connsiteX2319" fmla="*/ 1287307 w 4838702"/>
              <a:gd name="connsiteY2319" fmla="*/ 20744 h 11747497"/>
              <a:gd name="connsiteX2320" fmla="*/ 1273550 w 4838702"/>
              <a:gd name="connsiteY2320" fmla="*/ 14162 h 11747497"/>
              <a:gd name="connsiteX2321" fmla="*/ 1245983 w 4838702"/>
              <a:gd name="connsiteY2321" fmla="*/ 7581 h 11747497"/>
              <a:gd name="connsiteX2322" fmla="*/ 1241380 w 4838702"/>
              <a:gd name="connsiteY2322" fmla="*/ 14162 h 11747497"/>
              <a:gd name="connsiteX2323" fmla="*/ 1236777 w 4838702"/>
              <a:gd name="connsiteY2323" fmla="*/ 1099 h 11747497"/>
              <a:gd name="connsiteX2324" fmla="*/ 1218416 w 4838702"/>
              <a:gd name="connsiteY2324" fmla="*/ 1099 h 11747497"/>
              <a:gd name="connsiteX2325" fmla="*/ 1213813 w 4838702"/>
              <a:gd name="connsiteY2325" fmla="*/ 20744 h 11747497"/>
              <a:gd name="connsiteX2326" fmla="*/ 1181695 w 4838702"/>
              <a:gd name="connsiteY2326" fmla="*/ 14162 h 11747497"/>
              <a:gd name="connsiteX2327" fmla="*/ 1158731 w 4838702"/>
              <a:gd name="connsiteY2327" fmla="*/ 1099 h 11747497"/>
              <a:gd name="connsiteX2328" fmla="*/ 1144974 w 4838702"/>
              <a:gd name="connsiteY2328" fmla="*/ 14162 h 11747497"/>
              <a:gd name="connsiteX2329" fmla="*/ 1099099 w 4838702"/>
              <a:gd name="connsiteY2329" fmla="*/ 7581 h 11747497"/>
              <a:gd name="connsiteX2330" fmla="*/ 1080738 w 4838702"/>
              <a:gd name="connsiteY2330" fmla="*/ 14162 h 11747497"/>
              <a:gd name="connsiteX2331" fmla="*/ 1076135 w 4838702"/>
              <a:gd name="connsiteY2331" fmla="*/ 7581 h 11747497"/>
              <a:gd name="connsiteX2332" fmla="*/ 1053172 w 4838702"/>
              <a:gd name="connsiteY2332" fmla="*/ 14162 h 11747497"/>
              <a:gd name="connsiteX2333" fmla="*/ 1021053 w 4838702"/>
              <a:gd name="connsiteY2333" fmla="*/ 7581 h 11747497"/>
              <a:gd name="connsiteX2334" fmla="*/ 952214 w 4838702"/>
              <a:gd name="connsiteY2334" fmla="*/ 7581 h 11747497"/>
              <a:gd name="connsiteX2335" fmla="*/ 933854 w 4838702"/>
              <a:gd name="connsiteY2335" fmla="*/ 1099 h 11747497"/>
              <a:gd name="connsiteX2336" fmla="*/ 915493 w 4838702"/>
              <a:gd name="connsiteY2336" fmla="*/ 14162 h 11747497"/>
              <a:gd name="connsiteX2337" fmla="*/ 910890 w 4838702"/>
              <a:gd name="connsiteY2337" fmla="*/ 7581 h 11747497"/>
              <a:gd name="connsiteX2338" fmla="*/ 819087 w 4838702"/>
              <a:gd name="connsiteY2338" fmla="*/ 7581 h 11747497"/>
              <a:gd name="connsiteX2339" fmla="*/ 805330 w 4838702"/>
              <a:gd name="connsiteY2339" fmla="*/ 1099 h 11747497"/>
              <a:gd name="connsiteX2340" fmla="*/ 786969 w 4838702"/>
              <a:gd name="connsiteY2340" fmla="*/ 7581 h 11747497"/>
              <a:gd name="connsiteX2341" fmla="*/ 764006 w 4838702"/>
              <a:gd name="connsiteY2341" fmla="*/ 1099 h 11747497"/>
              <a:gd name="connsiteX2342" fmla="*/ 759402 w 4838702"/>
              <a:gd name="connsiteY2342" fmla="*/ 7581 h 11747497"/>
              <a:gd name="connsiteX2343" fmla="*/ 708924 w 4838702"/>
              <a:gd name="connsiteY2343" fmla="*/ 1099 h 11747497"/>
              <a:gd name="connsiteX2344" fmla="*/ 690564 w 4838702"/>
              <a:gd name="connsiteY2344" fmla="*/ 7581 h 11747497"/>
              <a:gd name="connsiteX2345" fmla="*/ 644637 w 4838702"/>
              <a:gd name="connsiteY2345" fmla="*/ 7581 h 11747497"/>
              <a:gd name="connsiteX2346" fmla="*/ 626276 w 4838702"/>
              <a:gd name="connsiteY2346" fmla="*/ 7581 h 11747497"/>
              <a:gd name="connsiteX2347" fmla="*/ 575797 w 4838702"/>
              <a:gd name="connsiteY2347" fmla="*/ 14162 h 11747497"/>
              <a:gd name="connsiteX2348" fmla="*/ 557437 w 4838702"/>
              <a:gd name="connsiteY2348" fmla="*/ 7581 h 11747497"/>
              <a:gd name="connsiteX2349" fmla="*/ 539076 w 4838702"/>
              <a:gd name="connsiteY2349" fmla="*/ 14162 h 11747497"/>
              <a:gd name="connsiteX2350" fmla="*/ 525319 w 4838702"/>
              <a:gd name="connsiteY2350" fmla="*/ 7581 h 11747497"/>
              <a:gd name="connsiteX2351" fmla="*/ 506958 w 4838702"/>
              <a:gd name="connsiteY2351" fmla="*/ 14162 h 11747497"/>
              <a:gd name="connsiteX2352" fmla="*/ 497803 w 4838702"/>
              <a:gd name="connsiteY2352" fmla="*/ 14162 h 11747497"/>
              <a:gd name="connsiteX2353" fmla="*/ 474840 w 4838702"/>
              <a:gd name="connsiteY2353" fmla="*/ 14162 h 11747497"/>
              <a:gd name="connsiteX2354" fmla="*/ 470237 w 4838702"/>
              <a:gd name="connsiteY2354" fmla="*/ 7581 h 11747497"/>
              <a:gd name="connsiteX2355" fmla="*/ 470237 w 4838702"/>
              <a:gd name="connsiteY2355" fmla="*/ 14162 h 11747497"/>
              <a:gd name="connsiteX2356" fmla="*/ 461031 w 4838702"/>
              <a:gd name="connsiteY2356" fmla="*/ 14162 h 11747497"/>
              <a:gd name="connsiteX2357" fmla="*/ 350920 w 4838702"/>
              <a:gd name="connsiteY2357" fmla="*/ 14162 h 11747497"/>
              <a:gd name="connsiteX2358" fmla="*/ 337162 w 4838702"/>
              <a:gd name="connsiteY2358" fmla="*/ 20744 h 11747497"/>
              <a:gd name="connsiteX2359" fmla="*/ 360126 w 4838702"/>
              <a:gd name="connsiteY2359" fmla="*/ 46970 h 11747497"/>
              <a:gd name="connsiteX2360" fmla="*/ 282080 w 4838702"/>
              <a:gd name="connsiteY2360" fmla="*/ 66615 h 11747497"/>
              <a:gd name="connsiteX2361" fmla="*/ 249962 w 4838702"/>
              <a:gd name="connsiteY2361" fmla="*/ 66615 h 11747497"/>
              <a:gd name="connsiteX2362" fmla="*/ 213241 w 4838702"/>
              <a:gd name="connsiteY2362" fmla="*/ 66615 h 11747497"/>
              <a:gd name="connsiteX2363" fmla="*/ 199484 w 4838702"/>
              <a:gd name="connsiteY2363" fmla="*/ 73097 h 11747497"/>
              <a:gd name="connsiteX2364" fmla="*/ 135248 w 4838702"/>
              <a:gd name="connsiteY2364" fmla="*/ 73097 h 11747497"/>
              <a:gd name="connsiteX2365" fmla="*/ 126041 w 4838702"/>
              <a:gd name="connsiteY2365" fmla="*/ 79678 h 11747497"/>
              <a:gd name="connsiteX2366" fmla="*/ 120663 w 4838702"/>
              <a:gd name="connsiteY2366" fmla="*/ 76088 h 11747497"/>
              <a:gd name="connsiteX2367" fmla="*/ 123145 w 4838702"/>
              <a:gd name="connsiteY2367" fmla="*/ 101717 h 11747497"/>
              <a:gd name="connsiteX2368" fmla="*/ 121697 w 4838702"/>
              <a:gd name="connsiteY2368" fmla="*/ 351215 h 11747497"/>
              <a:gd name="connsiteX2369" fmla="*/ 112594 w 4838702"/>
              <a:gd name="connsiteY2369" fmla="*/ 350917 h 11747497"/>
              <a:gd name="connsiteX2370" fmla="*/ 112181 w 4838702"/>
              <a:gd name="connsiteY2370" fmla="*/ 420222 h 11747497"/>
              <a:gd name="connsiteX2371" fmla="*/ 117559 w 4838702"/>
              <a:gd name="connsiteY2371" fmla="*/ 434283 h 11747497"/>
              <a:gd name="connsiteX2372" fmla="*/ 114767 w 4838702"/>
              <a:gd name="connsiteY2372" fmla="*/ 600517 h 11747497"/>
              <a:gd name="connsiteX2373" fmla="*/ 92837 w 4838702"/>
              <a:gd name="connsiteY2373" fmla="*/ 627640 h 11747497"/>
              <a:gd name="connsiteX2374" fmla="*/ 93562 w 4838702"/>
              <a:gd name="connsiteY2374" fmla="*/ 502891 h 11747497"/>
              <a:gd name="connsiteX2375" fmla="*/ 100906 w 4838702"/>
              <a:gd name="connsiteY2375" fmla="*/ 489228 h 11747497"/>
              <a:gd name="connsiteX2376" fmla="*/ 101319 w 4838702"/>
              <a:gd name="connsiteY2376" fmla="*/ 419924 h 11747497"/>
              <a:gd name="connsiteX2377" fmla="*/ 103285 w 4838702"/>
              <a:gd name="connsiteY2377" fmla="*/ 392301 h 11747497"/>
              <a:gd name="connsiteX2378" fmla="*/ 103388 w 4838702"/>
              <a:gd name="connsiteY2378" fmla="*/ 378440 h 11747497"/>
              <a:gd name="connsiteX2379" fmla="*/ 103699 w 4838702"/>
              <a:gd name="connsiteY2379" fmla="*/ 322995 h 11747497"/>
              <a:gd name="connsiteX2380" fmla="*/ 105923 w 4838702"/>
              <a:gd name="connsiteY2380" fmla="*/ 253790 h 11747497"/>
              <a:gd name="connsiteX2381" fmla="*/ 106077 w 4838702"/>
              <a:gd name="connsiteY2381" fmla="*/ 226067 h 11747497"/>
              <a:gd name="connsiteX2382" fmla="*/ 106491 w 4838702"/>
              <a:gd name="connsiteY2382" fmla="*/ 156761 h 11747497"/>
              <a:gd name="connsiteX2383" fmla="*/ 110267 w 4838702"/>
              <a:gd name="connsiteY2383" fmla="*/ 129140 h 11747497"/>
              <a:gd name="connsiteX2384" fmla="*/ 114042 w 4838702"/>
              <a:gd name="connsiteY2384" fmla="*/ 101517 h 11747497"/>
              <a:gd name="connsiteX2385" fmla="*/ 115956 w 4838702"/>
              <a:gd name="connsiteY2385" fmla="*/ 87756 h 11747497"/>
              <a:gd name="connsiteX2386" fmla="*/ 116060 w 4838702"/>
              <a:gd name="connsiteY2386" fmla="*/ 73596 h 11747497"/>
              <a:gd name="connsiteX2387" fmla="*/ 107629 w 4838702"/>
              <a:gd name="connsiteY2387" fmla="*/ 79777 h 11747497"/>
              <a:gd name="connsiteX2388" fmla="*/ 93872 w 4838702"/>
              <a:gd name="connsiteY2388" fmla="*/ 73197 h 11747497"/>
              <a:gd name="connsiteX2389" fmla="*/ 89269 w 4838702"/>
              <a:gd name="connsiteY2389" fmla="*/ 79777 h 11747497"/>
              <a:gd name="connsiteX2390" fmla="*/ 61805 w 4838702"/>
              <a:gd name="connsiteY2390" fmla="*/ 86359 h 11747497"/>
              <a:gd name="connsiteX2391" fmla="*/ 59323 w 4838702"/>
              <a:gd name="connsiteY2391" fmla="*/ 141604 h 11747497"/>
              <a:gd name="connsiteX2392" fmla="*/ 61443 w 4838702"/>
              <a:gd name="connsiteY2392" fmla="*/ 86260 h 11747497"/>
              <a:gd name="connsiteX2393" fmla="*/ 52547 w 4838702"/>
              <a:gd name="connsiteY2393" fmla="*/ 79777 h 11747497"/>
              <a:gd name="connsiteX2394" fmla="*/ 47996 w 4838702"/>
              <a:gd name="connsiteY2394" fmla="*/ 86359 h 11747497"/>
              <a:gd name="connsiteX2395" fmla="*/ 36204 w 4838702"/>
              <a:gd name="connsiteY2395" fmla="*/ 88753 h 11747497"/>
              <a:gd name="connsiteX2396" fmla="*/ 36049 w 4838702"/>
              <a:gd name="connsiteY2396" fmla="*/ 112685 h 11747497"/>
              <a:gd name="connsiteX2397" fmla="*/ 30049 w 4838702"/>
              <a:gd name="connsiteY2397" fmla="*/ 133926 h 11747497"/>
              <a:gd name="connsiteX2398" fmla="*/ 34394 w 4838702"/>
              <a:gd name="connsiteY2398" fmla="*/ 138214 h 11747497"/>
              <a:gd name="connsiteX2399" fmla="*/ 29739 w 4838702"/>
              <a:gd name="connsiteY2399" fmla="*/ 137018 h 11747497"/>
              <a:gd name="connsiteX2400" fmla="*/ 26429 w 4838702"/>
              <a:gd name="connsiteY2400" fmla="*/ 209513 h 11747497"/>
              <a:gd name="connsiteX2401" fmla="*/ 35273 w 4838702"/>
              <a:gd name="connsiteY2401" fmla="*/ 251297 h 11747497"/>
              <a:gd name="connsiteX2402" fmla="*/ 34498 w 4838702"/>
              <a:gd name="connsiteY2402" fmla="*/ 389907 h 11747497"/>
              <a:gd name="connsiteX2403" fmla="*/ 41428 w 4838702"/>
              <a:gd name="connsiteY2403" fmla="*/ 445551 h 11747497"/>
              <a:gd name="connsiteX2404" fmla="*/ 41169 w 4838702"/>
              <a:gd name="connsiteY2404" fmla="*/ 487135 h 11747497"/>
              <a:gd name="connsiteX2405" fmla="*/ 40755 w 4838702"/>
              <a:gd name="connsiteY2405" fmla="*/ 556439 h 11747497"/>
              <a:gd name="connsiteX2406" fmla="*/ 35015 w 4838702"/>
              <a:gd name="connsiteY2406" fmla="*/ 611685 h 11747497"/>
              <a:gd name="connsiteX2407" fmla="*/ 34859 w 4838702"/>
              <a:gd name="connsiteY2407" fmla="*/ 639407 h 11747497"/>
              <a:gd name="connsiteX2408" fmla="*/ 32946 w 4838702"/>
              <a:gd name="connsiteY2408" fmla="*/ 653168 h 11747497"/>
              <a:gd name="connsiteX2409" fmla="*/ 34601 w 4838702"/>
              <a:gd name="connsiteY2409" fmla="*/ 680890 h 11747497"/>
              <a:gd name="connsiteX2410" fmla="*/ 35946 w 4838702"/>
              <a:gd name="connsiteY2410" fmla="*/ 764057 h 11747497"/>
              <a:gd name="connsiteX2411" fmla="*/ 29636 w 4838702"/>
              <a:gd name="connsiteY2411" fmla="*/ 916430 h 11747497"/>
              <a:gd name="connsiteX2412" fmla="*/ 20482 w 4838702"/>
              <a:gd name="connsiteY2412" fmla="*/ 929991 h 11747497"/>
              <a:gd name="connsiteX2413" fmla="*/ 20067 w 4838702"/>
              <a:gd name="connsiteY2413" fmla="*/ 999296 h 11747497"/>
              <a:gd name="connsiteX2414" fmla="*/ 16447 w 4838702"/>
              <a:gd name="connsiteY2414" fmla="*/ 999197 h 11747497"/>
              <a:gd name="connsiteX2415" fmla="*/ 14016 w 4838702"/>
              <a:gd name="connsiteY2415" fmla="*/ 1109985 h 11747497"/>
              <a:gd name="connsiteX2416" fmla="*/ 8586 w 4838702"/>
              <a:gd name="connsiteY2416" fmla="*/ 1109787 h 11747497"/>
              <a:gd name="connsiteX2417" fmla="*/ 10086 w 4838702"/>
              <a:gd name="connsiteY2417" fmla="*/ 1165230 h 11747497"/>
              <a:gd name="connsiteX2418" fmla="*/ 6155 w 4838702"/>
              <a:gd name="connsiteY2418" fmla="*/ 1220575 h 11747497"/>
              <a:gd name="connsiteX2419" fmla="*/ 11378 w 4838702"/>
              <a:gd name="connsiteY2419" fmla="*/ 1262358 h 11747497"/>
              <a:gd name="connsiteX2420" fmla="*/ 10810 w 4838702"/>
              <a:gd name="connsiteY2420" fmla="*/ 1359386 h 11747497"/>
              <a:gd name="connsiteX2421" fmla="*/ 6465 w 4838702"/>
              <a:gd name="connsiteY2421" fmla="*/ 1369457 h 11747497"/>
              <a:gd name="connsiteX2422" fmla="*/ 6879 w 4838702"/>
              <a:gd name="connsiteY2422" fmla="*/ 1368759 h 11747497"/>
              <a:gd name="connsiteX2423" fmla="*/ 20636 w 4838702"/>
              <a:gd name="connsiteY2423" fmla="*/ 1368759 h 11747497"/>
              <a:gd name="connsiteX2424" fmla="*/ 25240 w 4838702"/>
              <a:gd name="connsiteY2424" fmla="*/ 1375341 h 11747497"/>
              <a:gd name="connsiteX2425" fmla="*/ 31342 w 4838702"/>
              <a:gd name="connsiteY2425" fmla="*/ 1375839 h 11747497"/>
              <a:gd name="connsiteX2426" fmla="*/ 31342 w 4838702"/>
              <a:gd name="connsiteY2426" fmla="*/ 1410243 h 11747497"/>
              <a:gd name="connsiteX2427" fmla="*/ 25240 w 4838702"/>
              <a:gd name="connsiteY2427" fmla="*/ 1421211 h 11747497"/>
              <a:gd name="connsiteX2428" fmla="*/ 31342 w 4838702"/>
              <a:gd name="connsiteY2428" fmla="*/ 1425001 h 11747497"/>
              <a:gd name="connsiteX2429" fmla="*/ 31342 w 4838702"/>
              <a:gd name="connsiteY2429" fmla="*/ 1433477 h 11747497"/>
              <a:gd name="connsiteX2430" fmla="*/ 3982 w 4838702"/>
              <a:gd name="connsiteY2430" fmla="*/ 1430486 h 11747497"/>
              <a:gd name="connsiteX2431" fmla="*/ 3052 w 4838702"/>
              <a:gd name="connsiteY2431" fmla="*/ 1451726 h 11747497"/>
              <a:gd name="connsiteX2432" fmla="*/ 20689 w 4838702"/>
              <a:gd name="connsiteY2432" fmla="*/ 1473564 h 11747497"/>
              <a:gd name="connsiteX2433" fmla="*/ 23274 w 4838702"/>
              <a:gd name="connsiteY2433" fmla="*/ 1473066 h 11747497"/>
              <a:gd name="connsiteX2434" fmla="*/ 28032 w 4838702"/>
              <a:gd name="connsiteY2434" fmla="*/ 1472469 h 11747497"/>
              <a:gd name="connsiteX2435" fmla="*/ 31395 w 4838702"/>
              <a:gd name="connsiteY2435" fmla="*/ 1472568 h 11747497"/>
              <a:gd name="connsiteX2436" fmla="*/ 31395 w 4838702"/>
              <a:gd name="connsiteY2436" fmla="*/ 1511359 h 11747497"/>
              <a:gd name="connsiteX2437" fmla="*/ 16137 w 4838702"/>
              <a:gd name="connsiteY2437" fmla="*/ 1506273 h 11747497"/>
              <a:gd name="connsiteX2438" fmla="*/ 725 w 4838702"/>
              <a:gd name="connsiteY2438" fmla="*/ 1498993 h 11747497"/>
              <a:gd name="connsiteX2439" fmla="*/ 0 w 4838702"/>
              <a:gd name="connsiteY2439" fmla="*/ 1526118 h 11747497"/>
              <a:gd name="connsiteX2440" fmla="*/ 2431 w 4838702"/>
              <a:gd name="connsiteY2440" fmla="*/ 1525917 h 11747497"/>
              <a:gd name="connsiteX2441" fmla="*/ 7034 w 4838702"/>
              <a:gd name="connsiteY2441" fmla="*/ 1532500 h 11747497"/>
              <a:gd name="connsiteX2442" fmla="*/ 29998 w 4838702"/>
              <a:gd name="connsiteY2442" fmla="*/ 1539082 h 11747497"/>
              <a:gd name="connsiteX2443" fmla="*/ 31498 w 4838702"/>
              <a:gd name="connsiteY2443" fmla="*/ 1539679 h 11747497"/>
              <a:gd name="connsiteX2444" fmla="*/ 31498 w 4838702"/>
              <a:gd name="connsiteY2444" fmla="*/ 1739319 h 11747497"/>
              <a:gd name="connsiteX2445" fmla="*/ 34135 w 4838702"/>
              <a:gd name="connsiteY2445" fmla="*/ 1748294 h 11747497"/>
              <a:gd name="connsiteX2446" fmla="*/ 31498 w 4838702"/>
              <a:gd name="connsiteY2446" fmla="*/ 1784292 h 11747497"/>
              <a:gd name="connsiteX2447" fmla="*/ 31498 w 4838702"/>
              <a:gd name="connsiteY2447" fmla="*/ 2150564 h 11747497"/>
              <a:gd name="connsiteX2448" fmla="*/ 31704 w 4838702"/>
              <a:gd name="connsiteY2448" fmla="*/ 2113767 h 11747497"/>
              <a:gd name="connsiteX2449" fmla="*/ 35066 w 4838702"/>
              <a:gd name="connsiteY2449" fmla="*/ 2023620 h 11747497"/>
              <a:gd name="connsiteX2450" fmla="*/ 35428 w 4838702"/>
              <a:gd name="connsiteY2450" fmla="*/ 1958603 h 11747497"/>
              <a:gd name="connsiteX2451" fmla="*/ 40497 w 4838702"/>
              <a:gd name="connsiteY2451" fmla="*/ 1900965 h 11747497"/>
              <a:gd name="connsiteX2452" fmla="*/ 46548 w 4838702"/>
              <a:gd name="connsiteY2452" fmla="*/ 1836246 h 11747497"/>
              <a:gd name="connsiteX2453" fmla="*/ 47634 w 4838702"/>
              <a:gd name="connsiteY2453" fmla="*/ 1928887 h 11747497"/>
              <a:gd name="connsiteX2454" fmla="*/ 45048 w 4838702"/>
              <a:gd name="connsiteY2454" fmla="*/ 2067498 h 11747497"/>
              <a:gd name="connsiteX2455" fmla="*/ 43135 w 4838702"/>
              <a:gd name="connsiteY2455" fmla="*/ 2081259 h 11747497"/>
              <a:gd name="connsiteX2456" fmla="*/ 44635 w 4838702"/>
              <a:gd name="connsiteY2456" fmla="*/ 2136703 h 11747497"/>
              <a:gd name="connsiteX2457" fmla="*/ 42721 w 4838702"/>
              <a:gd name="connsiteY2457" fmla="*/ 2150465 h 11747497"/>
              <a:gd name="connsiteX2458" fmla="*/ 43962 w 4838702"/>
              <a:gd name="connsiteY2458" fmla="*/ 2247592 h 11747497"/>
              <a:gd name="connsiteX2459" fmla="*/ 43652 w 4838702"/>
              <a:gd name="connsiteY2459" fmla="*/ 2303036 h 11747497"/>
              <a:gd name="connsiteX2460" fmla="*/ 37962 w 4838702"/>
              <a:gd name="connsiteY2460" fmla="*/ 2344421 h 11747497"/>
              <a:gd name="connsiteX2461" fmla="*/ 35532 w 4838702"/>
              <a:gd name="connsiteY2461" fmla="*/ 2455309 h 11747497"/>
              <a:gd name="connsiteX2462" fmla="*/ 31498 w 4838702"/>
              <a:gd name="connsiteY2462" fmla="*/ 2453015 h 11747497"/>
              <a:gd name="connsiteX2463" fmla="*/ 31498 w 4838702"/>
              <a:gd name="connsiteY2463" fmla="*/ 2489911 h 11747497"/>
              <a:gd name="connsiteX2464" fmla="*/ 35377 w 4838702"/>
              <a:gd name="connsiteY2464" fmla="*/ 2483031 h 11747497"/>
              <a:gd name="connsiteX2465" fmla="*/ 34911 w 4838702"/>
              <a:gd name="connsiteY2465" fmla="*/ 2566197 h 11747497"/>
              <a:gd name="connsiteX2466" fmla="*/ 31498 w 4838702"/>
              <a:gd name="connsiteY2466" fmla="*/ 2568491 h 11747497"/>
              <a:gd name="connsiteX2467" fmla="*/ 31498 w 4838702"/>
              <a:gd name="connsiteY2467" fmla="*/ 2621542 h 11747497"/>
              <a:gd name="connsiteX2468" fmla="*/ 34601 w 4838702"/>
              <a:gd name="connsiteY2468" fmla="*/ 2621641 h 11747497"/>
              <a:gd name="connsiteX2469" fmla="*/ 34445 w 4838702"/>
              <a:gd name="connsiteY2469" fmla="*/ 2649364 h 11747497"/>
              <a:gd name="connsiteX2470" fmla="*/ 31498 w 4838702"/>
              <a:gd name="connsiteY2470" fmla="*/ 2649265 h 11747497"/>
              <a:gd name="connsiteX2471" fmla="*/ 31498 w 4838702"/>
              <a:gd name="connsiteY2471" fmla="*/ 2722957 h 11747497"/>
              <a:gd name="connsiteX2472" fmla="*/ 33980 w 4838702"/>
              <a:gd name="connsiteY2472" fmla="*/ 2732531 h 11747497"/>
              <a:gd name="connsiteX2473" fmla="*/ 31498 w 4838702"/>
              <a:gd name="connsiteY2473" fmla="*/ 2792463 h 11747497"/>
              <a:gd name="connsiteX2474" fmla="*/ 31498 w 4838702"/>
              <a:gd name="connsiteY2474" fmla="*/ 3407136 h 11747497"/>
              <a:gd name="connsiteX2475" fmla="*/ 35377 w 4838702"/>
              <a:gd name="connsiteY2475" fmla="*/ 3439645 h 11747497"/>
              <a:gd name="connsiteX2476" fmla="*/ 31498 w 4838702"/>
              <a:gd name="connsiteY2476" fmla="*/ 3505959 h 11747497"/>
              <a:gd name="connsiteX2477" fmla="*/ 31498 w 4838702"/>
              <a:gd name="connsiteY2477" fmla="*/ 3592017 h 11747497"/>
              <a:gd name="connsiteX2478" fmla="*/ 40031 w 4838702"/>
              <a:gd name="connsiteY2478" fmla="*/ 3578455 h 11747497"/>
              <a:gd name="connsiteX2479" fmla="*/ 34652 w 4838702"/>
              <a:gd name="connsiteY2479" fmla="*/ 3564396 h 11747497"/>
              <a:gd name="connsiteX2480" fmla="*/ 45721 w 4838702"/>
              <a:gd name="connsiteY2480" fmla="*/ 3536973 h 11747497"/>
              <a:gd name="connsiteX2481" fmla="*/ 42307 w 4838702"/>
              <a:gd name="connsiteY2481" fmla="*/ 3495288 h 11747497"/>
              <a:gd name="connsiteX2482" fmla="*/ 53375 w 4838702"/>
              <a:gd name="connsiteY2482" fmla="*/ 3467865 h 11747497"/>
              <a:gd name="connsiteX2483" fmla="*/ 51151 w 4838702"/>
              <a:gd name="connsiteY2483" fmla="*/ 3537072 h 11747497"/>
              <a:gd name="connsiteX2484" fmla="*/ 54720 w 4838702"/>
              <a:gd name="connsiteY2484" fmla="*/ 3551033 h 11747497"/>
              <a:gd name="connsiteX2485" fmla="*/ 49134 w 4838702"/>
              <a:gd name="connsiteY2485" fmla="*/ 3578555 h 11747497"/>
              <a:gd name="connsiteX2486" fmla="*/ 50479 w 4838702"/>
              <a:gd name="connsiteY2486" fmla="*/ 3661821 h 11747497"/>
              <a:gd name="connsiteX2487" fmla="*/ 54255 w 4838702"/>
              <a:gd name="connsiteY2487" fmla="*/ 3634200 h 11747497"/>
              <a:gd name="connsiteX2488" fmla="*/ 57875 w 4838702"/>
              <a:gd name="connsiteY2488" fmla="*/ 3634299 h 11747497"/>
              <a:gd name="connsiteX2489" fmla="*/ 58030 w 4838702"/>
              <a:gd name="connsiteY2489" fmla="*/ 3606577 h 11747497"/>
              <a:gd name="connsiteX2490" fmla="*/ 63564 w 4838702"/>
              <a:gd name="connsiteY2490" fmla="*/ 3592815 h 11747497"/>
              <a:gd name="connsiteX2491" fmla="*/ 58288 w 4838702"/>
              <a:gd name="connsiteY2491" fmla="*/ 3564993 h 11747497"/>
              <a:gd name="connsiteX2492" fmla="*/ 69253 w 4838702"/>
              <a:gd name="connsiteY2492" fmla="*/ 3551431 h 11747497"/>
              <a:gd name="connsiteX2493" fmla="*/ 70753 w 4838702"/>
              <a:gd name="connsiteY2493" fmla="*/ 3606876 h 11747497"/>
              <a:gd name="connsiteX2494" fmla="*/ 66977 w 4838702"/>
              <a:gd name="connsiteY2494" fmla="*/ 3634498 h 11747497"/>
              <a:gd name="connsiteX2495" fmla="*/ 68064 w 4838702"/>
              <a:gd name="connsiteY2495" fmla="*/ 3759249 h 11747497"/>
              <a:gd name="connsiteX2496" fmla="*/ 66460 w 4838702"/>
              <a:gd name="connsiteY2496" fmla="*/ 3717566 h 11747497"/>
              <a:gd name="connsiteX2497" fmla="*/ 63047 w 4838702"/>
              <a:gd name="connsiteY2497" fmla="*/ 3675883 h 11747497"/>
              <a:gd name="connsiteX2498" fmla="*/ 61392 w 4838702"/>
              <a:gd name="connsiteY2498" fmla="*/ 3648160 h 11747497"/>
              <a:gd name="connsiteX2499" fmla="*/ 57772 w 4838702"/>
              <a:gd name="connsiteY2499" fmla="*/ 3648060 h 11747497"/>
              <a:gd name="connsiteX2500" fmla="*/ 57202 w 4838702"/>
              <a:gd name="connsiteY2500" fmla="*/ 3745088 h 11747497"/>
              <a:gd name="connsiteX2501" fmla="*/ 56478 w 4838702"/>
              <a:gd name="connsiteY2501" fmla="*/ 3869837 h 11747497"/>
              <a:gd name="connsiteX2502" fmla="*/ 57978 w 4838702"/>
              <a:gd name="connsiteY2502" fmla="*/ 3925282 h 11747497"/>
              <a:gd name="connsiteX2503" fmla="*/ 54668 w 4838702"/>
              <a:gd name="connsiteY2503" fmla="*/ 4188542 h 11747497"/>
              <a:gd name="connsiteX2504" fmla="*/ 69357 w 4838702"/>
              <a:gd name="connsiteY2504" fmla="*/ 4161219 h 11747497"/>
              <a:gd name="connsiteX2505" fmla="*/ 68115 w 4838702"/>
              <a:gd name="connsiteY2505" fmla="*/ 4064092 h 11747497"/>
              <a:gd name="connsiteX2506" fmla="*/ 70184 w 4838702"/>
              <a:gd name="connsiteY2506" fmla="*/ 4022509 h 11747497"/>
              <a:gd name="connsiteX2507" fmla="*/ 70339 w 4838702"/>
              <a:gd name="connsiteY2507" fmla="*/ 3994787 h 11747497"/>
              <a:gd name="connsiteX2508" fmla="*/ 70598 w 4838702"/>
              <a:gd name="connsiteY2508" fmla="*/ 3953203 h 11747497"/>
              <a:gd name="connsiteX2509" fmla="*/ 73029 w 4838702"/>
              <a:gd name="connsiteY2509" fmla="*/ 3842414 h 11747497"/>
              <a:gd name="connsiteX2510" fmla="*/ 75149 w 4838702"/>
              <a:gd name="connsiteY2510" fmla="*/ 3787070 h 11747497"/>
              <a:gd name="connsiteX2511" fmla="*/ 85545 w 4838702"/>
              <a:gd name="connsiteY2511" fmla="*/ 3870535 h 11747497"/>
              <a:gd name="connsiteX2512" fmla="*/ 85855 w 4838702"/>
              <a:gd name="connsiteY2512" fmla="*/ 3815091 h 11747497"/>
              <a:gd name="connsiteX2513" fmla="*/ 87924 w 4838702"/>
              <a:gd name="connsiteY2513" fmla="*/ 3773509 h 11747497"/>
              <a:gd name="connsiteX2514" fmla="*/ 86320 w 4838702"/>
              <a:gd name="connsiteY2514" fmla="*/ 3731925 h 11747497"/>
              <a:gd name="connsiteX2515" fmla="*/ 87407 w 4838702"/>
              <a:gd name="connsiteY2515" fmla="*/ 3537870 h 11747497"/>
              <a:gd name="connsiteX2516" fmla="*/ 86010 w 4838702"/>
              <a:gd name="connsiteY2516" fmla="*/ 3468564 h 11747497"/>
              <a:gd name="connsiteX2517" fmla="*/ 87924 w 4838702"/>
              <a:gd name="connsiteY2517" fmla="*/ 3454703 h 11747497"/>
              <a:gd name="connsiteX2518" fmla="*/ 90769 w 4838702"/>
              <a:gd name="connsiteY2518" fmla="*/ 3274608 h 11747497"/>
              <a:gd name="connsiteX2519" fmla="*/ 95837 w 4838702"/>
              <a:gd name="connsiteY2519" fmla="*/ 3344013 h 11747497"/>
              <a:gd name="connsiteX2520" fmla="*/ 99613 w 4838702"/>
              <a:gd name="connsiteY2520" fmla="*/ 3316391 h 11747497"/>
              <a:gd name="connsiteX2521" fmla="*/ 108715 w 4838702"/>
              <a:gd name="connsiteY2521" fmla="*/ 3316690 h 11747497"/>
              <a:gd name="connsiteX2522" fmla="*/ 107267 w 4838702"/>
              <a:gd name="connsiteY2522" fmla="*/ 3247385 h 11747497"/>
              <a:gd name="connsiteX2523" fmla="*/ 98009 w 4838702"/>
              <a:gd name="connsiteY2523" fmla="*/ 3274907 h 11747497"/>
              <a:gd name="connsiteX2524" fmla="*/ 100389 w 4838702"/>
              <a:gd name="connsiteY2524" fmla="*/ 3177980 h 11747497"/>
              <a:gd name="connsiteX2525" fmla="*/ 105767 w 4838702"/>
              <a:gd name="connsiteY2525" fmla="*/ 3191940 h 11747497"/>
              <a:gd name="connsiteX2526" fmla="*/ 109698 w 4838702"/>
              <a:gd name="connsiteY2526" fmla="*/ 3136596 h 11747497"/>
              <a:gd name="connsiteX2527" fmla="*/ 111042 w 4838702"/>
              <a:gd name="connsiteY2527" fmla="*/ 3219762 h 11747497"/>
              <a:gd name="connsiteX2528" fmla="*/ 117094 w 4838702"/>
              <a:gd name="connsiteY2528" fmla="*/ 3109073 h 11747497"/>
              <a:gd name="connsiteX2529" fmla="*/ 100906 w 4838702"/>
              <a:gd name="connsiteY2529" fmla="*/ 3080852 h 11747497"/>
              <a:gd name="connsiteX2530" fmla="*/ 95320 w 4838702"/>
              <a:gd name="connsiteY2530" fmla="*/ 3108376 h 11747497"/>
              <a:gd name="connsiteX2531" fmla="*/ 86631 w 4838702"/>
              <a:gd name="connsiteY2531" fmla="*/ 3038870 h 11747497"/>
              <a:gd name="connsiteX2532" fmla="*/ 89062 w 4838702"/>
              <a:gd name="connsiteY2532" fmla="*/ 2927981 h 11747497"/>
              <a:gd name="connsiteX2533" fmla="*/ 105509 w 4838702"/>
              <a:gd name="connsiteY2533" fmla="*/ 2914619 h 11747497"/>
              <a:gd name="connsiteX2534" fmla="*/ 104940 w 4838702"/>
              <a:gd name="connsiteY2534" fmla="*/ 3011647 h 11747497"/>
              <a:gd name="connsiteX2535" fmla="*/ 112129 w 4838702"/>
              <a:gd name="connsiteY2535" fmla="*/ 3025707 h 11747497"/>
              <a:gd name="connsiteX2536" fmla="*/ 115904 w 4838702"/>
              <a:gd name="connsiteY2536" fmla="*/ 2998085 h 11747497"/>
              <a:gd name="connsiteX2537" fmla="*/ 112491 w 4838702"/>
              <a:gd name="connsiteY2537" fmla="*/ 2956402 h 11747497"/>
              <a:gd name="connsiteX2538" fmla="*/ 109698 w 4838702"/>
              <a:gd name="connsiteY2538" fmla="*/ 2803830 h 11747497"/>
              <a:gd name="connsiteX2539" fmla="*/ 107578 w 4838702"/>
              <a:gd name="connsiteY2539" fmla="*/ 2859275 h 11747497"/>
              <a:gd name="connsiteX2540" fmla="*/ 106130 w 4838702"/>
              <a:gd name="connsiteY2540" fmla="*/ 2789869 h 11747497"/>
              <a:gd name="connsiteX2541" fmla="*/ 96975 w 4838702"/>
              <a:gd name="connsiteY2541" fmla="*/ 2803530 h 11747497"/>
              <a:gd name="connsiteX2542" fmla="*/ 93096 w 4838702"/>
              <a:gd name="connsiteY2542" fmla="*/ 2845015 h 11747497"/>
              <a:gd name="connsiteX2543" fmla="*/ 93406 w 4838702"/>
              <a:gd name="connsiteY2543" fmla="*/ 2789570 h 11747497"/>
              <a:gd name="connsiteX2544" fmla="*/ 95475 w 4838702"/>
              <a:gd name="connsiteY2544" fmla="*/ 2748087 h 11747497"/>
              <a:gd name="connsiteX2545" fmla="*/ 93923 w 4838702"/>
              <a:gd name="connsiteY2545" fmla="*/ 2706404 h 11747497"/>
              <a:gd name="connsiteX2546" fmla="*/ 96923 w 4838702"/>
              <a:gd name="connsiteY2546" fmla="*/ 2498587 h 11747497"/>
              <a:gd name="connsiteX2547" fmla="*/ 100543 w 4838702"/>
              <a:gd name="connsiteY2547" fmla="*/ 2498686 h 11747497"/>
              <a:gd name="connsiteX2548" fmla="*/ 99457 w 4838702"/>
              <a:gd name="connsiteY2548" fmla="*/ 2373937 h 11747497"/>
              <a:gd name="connsiteX2549" fmla="*/ 104733 w 4838702"/>
              <a:gd name="connsiteY2549" fmla="*/ 2401759 h 11747497"/>
              <a:gd name="connsiteX2550" fmla="*/ 110267 w 4838702"/>
              <a:gd name="connsiteY2550" fmla="*/ 2387997 h 11747497"/>
              <a:gd name="connsiteX2551" fmla="*/ 113836 w 4838702"/>
              <a:gd name="connsiteY2551" fmla="*/ 2401959 h 11747497"/>
              <a:gd name="connsiteX2552" fmla="*/ 124800 w 4838702"/>
              <a:gd name="connsiteY2552" fmla="*/ 2388396 h 11747497"/>
              <a:gd name="connsiteX2553" fmla="*/ 123714 w 4838702"/>
              <a:gd name="connsiteY2553" fmla="*/ 2263647 h 11747497"/>
              <a:gd name="connsiteX2554" fmla="*/ 119835 w 4838702"/>
              <a:gd name="connsiteY2554" fmla="*/ 2305131 h 11747497"/>
              <a:gd name="connsiteX2555" fmla="*/ 122111 w 4838702"/>
              <a:gd name="connsiteY2555" fmla="*/ 2222063 h 11747497"/>
              <a:gd name="connsiteX2556" fmla="*/ 120766 w 4838702"/>
              <a:gd name="connsiteY2556" fmla="*/ 2138798 h 11747497"/>
              <a:gd name="connsiteX2557" fmla="*/ 124542 w 4838702"/>
              <a:gd name="connsiteY2557" fmla="*/ 2111175 h 11747497"/>
              <a:gd name="connsiteX2558" fmla="*/ 128317 w 4838702"/>
              <a:gd name="connsiteY2558" fmla="*/ 2083552 h 11747497"/>
              <a:gd name="connsiteX2559" fmla="*/ 131575 w 4838702"/>
              <a:gd name="connsiteY2559" fmla="*/ 2152957 h 11747497"/>
              <a:gd name="connsiteX2560" fmla="*/ 129300 w 4838702"/>
              <a:gd name="connsiteY2560" fmla="*/ 2236025 h 11747497"/>
              <a:gd name="connsiteX2561" fmla="*/ 138402 w 4838702"/>
              <a:gd name="connsiteY2561" fmla="*/ 2236323 h 11747497"/>
              <a:gd name="connsiteX2562" fmla="*/ 136282 w 4838702"/>
              <a:gd name="connsiteY2562" fmla="*/ 2291669 h 11747497"/>
              <a:gd name="connsiteX2563" fmla="*/ 137782 w 4838702"/>
              <a:gd name="connsiteY2563" fmla="*/ 2347213 h 11747497"/>
              <a:gd name="connsiteX2564" fmla="*/ 135868 w 4838702"/>
              <a:gd name="connsiteY2564" fmla="*/ 2360973 h 11747497"/>
              <a:gd name="connsiteX2565" fmla="*/ 135299 w 4838702"/>
              <a:gd name="connsiteY2565" fmla="*/ 2458001 h 11747497"/>
              <a:gd name="connsiteX2566" fmla="*/ 136386 w 4838702"/>
              <a:gd name="connsiteY2566" fmla="*/ 2582751 h 11747497"/>
              <a:gd name="connsiteX2567" fmla="*/ 133748 w 4838702"/>
              <a:gd name="connsiteY2567" fmla="*/ 2721361 h 11747497"/>
              <a:gd name="connsiteX2568" fmla="*/ 124645 w 4838702"/>
              <a:gd name="connsiteY2568" fmla="*/ 2721063 h 11747497"/>
              <a:gd name="connsiteX2569" fmla="*/ 128058 w 4838702"/>
              <a:gd name="connsiteY2569" fmla="*/ 2443940 h 11747497"/>
              <a:gd name="connsiteX2570" fmla="*/ 120559 w 4838702"/>
              <a:gd name="connsiteY2570" fmla="*/ 2485325 h 11747497"/>
              <a:gd name="connsiteX2571" fmla="*/ 120146 w 4838702"/>
              <a:gd name="connsiteY2571" fmla="*/ 2554629 h 11747497"/>
              <a:gd name="connsiteX2572" fmla="*/ 119887 w 4838702"/>
              <a:gd name="connsiteY2572" fmla="*/ 2596213 h 11747497"/>
              <a:gd name="connsiteX2573" fmla="*/ 116163 w 4838702"/>
              <a:gd name="connsiteY2573" fmla="*/ 2609975 h 11747497"/>
              <a:gd name="connsiteX2574" fmla="*/ 114663 w 4838702"/>
              <a:gd name="connsiteY2574" fmla="*/ 2554431 h 11747497"/>
              <a:gd name="connsiteX2575" fmla="*/ 109284 w 4838702"/>
              <a:gd name="connsiteY2575" fmla="*/ 2540470 h 11747497"/>
              <a:gd name="connsiteX2576" fmla="*/ 109698 w 4838702"/>
              <a:gd name="connsiteY2576" fmla="*/ 2471164 h 11747497"/>
              <a:gd name="connsiteX2577" fmla="*/ 104268 w 4838702"/>
              <a:gd name="connsiteY2577" fmla="*/ 2470965 h 11747497"/>
              <a:gd name="connsiteX2578" fmla="*/ 101837 w 4838702"/>
              <a:gd name="connsiteY2578" fmla="*/ 2581754 h 11747497"/>
              <a:gd name="connsiteX2579" fmla="*/ 99561 w 4838702"/>
              <a:gd name="connsiteY2579" fmla="*/ 2664920 h 11747497"/>
              <a:gd name="connsiteX2580" fmla="*/ 112181 w 4838702"/>
              <a:gd name="connsiteY2580" fmla="*/ 2679081 h 11747497"/>
              <a:gd name="connsiteX2581" fmla="*/ 114301 w 4838702"/>
              <a:gd name="connsiteY2581" fmla="*/ 2623636 h 11747497"/>
              <a:gd name="connsiteX2582" fmla="*/ 118077 w 4838702"/>
              <a:gd name="connsiteY2582" fmla="*/ 2914819 h 11747497"/>
              <a:gd name="connsiteX2583" fmla="*/ 123921 w 4838702"/>
              <a:gd name="connsiteY2583" fmla="*/ 2845612 h 11747497"/>
              <a:gd name="connsiteX2584" fmla="*/ 121387 w 4838702"/>
              <a:gd name="connsiteY2584" fmla="*/ 2970263 h 11747497"/>
              <a:gd name="connsiteX2585" fmla="*/ 130541 w 4838702"/>
              <a:gd name="connsiteY2585" fmla="*/ 2956702 h 11747497"/>
              <a:gd name="connsiteX2586" fmla="*/ 128317 w 4838702"/>
              <a:gd name="connsiteY2586" fmla="*/ 3025907 h 11747497"/>
              <a:gd name="connsiteX2587" fmla="*/ 131627 w 4838702"/>
              <a:gd name="connsiteY2587" fmla="*/ 3081451 h 11747497"/>
              <a:gd name="connsiteX2588" fmla="*/ 144402 w 4838702"/>
              <a:gd name="connsiteY2588" fmla="*/ 3067989 h 11747497"/>
              <a:gd name="connsiteX2589" fmla="*/ 140471 w 4838702"/>
              <a:gd name="connsiteY2589" fmla="*/ 3123333 h 11747497"/>
              <a:gd name="connsiteX2590" fmla="*/ 133386 w 4838702"/>
              <a:gd name="connsiteY2590" fmla="*/ 3095412 h 11747497"/>
              <a:gd name="connsiteX2591" fmla="*/ 127696 w 4838702"/>
              <a:gd name="connsiteY2591" fmla="*/ 3136795 h 11747497"/>
              <a:gd name="connsiteX2592" fmla="*/ 131162 w 4838702"/>
              <a:gd name="connsiteY2592" fmla="*/ 3164617 h 11747497"/>
              <a:gd name="connsiteX2593" fmla="*/ 128886 w 4838702"/>
              <a:gd name="connsiteY2593" fmla="*/ 3247685 h 11747497"/>
              <a:gd name="connsiteX2594" fmla="*/ 123197 w 4838702"/>
              <a:gd name="connsiteY2594" fmla="*/ 3289167 h 11747497"/>
              <a:gd name="connsiteX2595" fmla="*/ 123042 w 4838702"/>
              <a:gd name="connsiteY2595" fmla="*/ 3316890 h 11747497"/>
              <a:gd name="connsiteX2596" fmla="*/ 120921 w 4838702"/>
              <a:gd name="connsiteY2596" fmla="*/ 3372335 h 11747497"/>
              <a:gd name="connsiteX2597" fmla="*/ 117146 w 4838702"/>
              <a:gd name="connsiteY2597" fmla="*/ 3399956 h 11747497"/>
              <a:gd name="connsiteX2598" fmla="*/ 118180 w 4838702"/>
              <a:gd name="connsiteY2598" fmla="*/ 3538567 h 11747497"/>
              <a:gd name="connsiteX2599" fmla="*/ 118025 w 4838702"/>
              <a:gd name="connsiteY2599" fmla="*/ 3566289 h 11747497"/>
              <a:gd name="connsiteX2600" fmla="*/ 110784 w 4838702"/>
              <a:gd name="connsiteY2600" fmla="*/ 3566090 h 11747497"/>
              <a:gd name="connsiteX2601" fmla="*/ 105354 w 4838702"/>
              <a:gd name="connsiteY2601" fmla="*/ 3565890 h 11747497"/>
              <a:gd name="connsiteX2602" fmla="*/ 108198 w 4838702"/>
              <a:gd name="connsiteY2602" fmla="*/ 3385797 h 11747497"/>
              <a:gd name="connsiteX2603" fmla="*/ 102974 w 4838702"/>
              <a:gd name="connsiteY2603" fmla="*/ 3344013 h 11747497"/>
              <a:gd name="connsiteX2604" fmla="*/ 99199 w 4838702"/>
              <a:gd name="connsiteY2604" fmla="*/ 3371636 h 11747497"/>
              <a:gd name="connsiteX2605" fmla="*/ 95631 w 4838702"/>
              <a:gd name="connsiteY2605" fmla="*/ 3357675 h 11747497"/>
              <a:gd name="connsiteX2606" fmla="*/ 91027 w 4838702"/>
              <a:gd name="connsiteY2606" fmla="*/ 3523908 h 11747497"/>
              <a:gd name="connsiteX2607" fmla="*/ 96303 w 4838702"/>
              <a:gd name="connsiteY2607" fmla="*/ 3551830 h 11747497"/>
              <a:gd name="connsiteX2608" fmla="*/ 92527 w 4838702"/>
              <a:gd name="connsiteY2608" fmla="*/ 3579453 h 11747497"/>
              <a:gd name="connsiteX2609" fmla="*/ 94027 w 4838702"/>
              <a:gd name="connsiteY2609" fmla="*/ 3634897 h 11747497"/>
              <a:gd name="connsiteX2610" fmla="*/ 92217 w 4838702"/>
              <a:gd name="connsiteY2610" fmla="*/ 3634797 h 11747497"/>
              <a:gd name="connsiteX2611" fmla="*/ 91751 w 4838702"/>
              <a:gd name="connsiteY2611" fmla="*/ 3717964 h 11747497"/>
              <a:gd name="connsiteX2612" fmla="*/ 89683 w 4838702"/>
              <a:gd name="connsiteY2612" fmla="*/ 3759547 h 11747497"/>
              <a:gd name="connsiteX2613" fmla="*/ 89062 w 4838702"/>
              <a:gd name="connsiteY2613" fmla="*/ 3870436 h 11747497"/>
              <a:gd name="connsiteX2614" fmla="*/ 92165 w 4838702"/>
              <a:gd name="connsiteY2614" fmla="*/ 3967564 h 11747497"/>
              <a:gd name="connsiteX2615" fmla="*/ 81200 w 4838702"/>
              <a:gd name="connsiteY2615" fmla="*/ 3981125 h 11747497"/>
              <a:gd name="connsiteX2616" fmla="*/ 80786 w 4838702"/>
              <a:gd name="connsiteY2616" fmla="*/ 4050430 h 11747497"/>
              <a:gd name="connsiteX2617" fmla="*/ 91699 w 4838702"/>
              <a:gd name="connsiteY2617" fmla="*/ 4050730 h 11747497"/>
              <a:gd name="connsiteX2618" fmla="*/ 95889 w 4838702"/>
              <a:gd name="connsiteY2618" fmla="*/ 3953802 h 11747497"/>
              <a:gd name="connsiteX2619" fmla="*/ 96044 w 4838702"/>
              <a:gd name="connsiteY2619" fmla="*/ 3926080 h 11747497"/>
              <a:gd name="connsiteX2620" fmla="*/ 97854 w 4838702"/>
              <a:gd name="connsiteY2620" fmla="*/ 3926179 h 11747497"/>
              <a:gd name="connsiteX2621" fmla="*/ 94699 w 4838702"/>
              <a:gd name="connsiteY2621" fmla="*/ 3842912 h 11747497"/>
              <a:gd name="connsiteX2622" fmla="*/ 96820 w 4838702"/>
              <a:gd name="connsiteY2622" fmla="*/ 3787569 h 11747497"/>
              <a:gd name="connsiteX2623" fmla="*/ 118698 w 4838702"/>
              <a:gd name="connsiteY2623" fmla="*/ 3774306 h 11747497"/>
              <a:gd name="connsiteX2624" fmla="*/ 111508 w 4838702"/>
              <a:gd name="connsiteY2624" fmla="*/ 3760245 h 11747497"/>
              <a:gd name="connsiteX2625" fmla="*/ 122990 w 4838702"/>
              <a:gd name="connsiteY2625" fmla="*/ 3663516 h 11747497"/>
              <a:gd name="connsiteX2626" fmla="*/ 125680 w 4838702"/>
              <a:gd name="connsiteY2626" fmla="*/ 3511045 h 11747497"/>
              <a:gd name="connsiteX2627" fmla="*/ 134472 w 4838702"/>
              <a:gd name="connsiteY2627" fmla="*/ 3566688 h 11747497"/>
              <a:gd name="connsiteX2628" fmla="*/ 130593 w 4838702"/>
              <a:gd name="connsiteY2628" fmla="*/ 3608172 h 11747497"/>
              <a:gd name="connsiteX2629" fmla="*/ 131938 w 4838702"/>
              <a:gd name="connsiteY2629" fmla="*/ 3691439 h 11747497"/>
              <a:gd name="connsiteX2630" fmla="*/ 120973 w 4838702"/>
              <a:gd name="connsiteY2630" fmla="*/ 3705000 h 11747497"/>
              <a:gd name="connsiteX2631" fmla="*/ 125938 w 4838702"/>
              <a:gd name="connsiteY2631" fmla="*/ 3788366 h 11747497"/>
              <a:gd name="connsiteX2632" fmla="*/ 134989 w 4838702"/>
              <a:gd name="connsiteY2632" fmla="*/ 3788666 h 11747497"/>
              <a:gd name="connsiteX2633" fmla="*/ 131213 w 4838702"/>
              <a:gd name="connsiteY2633" fmla="*/ 3816287 h 11747497"/>
              <a:gd name="connsiteX2634" fmla="*/ 134420 w 4838702"/>
              <a:gd name="connsiteY2634" fmla="*/ 3885693 h 11747497"/>
              <a:gd name="connsiteX2635" fmla="*/ 132507 w 4838702"/>
              <a:gd name="connsiteY2635" fmla="*/ 3899554 h 11747497"/>
              <a:gd name="connsiteX2636" fmla="*/ 132196 w 4838702"/>
              <a:gd name="connsiteY2636" fmla="*/ 3954999 h 11747497"/>
              <a:gd name="connsiteX2637" fmla="*/ 121232 w 4838702"/>
              <a:gd name="connsiteY2637" fmla="*/ 3968560 h 11747497"/>
              <a:gd name="connsiteX2638" fmla="*/ 121645 w 4838702"/>
              <a:gd name="connsiteY2638" fmla="*/ 3899355 h 11747497"/>
              <a:gd name="connsiteX2639" fmla="*/ 109026 w 4838702"/>
              <a:gd name="connsiteY2639" fmla="*/ 3885095 h 11747497"/>
              <a:gd name="connsiteX2640" fmla="*/ 103078 w 4838702"/>
              <a:gd name="connsiteY2640" fmla="*/ 3968062 h 11747497"/>
              <a:gd name="connsiteX2641" fmla="*/ 97492 w 4838702"/>
              <a:gd name="connsiteY2641" fmla="*/ 3995684 h 11747497"/>
              <a:gd name="connsiteX2642" fmla="*/ 99147 w 4838702"/>
              <a:gd name="connsiteY2642" fmla="*/ 4023406 h 11747497"/>
              <a:gd name="connsiteX2643" fmla="*/ 109957 w 4838702"/>
              <a:gd name="connsiteY2643" fmla="*/ 4037567 h 11747497"/>
              <a:gd name="connsiteX2644" fmla="*/ 120714 w 4838702"/>
              <a:gd name="connsiteY2644" fmla="*/ 4065587 h 11747497"/>
              <a:gd name="connsiteX2645" fmla="*/ 129972 w 4838702"/>
              <a:gd name="connsiteY2645" fmla="*/ 4038164 h 11747497"/>
              <a:gd name="connsiteX2646" fmla="*/ 124439 w 4838702"/>
              <a:gd name="connsiteY2646" fmla="*/ 4051926 h 11747497"/>
              <a:gd name="connsiteX2647" fmla="*/ 129817 w 4838702"/>
              <a:gd name="connsiteY2647" fmla="*/ 4065887 h 11747497"/>
              <a:gd name="connsiteX2648" fmla="*/ 115025 w 4838702"/>
              <a:gd name="connsiteY2648" fmla="*/ 4107071 h 11747497"/>
              <a:gd name="connsiteX2649" fmla="*/ 127749 w 4838702"/>
              <a:gd name="connsiteY2649" fmla="*/ 4107470 h 11747497"/>
              <a:gd name="connsiteX2650" fmla="*/ 131162 w 4838702"/>
              <a:gd name="connsiteY2650" fmla="*/ 4149153 h 11747497"/>
              <a:gd name="connsiteX2651" fmla="*/ 127542 w 4838702"/>
              <a:gd name="connsiteY2651" fmla="*/ 4149054 h 11747497"/>
              <a:gd name="connsiteX2652" fmla="*/ 125421 w 4838702"/>
              <a:gd name="connsiteY2652" fmla="*/ 4204398 h 11747497"/>
              <a:gd name="connsiteX2653" fmla="*/ 121542 w 4838702"/>
              <a:gd name="connsiteY2653" fmla="*/ 4245882 h 11747497"/>
              <a:gd name="connsiteX2654" fmla="*/ 130489 w 4838702"/>
              <a:gd name="connsiteY2654" fmla="*/ 4273903 h 11747497"/>
              <a:gd name="connsiteX2655" fmla="*/ 128058 w 4838702"/>
              <a:gd name="connsiteY2655" fmla="*/ 4384691 h 11747497"/>
              <a:gd name="connsiteX2656" fmla="*/ 122473 w 4838702"/>
              <a:gd name="connsiteY2656" fmla="*/ 4412215 h 11747497"/>
              <a:gd name="connsiteX2657" fmla="*/ 126094 w 4838702"/>
              <a:gd name="connsiteY2657" fmla="*/ 4412314 h 11747497"/>
              <a:gd name="connsiteX2658" fmla="*/ 125834 w 4838702"/>
              <a:gd name="connsiteY2658" fmla="*/ 4453898 h 11747497"/>
              <a:gd name="connsiteX2659" fmla="*/ 127335 w 4838702"/>
              <a:gd name="connsiteY2659" fmla="*/ 4509442 h 11747497"/>
              <a:gd name="connsiteX2660" fmla="*/ 125369 w 4838702"/>
              <a:gd name="connsiteY2660" fmla="*/ 4537064 h 11747497"/>
              <a:gd name="connsiteX2661" fmla="*/ 121645 w 4838702"/>
              <a:gd name="connsiteY2661" fmla="*/ 4550826 h 11747497"/>
              <a:gd name="connsiteX2662" fmla="*/ 125111 w 4838702"/>
              <a:gd name="connsiteY2662" fmla="*/ 4578647 h 11747497"/>
              <a:gd name="connsiteX2663" fmla="*/ 124955 w 4838702"/>
              <a:gd name="connsiteY2663" fmla="*/ 4606370 h 11747497"/>
              <a:gd name="connsiteX2664" fmla="*/ 126766 w 4838702"/>
              <a:gd name="connsiteY2664" fmla="*/ 4606469 h 11747497"/>
              <a:gd name="connsiteX2665" fmla="*/ 127955 w 4838702"/>
              <a:gd name="connsiteY2665" fmla="*/ 4717458 h 11747497"/>
              <a:gd name="connsiteX2666" fmla="*/ 126300 w 4838702"/>
              <a:gd name="connsiteY2666" fmla="*/ 4689736 h 11747497"/>
              <a:gd name="connsiteX2667" fmla="*/ 120714 w 4838702"/>
              <a:gd name="connsiteY2667" fmla="*/ 4717258 h 11747497"/>
              <a:gd name="connsiteX2668" fmla="*/ 120611 w 4838702"/>
              <a:gd name="connsiteY2668" fmla="*/ 4731119 h 11747497"/>
              <a:gd name="connsiteX2669" fmla="*/ 111612 w 4838702"/>
              <a:gd name="connsiteY2669" fmla="*/ 4717059 h 11747497"/>
              <a:gd name="connsiteX2670" fmla="*/ 111146 w 4838702"/>
              <a:gd name="connsiteY2670" fmla="*/ 4800226 h 11747497"/>
              <a:gd name="connsiteX2671" fmla="*/ 109233 w 4838702"/>
              <a:gd name="connsiteY2671" fmla="*/ 4813987 h 11747497"/>
              <a:gd name="connsiteX2672" fmla="*/ 108974 w 4838702"/>
              <a:gd name="connsiteY2672" fmla="*/ 4853775 h 11747497"/>
              <a:gd name="connsiteX2673" fmla="*/ 108560 w 4838702"/>
              <a:gd name="connsiteY2673" fmla="*/ 4924876 h 11747497"/>
              <a:gd name="connsiteX2674" fmla="*/ 112025 w 4838702"/>
              <a:gd name="connsiteY2674" fmla="*/ 4952698 h 11747497"/>
              <a:gd name="connsiteX2675" fmla="*/ 118904 w 4838702"/>
              <a:gd name="connsiteY2675" fmla="*/ 5022203 h 11747497"/>
              <a:gd name="connsiteX2676" fmla="*/ 118180 w 4838702"/>
              <a:gd name="connsiteY2676" fmla="*/ 5146952 h 11747497"/>
              <a:gd name="connsiteX2677" fmla="*/ 116577 w 4838702"/>
              <a:gd name="connsiteY2677" fmla="*/ 5105269 h 11747497"/>
              <a:gd name="connsiteX2678" fmla="*/ 110888 w 4838702"/>
              <a:gd name="connsiteY2678" fmla="*/ 5146752 h 11747497"/>
              <a:gd name="connsiteX2679" fmla="*/ 107009 w 4838702"/>
              <a:gd name="connsiteY2679" fmla="*/ 5188236 h 11747497"/>
              <a:gd name="connsiteX2680" fmla="*/ 114301 w 4838702"/>
              <a:gd name="connsiteY2680" fmla="*/ 5188436 h 11747497"/>
              <a:gd name="connsiteX2681" fmla="*/ 115853 w 4838702"/>
              <a:gd name="connsiteY2681" fmla="*/ 5230119 h 11747497"/>
              <a:gd name="connsiteX2682" fmla="*/ 112129 w 4838702"/>
              <a:gd name="connsiteY2682" fmla="*/ 5243881 h 11747497"/>
              <a:gd name="connsiteX2683" fmla="*/ 115542 w 4838702"/>
              <a:gd name="connsiteY2683" fmla="*/ 5285564 h 11747497"/>
              <a:gd name="connsiteX2684" fmla="*/ 113629 w 4838702"/>
              <a:gd name="connsiteY2684" fmla="*/ 5299324 h 11747497"/>
              <a:gd name="connsiteX2685" fmla="*/ 115335 w 4838702"/>
              <a:gd name="connsiteY2685" fmla="*/ 5313285 h 11747497"/>
              <a:gd name="connsiteX2686" fmla="*/ 113060 w 4838702"/>
              <a:gd name="connsiteY2686" fmla="*/ 5396352 h 11747497"/>
              <a:gd name="connsiteX2687" fmla="*/ 118491 w 4838702"/>
              <a:gd name="connsiteY2687" fmla="*/ 5396551 h 11747497"/>
              <a:gd name="connsiteX2688" fmla="*/ 116111 w 4838702"/>
              <a:gd name="connsiteY2688" fmla="*/ 5493579 h 11747497"/>
              <a:gd name="connsiteX2689" fmla="*/ 110732 w 4838702"/>
              <a:gd name="connsiteY2689" fmla="*/ 5479518 h 11747497"/>
              <a:gd name="connsiteX2690" fmla="*/ 106543 w 4838702"/>
              <a:gd name="connsiteY2690" fmla="*/ 5576446 h 11747497"/>
              <a:gd name="connsiteX2691" fmla="*/ 110112 w 4838702"/>
              <a:gd name="connsiteY2691" fmla="*/ 5590408 h 11747497"/>
              <a:gd name="connsiteX2692" fmla="*/ 109853 w 4838702"/>
              <a:gd name="connsiteY2692" fmla="*/ 5631990 h 11747497"/>
              <a:gd name="connsiteX2693" fmla="*/ 113319 w 4838702"/>
              <a:gd name="connsiteY2693" fmla="*/ 5659812 h 11747497"/>
              <a:gd name="connsiteX2694" fmla="*/ 109543 w 4838702"/>
              <a:gd name="connsiteY2694" fmla="*/ 5687435 h 11747497"/>
              <a:gd name="connsiteX2695" fmla="*/ 114818 w 4838702"/>
              <a:gd name="connsiteY2695" fmla="*/ 5715356 h 11747497"/>
              <a:gd name="connsiteX2696" fmla="*/ 107371 w 4838702"/>
              <a:gd name="connsiteY2696" fmla="*/ 5742879 h 11747497"/>
              <a:gd name="connsiteX2697" fmla="*/ 114456 w 4838702"/>
              <a:gd name="connsiteY2697" fmla="*/ 5770800 h 11747497"/>
              <a:gd name="connsiteX2698" fmla="*/ 107009 w 4838702"/>
              <a:gd name="connsiteY2698" fmla="*/ 5798323 h 11747497"/>
              <a:gd name="connsiteX2699" fmla="*/ 112232 w 4838702"/>
              <a:gd name="connsiteY2699" fmla="*/ 5840106 h 11747497"/>
              <a:gd name="connsiteX2700" fmla="*/ 108301 w 4838702"/>
              <a:gd name="connsiteY2700" fmla="*/ 5895450 h 11747497"/>
              <a:gd name="connsiteX2701" fmla="*/ 111715 w 4838702"/>
              <a:gd name="connsiteY2701" fmla="*/ 5937133 h 11747497"/>
              <a:gd name="connsiteX2702" fmla="*/ 100492 w 4838702"/>
              <a:gd name="connsiteY2702" fmla="*/ 5992279 h 11747497"/>
              <a:gd name="connsiteX2703" fmla="*/ 91751 w 4838702"/>
              <a:gd name="connsiteY2703" fmla="*/ 5936635 h 11747497"/>
              <a:gd name="connsiteX2704" fmla="*/ 87303 w 4838702"/>
              <a:gd name="connsiteY2704" fmla="*/ 6075146 h 11747497"/>
              <a:gd name="connsiteX2705" fmla="*/ 100182 w 4838702"/>
              <a:gd name="connsiteY2705" fmla="*/ 6047823 h 11747497"/>
              <a:gd name="connsiteX2706" fmla="*/ 103595 w 4838702"/>
              <a:gd name="connsiteY2706" fmla="*/ 6089506 h 11747497"/>
              <a:gd name="connsiteX2707" fmla="*/ 114560 w 4838702"/>
              <a:gd name="connsiteY2707" fmla="*/ 6075944 h 11747497"/>
              <a:gd name="connsiteX2708" fmla="*/ 114146 w 4838702"/>
              <a:gd name="connsiteY2708" fmla="*/ 6145249 h 11747497"/>
              <a:gd name="connsiteX2709" fmla="*/ 105147 w 4838702"/>
              <a:gd name="connsiteY2709" fmla="*/ 6131189 h 11747497"/>
              <a:gd name="connsiteX2710" fmla="*/ 112025 w 4838702"/>
              <a:gd name="connsiteY2710" fmla="*/ 6200693 h 11747497"/>
              <a:gd name="connsiteX2711" fmla="*/ 106491 w 4838702"/>
              <a:gd name="connsiteY2711" fmla="*/ 6214455 h 11747497"/>
              <a:gd name="connsiteX2712" fmla="*/ 97492 w 4838702"/>
              <a:gd name="connsiteY2712" fmla="*/ 6200294 h 11747497"/>
              <a:gd name="connsiteX2713" fmla="*/ 97026 w 4838702"/>
              <a:gd name="connsiteY2713" fmla="*/ 6283462 h 11747497"/>
              <a:gd name="connsiteX2714" fmla="*/ 101991 w 4838702"/>
              <a:gd name="connsiteY2714" fmla="*/ 6366728 h 11747497"/>
              <a:gd name="connsiteX2715" fmla="*/ 101526 w 4838702"/>
              <a:gd name="connsiteY2715" fmla="*/ 6449894 h 11747497"/>
              <a:gd name="connsiteX2716" fmla="*/ 104991 w 4838702"/>
              <a:gd name="connsiteY2716" fmla="*/ 6477715 h 11747497"/>
              <a:gd name="connsiteX2717" fmla="*/ 108560 w 4838702"/>
              <a:gd name="connsiteY2717" fmla="*/ 6491676 h 11747497"/>
              <a:gd name="connsiteX2718" fmla="*/ 104682 w 4838702"/>
              <a:gd name="connsiteY2718" fmla="*/ 6533160 h 11747497"/>
              <a:gd name="connsiteX2719" fmla="*/ 100750 w 4838702"/>
              <a:gd name="connsiteY2719" fmla="*/ 6588504 h 11747497"/>
              <a:gd name="connsiteX2720" fmla="*/ 102147 w 4838702"/>
              <a:gd name="connsiteY2720" fmla="*/ 6657810 h 11747497"/>
              <a:gd name="connsiteX2721" fmla="*/ 111302 w 4838702"/>
              <a:gd name="connsiteY2721" fmla="*/ 6644248 h 11747497"/>
              <a:gd name="connsiteX2722" fmla="*/ 108715 w 4838702"/>
              <a:gd name="connsiteY2722" fmla="*/ 6782760 h 11747497"/>
              <a:gd name="connsiteX2723" fmla="*/ 104940 w 4838702"/>
              <a:gd name="connsiteY2723" fmla="*/ 6810381 h 11747497"/>
              <a:gd name="connsiteX2724" fmla="*/ 110008 w 4838702"/>
              <a:gd name="connsiteY2724" fmla="*/ 6879887 h 11747497"/>
              <a:gd name="connsiteX2725" fmla="*/ 107888 w 4838702"/>
              <a:gd name="connsiteY2725" fmla="*/ 6935332 h 11747497"/>
              <a:gd name="connsiteX2726" fmla="*/ 103802 w 4838702"/>
              <a:gd name="connsiteY2726" fmla="*/ 7018397 h 11747497"/>
              <a:gd name="connsiteX2727" fmla="*/ 105509 w 4838702"/>
              <a:gd name="connsiteY2727" fmla="*/ 7032260 h 11747497"/>
              <a:gd name="connsiteX2728" fmla="*/ 103699 w 4838702"/>
              <a:gd name="connsiteY2728" fmla="*/ 7032159 h 11747497"/>
              <a:gd name="connsiteX2729" fmla="*/ 103543 w 4838702"/>
              <a:gd name="connsiteY2729" fmla="*/ 7059881 h 11747497"/>
              <a:gd name="connsiteX2730" fmla="*/ 105250 w 4838702"/>
              <a:gd name="connsiteY2730" fmla="*/ 7073841 h 11747497"/>
              <a:gd name="connsiteX2731" fmla="*/ 97492 w 4838702"/>
              <a:gd name="connsiteY2731" fmla="*/ 7156809 h 11747497"/>
              <a:gd name="connsiteX2732" fmla="*/ 101061 w 4838702"/>
              <a:gd name="connsiteY2732" fmla="*/ 7170771 h 11747497"/>
              <a:gd name="connsiteX2733" fmla="*/ 108146 w 4838702"/>
              <a:gd name="connsiteY2733" fmla="*/ 7198692 h 11747497"/>
              <a:gd name="connsiteX2734" fmla="*/ 105871 w 4838702"/>
              <a:gd name="connsiteY2734" fmla="*/ 7281758 h 11747497"/>
              <a:gd name="connsiteX2735" fmla="*/ 100492 w 4838702"/>
              <a:gd name="connsiteY2735" fmla="*/ 7267798 h 11747497"/>
              <a:gd name="connsiteX2736" fmla="*/ 96458 w 4838702"/>
              <a:gd name="connsiteY2736" fmla="*/ 7337003 h 11747497"/>
              <a:gd name="connsiteX2737" fmla="*/ 102509 w 4838702"/>
              <a:gd name="connsiteY2737" fmla="*/ 7545119 h 11747497"/>
              <a:gd name="connsiteX2738" fmla="*/ 100957 w 4838702"/>
              <a:gd name="connsiteY2738" fmla="*/ 7503436 h 11747497"/>
              <a:gd name="connsiteX2739" fmla="*/ 100492 w 4838702"/>
              <a:gd name="connsiteY2739" fmla="*/ 7586602 h 11747497"/>
              <a:gd name="connsiteX2740" fmla="*/ 103802 w 4838702"/>
              <a:gd name="connsiteY2740" fmla="*/ 7642146 h 11747497"/>
              <a:gd name="connsiteX2741" fmla="*/ 102147 w 4838702"/>
              <a:gd name="connsiteY2741" fmla="*/ 7614324 h 11747497"/>
              <a:gd name="connsiteX2742" fmla="*/ 103388 w 4838702"/>
              <a:gd name="connsiteY2742" fmla="*/ 7711452 h 11747497"/>
              <a:gd name="connsiteX2743" fmla="*/ 99613 w 4838702"/>
              <a:gd name="connsiteY2743" fmla="*/ 7739073 h 11747497"/>
              <a:gd name="connsiteX2744" fmla="*/ 104733 w 4838702"/>
              <a:gd name="connsiteY2744" fmla="*/ 7794718 h 11747497"/>
              <a:gd name="connsiteX2745" fmla="*/ 105923 w 4838702"/>
              <a:gd name="connsiteY2745" fmla="*/ 7905606 h 11747497"/>
              <a:gd name="connsiteX2746" fmla="*/ 100389 w 4838702"/>
              <a:gd name="connsiteY2746" fmla="*/ 7919368 h 11747497"/>
              <a:gd name="connsiteX2747" fmla="*/ 105198 w 4838702"/>
              <a:gd name="connsiteY2747" fmla="*/ 8030357 h 11747497"/>
              <a:gd name="connsiteX2748" fmla="*/ 103699 w 4838702"/>
              <a:gd name="connsiteY2748" fmla="*/ 7974912 h 11747497"/>
              <a:gd name="connsiteX2749" fmla="*/ 99457 w 4838702"/>
              <a:gd name="connsiteY2749" fmla="*/ 8085701 h 11747497"/>
              <a:gd name="connsiteX2750" fmla="*/ 101526 w 4838702"/>
              <a:gd name="connsiteY2750" fmla="*/ 8044217 h 11747497"/>
              <a:gd name="connsiteX2751" fmla="*/ 106284 w 4838702"/>
              <a:gd name="connsiteY2751" fmla="*/ 8169067 h 11747497"/>
              <a:gd name="connsiteX2752" fmla="*/ 98837 w 4838702"/>
              <a:gd name="connsiteY2752" fmla="*/ 8196589 h 11747497"/>
              <a:gd name="connsiteX2753" fmla="*/ 104216 w 4838702"/>
              <a:gd name="connsiteY2753" fmla="*/ 8210650 h 11747497"/>
              <a:gd name="connsiteX2754" fmla="*/ 98527 w 4838702"/>
              <a:gd name="connsiteY2754" fmla="*/ 8252134 h 11747497"/>
              <a:gd name="connsiteX2755" fmla="*/ 99561 w 4838702"/>
              <a:gd name="connsiteY2755" fmla="*/ 8390744 h 11747497"/>
              <a:gd name="connsiteX2756" fmla="*/ 104940 w 4838702"/>
              <a:gd name="connsiteY2756" fmla="*/ 8404805 h 11747497"/>
              <a:gd name="connsiteX2757" fmla="*/ 99354 w 4838702"/>
              <a:gd name="connsiteY2757" fmla="*/ 8432328 h 11747497"/>
              <a:gd name="connsiteX2758" fmla="*/ 94906 w 4838702"/>
              <a:gd name="connsiteY2758" fmla="*/ 8570839 h 11747497"/>
              <a:gd name="connsiteX2759" fmla="*/ 100285 w 4838702"/>
              <a:gd name="connsiteY2759" fmla="*/ 8584900 h 11747497"/>
              <a:gd name="connsiteX2760" fmla="*/ 97906 w 4838702"/>
              <a:gd name="connsiteY2760" fmla="*/ 8681828 h 11747497"/>
              <a:gd name="connsiteX2761" fmla="*/ 99664 w 4838702"/>
              <a:gd name="connsiteY2761" fmla="*/ 8695788 h 11747497"/>
              <a:gd name="connsiteX2762" fmla="*/ 97751 w 4838702"/>
              <a:gd name="connsiteY2762" fmla="*/ 8709550 h 11747497"/>
              <a:gd name="connsiteX2763" fmla="*/ 101216 w 4838702"/>
              <a:gd name="connsiteY2763" fmla="*/ 8737372 h 11747497"/>
              <a:gd name="connsiteX2764" fmla="*/ 97286 w 4838702"/>
              <a:gd name="connsiteY2764" fmla="*/ 8792716 h 11747497"/>
              <a:gd name="connsiteX2765" fmla="*/ 102406 w 4838702"/>
              <a:gd name="connsiteY2765" fmla="*/ 8848359 h 11747497"/>
              <a:gd name="connsiteX2766" fmla="*/ 98941 w 4838702"/>
              <a:gd name="connsiteY2766" fmla="*/ 8820537 h 11747497"/>
              <a:gd name="connsiteX2767" fmla="*/ 98527 w 4838702"/>
              <a:gd name="connsiteY2767" fmla="*/ 8889843 h 11747497"/>
              <a:gd name="connsiteX2768" fmla="*/ 92837 w 4838702"/>
              <a:gd name="connsiteY2768" fmla="*/ 8931328 h 11747497"/>
              <a:gd name="connsiteX2769" fmla="*/ 96251 w 4838702"/>
              <a:gd name="connsiteY2769" fmla="*/ 8973011 h 11747497"/>
              <a:gd name="connsiteX2770" fmla="*/ 93872 w 4838702"/>
              <a:gd name="connsiteY2770" fmla="*/ 9070037 h 11747497"/>
              <a:gd name="connsiteX2771" fmla="*/ 99251 w 4838702"/>
              <a:gd name="connsiteY2771" fmla="*/ 9083998 h 11747497"/>
              <a:gd name="connsiteX2772" fmla="*/ 95165 w 4838702"/>
              <a:gd name="connsiteY2772" fmla="*/ 9167066 h 11747497"/>
              <a:gd name="connsiteX2773" fmla="*/ 96923 w 4838702"/>
              <a:gd name="connsiteY2773" fmla="*/ 9181026 h 11747497"/>
              <a:gd name="connsiteX2774" fmla="*/ 95010 w 4838702"/>
              <a:gd name="connsiteY2774" fmla="*/ 9194887 h 11747497"/>
              <a:gd name="connsiteX2775" fmla="*/ 94234 w 4838702"/>
              <a:gd name="connsiteY2775" fmla="*/ 9333498 h 11747497"/>
              <a:gd name="connsiteX2776" fmla="*/ 97544 w 4838702"/>
              <a:gd name="connsiteY2776" fmla="*/ 9389042 h 11747497"/>
              <a:gd name="connsiteX2777" fmla="*/ 93665 w 4838702"/>
              <a:gd name="connsiteY2777" fmla="*/ 9430525 h 11747497"/>
              <a:gd name="connsiteX2778" fmla="*/ 97079 w 4838702"/>
              <a:gd name="connsiteY2778" fmla="*/ 9472208 h 11747497"/>
              <a:gd name="connsiteX2779" fmla="*/ 93355 w 4838702"/>
              <a:gd name="connsiteY2779" fmla="*/ 9485970 h 11747497"/>
              <a:gd name="connsiteX2780" fmla="*/ 96820 w 4838702"/>
              <a:gd name="connsiteY2780" fmla="*/ 9513791 h 11747497"/>
              <a:gd name="connsiteX2781" fmla="*/ 91338 w 4838702"/>
              <a:gd name="connsiteY2781" fmla="*/ 9832497 h 11747497"/>
              <a:gd name="connsiteX2782" fmla="*/ 94803 w 4838702"/>
              <a:gd name="connsiteY2782" fmla="*/ 9860320 h 11747497"/>
              <a:gd name="connsiteX2783" fmla="*/ 92165 w 4838702"/>
              <a:gd name="connsiteY2783" fmla="*/ 9998930 h 11747497"/>
              <a:gd name="connsiteX2784" fmla="*/ 93406 w 4838702"/>
              <a:gd name="connsiteY2784" fmla="*/ 10095957 h 11747497"/>
              <a:gd name="connsiteX2785" fmla="*/ 91441 w 4838702"/>
              <a:gd name="connsiteY2785" fmla="*/ 10123580 h 11747497"/>
              <a:gd name="connsiteX2786" fmla="*/ 94906 w 4838702"/>
              <a:gd name="connsiteY2786" fmla="*/ 10151402 h 11747497"/>
              <a:gd name="connsiteX2787" fmla="*/ 92682 w 4838702"/>
              <a:gd name="connsiteY2787" fmla="*/ 10220708 h 11747497"/>
              <a:gd name="connsiteX2788" fmla="*/ 94182 w 4838702"/>
              <a:gd name="connsiteY2788" fmla="*/ 10276151 h 11747497"/>
              <a:gd name="connsiteX2789" fmla="*/ 92061 w 4838702"/>
              <a:gd name="connsiteY2789" fmla="*/ 10331596 h 11747497"/>
              <a:gd name="connsiteX2790" fmla="*/ 89786 w 4838702"/>
              <a:gd name="connsiteY2790" fmla="*/ 10414662 h 11747497"/>
              <a:gd name="connsiteX2791" fmla="*/ 94906 w 4838702"/>
              <a:gd name="connsiteY2791" fmla="*/ 10470306 h 11747497"/>
              <a:gd name="connsiteX2792" fmla="*/ 92941 w 4838702"/>
              <a:gd name="connsiteY2792" fmla="*/ 10497929 h 11747497"/>
              <a:gd name="connsiteX2793" fmla="*/ 94596 w 4838702"/>
              <a:gd name="connsiteY2793" fmla="*/ 10525751 h 11747497"/>
              <a:gd name="connsiteX2794" fmla="*/ 92527 w 4838702"/>
              <a:gd name="connsiteY2794" fmla="*/ 10567235 h 11747497"/>
              <a:gd name="connsiteX2795" fmla="*/ 90096 w 4838702"/>
              <a:gd name="connsiteY2795" fmla="*/ 10678023 h 11747497"/>
              <a:gd name="connsiteX2796" fmla="*/ 93406 w 4838702"/>
              <a:gd name="connsiteY2796" fmla="*/ 10733566 h 11747497"/>
              <a:gd name="connsiteX2797" fmla="*/ 92217 w 4838702"/>
              <a:gd name="connsiteY2797" fmla="*/ 10941483 h 11747497"/>
              <a:gd name="connsiteX2798" fmla="*/ 93562 w 4838702"/>
              <a:gd name="connsiteY2798" fmla="*/ 11024650 h 11747497"/>
              <a:gd name="connsiteX2799" fmla="*/ 93148 w 4838702"/>
              <a:gd name="connsiteY2799" fmla="*/ 11093956 h 11747497"/>
              <a:gd name="connsiteX2800" fmla="*/ 94648 w 4838702"/>
              <a:gd name="connsiteY2800" fmla="*/ 11149400 h 11747497"/>
              <a:gd name="connsiteX2801" fmla="*/ 90924 w 4838702"/>
              <a:gd name="connsiteY2801" fmla="*/ 11163161 h 11747497"/>
              <a:gd name="connsiteX2802" fmla="*/ 94492 w 4838702"/>
              <a:gd name="connsiteY2802" fmla="*/ 11177121 h 11747497"/>
              <a:gd name="connsiteX2803" fmla="*/ 92424 w 4838702"/>
              <a:gd name="connsiteY2803" fmla="*/ 11218606 h 11747497"/>
              <a:gd name="connsiteX2804" fmla="*/ 94182 w 4838702"/>
              <a:gd name="connsiteY2804" fmla="*/ 11232566 h 11747497"/>
              <a:gd name="connsiteX2805" fmla="*/ 92268 w 4838702"/>
              <a:gd name="connsiteY2805" fmla="*/ 11246328 h 11747497"/>
              <a:gd name="connsiteX2806" fmla="*/ 93355 w 4838702"/>
              <a:gd name="connsiteY2806" fmla="*/ 11371077 h 11747497"/>
              <a:gd name="connsiteX2807" fmla="*/ 97440 w 4838702"/>
              <a:gd name="connsiteY2807" fmla="*/ 11606915 h 11747497"/>
              <a:gd name="connsiteX2808" fmla="*/ 98630 w 4838702"/>
              <a:gd name="connsiteY2808" fmla="*/ 11717804 h 11747497"/>
              <a:gd name="connsiteX2809" fmla="*/ 98203 w 4838702"/>
              <a:gd name="connsiteY2809" fmla="*/ 11746685 h 11747497"/>
              <a:gd name="connsiteX2810" fmla="*/ 98207 w 4838702"/>
              <a:gd name="connsiteY2810" fmla="*/ 11747497 h 11747497"/>
              <a:gd name="connsiteX2811" fmla="*/ 4729484 w 4838702"/>
              <a:gd name="connsiteY2811" fmla="*/ 11747497 h 11747497"/>
              <a:gd name="connsiteX2812" fmla="*/ 4729573 w 4838702"/>
              <a:gd name="connsiteY2812" fmla="*/ 11735255 h 11747497"/>
              <a:gd name="connsiteX2813" fmla="*/ 4733814 w 4838702"/>
              <a:gd name="connsiteY2813" fmla="*/ 11735355 h 11747497"/>
              <a:gd name="connsiteX2814" fmla="*/ 4733726 w 4838702"/>
              <a:gd name="connsiteY2814" fmla="*/ 11747497 h 11747497"/>
              <a:gd name="connsiteX2815" fmla="*/ 4762499 w 4838702"/>
              <a:gd name="connsiteY2815" fmla="*/ 11747497 h 11747497"/>
              <a:gd name="connsiteX2816" fmla="*/ 4764245 w 4838702"/>
              <a:gd name="connsiteY2816" fmla="*/ 11718850 h 11747497"/>
              <a:gd name="connsiteX2817" fmla="*/ 4767380 w 4838702"/>
              <a:gd name="connsiteY2817" fmla="*/ 11659268 h 11747497"/>
              <a:gd name="connsiteX2818" fmla="*/ 4775707 w 4838702"/>
              <a:gd name="connsiteY2818" fmla="*/ 11673727 h 11747497"/>
              <a:gd name="connsiteX2819" fmla="*/ 4772126 w 4838702"/>
              <a:gd name="connsiteY2819" fmla="*/ 11730392 h 11747497"/>
              <a:gd name="connsiteX2820" fmla="*/ 4769917 w 4838702"/>
              <a:gd name="connsiteY2820" fmla="*/ 11747497 h 11747497"/>
              <a:gd name="connsiteX2821" fmla="*/ 4783288 w 4838702"/>
              <a:gd name="connsiteY2821" fmla="*/ 11747497 h 11747497"/>
              <a:gd name="connsiteX2822" fmla="*/ 4785741 w 4838702"/>
              <a:gd name="connsiteY2822" fmla="*/ 11714014 h 11747497"/>
              <a:gd name="connsiteX2823" fmla="*/ 4788870 w 4838702"/>
              <a:gd name="connsiteY2823" fmla="*/ 11738868 h 11747497"/>
              <a:gd name="connsiteX2824" fmla="*/ 4788768 w 4838702"/>
              <a:gd name="connsiteY2824" fmla="*/ 11747497 h 11747497"/>
              <a:gd name="connsiteX2825" fmla="*/ 4820676 w 4838702"/>
              <a:gd name="connsiteY2825" fmla="*/ 11747497 h 11747497"/>
              <a:gd name="connsiteX2826" fmla="*/ 4820755 w 4838702"/>
              <a:gd name="connsiteY2826" fmla="*/ 11746659 h 11747497"/>
              <a:gd name="connsiteX2827" fmla="*/ 4825255 w 4838702"/>
              <a:gd name="connsiteY2827" fmla="*/ 11729370 h 11747497"/>
              <a:gd name="connsiteX2828" fmla="*/ 4825255 w 4838702"/>
              <a:gd name="connsiteY2828" fmla="*/ 11631645 h 11747497"/>
              <a:gd name="connsiteX2829" fmla="*/ 4824272 w 4838702"/>
              <a:gd name="connsiteY2829" fmla="*/ 11629551 h 11747497"/>
              <a:gd name="connsiteX2830" fmla="*/ 4825255 w 4838702"/>
              <a:gd name="connsiteY2830" fmla="*/ 11613896 h 11747497"/>
              <a:gd name="connsiteX2831" fmla="*/ 4825255 w 4838702"/>
              <a:gd name="connsiteY2831" fmla="*/ 11133744 h 11747497"/>
              <a:gd name="connsiteX2832" fmla="*/ 4833892 w 4838702"/>
              <a:gd name="connsiteY2832" fmla="*/ 11129356 h 11747497"/>
              <a:gd name="connsiteX2833" fmla="*/ 4833943 w 4838702"/>
              <a:gd name="connsiteY2833" fmla="*/ 11117388 h 11747497"/>
              <a:gd name="connsiteX2834" fmla="*/ 4835547 w 4838702"/>
              <a:gd name="connsiteY2834" fmla="*/ 11111407 h 11747497"/>
              <a:gd name="connsiteX2835" fmla="*/ 4825255 w 4838702"/>
              <a:gd name="connsiteY2835" fmla="*/ 11110609 h 11747497"/>
              <a:gd name="connsiteX2836" fmla="*/ 4825255 w 4838702"/>
              <a:gd name="connsiteY2836" fmla="*/ 11102531 h 11747497"/>
              <a:gd name="connsiteX2837" fmla="*/ 4836271 w 4838702"/>
              <a:gd name="connsiteY2837" fmla="*/ 11098941 h 11747497"/>
              <a:gd name="connsiteX2838" fmla="*/ 4837409 w 4838702"/>
              <a:gd name="connsiteY2838" fmla="*/ 11075907 h 11747497"/>
              <a:gd name="connsiteX2839" fmla="*/ 4832495 w 4838702"/>
              <a:gd name="connsiteY2839" fmla="*/ 11074908 h 11747497"/>
              <a:gd name="connsiteX2840" fmla="*/ 4827944 w 4838702"/>
              <a:gd name="connsiteY2840" fmla="*/ 11085679 h 11747497"/>
              <a:gd name="connsiteX2841" fmla="*/ 4825203 w 4838702"/>
              <a:gd name="connsiteY2841" fmla="*/ 11083484 h 11747497"/>
              <a:gd name="connsiteX2842" fmla="*/ 4825203 w 4838702"/>
              <a:gd name="connsiteY2842" fmla="*/ 11066831 h 11747497"/>
              <a:gd name="connsiteX2843" fmla="*/ 4837978 w 4838702"/>
              <a:gd name="connsiteY2843" fmla="*/ 11066133 h 11747497"/>
              <a:gd name="connsiteX2844" fmla="*/ 4838702 w 4838702"/>
              <a:gd name="connsiteY2844" fmla="*/ 11048185 h 117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Lst>
            <a:rect l="l" t="t" r="r" b="b"/>
            <a:pathLst>
              <a:path w="4838702" h="11747497">
                <a:moveTo>
                  <a:pt x="19499" y="279879"/>
                </a:moveTo>
                <a:cubicBezTo>
                  <a:pt x="18878" y="263163"/>
                  <a:pt x="17042" y="248505"/>
                  <a:pt x="15051" y="265258"/>
                </a:cubicBezTo>
                <a:cubicBezTo>
                  <a:pt x="13603" y="277423"/>
                  <a:pt x="15930" y="304847"/>
                  <a:pt x="16654" y="306841"/>
                </a:cubicBezTo>
                <a:cubicBezTo>
                  <a:pt x="19525" y="315367"/>
                  <a:pt x="20119" y="296594"/>
                  <a:pt x="19499" y="279879"/>
                </a:cubicBezTo>
                <a:close/>
                <a:moveTo>
                  <a:pt x="31653" y="6254243"/>
                </a:moveTo>
                <a:cubicBezTo>
                  <a:pt x="31498" y="6253546"/>
                  <a:pt x="31342" y="6253146"/>
                  <a:pt x="31135" y="6252848"/>
                </a:cubicBezTo>
                <a:lnTo>
                  <a:pt x="31135" y="6323448"/>
                </a:lnTo>
                <a:cubicBezTo>
                  <a:pt x="31188" y="6323549"/>
                  <a:pt x="31188" y="6323549"/>
                  <a:pt x="31239" y="6323549"/>
                </a:cubicBezTo>
                <a:close/>
                <a:moveTo>
                  <a:pt x="32894" y="6670175"/>
                </a:moveTo>
                <a:cubicBezTo>
                  <a:pt x="30101" y="6595884"/>
                  <a:pt x="33722" y="6523288"/>
                  <a:pt x="32170" y="6476120"/>
                </a:cubicBezTo>
                <a:cubicBezTo>
                  <a:pt x="31704" y="6461064"/>
                  <a:pt x="32429" y="6441718"/>
                  <a:pt x="31135" y="6435435"/>
                </a:cubicBezTo>
                <a:lnTo>
                  <a:pt x="31135" y="6679249"/>
                </a:lnTo>
                <a:cubicBezTo>
                  <a:pt x="31601" y="6678053"/>
                  <a:pt x="32170" y="6675361"/>
                  <a:pt x="32894" y="6670175"/>
                </a:cubicBezTo>
                <a:close/>
                <a:moveTo>
                  <a:pt x="33308" y="6919775"/>
                </a:moveTo>
                <a:lnTo>
                  <a:pt x="31188" y="6919675"/>
                </a:lnTo>
                <a:lnTo>
                  <a:pt x="31188" y="6975019"/>
                </a:lnTo>
                <a:cubicBezTo>
                  <a:pt x="31756" y="6955574"/>
                  <a:pt x="34342" y="6952382"/>
                  <a:pt x="33308" y="6919775"/>
                </a:cubicBezTo>
                <a:close/>
                <a:moveTo>
                  <a:pt x="37342" y="4937539"/>
                </a:moveTo>
                <a:cubicBezTo>
                  <a:pt x="36721" y="4920088"/>
                  <a:pt x="35170" y="4909120"/>
                  <a:pt x="32067" y="4909718"/>
                </a:cubicBezTo>
                <a:cubicBezTo>
                  <a:pt x="31653" y="4911813"/>
                  <a:pt x="31446" y="4914605"/>
                  <a:pt x="31135" y="4917097"/>
                </a:cubicBezTo>
                <a:lnTo>
                  <a:pt x="31135" y="5039354"/>
                </a:lnTo>
                <a:cubicBezTo>
                  <a:pt x="31188" y="5042346"/>
                  <a:pt x="31239" y="5045437"/>
                  <a:pt x="31291" y="5048329"/>
                </a:cubicBezTo>
                <a:cubicBezTo>
                  <a:pt x="31395" y="5063685"/>
                  <a:pt x="31342" y="5076251"/>
                  <a:pt x="31135" y="5087020"/>
                </a:cubicBezTo>
                <a:lnTo>
                  <a:pt x="31135" y="5189533"/>
                </a:lnTo>
                <a:cubicBezTo>
                  <a:pt x="31395" y="5208979"/>
                  <a:pt x="31808" y="5218850"/>
                  <a:pt x="35739" y="5214762"/>
                </a:cubicBezTo>
                <a:cubicBezTo>
                  <a:pt x="38945" y="5196114"/>
                  <a:pt x="34705" y="5181056"/>
                  <a:pt x="34342" y="5145456"/>
                </a:cubicBezTo>
                <a:cubicBezTo>
                  <a:pt x="33773" y="5087320"/>
                  <a:pt x="36514" y="5013626"/>
                  <a:pt x="37187" y="4965262"/>
                </a:cubicBezTo>
                <a:cubicBezTo>
                  <a:pt x="37187" y="4965960"/>
                  <a:pt x="33670" y="4940133"/>
                  <a:pt x="37342" y="4937539"/>
                </a:cubicBezTo>
                <a:close/>
                <a:moveTo>
                  <a:pt x="37704" y="5838610"/>
                </a:moveTo>
                <a:cubicBezTo>
                  <a:pt x="36773" y="5792341"/>
                  <a:pt x="32584" y="5791143"/>
                  <a:pt x="36411" y="5741483"/>
                </a:cubicBezTo>
                <a:cubicBezTo>
                  <a:pt x="35739" y="5729118"/>
                  <a:pt x="33050" y="5731711"/>
                  <a:pt x="31188" y="5728220"/>
                </a:cubicBezTo>
                <a:lnTo>
                  <a:pt x="31188" y="5863739"/>
                </a:lnTo>
                <a:cubicBezTo>
                  <a:pt x="33670" y="5857856"/>
                  <a:pt x="35015" y="5842998"/>
                  <a:pt x="37704" y="5838610"/>
                </a:cubicBezTo>
                <a:close/>
                <a:moveTo>
                  <a:pt x="39463" y="5519806"/>
                </a:moveTo>
                <a:cubicBezTo>
                  <a:pt x="35842" y="5519506"/>
                  <a:pt x="37394" y="5481911"/>
                  <a:pt x="32377" y="5491883"/>
                </a:cubicBezTo>
                <a:lnTo>
                  <a:pt x="32118" y="5533367"/>
                </a:lnTo>
                <a:cubicBezTo>
                  <a:pt x="34859" y="5531074"/>
                  <a:pt x="38790" y="5538553"/>
                  <a:pt x="39463" y="5519806"/>
                </a:cubicBezTo>
                <a:close/>
                <a:moveTo>
                  <a:pt x="41169" y="3634597"/>
                </a:moveTo>
                <a:cubicBezTo>
                  <a:pt x="38583" y="3614754"/>
                  <a:pt x="34135" y="3620039"/>
                  <a:pt x="31135" y="3635994"/>
                </a:cubicBezTo>
                <a:lnTo>
                  <a:pt x="31135" y="3728135"/>
                </a:lnTo>
                <a:cubicBezTo>
                  <a:pt x="36721" y="3714972"/>
                  <a:pt x="41169" y="3692435"/>
                  <a:pt x="41169" y="3634597"/>
                </a:cubicBezTo>
                <a:close/>
                <a:moveTo>
                  <a:pt x="44085" y="6411589"/>
                </a:moveTo>
                <a:cubicBezTo>
                  <a:pt x="45074" y="6402377"/>
                  <a:pt x="45255" y="6391658"/>
                  <a:pt x="43652" y="6379392"/>
                </a:cubicBezTo>
                <a:cubicBezTo>
                  <a:pt x="38687" y="6387769"/>
                  <a:pt x="36307" y="6417285"/>
                  <a:pt x="35894" y="6462360"/>
                </a:cubicBezTo>
                <a:cubicBezTo>
                  <a:pt x="38118" y="6460863"/>
                  <a:pt x="40238" y="6458370"/>
                  <a:pt x="39670" y="6434737"/>
                </a:cubicBezTo>
                <a:cubicBezTo>
                  <a:pt x="41299" y="6428504"/>
                  <a:pt x="43096" y="6420801"/>
                  <a:pt x="44085" y="6411589"/>
                </a:cubicBezTo>
                <a:close/>
                <a:moveTo>
                  <a:pt x="45772" y="4185838"/>
                </a:moveTo>
                <a:cubicBezTo>
                  <a:pt x="45824" y="4170544"/>
                  <a:pt x="45695" y="4156284"/>
                  <a:pt x="45462" y="4147359"/>
                </a:cubicBezTo>
                <a:cubicBezTo>
                  <a:pt x="44945" y="4128112"/>
                  <a:pt x="42980" y="4132200"/>
                  <a:pt x="41997" y="4119536"/>
                </a:cubicBezTo>
                <a:cubicBezTo>
                  <a:pt x="40755" y="4103382"/>
                  <a:pt x="43445" y="4067283"/>
                  <a:pt x="38583" y="4077954"/>
                </a:cubicBezTo>
                <a:lnTo>
                  <a:pt x="38118" y="4161119"/>
                </a:lnTo>
                <a:cubicBezTo>
                  <a:pt x="38015" y="4179368"/>
                  <a:pt x="41221" y="4173883"/>
                  <a:pt x="41583" y="4188941"/>
                </a:cubicBezTo>
                <a:cubicBezTo>
                  <a:pt x="39256" y="4194526"/>
                  <a:pt x="37755" y="4206692"/>
                  <a:pt x="37704" y="4230425"/>
                </a:cubicBezTo>
                <a:cubicBezTo>
                  <a:pt x="36876" y="4223544"/>
                  <a:pt x="32946" y="4209284"/>
                  <a:pt x="31135" y="4218259"/>
                </a:cubicBezTo>
                <a:lnTo>
                  <a:pt x="31135" y="4258247"/>
                </a:lnTo>
                <a:cubicBezTo>
                  <a:pt x="32480" y="4267920"/>
                  <a:pt x="34963" y="4233416"/>
                  <a:pt x="37652" y="4244386"/>
                </a:cubicBezTo>
                <a:cubicBezTo>
                  <a:pt x="33929" y="4273206"/>
                  <a:pt x="40911" y="4300927"/>
                  <a:pt x="40807" y="4327653"/>
                </a:cubicBezTo>
                <a:cubicBezTo>
                  <a:pt x="40807" y="4328151"/>
                  <a:pt x="39100" y="4326954"/>
                  <a:pt x="38997" y="4327553"/>
                </a:cubicBezTo>
                <a:cubicBezTo>
                  <a:pt x="37755" y="4336527"/>
                  <a:pt x="37290" y="4353381"/>
                  <a:pt x="36928" y="4369036"/>
                </a:cubicBezTo>
                <a:cubicBezTo>
                  <a:pt x="35997" y="4408824"/>
                  <a:pt x="37704" y="4523004"/>
                  <a:pt x="35997" y="4535369"/>
                </a:cubicBezTo>
                <a:cubicBezTo>
                  <a:pt x="32584" y="4560398"/>
                  <a:pt x="36100" y="4555513"/>
                  <a:pt x="35687" y="4590814"/>
                </a:cubicBezTo>
                <a:cubicBezTo>
                  <a:pt x="33515" y="4588819"/>
                  <a:pt x="32429" y="4595600"/>
                  <a:pt x="31135" y="4600387"/>
                </a:cubicBezTo>
                <a:lnTo>
                  <a:pt x="31135" y="4799228"/>
                </a:lnTo>
                <a:cubicBezTo>
                  <a:pt x="32894" y="4799030"/>
                  <a:pt x="34705" y="4798230"/>
                  <a:pt x="36307" y="4798829"/>
                </a:cubicBezTo>
                <a:cubicBezTo>
                  <a:pt x="35273" y="4771008"/>
                  <a:pt x="38169" y="4743485"/>
                  <a:pt x="38583" y="4715662"/>
                </a:cubicBezTo>
                <a:cubicBezTo>
                  <a:pt x="39204" y="4671886"/>
                  <a:pt x="36618" y="4647055"/>
                  <a:pt x="39049" y="4632497"/>
                </a:cubicBezTo>
                <a:cubicBezTo>
                  <a:pt x="39514" y="4629704"/>
                  <a:pt x="38997" y="4609461"/>
                  <a:pt x="39204" y="4604774"/>
                </a:cubicBezTo>
                <a:cubicBezTo>
                  <a:pt x="41066" y="4561595"/>
                  <a:pt x="40342" y="4574359"/>
                  <a:pt x="39514" y="4549329"/>
                </a:cubicBezTo>
                <a:cubicBezTo>
                  <a:pt x="39204" y="4539458"/>
                  <a:pt x="39566" y="4518118"/>
                  <a:pt x="39773" y="4507746"/>
                </a:cubicBezTo>
                <a:cubicBezTo>
                  <a:pt x="40083" y="4492291"/>
                  <a:pt x="41014" y="4475338"/>
                  <a:pt x="41894" y="4452302"/>
                </a:cubicBezTo>
                <a:cubicBezTo>
                  <a:pt x="42048" y="4448512"/>
                  <a:pt x="43859" y="4432857"/>
                  <a:pt x="43807" y="4438441"/>
                </a:cubicBezTo>
                <a:cubicBezTo>
                  <a:pt x="44117" y="4412215"/>
                  <a:pt x="41894" y="4407627"/>
                  <a:pt x="42307" y="4382897"/>
                </a:cubicBezTo>
                <a:cubicBezTo>
                  <a:pt x="42566" y="4365047"/>
                  <a:pt x="44066" y="4363652"/>
                  <a:pt x="44376" y="4341413"/>
                </a:cubicBezTo>
                <a:cubicBezTo>
                  <a:pt x="44583" y="4323962"/>
                  <a:pt x="44893" y="4303320"/>
                  <a:pt x="44686" y="4285970"/>
                </a:cubicBezTo>
                <a:cubicBezTo>
                  <a:pt x="44117" y="4237804"/>
                  <a:pt x="43807" y="4261538"/>
                  <a:pt x="44997" y="4230525"/>
                </a:cubicBezTo>
                <a:cubicBezTo>
                  <a:pt x="45488" y="4217461"/>
                  <a:pt x="45720" y="4201132"/>
                  <a:pt x="45772" y="4185838"/>
                </a:cubicBezTo>
                <a:close/>
                <a:moveTo>
                  <a:pt x="46820" y="969580"/>
                </a:moveTo>
                <a:cubicBezTo>
                  <a:pt x="46328" y="1007948"/>
                  <a:pt x="44453" y="1054392"/>
                  <a:pt x="44790" y="1097820"/>
                </a:cubicBezTo>
                <a:cubicBezTo>
                  <a:pt x="40600" y="1093233"/>
                  <a:pt x="37808" y="1099815"/>
                  <a:pt x="35635" y="1111382"/>
                </a:cubicBezTo>
                <a:cubicBezTo>
                  <a:pt x="34808" y="1134916"/>
                  <a:pt x="36876" y="1137608"/>
                  <a:pt x="39100" y="1139204"/>
                </a:cubicBezTo>
                <a:cubicBezTo>
                  <a:pt x="38945" y="1157453"/>
                  <a:pt x="29429" y="1250890"/>
                  <a:pt x="38325" y="1277814"/>
                </a:cubicBezTo>
                <a:cubicBezTo>
                  <a:pt x="38221" y="1303741"/>
                  <a:pt x="34859" y="1294567"/>
                  <a:pt x="32739" y="1305437"/>
                </a:cubicBezTo>
                <a:cubicBezTo>
                  <a:pt x="29170" y="1323785"/>
                  <a:pt x="27670" y="1334954"/>
                  <a:pt x="26895" y="1374543"/>
                </a:cubicBezTo>
                <a:cubicBezTo>
                  <a:pt x="25136" y="1374144"/>
                  <a:pt x="25601" y="1357590"/>
                  <a:pt x="25240" y="1346821"/>
                </a:cubicBezTo>
                <a:cubicBezTo>
                  <a:pt x="21981" y="1344926"/>
                  <a:pt x="21309" y="1363673"/>
                  <a:pt x="17895" y="1360482"/>
                </a:cubicBezTo>
                <a:cubicBezTo>
                  <a:pt x="19550" y="1326478"/>
                  <a:pt x="21464" y="1280606"/>
                  <a:pt x="14741" y="1277217"/>
                </a:cubicBezTo>
                <a:cubicBezTo>
                  <a:pt x="13086" y="1263953"/>
                  <a:pt x="22084" y="1234835"/>
                  <a:pt x="20482" y="1221871"/>
                </a:cubicBezTo>
                <a:cubicBezTo>
                  <a:pt x="17119" y="1194748"/>
                  <a:pt x="22084" y="1218482"/>
                  <a:pt x="22550" y="1180389"/>
                </a:cubicBezTo>
                <a:cubicBezTo>
                  <a:pt x="22705" y="1166926"/>
                  <a:pt x="26895" y="1159945"/>
                  <a:pt x="28136" y="1152865"/>
                </a:cubicBezTo>
                <a:cubicBezTo>
                  <a:pt x="25033" y="1087249"/>
                  <a:pt x="31342" y="1025921"/>
                  <a:pt x="27412" y="958710"/>
                </a:cubicBezTo>
                <a:cubicBezTo>
                  <a:pt x="33256" y="966888"/>
                  <a:pt x="35894" y="949536"/>
                  <a:pt x="40238" y="945248"/>
                </a:cubicBezTo>
                <a:cubicBezTo>
                  <a:pt x="40600" y="907355"/>
                  <a:pt x="37342" y="917227"/>
                  <a:pt x="40549" y="889803"/>
                </a:cubicBezTo>
                <a:cubicBezTo>
                  <a:pt x="46419" y="900922"/>
                  <a:pt x="47311" y="931213"/>
                  <a:pt x="46820" y="969580"/>
                </a:cubicBezTo>
                <a:close/>
                <a:moveTo>
                  <a:pt x="48307" y="3967364"/>
                </a:moveTo>
                <a:cubicBezTo>
                  <a:pt x="42152" y="3981524"/>
                  <a:pt x="45772" y="3924284"/>
                  <a:pt x="45100" y="3898058"/>
                </a:cubicBezTo>
                <a:cubicBezTo>
                  <a:pt x="39876" y="3900552"/>
                  <a:pt x="34342" y="3877316"/>
                  <a:pt x="31135" y="3891576"/>
                </a:cubicBezTo>
                <a:lnTo>
                  <a:pt x="31135" y="3922988"/>
                </a:lnTo>
                <a:cubicBezTo>
                  <a:pt x="33773" y="3925082"/>
                  <a:pt x="34084" y="3943729"/>
                  <a:pt x="37601" y="3939342"/>
                </a:cubicBezTo>
                <a:cubicBezTo>
                  <a:pt x="38066" y="3928673"/>
                  <a:pt x="37808" y="3912018"/>
                  <a:pt x="39566" y="3911720"/>
                </a:cubicBezTo>
                <a:cubicBezTo>
                  <a:pt x="39566" y="3929469"/>
                  <a:pt x="41790" y="3930965"/>
                  <a:pt x="41169" y="3953403"/>
                </a:cubicBezTo>
                <a:lnTo>
                  <a:pt x="32067" y="3953104"/>
                </a:lnTo>
                <a:cubicBezTo>
                  <a:pt x="30774" y="3998077"/>
                  <a:pt x="32946" y="4017623"/>
                  <a:pt x="33308" y="4050231"/>
                </a:cubicBezTo>
                <a:cubicBezTo>
                  <a:pt x="39566" y="4044746"/>
                  <a:pt x="35842" y="4012837"/>
                  <a:pt x="42462" y="4036569"/>
                </a:cubicBezTo>
                <a:cubicBezTo>
                  <a:pt x="43703" y="4007751"/>
                  <a:pt x="46548" y="3991895"/>
                  <a:pt x="48307" y="3967364"/>
                </a:cubicBezTo>
                <a:close/>
                <a:moveTo>
                  <a:pt x="48617" y="5506143"/>
                </a:moveTo>
                <a:cubicBezTo>
                  <a:pt x="41635" y="5490786"/>
                  <a:pt x="40859" y="5588513"/>
                  <a:pt x="46341" y="5589310"/>
                </a:cubicBezTo>
                <a:cubicBezTo>
                  <a:pt x="48514" y="5572957"/>
                  <a:pt x="48668" y="5540347"/>
                  <a:pt x="48617" y="5506143"/>
                </a:cubicBezTo>
                <a:close/>
                <a:moveTo>
                  <a:pt x="49703" y="557237"/>
                </a:moveTo>
                <a:lnTo>
                  <a:pt x="49289" y="626543"/>
                </a:lnTo>
                <a:cubicBezTo>
                  <a:pt x="46186" y="613878"/>
                  <a:pt x="43135" y="600616"/>
                  <a:pt x="44272" y="557038"/>
                </a:cubicBezTo>
                <a:close/>
                <a:moveTo>
                  <a:pt x="49910" y="1791073"/>
                </a:moveTo>
                <a:lnTo>
                  <a:pt x="42669" y="1790874"/>
                </a:lnTo>
                <a:cubicBezTo>
                  <a:pt x="45048" y="1729546"/>
                  <a:pt x="40497" y="1703020"/>
                  <a:pt x="48668" y="1694046"/>
                </a:cubicBezTo>
                <a:cubicBezTo>
                  <a:pt x="46910" y="1742012"/>
                  <a:pt x="51048" y="1747296"/>
                  <a:pt x="49910" y="1791073"/>
                </a:cubicBezTo>
                <a:close/>
                <a:moveTo>
                  <a:pt x="50220" y="779014"/>
                </a:moveTo>
                <a:cubicBezTo>
                  <a:pt x="49755" y="801551"/>
                  <a:pt x="45100" y="820299"/>
                  <a:pt x="44324" y="862082"/>
                </a:cubicBezTo>
                <a:cubicBezTo>
                  <a:pt x="41169" y="851811"/>
                  <a:pt x="44221" y="836852"/>
                  <a:pt x="44583" y="820499"/>
                </a:cubicBezTo>
                <a:cubicBezTo>
                  <a:pt x="43600" y="792278"/>
                  <a:pt x="35377" y="816411"/>
                  <a:pt x="37601" y="764754"/>
                </a:cubicBezTo>
                <a:cubicBezTo>
                  <a:pt x="41945" y="770638"/>
                  <a:pt x="41687" y="739625"/>
                  <a:pt x="46755" y="751193"/>
                </a:cubicBezTo>
                <a:cubicBezTo>
                  <a:pt x="46962" y="727459"/>
                  <a:pt x="45565" y="715294"/>
                  <a:pt x="43342" y="709510"/>
                </a:cubicBezTo>
                <a:cubicBezTo>
                  <a:pt x="44635" y="695450"/>
                  <a:pt x="47634" y="695250"/>
                  <a:pt x="47220" y="668027"/>
                </a:cubicBezTo>
                <a:cubicBezTo>
                  <a:pt x="51461" y="679495"/>
                  <a:pt x="47427" y="726861"/>
                  <a:pt x="48461" y="765054"/>
                </a:cubicBezTo>
                <a:cubicBezTo>
                  <a:pt x="48565" y="768844"/>
                  <a:pt x="50065" y="785696"/>
                  <a:pt x="50220" y="779014"/>
                </a:cubicBezTo>
                <a:close/>
                <a:moveTo>
                  <a:pt x="52600" y="1638701"/>
                </a:moveTo>
                <a:cubicBezTo>
                  <a:pt x="51979" y="1663133"/>
                  <a:pt x="49289" y="1670213"/>
                  <a:pt x="45151" y="1666224"/>
                </a:cubicBezTo>
                <a:lnTo>
                  <a:pt x="45411" y="1624641"/>
                </a:lnTo>
                <a:cubicBezTo>
                  <a:pt x="49237" y="1618858"/>
                  <a:pt x="50169" y="1634214"/>
                  <a:pt x="52600" y="1638701"/>
                </a:cubicBezTo>
                <a:close/>
                <a:moveTo>
                  <a:pt x="53498" y="424460"/>
                </a:moveTo>
                <a:cubicBezTo>
                  <a:pt x="53453" y="437573"/>
                  <a:pt x="52392" y="451085"/>
                  <a:pt x="50323" y="446448"/>
                </a:cubicBezTo>
                <a:cubicBezTo>
                  <a:pt x="48151" y="441562"/>
                  <a:pt x="49082" y="409452"/>
                  <a:pt x="50582" y="404866"/>
                </a:cubicBezTo>
                <a:cubicBezTo>
                  <a:pt x="52574" y="398633"/>
                  <a:pt x="53543" y="411347"/>
                  <a:pt x="53498" y="424460"/>
                </a:cubicBezTo>
                <a:close/>
                <a:moveTo>
                  <a:pt x="57719" y="2955803"/>
                </a:moveTo>
                <a:cubicBezTo>
                  <a:pt x="55651" y="2992201"/>
                  <a:pt x="55082" y="3040765"/>
                  <a:pt x="55134" y="3094315"/>
                </a:cubicBezTo>
                <a:cubicBezTo>
                  <a:pt x="52651" y="3072775"/>
                  <a:pt x="45927" y="3081850"/>
                  <a:pt x="40704" y="3080054"/>
                </a:cubicBezTo>
                <a:cubicBezTo>
                  <a:pt x="38531" y="3054725"/>
                  <a:pt x="44428" y="3056122"/>
                  <a:pt x="44428" y="3052532"/>
                </a:cubicBezTo>
                <a:cubicBezTo>
                  <a:pt x="44738" y="3040167"/>
                  <a:pt x="42566" y="3023115"/>
                  <a:pt x="43031" y="2983127"/>
                </a:cubicBezTo>
                <a:cubicBezTo>
                  <a:pt x="43600" y="2935560"/>
                  <a:pt x="48410" y="2907439"/>
                  <a:pt x="47376" y="2858477"/>
                </a:cubicBezTo>
                <a:cubicBezTo>
                  <a:pt x="49341" y="2867252"/>
                  <a:pt x="49600" y="2885600"/>
                  <a:pt x="50789" y="2900160"/>
                </a:cubicBezTo>
                <a:cubicBezTo>
                  <a:pt x="52703" y="2923793"/>
                  <a:pt x="54823" y="2938053"/>
                  <a:pt x="57719" y="2955803"/>
                </a:cubicBezTo>
                <a:close/>
                <a:moveTo>
                  <a:pt x="58429" y="1481566"/>
                </a:moveTo>
                <a:cubicBezTo>
                  <a:pt x="58189" y="1510001"/>
                  <a:pt x="54086" y="1548405"/>
                  <a:pt x="49548" y="1541374"/>
                </a:cubicBezTo>
                <a:cubicBezTo>
                  <a:pt x="47324" y="1506672"/>
                  <a:pt x="56944" y="1498296"/>
                  <a:pt x="51668" y="1486030"/>
                </a:cubicBezTo>
                <a:cubicBezTo>
                  <a:pt x="52186" y="1466087"/>
                  <a:pt x="57099" y="1481443"/>
                  <a:pt x="57254" y="1458507"/>
                </a:cubicBezTo>
                <a:cubicBezTo>
                  <a:pt x="58159" y="1463717"/>
                  <a:pt x="58509" y="1472088"/>
                  <a:pt x="58429" y="1481566"/>
                </a:cubicBezTo>
                <a:close/>
                <a:moveTo>
                  <a:pt x="59685" y="3260748"/>
                </a:moveTo>
                <a:cubicBezTo>
                  <a:pt x="58754" y="3277799"/>
                  <a:pt x="57202" y="3289167"/>
                  <a:pt x="53996" y="3288370"/>
                </a:cubicBezTo>
                <a:cubicBezTo>
                  <a:pt x="54048" y="3322474"/>
                  <a:pt x="53892" y="3355082"/>
                  <a:pt x="51720" y="3371436"/>
                </a:cubicBezTo>
                <a:cubicBezTo>
                  <a:pt x="46496" y="3356479"/>
                  <a:pt x="42566" y="3331848"/>
                  <a:pt x="33722" y="3343215"/>
                </a:cubicBezTo>
                <a:cubicBezTo>
                  <a:pt x="35428" y="3313300"/>
                  <a:pt x="38687" y="3296148"/>
                  <a:pt x="37911" y="3246288"/>
                </a:cubicBezTo>
                <a:lnTo>
                  <a:pt x="48824" y="3246587"/>
                </a:lnTo>
                <a:cubicBezTo>
                  <a:pt x="50892" y="3205004"/>
                  <a:pt x="44945" y="3221957"/>
                  <a:pt x="41738" y="3218665"/>
                </a:cubicBezTo>
                <a:cubicBezTo>
                  <a:pt x="40911" y="3187951"/>
                  <a:pt x="45307" y="3199021"/>
                  <a:pt x="45617" y="3177182"/>
                </a:cubicBezTo>
                <a:cubicBezTo>
                  <a:pt x="45255" y="3162124"/>
                  <a:pt x="42048" y="3167709"/>
                  <a:pt x="42152" y="3149360"/>
                </a:cubicBezTo>
                <a:cubicBezTo>
                  <a:pt x="36670" y="3131211"/>
                  <a:pt x="46134" y="3140984"/>
                  <a:pt x="45721" y="3163321"/>
                </a:cubicBezTo>
                <a:cubicBezTo>
                  <a:pt x="50789" y="3174888"/>
                  <a:pt x="50530" y="3143875"/>
                  <a:pt x="54875" y="3149660"/>
                </a:cubicBezTo>
                <a:cubicBezTo>
                  <a:pt x="54048" y="3207097"/>
                  <a:pt x="56944" y="3203708"/>
                  <a:pt x="54306" y="3246687"/>
                </a:cubicBezTo>
                <a:cubicBezTo>
                  <a:pt x="54513" y="3262941"/>
                  <a:pt x="57565" y="3258553"/>
                  <a:pt x="59685" y="3260748"/>
                </a:cubicBezTo>
                <a:close/>
                <a:moveTo>
                  <a:pt x="64288" y="5950197"/>
                </a:moveTo>
                <a:lnTo>
                  <a:pt x="63978" y="6005642"/>
                </a:lnTo>
                <a:lnTo>
                  <a:pt x="60357" y="6005541"/>
                </a:lnTo>
                <a:lnTo>
                  <a:pt x="60668" y="5950097"/>
                </a:lnTo>
                <a:close/>
                <a:moveTo>
                  <a:pt x="65271" y="2914321"/>
                </a:moveTo>
                <a:cubicBezTo>
                  <a:pt x="61340" y="2920703"/>
                  <a:pt x="61909" y="2894476"/>
                  <a:pt x="61858" y="2872636"/>
                </a:cubicBezTo>
                <a:cubicBezTo>
                  <a:pt x="64081" y="2878720"/>
                  <a:pt x="65478" y="2890487"/>
                  <a:pt x="65271" y="2914321"/>
                </a:cubicBezTo>
                <a:close/>
                <a:moveTo>
                  <a:pt x="65322" y="6407713"/>
                </a:moveTo>
                <a:cubicBezTo>
                  <a:pt x="64702" y="6387269"/>
                  <a:pt x="63253" y="6405619"/>
                  <a:pt x="61754" y="6393752"/>
                </a:cubicBezTo>
                <a:cubicBezTo>
                  <a:pt x="61133" y="6388966"/>
                  <a:pt x="62426" y="6371116"/>
                  <a:pt x="61909" y="6366030"/>
                </a:cubicBezTo>
                <a:cubicBezTo>
                  <a:pt x="61133" y="6359149"/>
                  <a:pt x="57409" y="6371414"/>
                  <a:pt x="56478" y="6365830"/>
                </a:cubicBezTo>
                <a:lnTo>
                  <a:pt x="56220" y="6407413"/>
                </a:lnTo>
                <a:cubicBezTo>
                  <a:pt x="60771" y="6405418"/>
                  <a:pt x="61702" y="6429351"/>
                  <a:pt x="65168" y="6435435"/>
                </a:cubicBezTo>
                <a:cubicBezTo>
                  <a:pt x="64961" y="6426659"/>
                  <a:pt x="65581" y="6416288"/>
                  <a:pt x="65322" y="6407713"/>
                </a:cubicBezTo>
                <a:close/>
                <a:moveTo>
                  <a:pt x="66616" y="3954101"/>
                </a:moveTo>
                <a:cubicBezTo>
                  <a:pt x="63202" y="4009646"/>
                  <a:pt x="68943" y="4049233"/>
                  <a:pt x="60512" y="4064789"/>
                </a:cubicBezTo>
                <a:cubicBezTo>
                  <a:pt x="65478" y="4051228"/>
                  <a:pt x="58806" y="3944727"/>
                  <a:pt x="66616" y="3954101"/>
                </a:cubicBezTo>
                <a:close/>
                <a:moveTo>
                  <a:pt x="67120" y="2695011"/>
                </a:moveTo>
                <a:cubicBezTo>
                  <a:pt x="67947" y="2703886"/>
                  <a:pt x="68270" y="2711939"/>
                  <a:pt x="66357" y="2720265"/>
                </a:cubicBezTo>
                <a:cubicBezTo>
                  <a:pt x="63150" y="2728142"/>
                  <a:pt x="55806" y="2703213"/>
                  <a:pt x="55392" y="2733827"/>
                </a:cubicBezTo>
                <a:cubicBezTo>
                  <a:pt x="53996" y="2806622"/>
                  <a:pt x="66047" y="2719567"/>
                  <a:pt x="66150" y="2761847"/>
                </a:cubicBezTo>
                <a:cubicBezTo>
                  <a:pt x="64392" y="2843020"/>
                  <a:pt x="49134" y="2728542"/>
                  <a:pt x="47686" y="2802933"/>
                </a:cubicBezTo>
                <a:cubicBezTo>
                  <a:pt x="42307" y="2772718"/>
                  <a:pt x="49910" y="2724951"/>
                  <a:pt x="48410" y="2678183"/>
                </a:cubicBezTo>
                <a:cubicBezTo>
                  <a:pt x="49858" y="2685562"/>
                  <a:pt x="51306" y="2692741"/>
                  <a:pt x="53789" y="2692243"/>
                </a:cubicBezTo>
                <a:cubicBezTo>
                  <a:pt x="56633" y="2671302"/>
                  <a:pt x="57047" y="2631514"/>
                  <a:pt x="57978" y="2595316"/>
                </a:cubicBezTo>
                <a:lnTo>
                  <a:pt x="65219" y="2595515"/>
                </a:lnTo>
                <a:cubicBezTo>
                  <a:pt x="66150" y="2606683"/>
                  <a:pt x="67029" y="2618051"/>
                  <a:pt x="66823" y="2637098"/>
                </a:cubicBezTo>
                <a:cubicBezTo>
                  <a:pt x="66719" y="2648665"/>
                  <a:pt x="64857" y="2666914"/>
                  <a:pt x="64857" y="2664821"/>
                </a:cubicBezTo>
                <a:cubicBezTo>
                  <a:pt x="64960" y="2676438"/>
                  <a:pt x="66292" y="2686136"/>
                  <a:pt x="67120" y="2695011"/>
                </a:cubicBezTo>
                <a:close/>
                <a:moveTo>
                  <a:pt x="67857" y="3413519"/>
                </a:moveTo>
                <a:cubicBezTo>
                  <a:pt x="68012" y="3421696"/>
                  <a:pt x="65219" y="3430770"/>
                  <a:pt x="64133" y="3427280"/>
                </a:cubicBezTo>
                <a:cubicBezTo>
                  <a:pt x="57875" y="3406139"/>
                  <a:pt x="67650" y="3401054"/>
                  <a:pt x="67857" y="3413519"/>
                </a:cubicBezTo>
                <a:close/>
                <a:moveTo>
                  <a:pt x="68484" y="3869314"/>
                </a:moveTo>
                <a:cubicBezTo>
                  <a:pt x="68193" y="3884347"/>
                  <a:pt x="66512" y="3902197"/>
                  <a:pt x="65012" y="3912419"/>
                </a:cubicBezTo>
                <a:cubicBezTo>
                  <a:pt x="61082" y="3914711"/>
                  <a:pt x="64495" y="3863256"/>
                  <a:pt x="63616" y="3843113"/>
                </a:cubicBezTo>
                <a:cubicBezTo>
                  <a:pt x="67676" y="3842066"/>
                  <a:pt x="68775" y="3854282"/>
                  <a:pt x="68484" y="3869314"/>
                </a:cubicBezTo>
                <a:close/>
                <a:moveTo>
                  <a:pt x="71425" y="5978118"/>
                </a:moveTo>
                <a:cubicBezTo>
                  <a:pt x="68632" y="5955981"/>
                  <a:pt x="68425" y="5899340"/>
                  <a:pt x="68425" y="5867130"/>
                </a:cubicBezTo>
                <a:cubicBezTo>
                  <a:pt x="66305" y="5864837"/>
                  <a:pt x="63253" y="5869324"/>
                  <a:pt x="63047" y="5853069"/>
                </a:cubicBezTo>
                <a:cubicBezTo>
                  <a:pt x="65581" y="5799620"/>
                  <a:pt x="64081" y="5747765"/>
                  <a:pt x="63822" y="5714459"/>
                </a:cubicBezTo>
                <a:cubicBezTo>
                  <a:pt x="63564" y="5680852"/>
                  <a:pt x="66977" y="5610949"/>
                  <a:pt x="60719" y="5617331"/>
                </a:cubicBezTo>
                <a:cubicBezTo>
                  <a:pt x="59685" y="5617232"/>
                  <a:pt x="58547" y="5628499"/>
                  <a:pt x="60616" y="5631192"/>
                </a:cubicBezTo>
                <a:cubicBezTo>
                  <a:pt x="57616" y="5713461"/>
                  <a:pt x="59220" y="5832727"/>
                  <a:pt x="55392" y="5908314"/>
                </a:cubicBezTo>
                <a:cubicBezTo>
                  <a:pt x="58754" y="5910508"/>
                  <a:pt x="56220" y="5955283"/>
                  <a:pt x="58702" y="5963858"/>
                </a:cubicBezTo>
                <a:cubicBezTo>
                  <a:pt x="53944" y="6001653"/>
                  <a:pt x="57616" y="6022892"/>
                  <a:pt x="54513" y="6060787"/>
                </a:cubicBezTo>
                <a:cubicBezTo>
                  <a:pt x="59633" y="6063279"/>
                  <a:pt x="61961" y="6086414"/>
                  <a:pt x="67081" y="6088908"/>
                </a:cubicBezTo>
                <a:cubicBezTo>
                  <a:pt x="64495" y="6038549"/>
                  <a:pt x="74580" y="6003747"/>
                  <a:pt x="71425" y="5978118"/>
                </a:cubicBezTo>
                <a:close/>
                <a:moveTo>
                  <a:pt x="73475" y="7032496"/>
                </a:moveTo>
                <a:cubicBezTo>
                  <a:pt x="73598" y="7026325"/>
                  <a:pt x="73442" y="7022187"/>
                  <a:pt x="72770" y="7017799"/>
                </a:cubicBezTo>
                <a:cubicBezTo>
                  <a:pt x="72408" y="7015406"/>
                  <a:pt x="72977" y="6994266"/>
                  <a:pt x="72925" y="6990077"/>
                </a:cubicBezTo>
                <a:cubicBezTo>
                  <a:pt x="72718" y="6967341"/>
                  <a:pt x="73029" y="6959564"/>
                  <a:pt x="71322" y="6948394"/>
                </a:cubicBezTo>
                <a:cubicBezTo>
                  <a:pt x="69201" y="6934533"/>
                  <a:pt x="73080" y="6878491"/>
                  <a:pt x="68012" y="6892850"/>
                </a:cubicBezTo>
                <a:cubicBezTo>
                  <a:pt x="64547" y="6922467"/>
                  <a:pt x="67857" y="6983496"/>
                  <a:pt x="60409" y="6948095"/>
                </a:cubicBezTo>
                <a:cubicBezTo>
                  <a:pt x="57926" y="7036546"/>
                  <a:pt x="66667" y="7092789"/>
                  <a:pt x="59323" y="7142151"/>
                </a:cubicBezTo>
                <a:cubicBezTo>
                  <a:pt x="58547" y="7125796"/>
                  <a:pt x="57565" y="7110639"/>
                  <a:pt x="55910" y="7100468"/>
                </a:cubicBezTo>
                <a:cubicBezTo>
                  <a:pt x="55547" y="7160898"/>
                  <a:pt x="55754" y="7225317"/>
                  <a:pt x="53116" y="7266901"/>
                </a:cubicBezTo>
                <a:cubicBezTo>
                  <a:pt x="60150" y="7289337"/>
                  <a:pt x="54099" y="7207068"/>
                  <a:pt x="58857" y="7211555"/>
                </a:cubicBezTo>
                <a:cubicBezTo>
                  <a:pt x="59064" y="7227710"/>
                  <a:pt x="61651" y="7226712"/>
                  <a:pt x="64236" y="7225616"/>
                </a:cubicBezTo>
                <a:cubicBezTo>
                  <a:pt x="62167" y="7271786"/>
                  <a:pt x="66512" y="7271088"/>
                  <a:pt x="71270" y="7267398"/>
                </a:cubicBezTo>
                <a:cubicBezTo>
                  <a:pt x="70856" y="7231200"/>
                  <a:pt x="69770" y="7189518"/>
                  <a:pt x="70029" y="7170271"/>
                </a:cubicBezTo>
                <a:cubicBezTo>
                  <a:pt x="70133" y="7160199"/>
                  <a:pt x="71943" y="7156709"/>
                  <a:pt x="71943" y="7156410"/>
                </a:cubicBezTo>
                <a:cubicBezTo>
                  <a:pt x="72564" y="7130184"/>
                  <a:pt x="69926" y="7125697"/>
                  <a:pt x="70443" y="7100967"/>
                </a:cubicBezTo>
                <a:cubicBezTo>
                  <a:pt x="70443" y="7102062"/>
                  <a:pt x="72046" y="7094684"/>
                  <a:pt x="72357" y="7087105"/>
                </a:cubicBezTo>
                <a:cubicBezTo>
                  <a:pt x="72667" y="7078430"/>
                  <a:pt x="72201" y="7068158"/>
                  <a:pt x="72511" y="7059383"/>
                </a:cubicBezTo>
                <a:cubicBezTo>
                  <a:pt x="72951" y="7046868"/>
                  <a:pt x="73352" y="7038666"/>
                  <a:pt x="73475" y="7032496"/>
                </a:cubicBezTo>
                <a:close/>
                <a:moveTo>
                  <a:pt x="75046" y="900673"/>
                </a:moveTo>
                <a:cubicBezTo>
                  <a:pt x="74684" y="903765"/>
                  <a:pt x="72304" y="967186"/>
                  <a:pt x="72046" y="969180"/>
                </a:cubicBezTo>
                <a:cubicBezTo>
                  <a:pt x="70546" y="979951"/>
                  <a:pt x="72253" y="1017944"/>
                  <a:pt x="72098" y="1043173"/>
                </a:cubicBezTo>
                <a:cubicBezTo>
                  <a:pt x="71943" y="1068503"/>
                  <a:pt x="72718" y="1055838"/>
                  <a:pt x="73598" y="1070297"/>
                </a:cubicBezTo>
                <a:cubicBezTo>
                  <a:pt x="74012" y="1077577"/>
                  <a:pt x="73494" y="1119060"/>
                  <a:pt x="72718" y="1138904"/>
                </a:cubicBezTo>
                <a:cubicBezTo>
                  <a:pt x="72460" y="1138007"/>
                  <a:pt x="69822" y="1150472"/>
                  <a:pt x="69563" y="1149674"/>
                </a:cubicBezTo>
                <a:cubicBezTo>
                  <a:pt x="66150" y="1144588"/>
                  <a:pt x="71218" y="1186171"/>
                  <a:pt x="69667" y="1195345"/>
                </a:cubicBezTo>
                <a:cubicBezTo>
                  <a:pt x="68115" y="1204620"/>
                  <a:pt x="68374" y="1206016"/>
                  <a:pt x="67702" y="1223068"/>
                </a:cubicBezTo>
                <a:cubicBezTo>
                  <a:pt x="67495" y="1228553"/>
                  <a:pt x="65788" y="1240918"/>
                  <a:pt x="65788" y="1236929"/>
                </a:cubicBezTo>
                <a:cubicBezTo>
                  <a:pt x="65684" y="1258768"/>
                  <a:pt x="69305" y="1263455"/>
                  <a:pt x="65478" y="1292374"/>
                </a:cubicBezTo>
                <a:cubicBezTo>
                  <a:pt x="63150" y="1310224"/>
                  <a:pt x="61909" y="1390996"/>
                  <a:pt x="59167" y="1444746"/>
                </a:cubicBezTo>
                <a:cubicBezTo>
                  <a:pt x="55910" y="1446441"/>
                  <a:pt x="55444" y="1427694"/>
                  <a:pt x="51979" y="1430685"/>
                </a:cubicBezTo>
                <a:cubicBezTo>
                  <a:pt x="54772" y="1362676"/>
                  <a:pt x="56271" y="1322489"/>
                  <a:pt x="54823" y="1250591"/>
                </a:cubicBezTo>
                <a:cubicBezTo>
                  <a:pt x="58599" y="1262957"/>
                  <a:pt x="57358" y="1230448"/>
                  <a:pt x="58702" y="1222669"/>
                </a:cubicBezTo>
                <a:cubicBezTo>
                  <a:pt x="58909" y="1221473"/>
                  <a:pt x="60409" y="1224364"/>
                  <a:pt x="60512" y="1222768"/>
                </a:cubicBezTo>
                <a:cubicBezTo>
                  <a:pt x="63978" y="1164134"/>
                  <a:pt x="62323" y="1055739"/>
                  <a:pt x="65012" y="961802"/>
                </a:cubicBezTo>
                <a:cubicBezTo>
                  <a:pt x="70494" y="954722"/>
                  <a:pt x="68839" y="848021"/>
                  <a:pt x="73701" y="850115"/>
                </a:cubicBezTo>
                <a:cubicBezTo>
                  <a:pt x="74580" y="850513"/>
                  <a:pt x="73959" y="901172"/>
                  <a:pt x="75046" y="900673"/>
                </a:cubicBezTo>
                <a:close/>
                <a:moveTo>
                  <a:pt x="75356" y="6241679"/>
                </a:moveTo>
                <a:cubicBezTo>
                  <a:pt x="71943" y="6206178"/>
                  <a:pt x="63460" y="6192616"/>
                  <a:pt x="68736" y="6130591"/>
                </a:cubicBezTo>
                <a:cubicBezTo>
                  <a:pt x="64443" y="6140861"/>
                  <a:pt x="60357" y="6115432"/>
                  <a:pt x="57823" y="6130291"/>
                </a:cubicBezTo>
                <a:cubicBezTo>
                  <a:pt x="56582" y="6137771"/>
                  <a:pt x="58599" y="6176461"/>
                  <a:pt x="55754" y="6171776"/>
                </a:cubicBezTo>
                <a:cubicBezTo>
                  <a:pt x="52910" y="6165791"/>
                  <a:pt x="54409" y="6128097"/>
                  <a:pt x="48617" y="6143853"/>
                </a:cubicBezTo>
                <a:cubicBezTo>
                  <a:pt x="46859" y="6320358"/>
                  <a:pt x="49134" y="6423568"/>
                  <a:pt x="46393" y="6531964"/>
                </a:cubicBezTo>
                <a:cubicBezTo>
                  <a:pt x="49858" y="6537748"/>
                  <a:pt x="47531" y="6585714"/>
                  <a:pt x="53427" y="6573746"/>
                </a:cubicBezTo>
                <a:cubicBezTo>
                  <a:pt x="51927" y="6515410"/>
                  <a:pt x="55030" y="6466348"/>
                  <a:pt x="52341" y="6448997"/>
                </a:cubicBezTo>
                <a:cubicBezTo>
                  <a:pt x="50323" y="6435834"/>
                  <a:pt x="54409" y="6387269"/>
                  <a:pt x="54565" y="6379691"/>
                </a:cubicBezTo>
                <a:cubicBezTo>
                  <a:pt x="55185" y="6352667"/>
                  <a:pt x="53013" y="6310984"/>
                  <a:pt x="56944" y="6282664"/>
                </a:cubicBezTo>
                <a:cubicBezTo>
                  <a:pt x="60875" y="6280469"/>
                  <a:pt x="57461" y="6331826"/>
                  <a:pt x="58392" y="6352069"/>
                </a:cubicBezTo>
                <a:cubicBezTo>
                  <a:pt x="66667" y="6354462"/>
                  <a:pt x="65426" y="6363736"/>
                  <a:pt x="72925" y="6352468"/>
                </a:cubicBezTo>
                <a:cubicBezTo>
                  <a:pt x="76804" y="6310186"/>
                  <a:pt x="71012" y="6280171"/>
                  <a:pt x="75356" y="6241679"/>
                </a:cubicBezTo>
                <a:close/>
                <a:moveTo>
                  <a:pt x="78356" y="2207703"/>
                </a:moveTo>
                <a:cubicBezTo>
                  <a:pt x="75667" y="2207604"/>
                  <a:pt x="77373" y="2236025"/>
                  <a:pt x="76287" y="2249287"/>
                </a:cubicBezTo>
                <a:cubicBezTo>
                  <a:pt x="75977" y="2253476"/>
                  <a:pt x="73184" y="2245497"/>
                  <a:pt x="72667" y="2249188"/>
                </a:cubicBezTo>
                <a:cubicBezTo>
                  <a:pt x="71063" y="2260954"/>
                  <a:pt x="72873" y="2298749"/>
                  <a:pt x="70546" y="2304532"/>
                </a:cubicBezTo>
                <a:cubicBezTo>
                  <a:pt x="71477" y="2346016"/>
                  <a:pt x="74477" y="2291369"/>
                  <a:pt x="77787" y="2304732"/>
                </a:cubicBezTo>
                <a:cubicBezTo>
                  <a:pt x="79184" y="2349505"/>
                  <a:pt x="71736" y="2324077"/>
                  <a:pt x="70287" y="2346115"/>
                </a:cubicBezTo>
                <a:cubicBezTo>
                  <a:pt x="67960" y="2389593"/>
                  <a:pt x="70598" y="2382812"/>
                  <a:pt x="68064" y="2415421"/>
                </a:cubicBezTo>
                <a:lnTo>
                  <a:pt x="60822" y="2415221"/>
                </a:lnTo>
                <a:cubicBezTo>
                  <a:pt x="58392" y="2397371"/>
                  <a:pt x="60099" y="2349705"/>
                  <a:pt x="57668" y="2331955"/>
                </a:cubicBezTo>
                <a:cubicBezTo>
                  <a:pt x="50169" y="2342825"/>
                  <a:pt x="58288" y="2388995"/>
                  <a:pt x="53582" y="2415023"/>
                </a:cubicBezTo>
                <a:cubicBezTo>
                  <a:pt x="53634" y="2445237"/>
                  <a:pt x="57978" y="2444839"/>
                  <a:pt x="62478" y="2442943"/>
                </a:cubicBezTo>
                <a:cubicBezTo>
                  <a:pt x="61443" y="2454112"/>
                  <a:pt x="60461" y="2465380"/>
                  <a:pt x="60409" y="2484527"/>
                </a:cubicBezTo>
                <a:cubicBezTo>
                  <a:pt x="60719" y="2513345"/>
                  <a:pt x="68374" y="2488516"/>
                  <a:pt x="69357" y="2512547"/>
                </a:cubicBezTo>
                <a:cubicBezTo>
                  <a:pt x="67702" y="2563006"/>
                  <a:pt x="63564" y="2511051"/>
                  <a:pt x="56582" y="2526010"/>
                </a:cubicBezTo>
                <a:cubicBezTo>
                  <a:pt x="48048" y="2533589"/>
                  <a:pt x="56271" y="2591226"/>
                  <a:pt x="48927" y="2595116"/>
                </a:cubicBezTo>
                <a:cubicBezTo>
                  <a:pt x="51410" y="2567095"/>
                  <a:pt x="46341" y="2490310"/>
                  <a:pt x="49600" y="2470267"/>
                </a:cubicBezTo>
                <a:cubicBezTo>
                  <a:pt x="51824" y="2456805"/>
                  <a:pt x="49651" y="2463784"/>
                  <a:pt x="49755" y="2442545"/>
                </a:cubicBezTo>
                <a:cubicBezTo>
                  <a:pt x="49806" y="2431376"/>
                  <a:pt x="51720" y="2428983"/>
                  <a:pt x="51720" y="2415719"/>
                </a:cubicBezTo>
                <a:cubicBezTo>
                  <a:pt x="51617" y="2414124"/>
                  <a:pt x="50582" y="2347213"/>
                  <a:pt x="50323" y="2345516"/>
                </a:cubicBezTo>
                <a:cubicBezTo>
                  <a:pt x="47531" y="2327168"/>
                  <a:pt x="51565" y="2278605"/>
                  <a:pt x="49237" y="2220767"/>
                </a:cubicBezTo>
                <a:cubicBezTo>
                  <a:pt x="50996" y="2220368"/>
                  <a:pt x="50737" y="2203814"/>
                  <a:pt x="51203" y="2193045"/>
                </a:cubicBezTo>
                <a:cubicBezTo>
                  <a:pt x="53686" y="2178985"/>
                  <a:pt x="57978" y="2179582"/>
                  <a:pt x="60461" y="2165523"/>
                </a:cubicBezTo>
                <a:cubicBezTo>
                  <a:pt x="62323" y="2127229"/>
                  <a:pt x="57461" y="2035288"/>
                  <a:pt x="64805" y="2040873"/>
                </a:cubicBezTo>
                <a:cubicBezTo>
                  <a:pt x="64857" y="2108881"/>
                  <a:pt x="61029" y="2145777"/>
                  <a:pt x="61961" y="2221067"/>
                </a:cubicBezTo>
                <a:lnTo>
                  <a:pt x="67391" y="2221265"/>
                </a:lnTo>
                <a:cubicBezTo>
                  <a:pt x="70339" y="2227548"/>
                  <a:pt x="70805" y="2145777"/>
                  <a:pt x="67805" y="2151961"/>
                </a:cubicBezTo>
                <a:cubicBezTo>
                  <a:pt x="67650" y="2121945"/>
                  <a:pt x="74270" y="2145877"/>
                  <a:pt x="76959" y="2138399"/>
                </a:cubicBezTo>
                <a:cubicBezTo>
                  <a:pt x="75201" y="2177489"/>
                  <a:pt x="79287" y="2174297"/>
                  <a:pt x="78356" y="2207703"/>
                </a:cubicBezTo>
                <a:close/>
                <a:moveTo>
                  <a:pt x="78459" y="3150357"/>
                </a:moveTo>
                <a:lnTo>
                  <a:pt x="78045" y="3219663"/>
                </a:lnTo>
                <a:cubicBezTo>
                  <a:pt x="72977" y="3208095"/>
                  <a:pt x="73236" y="3239108"/>
                  <a:pt x="68891" y="3233324"/>
                </a:cubicBezTo>
                <a:cubicBezTo>
                  <a:pt x="68374" y="3257855"/>
                  <a:pt x="70339" y="3302729"/>
                  <a:pt x="64961" y="3288669"/>
                </a:cubicBezTo>
                <a:cubicBezTo>
                  <a:pt x="62064" y="3239507"/>
                  <a:pt x="66357" y="3254664"/>
                  <a:pt x="67236" y="3205603"/>
                </a:cubicBezTo>
                <a:cubicBezTo>
                  <a:pt x="71425" y="3210090"/>
                  <a:pt x="74219" y="3203508"/>
                  <a:pt x="76390" y="3191940"/>
                </a:cubicBezTo>
                <a:cubicBezTo>
                  <a:pt x="75925" y="3174888"/>
                  <a:pt x="77166" y="3106281"/>
                  <a:pt x="78459" y="3150357"/>
                </a:cubicBezTo>
                <a:close/>
                <a:moveTo>
                  <a:pt x="78718" y="8506881"/>
                </a:moveTo>
                <a:cubicBezTo>
                  <a:pt x="79132" y="8483409"/>
                  <a:pt x="78925" y="8460398"/>
                  <a:pt x="77218" y="8445889"/>
                </a:cubicBezTo>
                <a:cubicBezTo>
                  <a:pt x="72977" y="8445391"/>
                  <a:pt x="71736" y="8469524"/>
                  <a:pt x="66253" y="8459352"/>
                </a:cubicBezTo>
                <a:cubicBezTo>
                  <a:pt x="66305" y="8516392"/>
                  <a:pt x="65891" y="8577221"/>
                  <a:pt x="70908" y="8598162"/>
                </a:cubicBezTo>
                <a:cubicBezTo>
                  <a:pt x="70805" y="8573331"/>
                  <a:pt x="72873" y="8565754"/>
                  <a:pt x="76494" y="8570640"/>
                </a:cubicBezTo>
                <a:cubicBezTo>
                  <a:pt x="77270" y="8554285"/>
                  <a:pt x="78304" y="8530352"/>
                  <a:pt x="78718" y="8506881"/>
                </a:cubicBezTo>
                <a:close/>
                <a:moveTo>
                  <a:pt x="79545" y="3594012"/>
                </a:moveTo>
                <a:lnTo>
                  <a:pt x="79390" y="3621734"/>
                </a:lnTo>
                <a:cubicBezTo>
                  <a:pt x="77839" y="3619142"/>
                  <a:pt x="77632" y="3627119"/>
                  <a:pt x="77476" y="3635595"/>
                </a:cubicBezTo>
                <a:cubicBezTo>
                  <a:pt x="73959" y="3640981"/>
                  <a:pt x="75201" y="3572373"/>
                  <a:pt x="79545" y="3594012"/>
                </a:cubicBezTo>
                <a:close/>
                <a:moveTo>
                  <a:pt x="80786" y="4966458"/>
                </a:moveTo>
                <a:cubicBezTo>
                  <a:pt x="81666" y="4893663"/>
                  <a:pt x="76080" y="4842507"/>
                  <a:pt x="80011" y="4786264"/>
                </a:cubicBezTo>
                <a:cubicBezTo>
                  <a:pt x="72718" y="4795140"/>
                  <a:pt x="75098" y="4733413"/>
                  <a:pt x="75098" y="4689138"/>
                </a:cubicBezTo>
                <a:cubicBezTo>
                  <a:pt x="72977" y="4682356"/>
                  <a:pt x="71063" y="4674179"/>
                  <a:pt x="69822" y="4661215"/>
                </a:cubicBezTo>
                <a:cubicBezTo>
                  <a:pt x="68736" y="4623322"/>
                  <a:pt x="73598" y="4633394"/>
                  <a:pt x="73753" y="4605871"/>
                </a:cubicBezTo>
                <a:cubicBezTo>
                  <a:pt x="71632" y="4603478"/>
                  <a:pt x="71891" y="4583833"/>
                  <a:pt x="72201" y="4564188"/>
                </a:cubicBezTo>
                <a:cubicBezTo>
                  <a:pt x="70494" y="4545640"/>
                  <a:pt x="67443" y="4536865"/>
                  <a:pt x="67081" y="4508644"/>
                </a:cubicBezTo>
                <a:cubicBezTo>
                  <a:pt x="71425" y="4478229"/>
                  <a:pt x="66926" y="4453299"/>
                  <a:pt x="61961" y="4453001"/>
                </a:cubicBezTo>
                <a:cubicBezTo>
                  <a:pt x="58547" y="4499071"/>
                  <a:pt x="62530" y="4514528"/>
                  <a:pt x="61236" y="4577750"/>
                </a:cubicBezTo>
                <a:cubicBezTo>
                  <a:pt x="63357" y="4579945"/>
                  <a:pt x="66409" y="4575556"/>
                  <a:pt x="66616" y="4591810"/>
                </a:cubicBezTo>
                <a:cubicBezTo>
                  <a:pt x="59892" y="4593107"/>
                  <a:pt x="64133" y="4647354"/>
                  <a:pt x="64340" y="4674977"/>
                </a:cubicBezTo>
                <a:cubicBezTo>
                  <a:pt x="64702" y="4732316"/>
                  <a:pt x="62271" y="4755251"/>
                  <a:pt x="61909" y="4785766"/>
                </a:cubicBezTo>
                <a:cubicBezTo>
                  <a:pt x="61495" y="4817876"/>
                  <a:pt x="61495" y="4871624"/>
                  <a:pt x="61340" y="4882794"/>
                </a:cubicBezTo>
                <a:cubicBezTo>
                  <a:pt x="61236" y="4892068"/>
                  <a:pt x="59427" y="4897352"/>
                  <a:pt x="59427" y="4896555"/>
                </a:cubicBezTo>
                <a:cubicBezTo>
                  <a:pt x="59116" y="4914206"/>
                  <a:pt x="61495" y="4915502"/>
                  <a:pt x="61029" y="4938138"/>
                </a:cubicBezTo>
                <a:cubicBezTo>
                  <a:pt x="60616" y="4958780"/>
                  <a:pt x="58909" y="4962769"/>
                  <a:pt x="58909" y="4993583"/>
                </a:cubicBezTo>
                <a:cubicBezTo>
                  <a:pt x="58909" y="5019510"/>
                  <a:pt x="60461" y="5038755"/>
                  <a:pt x="60306" y="5062888"/>
                </a:cubicBezTo>
                <a:cubicBezTo>
                  <a:pt x="60202" y="5080539"/>
                  <a:pt x="58547" y="5090709"/>
                  <a:pt x="58185" y="5118233"/>
                </a:cubicBezTo>
                <a:cubicBezTo>
                  <a:pt x="57772" y="5150941"/>
                  <a:pt x="58702" y="5169689"/>
                  <a:pt x="59530" y="5201399"/>
                </a:cubicBezTo>
                <a:cubicBezTo>
                  <a:pt x="57099" y="5198108"/>
                  <a:pt x="58444" y="5221144"/>
                  <a:pt x="57512" y="5229220"/>
                </a:cubicBezTo>
                <a:cubicBezTo>
                  <a:pt x="56427" y="5238395"/>
                  <a:pt x="52341" y="5227327"/>
                  <a:pt x="53737" y="5256843"/>
                </a:cubicBezTo>
                <a:cubicBezTo>
                  <a:pt x="55754" y="5259836"/>
                  <a:pt x="56478" y="5272300"/>
                  <a:pt x="57202" y="5284665"/>
                </a:cubicBezTo>
                <a:cubicBezTo>
                  <a:pt x="58288" y="5336919"/>
                  <a:pt x="54616" y="5350880"/>
                  <a:pt x="54772" y="5395454"/>
                </a:cubicBezTo>
                <a:cubicBezTo>
                  <a:pt x="59995" y="5384186"/>
                  <a:pt x="59374" y="5415099"/>
                  <a:pt x="63771" y="5409615"/>
                </a:cubicBezTo>
                <a:cubicBezTo>
                  <a:pt x="61082" y="5348685"/>
                  <a:pt x="68684" y="5345095"/>
                  <a:pt x="69667" y="5326548"/>
                </a:cubicBezTo>
                <a:cubicBezTo>
                  <a:pt x="71322" y="5295834"/>
                  <a:pt x="69822" y="5258639"/>
                  <a:pt x="72098" y="5215759"/>
                </a:cubicBezTo>
                <a:cubicBezTo>
                  <a:pt x="72822" y="5183848"/>
                  <a:pt x="66926" y="5200202"/>
                  <a:pt x="66874" y="5174077"/>
                </a:cubicBezTo>
                <a:cubicBezTo>
                  <a:pt x="67081" y="5155029"/>
                  <a:pt x="66202" y="5143562"/>
                  <a:pt x="65322" y="5132392"/>
                </a:cubicBezTo>
                <a:cubicBezTo>
                  <a:pt x="67495" y="5082632"/>
                  <a:pt x="64029" y="5039654"/>
                  <a:pt x="64288" y="4993782"/>
                </a:cubicBezTo>
                <a:cubicBezTo>
                  <a:pt x="64288" y="4997770"/>
                  <a:pt x="65995" y="4985405"/>
                  <a:pt x="66202" y="4979921"/>
                </a:cubicBezTo>
                <a:cubicBezTo>
                  <a:pt x="68529" y="4919790"/>
                  <a:pt x="63978" y="4840612"/>
                  <a:pt x="68943" y="4813588"/>
                </a:cubicBezTo>
                <a:cubicBezTo>
                  <a:pt x="71322" y="4813887"/>
                  <a:pt x="70443" y="4837919"/>
                  <a:pt x="72408" y="4841409"/>
                </a:cubicBezTo>
                <a:cubicBezTo>
                  <a:pt x="72511" y="4827449"/>
                  <a:pt x="75718" y="4824058"/>
                  <a:pt x="76028" y="4841509"/>
                </a:cubicBezTo>
                <a:cubicBezTo>
                  <a:pt x="77735" y="4911214"/>
                  <a:pt x="70701" y="4962271"/>
                  <a:pt x="75098" y="5007843"/>
                </a:cubicBezTo>
                <a:cubicBezTo>
                  <a:pt x="79907" y="5017515"/>
                  <a:pt x="78770" y="4979323"/>
                  <a:pt x="80786" y="4966458"/>
                </a:cubicBezTo>
                <a:close/>
                <a:moveTo>
                  <a:pt x="81614" y="696746"/>
                </a:moveTo>
                <a:cubicBezTo>
                  <a:pt x="78873" y="740523"/>
                  <a:pt x="80942" y="743116"/>
                  <a:pt x="81045" y="793774"/>
                </a:cubicBezTo>
                <a:cubicBezTo>
                  <a:pt x="75098" y="801651"/>
                  <a:pt x="72667" y="784200"/>
                  <a:pt x="68425" y="779613"/>
                </a:cubicBezTo>
                <a:cubicBezTo>
                  <a:pt x="68374" y="748799"/>
                  <a:pt x="80425" y="742417"/>
                  <a:pt x="74270" y="710407"/>
                </a:cubicBezTo>
                <a:cubicBezTo>
                  <a:pt x="74942" y="691561"/>
                  <a:pt x="78873" y="699040"/>
                  <a:pt x="81614" y="696746"/>
                </a:cubicBezTo>
                <a:close/>
                <a:moveTo>
                  <a:pt x="81976" y="1902860"/>
                </a:moveTo>
                <a:cubicBezTo>
                  <a:pt x="77580" y="1930781"/>
                  <a:pt x="82183" y="1955810"/>
                  <a:pt x="81511" y="1986027"/>
                </a:cubicBezTo>
                <a:cubicBezTo>
                  <a:pt x="81459" y="1986426"/>
                  <a:pt x="79700" y="1989516"/>
                  <a:pt x="79597" y="1999787"/>
                </a:cubicBezTo>
                <a:cubicBezTo>
                  <a:pt x="79545" y="2003478"/>
                  <a:pt x="79700" y="2010259"/>
                  <a:pt x="79494" y="2013648"/>
                </a:cubicBezTo>
                <a:cubicBezTo>
                  <a:pt x="78718" y="2027011"/>
                  <a:pt x="76546" y="2040773"/>
                  <a:pt x="77269" y="2082855"/>
                </a:cubicBezTo>
                <a:cubicBezTo>
                  <a:pt x="74166" y="2082157"/>
                  <a:pt x="72511" y="2093025"/>
                  <a:pt x="71684" y="2110477"/>
                </a:cubicBezTo>
                <a:cubicBezTo>
                  <a:pt x="70287" y="2136903"/>
                  <a:pt x="68943" y="2095419"/>
                  <a:pt x="71788" y="2096615"/>
                </a:cubicBezTo>
                <a:cubicBezTo>
                  <a:pt x="68684" y="2060517"/>
                  <a:pt x="72822" y="2054932"/>
                  <a:pt x="70443" y="2013450"/>
                </a:cubicBezTo>
                <a:cubicBezTo>
                  <a:pt x="71943" y="2006169"/>
                  <a:pt x="73494" y="1999089"/>
                  <a:pt x="75977" y="1999787"/>
                </a:cubicBezTo>
                <a:cubicBezTo>
                  <a:pt x="74166" y="1961994"/>
                  <a:pt x="73184" y="1893287"/>
                  <a:pt x="81976" y="1902860"/>
                </a:cubicBezTo>
                <a:close/>
                <a:moveTo>
                  <a:pt x="82623" y="6824068"/>
                </a:moveTo>
                <a:cubicBezTo>
                  <a:pt x="82765" y="6799288"/>
                  <a:pt x="80580" y="6774433"/>
                  <a:pt x="75874" y="6782261"/>
                </a:cubicBezTo>
                <a:cubicBezTo>
                  <a:pt x="73546" y="6819855"/>
                  <a:pt x="74787" y="6816765"/>
                  <a:pt x="75408" y="6865427"/>
                </a:cubicBezTo>
                <a:cubicBezTo>
                  <a:pt x="80011" y="6873554"/>
                  <a:pt x="82480" y="6848849"/>
                  <a:pt x="82623" y="6824068"/>
                </a:cubicBezTo>
                <a:close/>
                <a:moveTo>
                  <a:pt x="83631" y="4162516"/>
                </a:moveTo>
                <a:cubicBezTo>
                  <a:pt x="85286" y="4091615"/>
                  <a:pt x="75718" y="4185750"/>
                  <a:pt x="74735" y="4134494"/>
                </a:cubicBezTo>
                <a:cubicBezTo>
                  <a:pt x="75408" y="4083038"/>
                  <a:pt x="82080" y="3971253"/>
                  <a:pt x="75770" y="3954300"/>
                </a:cubicBezTo>
                <a:cubicBezTo>
                  <a:pt x="71632" y="4026696"/>
                  <a:pt x="73701" y="4120633"/>
                  <a:pt x="72511" y="4203700"/>
                </a:cubicBezTo>
                <a:cubicBezTo>
                  <a:pt x="72253" y="4220353"/>
                  <a:pt x="70960" y="4224742"/>
                  <a:pt x="70443" y="4245283"/>
                </a:cubicBezTo>
                <a:cubicBezTo>
                  <a:pt x="69563" y="4279189"/>
                  <a:pt x="70598" y="4310400"/>
                  <a:pt x="69873" y="4342311"/>
                </a:cubicBezTo>
                <a:cubicBezTo>
                  <a:pt x="71839" y="4363053"/>
                  <a:pt x="77269" y="4358864"/>
                  <a:pt x="76804" y="4397955"/>
                </a:cubicBezTo>
                <a:cubicBezTo>
                  <a:pt x="73959" y="4399152"/>
                  <a:pt x="70494" y="4395961"/>
                  <a:pt x="71218" y="4425477"/>
                </a:cubicBezTo>
                <a:cubicBezTo>
                  <a:pt x="75511" y="4425278"/>
                  <a:pt x="76442" y="4449510"/>
                  <a:pt x="82028" y="4439638"/>
                </a:cubicBezTo>
                <a:cubicBezTo>
                  <a:pt x="80425" y="4350887"/>
                  <a:pt x="82442" y="4313591"/>
                  <a:pt x="83321" y="4217860"/>
                </a:cubicBezTo>
                <a:cubicBezTo>
                  <a:pt x="80735" y="4205695"/>
                  <a:pt x="76339" y="4206692"/>
                  <a:pt x="78201" y="4162316"/>
                </a:cubicBezTo>
                <a:cubicBezTo>
                  <a:pt x="80839" y="4162117"/>
                  <a:pt x="83631" y="4220952"/>
                  <a:pt x="83631" y="4162516"/>
                </a:cubicBezTo>
                <a:close/>
                <a:moveTo>
                  <a:pt x="84918" y="3329192"/>
                </a:moveTo>
                <a:cubicBezTo>
                  <a:pt x="84614" y="3349099"/>
                  <a:pt x="83916" y="3371836"/>
                  <a:pt x="84355" y="3386196"/>
                </a:cubicBezTo>
                <a:cubicBezTo>
                  <a:pt x="74891" y="3368644"/>
                  <a:pt x="83321" y="3342519"/>
                  <a:pt x="83114" y="3289167"/>
                </a:cubicBezTo>
                <a:cubicBezTo>
                  <a:pt x="85131" y="3292209"/>
                  <a:pt x="85221" y="3309285"/>
                  <a:pt x="84918" y="3329192"/>
                </a:cubicBezTo>
                <a:close/>
                <a:moveTo>
                  <a:pt x="86218" y="571261"/>
                </a:moveTo>
                <a:cubicBezTo>
                  <a:pt x="85804" y="585035"/>
                  <a:pt x="84408" y="596777"/>
                  <a:pt x="82235" y="585957"/>
                </a:cubicBezTo>
                <a:cubicBezTo>
                  <a:pt x="81873" y="563519"/>
                  <a:pt x="84097" y="562124"/>
                  <a:pt x="84304" y="544373"/>
                </a:cubicBezTo>
                <a:cubicBezTo>
                  <a:pt x="86062" y="541681"/>
                  <a:pt x="86631" y="557487"/>
                  <a:pt x="86218" y="571261"/>
                </a:cubicBezTo>
                <a:close/>
                <a:moveTo>
                  <a:pt x="87096" y="1639599"/>
                </a:moveTo>
                <a:cubicBezTo>
                  <a:pt x="85390" y="1669415"/>
                  <a:pt x="79028" y="1661736"/>
                  <a:pt x="75925" y="1680983"/>
                </a:cubicBezTo>
                <a:cubicBezTo>
                  <a:pt x="74787" y="1740017"/>
                  <a:pt x="77269" y="1776116"/>
                  <a:pt x="73391" y="1805633"/>
                </a:cubicBezTo>
                <a:cubicBezTo>
                  <a:pt x="70080" y="1830962"/>
                  <a:pt x="74477" y="1835250"/>
                  <a:pt x="72925" y="1888800"/>
                </a:cubicBezTo>
                <a:cubicBezTo>
                  <a:pt x="69150" y="1878429"/>
                  <a:pt x="70391" y="1906150"/>
                  <a:pt x="69150" y="1916421"/>
                </a:cubicBezTo>
                <a:cubicBezTo>
                  <a:pt x="68736" y="1919912"/>
                  <a:pt x="65633" y="1927091"/>
                  <a:pt x="65426" y="1930183"/>
                </a:cubicBezTo>
                <a:cubicBezTo>
                  <a:pt x="64288" y="1949529"/>
                  <a:pt x="67184" y="1956409"/>
                  <a:pt x="67029" y="1971866"/>
                </a:cubicBezTo>
                <a:cubicBezTo>
                  <a:pt x="67081" y="1965683"/>
                  <a:pt x="65271" y="1982237"/>
                  <a:pt x="65115" y="1985628"/>
                </a:cubicBezTo>
                <a:cubicBezTo>
                  <a:pt x="64805" y="1994302"/>
                  <a:pt x="65219" y="2004574"/>
                  <a:pt x="64961" y="2013349"/>
                </a:cubicBezTo>
                <a:cubicBezTo>
                  <a:pt x="62219" y="2056429"/>
                  <a:pt x="63357" y="1952121"/>
                  <a:pt x="63719" y="1916322"/>
                </a:cubicBezTo>
                <a:cubicBezTo>
                  <a:pt x="63978" y="1893685"/>
                  <a:pt x="65374" y="1892788"/>
                  <a:pt x="65788" y="1874738"/>
                </a:cubicBezTo>
                <a:cubicBezTo>
                  <a:pt x="66409" y="1849111"/>
                  <a:pt x="65529" y="1820990"/>
                  <a:pt x="66253" y="1791573"/>
                </a:cubicBezTo>
                <a:cubicBezTo>
                  <a:pt x="66823" y="1770232"/>
                  <a:pt x="67908" y="1767440"/>
                  <a:pt x="68322" y="1749989"/>
                </a:cubicBezTo>
                <a:cubicBezTo>
                  <a:pt x="69305" y="1711198"/>
                  <a:pt x="67702" y="1674401"/>
                  <a:pt x="68943" y="1639101"/>
                </a:cubicBezTo>
                <a:cubicBezTo>
                  <a:pt x="70080" y="1607489"/>
                  <a:pt x="73132" y="1593827"/>
                  <a:pt x="74787" y="1569994"/>
                </a:cubicBezTo>
                <a:cubicBezTo>
                  <a:pt x="78045" y="1597218"/>
                  <a:pt x="81407" y="1574482"/>
                  <a:pt x="85700" y="1570293"/>
                </a:cubicBezTo>
                <a:cubicBezTo>
                  <a:pt x="86527" y="1590437"/>
                  <a:pt x="83114" y="1641893"/>
                  <a:pt x="87096" y="1639599"/>
                </a:cubicBezTo>
                <a:close/>
                <a:moveTo>
                  <a:pt x="87096" y="5451796"/>
                </a:moveTo>
                <a:cubicBezTo>
                  <a:pt x="80786" y="5440827"/>
                  <a:pt x="81459" y="5497967"/>
                  <a:pt x="81355" y="5507040"/>
                </a:cubicBezTo>
                <a:cubicBezTo>
                  <a:pt x="80942" y="5537755"/>
                  <a:pt x="76080" y="5525489"/>
                  <a:pt x="77425" y="5562386"/>
                </a:cubicBezTo>
                <a:lnTo>
                  <a:pt x="77269" y="5590108"/>
                </a:lnTo>
                <a:lnTo>
                  <a:pt x="84511" y="5590307"/>
                </a:lnTo>
                <a:cubicBezTo>
                  <a:pt x="84200" y="5534864"/>
                  <a:pt x="88182" y="5513523"/>
                  <a:pt x="87096" y="5451796"/>
                </a:cubicBezTo>
                <a:close/>
                <a:moveTo>
                  <a:pt x="88286" y="2388197"/>
                </a:moveTo>
                <a:cubicBezTo>
                  <a:pt x="88286" y="2390690"/>
                  <a:pt x="84407" y="2432273"/>
                  <a:pt x="86217" y="2443541"/>
                </a:cubicBezTo>
                <a:cubicBezTo>
                  <a:pt x="89217" y="2463187"/>
                  <a:pt x="85907" y="2461891"/>
                  <a:pt x="85959" y="2485125"/>
                </a:cubicBezTo>
                <a:cubicBezTo>
                  <a:pt x="85959" y="2496692"/>
                  <a:pt x="87821" y="2498787"/>
                  <a:pt x="87614" y="2512947"/>
                </a:cubicBezTo>
                <a:cubicBezTo>
                  <a:pt x="87252" y="2535184"/>
                  <a:pt x="86062" y="2536481"/>
                  <a:pt x="85545" y="2554431"/>
                </a:cubicBezTo>
                <a:cubicBezTo>
                  <a:pt x="84252" y="2598307"/>
                  <a:pt x="85079" y="2601797"/>
                  <a:pt x="83166" y="2651457"/>
                </a:cubicBezTo>
                <a:cubicBezTo>
                  <a:pt x="82131" y="2678083"/>
                  <a:pt x="82338" y="2665319"/>
                  <a:pt x="82907" y="2693041"/>
                </a:cubicBezTo>
                <a:cubicBezTo>
                  <a:pt x="83528" y="2721960"/>
                  <a:pt x="81459" y="2729638"/>
                  <a:pt x="80786" y="2748385"/>
                </a:cubicBezTo>
                <a:cubicBezTo>
                  <a:pt x="80993" y="2764639"/>
                  <a:pt x="84045" y="2760153"/>
                  <a:pt x="86166" y="2762347"/>
                </a:cubicBezTo>
                <a:cubicBezTo>
                  <a:pt x="87821" y="2791465"/>
                  <a:pt x="83166" y="2781294"/>
                  <a:pt x="82390" y="2789969"/>
                </a:cubicBezTo>
                <a:cubicBezTo>
                  <a:pt x="80786" y="2808417"/>
                  <a:pt x="82597" y="2834743"/>
                  <a:pt x="80269" y="2845413"/>
                </a:cubicBezTo>
                <a:cubicBezTo>
                  <a:pt x="81200" y="2878720"/>
                  <a:pt x="82545" y="2908736"/>
                  <a:pt x="81459" y="2956402"/>
                </a:cubicBezTo>
                <a:cubicBezTo>
                  <a:pt x="77063" y="2961687"/>
                  <a:pt x="82804" y="2893279"/>
                  <a:pt x="76235" y="2914619"/>
                </a:cubicBezTo>
                <a:cubicBezTo>
                  <a:pt x="72873" y="2910231"/>
                  <a:pt x="75667" y="2960590"/>
                  <a:pt x="74115" y="2969964"/>
                </a:cubicBezTo>
                <a:cubicBezTo>
                  <a:pt x="73236" y="2975249"/>
                  <a:pt x="71736" y="2983325"/>
                  <a:pt x="72150" y="2997686"/>
                </a:cubicBezTo>
                <a:cubicBezTo>
                  <a:pt x="72304" y="3001973"/>
                  <a:pt x="73805" y="3017431"/>
                  <a:pt x="73908" y="3011647"/>
                </a:cubicBezTo>
                <a:cubicBezTo>
                  <a:pt x="73753" y="3023414"/>
                  <a:pt x="70184" y="3036377"/>
                  <a:pt x="70133" y="3039270"/>
                </a:cubicBezTo>
                <a:cubicBezTo>
                  <a:pt x="69770" y="3071279"/>
                  <a:pt x="75408" y="3058815"/>
                  <a:pt x="71528" y="3108575"/>
                </a:cubicBezTo>
                <a:cubicBezTo>
                  <a:pt x="71270" y="3111666"/>
                  <a:pt x="68788" y="3109672"/>
                  <a:pt x="69615" y="3122436"/>
                </a:cubicBezTo>
                <a:cubicBezTo>
                  <a:pt x="66563" y="3104685"/>
                  <a:pt x="67702" y="3062006"/>
                  <a:pt x="68271" y="3039270"/>
                </a:cubicBezTo>
                <a:cubicBezTo>
                  <a:pt x="68994" y="3011647"/>
                  <a:pt x="71528" y="3009254"/>
                  <a:pt x="70494" y="2969964"/>
                </a:cubicBezTo>
                <a:cubicBezTo>
                  <a:pt x="69667" y="2938951"/>
                  <a:pt x="70701" y="2946828"/>
                  <a:pt x="70960" y="2886797"/>
                </a:cubicBezTo>
                <a:cubicBezTo>
                  <a:pt x="71012" y="2864460"/>
                  <a:pt x="69770" y="2862765"/>
                  <a:pt x="69357" y="2845114"/>
                </a:cubicBezTo>
                <a:cubicBezTo>
                  <a:pt x="69098" y="2834644"/>
                  <a:pt x="70546" y="2796749"/>
                  <a:pt x="69667" y="2789671"/>
                </a:cubicBezTo>
                <a:cubicBezTo>
                  <a:pt x="68581" y="2780795"/>
                  <a:pt x="68425" y="2777703"/>
                  <a:pt x="69822" y="2761948"/>
                </a:cubicBezTo>
                <a:cubicBezTo>
                  <a:pt x="71322" y="2745194"/>
                  <a:pt x="71167" y="2716874"/>
                  <a:pt x="70287" y="2678781"/>
                </a:cubicBezTo>
                <a:cubicBezTo>
                  <a:pt x="74891" y="2683169"/>
                  <a:pt x="74942" y="2645675"/>
                  <a:pt x="76080" y="2623437"/>
                </a:cubicBezTo>
                <a:cubicBezTo>
                  <a:pt x="77890" y="2588037"/>
                  <a:pt x="77580" y="2554131"/>
                  <a:pt x="76804" y="2498686"/>
                </a:cubicBezTo>
                <a:lnTo>
                  <a:pt x="82235" y="2498887"/>
                </a:lnTo>
                <a:cubicBezTo>
                  <a:pt x="83321" y="2439852"/>
                  <a:pt x="81304" y="2356087"/>
                  <a:pt x="85079" y="2318792"/>
                </a:cubicBezTo>
                <a:cubicBezTo>
                  <a:pt x="88803" y="2326670"/>
                  <a:pt x="88803" y="2340432"/>
                  <a:pt x="86631" y="2360375"/>
                </a:cubicBezTo>
                <a:cubicBezTo>
                  <a:pt x="85131" y="2377029"/>
                  <a:pt x="88286" y="2384508"/>
                  <a:pt x="88286" y="2388197"/>
                </a:cubicBezTo>
                <a:close/>
                <a:moveTo>
                  <a:pt x="92010" y="5230119"/>
                </a:moveTo>
                <a:cubicBezTo>
                  <a:pt x="93044" y="5206086"/>
                  <a:pt x="90148" y="5199005"/>
                  <a:pt x="88700" y="5174575"/>
                </a:cubicBezTo>
                <a:cubicBezTo>
                  <a:pt x="87614" y="5155727"/>
                  <a:pt x="89993" y="5106765"/>
                  <a:pt x="83579" y="5119031"/>
                </a:cubicBezTo>
                <a:cubicBezTo>
                  <a:pt x="83114" y="5177666"/>
                  <a:pt x="78718" y="5257542"/>
                  <a:pt x="90044" y="5257840"/>
                </a:cubicBezTo>
                <a:cubicBezTo>
                  <a:pt x="90510" y="5247070"/>
                  <a:pt x="90251" y="5230518"/>
                  <a:pt x="92010" y="5230119"/>
                </a:cubicBezTo>
                <a:close/>
                <a:moveTo>
                  <a:pt x="92682" y="2249686"/>
                </a:moveTo>
                <a:cubicBezTo>
                  <a:pt x="92114" y="2274117"/>
                  <a:pt x="89372" y="2281197"/>
                  <a:pt x="85234" y="2277208"/>
                </a:cubicBezTo>
                <a:cubicBezTo>
                  <a:pt x="86580" y="2258561"/>
                  <a:pt x="89269" y="2251480"/>
                  <a:pt x="92682" y="2249686"/>
                </a:cubicBezTo>
                <a:close/>
                <a:moveTo>
                  <a:pt x="94234" y="3247883"/>
                </a:moveTo>
                <a:cubicBezTo>
                  <a:pt x="89683" y="3253168"/>
                  <a:pt x="89372" y="3161128"/>
                  <a:pt x="92993" y="3150857"/>
                </a:cubicBezTo>
                <a:cubicBezTo>
                  <a:pt x="95527" y="3104486"/>
                  <a:pt x="90975" y="3223651"/>
                  <a:pt x="94234" y="3247883"/>
                </a:cubicBezTo>
                <a:close/>
                <a:moveTo>
                  <a:pt x="94699" y="1903259"/>
                </a:moveTo>
                <a:cubicBezTo>
                  <a:pt x="91545" y="1899869"/>
                  <a:pt x="90717" y="1879326"/>
                  <a:pt x="91389" y="1847714"/>
                </a:cubicBezTo>
                <a:cubicBezTo>
                  <a:pt x="94544" y="1851105"/>
                  <a:pt x="95371" y="1871647"/>
                  <a:pt x="94699" y="1903259"/>
                </a:cubicBezTo>
                <a:close/>
                <a:moveTo>
                  <a:pt x="97389" y="1750787"/>
                </a:moveTo>
                <a:lnTo>
                  <a:pt x="97130" y="1792370"/>
                </a:lnTo>
                <a:lnTo>
                  <a:pt x="93510" y="1792270"/>
                </a:lnTo>
                <a:lnTo>
                  <a:pt x="93769" y="1750687"/>
                </a:lnTo>
                <a:close/>
                <a:moveTo>
                  <a:pt x="97970" y="1965571"/>
                </a:moveTo>
                <a:cubicBezTo>
                  <a:pt x="98074" y="1984680"/>
                  <a:pt x="97544" y="2008414"/>
                  <a:pt x="97595" y="2028008"/>
                </a:cubicBezTo>
                <a:cubicBezTo>
                  <a:pt x="88441" y="2022225"/>
                  <a:pt x="89890" y="2101503"/>
                  <a:pt x="87821" y="2152459"/>
                </a:cubicBezTo>
                <a:cubicBezTo>
                  <a:pt x="82028" y="2149567"/>
                  <a:pt x="86166" y="2121446"/>
                  <a:pt x="86320" y="2097014"/>
                </a:cubicBezTo>
                <a:cubicBezTo>
                  <a:pt x="86786" y="2034391"/>
                  <a:pt x="87303" y="1980042"/>
                  <a:pt x="90924" y="1930781"/>
                </a:cubicBezTo>
                <a:cubicBezTo>
                  <a:pt x="92475" y="1939357"/>
                  <a:pt x="94079" y="1947634"/>
                  <a:pt x="94544" y="1930881"/>
                </a:cubicBezTo>
                <a:cubicBezTo>
                  <a:pt x="97130" y="1931978"/>
                  <a:pt x="97867" y="1946463"/>
                  <a:pt x="97970" y="1965571"/>
                </a:cubicBezTo>
                <a:close/>
                <a:moveTo>
                  <a:pt x="98009" y="1002288"/>
                </a:moveTo>
                <a:lnTo>
                  <a:pt x="90769" y="1002088"/>
                </a:lnTo>
                <a:cubicBezTo>
                  <a:pt x="91648" y="1026421"/>
                  <a:pt x="88079" y="1083460"/>
                  <a:pt x="92114" y="1085255"/>
                </a:cubicBezTo>
                <a:cubicBezTo>
                  <a:pt x="93303" y="1051450"/>
                  <a:pt x="99302" y="1055937"/>
                  <a:pt x="98009" y="1002288"/>
                </a:cubicBezTo>
                <a:close/>
                <a:moveTo>
                  <a:pt x="100492" y="4689736"/>
                </a:moveTo>
                <a:cubicBezTo>
                  <a:pt x="90872" y="4670689"/>
                  <a:pt x="94492" y="4757545"/>
                  <a:pt x="89114" y="4772603"/>
                </a:cubicBezTo>
                <a:cubicBezTo>
                  <a:pt x="89890" y="4797333"/>
                  <a:pt x="86838" y="4798730"/>
                  <a:pt x="85648" y="4809001"/>
                </a:cubicBezTo>
                <a:cubicBezTo>
                  <a:pt x="85997" y="4811245"/>
                  <a:pt x="85794" y="4845741"/>
                  <a:pt x="85474" y="4868066"/>
                </a:cubicBezTo>
                <a:lnTo>
                  <a:pt x="85135" y="4884490"/>
                </a:lnTo>
                <a:lnTo>
                  <a:pt x="85131" y="4884688"/>
                </a:lnTo>
                <a:cubicBezTo>
                  <a:pt x="85907" y="4887680"/>
                  <a:pt x="88441" y="4893464"/>
                  <a:pt x="88441" y="4897352"/>
                </a:cubicBezTo>
                <a:cubicBezTo>
                  <a:pt x="88907" y="4886583"/>
                  <a:pt x="88648" y="4870029"/>
                  <a:pt x="90406" y="4869731"/>
                </a:cubicBezTo>
                <a:cubicBezTo>
                  <a:pt x="92372" y="4910815"/>
                  <a:pt x="87459" y="4994579"/>
                  <a:pt x="91182" y="5049925"/>
                </a:cubicBezTo>
                <a:cubicBezTo>
                  <a:pt x="100543" y="5057105"/>
                  <a:pt x="95061" y="4945816"/>
                  <a:pt x="99251" y="4911513"/>
                </a:cubicBezTo>
                <a:cubicBezTo>
                  <a:pt x="97854" y="4908322"/>
                  <a:pt x="95682" y="4911015"/>
                  <a:pt x="95682" y="4897553"/>
                </a:cubicBezTo>
                <a:cubicBezTo>
                  <a:pt x="99768" y="4856967"/>
                  <a:pt x="95217" y="4844202"/>
                  <a:pt x="97958" y="4814385"/>
                </a:cubicBezTo>
                <a:cubicBezTo>
                  <a:pt x="101009" y="4781678"/>
                  <a:pt x="97286" y="4747175"/>
                  <a:pt x="100492" y="4689736"/>
                </a:cubicBezTo>
                <a:close/>
                <a:moveTo>
                  <a:pt x="101203" y="4154787"/>
                </a:moveTo>
                <a:cubicBezTo>
                  <a:pt x="101242" y="4141674"/>
                  <a:pt x="100259" y="4128960"/>
                  <a:pt x="98268" y="4135193"/>
                </a:cubicBezTo>
                <a:cubicBezTo>
                  <a:pt x="96768" y="4139880"/>
                  <a:pt x="95889" y="4171990"/>
                  <a:pt x="98009" y="4176776"/>
                </a:cubicBezTo>
                <a:cubicBezTo>
                  <a:pt x="100104" y="4181413"/>
                  <a:pt x="101164" y="4167901"/>
                  <a:pt x="101203" y="4154787"/>
                </a:cubicBezTo>
                <a:close/>
                <a:moveTo>
                  <a:pt x="101319" y="4232320"/>
                </a:moveTo>
                <a:cubicBezTo>
                  <a:pt x="99871" y="4207688"/>
                  <a:pt x="98578" y="4197917"/>
                  <a:pt x="94234" y="4204398"/>
                </a:cubicBezTo>
                <a:cubicBezTo>
                  <a:pt x="95113" y="4283775"/>
                  <a:pt x="91596" y="4328151"/>
                  <a:pt x="91285" y="4398453"/>
                </a:cubicBezTo>
                <a:lnTo>
                  <a:pt x="87665" y="4398354"/>
                </a:lnTo>
                <a:cubicBezTo>
                  <a:pt x="86114" y="4436147"/>
                  <a:pt x="91131" y="4426374"/>
                  <a:pt x="90975" y="4453898"/>
                </a:cubicBezTo>
                <a:cubicBezTo>
                  <a:pt x="88182" y="4453997"/>
                  <a:pt x="84769" y="4491592"/>
                  <a:pt x="90820" y="4481620"/>
                </a:cubicBezTo>
                <a:lnTo>
                  <a:pt x="90562" y="4523204"/>
                </a:lnTo>
                <a:cubicBezTo>
                  <a:pt x="91545" y="4539458"/>
                  <a:pt x="87200" y="4532277"/>
                  <a:pt x="86889" y="4536865"/>
                </a:cubicBezTo>
                <a:cubicBezTo>
                  <a:pt x="84149" y="4576055"/>
                  <a:pt x="87562" y="4646058"/>
                  <a:pt x="91699" y="4647953"/>
                </a:cubicBezTo>
                <a:cubicBezTo>
                  <a:pt x="92424" y="4630403"/>
                  <a:pt x="93458" y="4628508"/>
                  <a:pt x="93769" y="4606370"/>
                </a:cubicBezTo>
                <a:cubicBezTo>
                  <a:pt x="94079" y="4582038"/>
                  <a:pt x="98734" y="4562891"/>
                  <a:pt x="99613" y="4537264"/>
                </a:cubicBezTo>
                <a:cubicBezTo>
                  <a:pt x="99561" y="4538859"/>
                  <a:pt x="97699" y="4522804"/>
                  <a:pt x="97958" y="4509541"/>
                </a:cubicBezTo>
                <a:cubicBezTo>
                  <a:pt x="98165" y="4497276"/>
                  <a:pt x="99975" y="4491392"/>
                  <a:pt x="99923" y="4481819"/>
                </a:cubicBezTo>
                <a:cubicBezTo>
                  <a:pt x="99923" y="4484212"/>
                  <a:pt x="98371" y="4474639"/>
                  <a:pt x="98165" y="4467859"/>
                </a:cubicBezTo>
                <a:cubicBezTo>
                  <a:pt x="96768" y="4416702"/>
                  <a:pt x="102974" y="4427073"/>
                  <a:pt x="98578" y="4398553"/>
                </a:cubicBezTo>
                <a:cubicBezTo>
                  <a:pt x="98216" y="4396159"/>
                  <a:pt x="98785" y="4375019"/>
                  <a:pt x="98734" y="4370832"/>
                </a:cubicBezTo>
                <a:cubicBezTo>
                  <a:pt x="98216" y="4317082"/>
                  <a:pt x="101164" y="4317681"/>
                  <a:pt x="101112" y="4273903"/>
                </a:cubicBezTo>
                <a:cubicBezTo>
                  <a:pt x="101112" y="4265328"/>
                  <a:pt x="99354" y="4258247"/>
                  <a:pt x="99354" y="4259942"/>
                </a:cubicBezTo>
                <a:cubicBezTo>
                  <a:pt x="99354" y="4250669"/>
                  <a:pt x="101630" y="4237405"/>
                  <a:pt x="101319" y="4232320"/>
                </a:cubicBezTo>
                <a:close/>
                <a:moveTo>
                  <a:pt x="104371" y="1649172"/>
                </a:moveTo>
                <a:lnTo>
                  <a:pt x="104216" y="1676895"/>
                </a:lnTo>
                <a:lnTo>
                  <a:pt x="100596" y="1676794"/>
                </a:lnTo>
                <a:lnTo>
                  <a:pt x="100750" y="1649073"/>
                </a:lnTo>
                <a:close/>
                <a:moveTo>
                  <a:pt x="106957" y="640104"/>
                </a:moveTo>
                <a:cubicBezTo>
                  <a:pt x="106077" y="666531"/>
                  <a:pt x="105974" y="699738"/>
                  <a:pt x="101216" y="695349"/>
                </a:cubicBezTo>
                <a:cubicBezTo>
                  <a:pt x="98061" y="671516"/>
                  <a:pt x="102095" y="640902"/>
                  <a:pt x="106957" y="640104"/>
                </a:cubicBezTo>
                <a:close/>
                <a:moveTo>
                  <a:pt x="107086" y="772271"/>
                </a:moveTo>
                <a:cubicBezTo>
                  <a:pt x="107862" y="792602"/>
                  <a:pt x="107733" y="815164"/>
                  <a:pt x="105974" y="831368"/>
                </a:cubicBezTo>
                <a:cubicBezTo>
                  <a:pt x="102923" y="831268"/>
                  <a:pt x="102251" y="808233"/>
                  <a:pt x="99199" y="808134"/>
                </a:cubicBezTo>
                <a:cubicBezTo>
                  <a:pt x="99251" y="842337"/>
                  <a:pt x="99095" y="874945"/>
                  <a:pt x="96923" y="891299"/>
                </a:cubicBezTo>
                <a:cubicBezTo>
                  <a:pt x="97182" y="915731"/>
                  <a:pt x="99820" y="922911"/>
                  <a:pt x="104009" y="919222"/>
                </a:cubicBezTo>
                <a:lnTo>
                  <a:pt x="103699" y="974665"/>
                </a:lnTo>
                <a:cubicBezTo>
                  <a:pt x="105819" y="1000693"/>
                  <a:pt x="100078" y="997601"/>
                  <a:pt x="99923" y="1002288"/>
                </a:cubicBezTo>
                <a:cubicBezTo>
                  <a:pt x="100026" y="998299"/>
                  <a:pt x="101112" y="1052947"/>
                  <a:pt x="101319" y="1071693"/>
                </a:cubicBezTo>
                <a:cubicBezTo>
                  <a:pt x="101423" y="1081465"/>
                  <a:pt x="103440" y="1087349"/>
                  <a:pt x="102974" y="1099515"/>
                </a:cubicBezTo>
                <a:cubicBezTo>
                  <a:pt x="102820" y="1103304"/>
                  <a:pt x="100647" y="1098916"/>
                  <a:pt x="101061" y="1113277"/>
                </a:cubicBezTo>
                <a:cubicBezTo>
                  <a:pt x="101578" y="1129530"/>
                  <a:pt x="103543" y="1134816"/>
                  <a:pt x="104216" y="1149475"/>
                </a:cubicBezTo>
                <a:cubicBezTo>
                  <a:pt x="103130" y="1160743"/>
                  <a:pt x="101888" y="1172510"/>
                  <a:pt x="101164" y="1174305"/>
                </a:cubicBezTo>
                <a:cubicBezTo>
                  <a:pt x="99716" y="1177895"/>
                  <a:pt x="101009" y="1203224"/>
                  <a:pt x="101371" y="1221274"/>
                </a:cubicBezTo>
                <a:cubicBezTo>
                  <a:pt x="101785" y="1239322"/>
                  <a:pt x="102044" y="1271831"/>
                  <a:pt x="102044" y="1271831"/>
                </a:cubicBezTo>
                <a:lnTo>
                  <a:pt x="101371" y="1292374"/>
                </a:lnTo>
                <a:cubicBezTo>
                  <a:pt x="100802" y="1289083"/>
                  <a:pt x="100336" y="1285293"/>
                  <a:pt x="100130" y="1279709"/>
                </a:cubicBezTo>
                <a:cubicBezTo>
                  <a:pt x="97440" y="1287387"/>
                  <a:pt x="95578" y="1301149"/>
                  <a:pt x="94441" y="1321093"/>
                </a:cubicBezTo>
                <a:cubicBezTo>
                  <a:pt x="91131" y="1294966"/>
                  <a:pt x="89890" y="1319398"/>
                  <a:pt x="85338" y="1320793"/>
                </a:cubicBezTo>
                <a:cubicBezTo>
                  <a:pt x="84511" y="1349014"/>
                  <a:pt x="87355" y="1350710"/>
                  <a:pt x="88751" y="1362476"/>
                </a:cubicBezTo>
                <a:cubicBezTo>
                  <a:pt x="89837" y="1371850"/>
                  <a:pt x="90458" y="1385511"/>
                  <a:pt x="92217" y="1390298"/>
                </a:cubicBezTo>
                <a:cubicBezTo>
                  <a:pt x="91182" y="1469278"/>
                  <a:pt x="90665" y="1491615"/>
                  <a:pt x="85804" y="1556432"/>
                </a:cubicBezTo>
                <a:cubicBezTo>
                  <a:pt x="79131" y="1546161"/>
                  <a:pt x="86786" y="1514749"/>
                  <a:pt x="82545" y="1487027"/>
                </a:cubicBezTo>
                <a:cubicBezTo>
                  <a:pt x="79287" y="1485133"/>
                  <a:pt x="78614" y="1503880"/>
                  <a:pt x="75201" y="1500689"/>
                </a:cubicBezTo>
                <a:cubicBezTo>
                  <a:pt x="77218" y="1442252"/>
                  <a:pt x="77011" y="1430786"/>
                  <a:pt x="77890" y="1348216"/>
                </a:cubicBezTo>
                <a:lnTo>
                  <a:pt x="83321" y="1348416"/>
                </a:lnTo>
                <a:cubicBezTo>
                  <a:pt x="82080" y="1335353"/>
                  <a:pt x="80166" y="1327276"/>
                  <a:pt x="78045" y="1320495"/>
                </a:cubicBezTo>
                <a:cubicBezTo>
                  <a:pt x="80786" y="1279509"/>
                  <a:pt x="77322" y="1260165"/>
                  <a:pt x="78770" y="1195744"/>
                </a:cubicBezTo>
                <a:cubicBezTo>
                  <a:pt x="78149" y="1181984"/>
                  <a:pt x="76959" y="1172211"/>
                  <a:pt x="75563" y="1164233"/>
                </a:cubicBezTo>
                <a:lnTo>
                  <a:pt x="77839" y="1105000"/>
                </a:lnTo>
                <a:cubicBezTo>
                  <a:pt x="77839" y="1105000"/>
                  <a:pt x="77269" y="1032803"/>
                  <a:pt x="77373" y="1018343"/>
                </a:cubicBezTo>
                <a:cubicBezTo>
                  <a:pt x="77425" y="1003884"/>
                  <a:pt x="81924" y="964295"/>
                  <a:pt x="81924" y="964295"/>
                </a:cubicBezTo>
                <a:lnTo>
                  <a:pt x="81614" y="958212"/>
                </a:lnTo>
                <a:cubicBezTo>
                  <a:pt x="83476" y="959409"/>
                  <a:pt x="84925" y="963397"/>
                  <a:pt x="85441" y="974167"/>
                </a:cubicBezTo>
                <a:cubicBezTo>
                  <a:pt x="90717" y="971474"/>
                  <a:pt x="88751" y="922113"/>
                  <a:pt x="89579" y="891101"/>
                </a:cubicBezTo>
                <a:cubicBezTo>
                  <a:pt x="89579" y="891200"/>
                  <a:pt x="91285" y="886314"/>
                  <a:pt x="91492" y="877239"/>
                </a:cubicBezTo>
                <a:cubicBezTo>
                  <a:pt x="92268" y="842637"/>
                  <a:pt x="91545" y="792876"/>
                  <a:pt x="92217" y="752489"/>
                </a:cubicBezTo>
                <a:cubicBezTo>
                  <a:pt x="97699" y="752689"/>
                  <a:pt x="97337" y="726363"/>
                  <a:pt x="102767" y="726562"/>
                </a:cubicBezTo>
                <a:cubicBezTo>
                  <a:pt x="104629" y="733842"/>
                  <a:pt x="106310" y="751941"/>
                  <a:pt x="107086" y="772271"/>
                </a:cubicBezTo>
                <a:close/>
                <a:moveTo>
                  <a:pt x="109139" y="1229499"/>
                </a:moveTo>
                <a:cubicBezTo>
                  <a:pt x="109604" y="1254717"/>
                  <a:pt x="106259" y="1300226"/>
                  <a:pt x="106957" y="1243311"/>
                </a:cubicBezTo>
                <a:lnTo>
                  <a:pt x="107112" y="1215589"/>
                </a:lnTo>
                <a:cubicBezTo>
                  <a:pt x="108405" y="1214941"/>
                  <a:pt x="108983" y="1221093"/>
                  <a:pt x="109139" y="1229499"/>
                </a:cubicBezTo>
                <a:close/>
                <a:moveTo>
                  <a:pt x="111489" y="4601982"/>
                </a:moveTo>
                <a:cubicBezTo>
                  <a:pt x="112646" y="4563017"/>
                  <a:pt x="110345" y="4520960"/>
                  <a:pt x="101423" y="4537264"/>
                </a:cubicBezTo>
                <a:cubicBezTo>
                  <a:pt x="101785" y="4587124"/>
                  <a:pt x="103802" y="4604177"/>
                  <a:pt x="100802" y="4648152"/>
                </a:cubicBezTo>
                <a:cubicBezTo>
                  <a:pt x="105715" y="4676822"/>
                  <a:pt x="110331" y="4640948"/>
                  <a:pt x="111489" y="4601982"/>
                </a:cubicBezTo>
                <a:close/>
                <a:moveTo>
                  <a:pt x="111715" y="6228815"/>
                </a:moveTo>
                <a:cubicBezTo>
                  <a:pt x="112439" y="6234599"/>
                  <a:pt x="107112" y="6245168"/>
                  <a:pt x="107939" y="6256438"/>
                </a:cubicBezTo>
                <a:cubicBezTo>
                  <a:pt x="101837" y="6232604"/>
                  <a:pt x="110370" y="6218045"/>
                  <a:pt x="111715" y="6228815"/>
                </a:cubicBezTo>
                <a:close/>
                <a:moveTo>
                  <a:pt x="111974" y="1152067"/>
                </a:moveTo>
                <a:cubicBezTo>
                  <a:pt x="117611" y="1184875"/>
                  <a:pt x="105250" y="1207911"/>
                  <a:pt x="111974" y="1152067"/>
                </a:cubicBezTo>
                <a:close/>
                <a:moveTo>
                  <a:pt x="112885" y="2248801"/>
                </a:moveTo>
                <a:cubicBezTo>
                  <a:pt x="112633" y="2263895"/>
                  <a:pt x="111999" y="2281795"/>
                  <a:pt x="112439" y="2291867"/>
                </a:cubicBezTo>
                <a:cubicBezTo>
                  <a:pt x="109181" y="2264645"/>
                  <a:pt x="105819" y="2287380"/>
                  <a:pt x="101526" y="2291568"/>
                </a:cubicBezTo>
                <a:lnTo>
                  <a:pt x="101681" y="2263847"/>
                </a:lnTo>
                <a:cubicBezTo>
                  <a:pt x="103233" y="2266439"/>
                  <a:pt x="103440" y="2258561"/>
                  <a:pt x="103595" y="2250085"/>
                </a:cubicBezTo>
                <a:cubicBezTo>
                  <a:pt x="105043" y="2257364"/>
                  <a:pt x="106491" y="2264544"/>
                  <a:pt x="108974" y="2264045"/>
                </a:cubicBezTo>
                <a:cubicBezTo>
                  <a:pt x="113112" y="2256467"/>
                  <a:pt x="106905" y="2242407"/>
                  <a:pt x="111042" y="2222563"/>
                </a:cubicBezTo>
                <a:cubicBezTo>
                  <a:pt x="113008" y="2221416"/>
                  <a:pt x="113137" y="2233706"/>
                  <a:pt x="112885" y="2248801"/>
                </a:cubicBezTo>
                <a:close/>
                <a:moveTo>
                  <a:pt x="113526" y="2124537"/>
                </a:moveTo>
                <a:cubicBezTo>
                  <a:pt x="113319" y="2152559"/>
                  <a:pt x="112750" y="2183223"/>
                  <a:pt x="112905" y="2208701"/>
                </a:cubicBezTo>
                <a:cubicBezTo>
                  <a:pt x="107526" y="2187859"/>
                  <a:pt x="105819" y="2213089"/>
                  <a:pt x="102095" y="2194541"/>
                </a:cubicBezTo>
                <a:lnTo>
                  <a:pt x="102871" y="2055930"/>
                </a:lnTo>
                <a:lnTo>
                  <a:pt x="111974" y="2056228"/>
                </a:lnTo>
                <a:cubicBezTo>
                  <a:pt x="113577" y="2071137"/>
                  <a:pt x="113732" y="2096516"/>
                  <a:pt x="113526" y="2124537"/>
                </a:cubicBezTo>
                <a:close/>
                <a:moveTo>
                  <a:pt x="113887" y="1359485"/>
                </a:moveTo>
                <a:cubicBezTo>
                  <a:pt x="113370" y="1371751"/>
                  <a:pt x="113112" y="1390099"/>
                  <a:pt x="113060" y="1397080"/>
                </a:cubicBezTo>
                <a:cubicBezTo>
                  <a:pt x="113008" y="1406753"/>
                  <a:pt x="112543" y="1425998"/>
                  <a:pt x="112181" y="1437965"/>
                </a:cubicBezTo>
                <a:cubicBezTo>
                  <a:pt x="111974" y="1445643"/>
                  <a:pt x="110732" y="1468180"/>
                  <a:pt x="109853" y="1485233"/>
                </a:cubicBezTo>
                <a:cubicBezTo>
                  <a:pt x="109750" y="1485133"/>
                  <a:pt x="109647" y="1485233"/>
                  <a:pt x="109543" y="1485032"/>
                </a:cubicBezTo>
                <a:cubicBezTo>
                  <a:pt x="103492" y="1499193"/>
                  <a:pt x="105095" y="1575080"/>
                  <a:pt x="101578" y="1609583"/>
                </a:cubicBezTo>
                <a:cubicBezTo>
                  <a:pt x="100026" y="1598813"/>
                  <a:pt x="97544" y="1594525"/>
                  <a:pt x="94389" y="1595523"/>
                </a:cubicBezTo>
                <a:cubicBezTo>
                  <a:pt x="95320" y="1549851"/>
                  <a:pt x="98992" y="1526316"/>
                  <a:pt x="102198" y="1498695"/>
                </a:cubicBezTo>
                <a:cubicBezTo>
                  <a:pt x="101991" y="1480345"/>
                  <a:pt x="102716" y="1469975"/>
                  <a:pt x="100802" y="1464690"/>
                </a:cubicBezTo>
                <a:lnTo>
                  <a:pt x="100543" y="1373446"/>
                </a:lnTo>
                <a:cubicBezTo>
                  <a:pt x="100543" y="1373446"/>
                  <a:pt x="102302" y="1343031"/>
                  <a:pt x="102613" y="1316207"/>
                </a:cubicBezTo>
                <a:cubicBezTo>
                  <a:pt x="107371" y="1316406"/>
                  <a:pt x="106595" y="1296163"/>
                  <a:pt x="112387" y="1304838"/>
                </a:cubicBezTo>
                <a:cubicBezTo>
                  <a:pt x="107474" y="1340838"/>
                  <a:pt x="115128" y="1316406"/>
                  <a:pt x="113887" y="1359485"/>
                </a:cubicBezTo>
                <a:close/>
                <a:moveTo>
                  <a:pt x="117456" y="1099815"/>
                </a:moveTo>
                <a:cubicBezTo>
                  <a:pt x="116525" y="1130429"/>
                  <a:pt x="106698" y="1118063"/>
                  <a:pt x="110370" y="1071892"/>
                </a:cubicBezTo>
                <a:cubicBezTo>
                  <a:pt x="113939" y="1072092"/>
                  <a:pt x="112439" y="1109787"/>
                  <a:pt x="117456" y="1099815"/>
                </a:cubicBezTo>
                <a:close/>
                <a:moveTo>
                  <a:pt x="118542" y="826482"/>
                </a:moveTo>
                <a:lnTo>
                  <a:pt x="118387" y="854204"/>
                </a:lnTo>
                <a:lnTo>
                  <a:pt x="114767" y="854103"/>
                </a:lnTo>
                <a:lnTo>
                  <a:pt x="114922" y="826382"/>
                </a:lnTo>
                <a:close/>
                <a:moveTo>
                  <a:pt x="120353" y="4399152"/>
                </a:moveTo>
                <a:cubicBezTo>
                  <a:pt x="115491" y="4403440"/>
                  <a:pt x="122473" y="4321569"/>
                  <a:pt x="115232" y="4343607"/>
                </a:cubicBezTo>
                <a:cubicBezTo>
                  <a:pt x="112387" y="4345901"/>
                  <a:pt x="113577" y="4377214"/>
                  <a:pt x="113112" y="4398951"/>
                </a:cubicBezTo>
                <a:cubicBezTo>
                  <a:pt x="112646" y="4419095"/>
                  <a:pt x="110474" y="4421988"/>
                  <a:pt x="112853" y="4440535"/>
                </a:cubicBezTo>
                <a:cubicBezTo>
                  <a:pt x="117404" y="4443028"/>
                  <a:pt x="118645" y="4419395"/>
                  <a:pt x="120353" y="4399152"/>
                </a:cubicBezTo>
                <a:close/>
                <a:moveTo>
                  <a:pt x="120611" y="4676473"/>
                </a:moveTo>
                <a:cubicBezTo>
                  <a:pt x="116370" y="4680760"/>
                  <a:pt x="113629" y="4674080"/>
                  <a:pt x="111612" y="4662313"/>
                </a:cubicBezTo>
                <a:cubicBezTo>
                  <a:pt x="111560" y="4681459"/>
                  <a:pt x="110577" y="4692728"/>
                  <a:pt x="109543" y="4703896"/>
                </a:cubicBezTo>
                <a:cubicBezTo>
                  <a:pt x="116473" y="4688239"/>
                  <a:pt x="117715" y="4717359"/>
                  <a:pt x="120611" y="4676473"/>
                </a:cubicBezTo>
                <a:close/>
                <a:moveTo>
                  <a:pt x="121361" y="1453907"/>
                </a:moveTo>
                <a:cubicBezTo>
                  <a:pt x="121154" y="1477105"/>
                  <a:pt x="119887" y="1497797"/>
                  <a:pt x="117043" y="1487925"/>
                </a:cubicBezTo>
                <a:cubicBezTo>
                  <a:pt x="115956" y="1445544"/>
                  <a:pt x="120404" y="1447239"/>
                  <a:pt x="119318" y="1404857"/>
                </a:cubicBezTo>
                <a:cubicBezTo>
                  <a:pt x="120714" y="1405007"/>
                  <a:pt x="121568" y="1430710"/>
                  <a:pt x="121361" y="1453907"/>
                </a:cubicBezTo>
                <a:close/>
                <a:moveTo>
                  <a:pt x="121665" y="4617563"/>
                </a:moveTo>
                <a:cubicBezTo>
                  <a:pt x="121658" y="4605896"/>
                  <a:pt x="120197" y="4595351"/>
                  <a:pt x="117301" y="4620929"/>
                </a:cubicBezTo>
                <a:cubicBezTo>
                  <a:pt x="120223" y="4642020"/>
                  <a:pt x="121671" y="4629231"/>
                  <a:pt x="121665" y="4617563"/>
                </a:cubicBezTo>
                <a:close/>
                <a:moveTo>
                  <a:pt x="122162" y="905958"/>
                </a:moveTo>
                <a:cubicBezTo>
                  <a:pt x="120611" y="957414"/>
                  <a:pt x="121076" y="942156"/>
                  <a:pt x="119783" y="1002886"/>
                </a:cubicBezTo>
                <a:lnTo>
                  <a:pt x="112543" y="1002687"/>
                </a:lnTo>
                <a:cubicBezTo>
                  <a:pt x="113112" y="985036"/>
                  <a:pt x="112181" y="964495"/>
                  <a:pt x="112853" y="947242"/>
                </a:cubicBezTo>
                <a:cubicBezTo>
                  <a:pt x="112905" y="945149"/>
                  <a:pt x="116422" y="949437"/>
                  <a:pt x="116473" y="947342"/>
                </a:cubicBezTo>
                <a:cubicBezTo>
                  <a:pt x="117043" y="930789"/>
                  <a:pt x="114818" y="939265"/>
                  <a:pt x="114715" y="933481"/>
                </a:cubicBezTo>
                <a:cubicBezTo>
                  <a:pt x="114405" y="916329"/>
                  <a:pt x="117456" y="901072"/>
                  <a:pt x="122162" y="905958"/>
                </a:cubicBezTo>
                <a:close/>
                <a:moveTo>
                  <a:pt x="126507" y="781209"/>
                </a:moveTo>
                <a:cubicBezTo>
                  <a:pt x="124852" y="791979"/>
                  <a:pt x="122318" y="795967"/>
                  <a:pt x="119163" y="794870"/>
                </a:cubicBezTo>
                <a:cubicBezTo>
                  <a:pt x="122887" y="754084"/>
                  <a:pt x="119163" y="709111"/>
                  <a:pt x="121594" y="684081"/>
                </a:cubicBezTo>
                <a:cubicBezTo>
                  <a:pt x="131059" y="699538"/>
                  <a:pt x="122990" y="731648"/>
                  <a:pt x="126507" y="781209"/>
                </a:cubicBezTo>
                <a:close/>
                <a:moveTo>
                  <a:pt x="129920" y="504087"/>
                </a:moveTo>
                <a:cubicBezTo>
                  <a:pt x="127283" y="522136"/>
                  <a:pt x="122990" y="577281"/>
                  <a:pt x="129455" y="587253"/>
                </a:cubicBezTo>
                <a:cubicBezTo>
                  <a:pt x="128938" y="602311"/>
                  <a:pt x="125783" y="596527"/>
                  <a:pt x="125680" y="614876"/>
                </a:cubicBezTo>
                <a:cubicBezTo>
                  <a:pt x="121232" y="583663"/>
                  <a:pt x="121232" y="519145"/>
                  <a:pt x="129920" y="504087"/>
                </a:cubicBezTo>
                <a:close/>
                <a:moveTo>
                  <a:pt x="132028" y="2042281"/>
                </a:moveTo>
                <a:cubicBezTo>
                  <a:pt x="132558" y="2055955"/>
                  <a:pt x="131886" y="2069791"/>
                  <a:pt x="128265" y="2070489"/>
                </a:cubicBezTo>
                <a:cubicBezTo>
                  <a:pt x="128472" y="2059421"/>
                  <a:pt x="130386" y="2056429"/>
                  <a:pt x="130231" y="2042767"/>
                </a:cubicBezTo>
                <a:cubicBezTo>
                  <a:pt x="130127" y="2034590"/>
                  <a:pt x="124645" y="2014944"/>
                  <a:pt x="128576" y="2015045"/>
                </a:cubicBezTo>
                <a:cubicBezTo>
                  <a:pt x="129766" y="2015095"/>
                  <a:pt x="131498" y="2028607"/>
                  <a:pt x="132028" y="2042281"/>
                </a:cubicBezTo>
                <a:close/>
                <a:moveTo>
                  <a:pt x="133024" y="1182981"/>
                </a:moveTo>
                <a:cubicBezTo>
                  <a:pt x="131059" y="1184576"/>
                  <a:pt x="129093" y="1186670"/>
                  <a:pt x="127800" y="1183379"/>
                </a:cubicBezTo>
                <a:cubicBezTo>
                  <a:pt x="125938" y="1207911"/>
                  <a:pt x="131213" y="1218281"/>
                  <a:pt x="131213" y="1225062"/>
                </a:cubicBezTo>
                <a:cubicBezTo>
                  <a:pt x="131265" y="1238126"/>
                  <a:pt x="122318" y="1293271"/>
                  <a:pt x="130748" y="1308229"/>
                </a:cubicBezTo>
                <a:cubicBezTo>
                  <a:pt x="130334" y="1339441"/>
                  <a:pt x="126041" y="1301249"/>
                  <a:pt x="125318" y="1308029"/>
                </a:cubicBezTo>
                <a:cubicBezTo>
                  <a:pt x="124955" y="1311720"/>
                  <a:pt x="123714" y="1318001"/>
                  <a:pt x="121852" y="1321591"/>
                </a:cubicBezTo>
                <a:cubicBezTo>
                  <a:pt x="121852" y="1313215"/>
                  <a:pt x="121748" y="1305138"/>
                  <a:pt x="121542" y="1298756"/>
                </a:cubicBezTo>
                <a:cubicBezTo>
                  <a:pt x="120714" y="1274623"/>
                  <a:pt x="122162" y="1241017"/>
                  <a:pt x="122576" y="1224066"/>
                </a:cubicBezTo>
                <a:cubicBezTo>
                  <a:pt x="122731" y="1216487"/>
                  <a:pt x="123093" y="1204121"/>
                  <a:pt x="123404" y="1192754"/>
                </a:cubicBezTo>
                <a:cubicBezTo>
                  <a:pt x="124542" y="1187069"/>
                  <a:pt x="125162" y="1177396"/>
                  <a:pt x="126094" y="1169319"/>
                </a:cubicBezTo>
                <a:cubicBezTo>
                  <a:pt x="128834" y="1146084"/>
                  <a:pt x="130696" y="1132223"/>
                  <a:pt x="128369" y="1086252"/>
                </a:cubicBezTo>
                <a:cubicBezTo>
                  <a:pt x="129869" y="1087847"/>
                  <a:pt x="131110" y="1087648"/>
                  <a:pt x="132300" y="1086751"/>
                </a:cubicBezTo>
                <a:cubicBezTo>
                  <a:pt x="132300" y="1087349"/>
                  <a:pt x="132300" y="1087847"/>
                  <a:pt x="132300" y="1088446"/>
                </a:cubicBezTo>
                <a:cubicBezTo>
                  <a:pt x="131938" y="1108291"/>
                  <a:pt x="132300" y="1126339"/>
                  <a:pt x="132454" y="1139004"/>
                </a:cubicBezTo>
                <a:cubicBezTo>
                  <a:pt x="132610" y="1148178"/>
                  <a:pt x="132868" y="1169119"/>
                  <a:pt x="133024" y="1182981"/>
                </a:cubicBezTo>
                <a:close/>
                <a:moveTo>
                  <a:pt x="134162" y="1507968"/>
                </a:moveTo>
                <a:lnTo>
                  <a:pt x="134006" y="1535691"/>
                </a:lnTo>
                <a:lnTo>
                  <a:pt x="130386" y="1535591"/>
                </a:lnTo>
                <a:lnTo>
                  <a:pt x="130541" y="1507869"/>
                </a:lnTo>
                <a:close/>
                <a:moveTo>
                  <a:pt x="134524" y="975564"/>
                </a:moveTo>
                <a:cubicBezTo>
                  <a:pt x="132507" y="988427"/>
                  <a:pt x="133644" y="1026619"/>
                  <a:pt x="128834" y="1016947"/>
                </a:cubicBezTo>
                <a:cubicBezTo>
                  <a:pt x="130852" y="1004082"/>
                  <a:pt x="129713" y="965890"/>
                  <a:pt x="134524" y="975564"/>
                </a:cubicBezTo>
                <a:close/>
                <a:moveTo>
                  <a:pt x="134938" y="1835050"/>
                </a:moveTo>
                <a:cubicBezTo>
                  <a:pt x="134524" y="1894283"/>
                  <a:pt x="131938" y="1936565"/>
                  <a:pt x="130438" y="1987422"/>
                </a:cubicBezTo>
                <a:cubicBezTo>
                  <a:pt x="126041" y="1970868"/>
                  <a:pt x="119163" y="1972364"/>
                  <a:pt x="121852" y="1903957"/>
                </a:cubicBezTo>
                <a:cubicBezTo>
                  <a:pt x="116370" y="1893685"/>
                  <a:pt x="116370" y="1927691"/>
                  <a:pt x="110888" y="1917519"/>
                </a:cubicBezTo>
                <a:cubicBezTo>
                  <a:pt x="109336" y="1959799"/>
                  <a:pt x="112439" y="1968076"/>
                  <a:pt x="112232" y="2000686"/>
                </a:cubicBezTo>
                <a:cubicBezTo>
                  <a:pt x="106388" y="2012551"/>
                  <a:pt x="108974" y="1955810"/>
                  <a:pt x="108922" y="1945141"/>
                </a:cubicBezTo>
                <a:cubicBezTo>
                  <a:pt x="108767" y="1912931"/>
                  <a:pt x="108560" y="1868855"/>
                  <a:pt x="111302" y="1848213"/>
                </a:cubicBezTo>
                <a:cubicBezTo>
                  <a:pt x="114042" y="1827771"/>
                  <a:pt x="111456" y="1828169"/>
                  <a:pt x="111560" y="1806630"/>
                </a:cubicBezTo>
                <a:cubicBezTo>
                  <a:pt x="111612" y="1796758"/>
                  <a:pt x="113215" y="1791373"/>
                  <a:pt x="113526" y="1779007"/>
                </a:cubicBezTo>
                <a:cubicBezTo>
                  <a:pt x="113887" y="1764747"/>
                  <a:pt x="112284" y="1679387"/>
                  <a:pt x="114146" y="1668119"/>
                </a:cubicBezTo>
                <a:cubicBezTo>
                  <a:pt x="114249" y="1667421"/>
                  <a:pt x="115956" y="1669016"/>
                  <a:pt x="115956" y="1668219"/>
                </a:cubicBezTo>
                <a:cubicBezTo>
                  <a:pt x="116473" y="1647876"/>
                  <a:pt x="114301" y="1647277"/>
                  <a:pt x="114301" y="1640397"/>
                </a:cubicBezTo>
                <a:cubicBezTo>
                  <a:pt x="114301" y="1628729"/>
                  <a:pt x="116215" y="1626735"/>
                  <a:pt x="116215" y="1626635"/>
                </a:cubicBezTo>
                <a:cubicBezTo>
                  <a:pt x="116163" y="1603201"/>
                  <a:pt x="113784" y="1590437"/>
                  <a:pt x="116473" y="1585051"/>
                </a:cubicBezTo>
                <a:cubicBezTo>
                  <a:pt x="121748" y="1583557"/>
                  <a:pt x="117818" y="1596619"/>
                  <a:pt x="118128" y="1612774"/>
                </a:cubicBezTo>
                <a:cubicBezTo>
                  <a:pt x="118542" y="1634513"/>
                  <a:pt x="121490" y="1653260"/>
                  <a:pt x="117715" y="1682080"/>
                </a:cubicBezTo>
                <a:cubicBezTo>
                  <a:pt x="115853" y="1696539"/>
                  <a:pt x="118128" y="1753778"/>
                  <a:pt x="116939" y="1820690"/>
                </a:cubicBezTo>
                <a:cubicBezTo>
                  <a:pt x="117404" y="1839537"/>
                  <a:pt x="121438" y="1832357"/>
                  <a:pt x="124128" y="1834750"/>
                </a:cubicBezTo>
                <a:cubicBezTo>
                  <a:pt x="123197" y="1863669"/>
                  <a:pt x="125162" y="1871448"/>
                  <a:pt x="125628" y="1890195"/>
                </a:cubicBezTo>
                <a:cubicBezTo>
                  <a:pt x="130489" y="1901264"/>
                  <a:pt x="127489" y="1850008"/>
                  <a:pt x="129558" y="1834851"/>
                </a:cubicBezTo>
                <a:cubicBezTo>
                  <a:pt x="132661" y="1812413"/>
                  <a:pt x="126610" y="1817400"/>
                  <a:pt x="129817" y="1793267"/>
                </a:cubicBezTo>
                <a:cubicBezTo>
                  <a:pt x="134575" y="1785090"/>
                  <a:pt x="136334" y="1799050"/>
                  <a:pt x="134938" y="1835050"/>
                </a:cubicBezTo>
                <a:close/>
                <a:moveTo>
                  <a:pt x="139550" y="252514"/>
                </a:moveTo>
                <a:cubicBezTo>
                  <a:pt x="138975" y="256507"/>
                  <a:pt x="137601" y="258402"/>
                  <a:pt x="134989" y="254687"/>
                </a:cubicBezTo>
                <a:cubicBezTo>
                  <a:pt x="135804" y="209664"/>
                  <a:pt x="141273" y="240534"/>
                  <a:pt x="139550" y="252514"/>
                </a:cubicBezTo>
                <a:close/>
                <a:moveTo>
                  <a:pt x="139844" y="2977418"/>
                </a:moveTo>
                <a:cubicBezTo>
                  <a:pt x="138312" y="2977966"/>
                  <a:pt x="136696" y="2967421"/>
                  <a:pt x="139592" y="2944137"/>
                </a:cubicBezTo>
                <a:cubicBezTo>
                  <a:pt x="142825" y="2965227"/>
                  <a:pt x="141377" y="2976869"/>
                  <a:pt x="139844" y="2977418"/>
                </a:cubicBezTo>
                <a:close/>
                <a:moveTo>
                  <a:pt x="139850" y="1627234"/>
                </a:moveTo>
                <a:cubicBezTo>
                  <a:pt x="140213" y="1702722"/>
                  <a:pt x="139178" y="1766841"/>
                  <a:pt x="128265" y="1751684"/>
                </a:cubicBezTo>
                <a:cubicBezTo>
                  <a:pt x="129869" y="1696539"/>
                  <a:pt x="129920" y="1696040"/>
                  <a:pt x="128886" y="1640796"/>
                </a:cubicBezTo>
                <a:cubicBezTo>
                  <a:pt x="133179" y="1641195"/>
                  <a:pt x="134369" y="1617062"/>
                  <a:pt x="139850" y="1627234"/>
                </a:cubicBezTo>
                <a:close/>
                <a:moveTo>
                  <a:pt x="140161" y="310330"/>
                </a:moveTo>
                <a:cubicBezTo>
                  <a:pt x="140006" y="323793"/>
                  <a:pt x="137885" y="321000"/>
                  <a:pt x="136437" y="324092"/>
                </a:cubicBezTo>
                <a:cubicBezTo>
                  <a:pt x="137368" y="374650"/>
                  <a:pt x="140523" y="357199"/>
                  <a:pt x="134938" y="391802"/>
                </a:cubicBezTo>
                <a:cubicBezTo>
                  <a:pt x="135765" y="392101"/>
                  <a:pt x="135713" y="402771"/>
                  <a:pt x="137679" y="406261"/>
                </a:cubicBezTo>
                <a:lnTo>
                  <a:pt x="135299" y="445950"/>
                </a:lnTo>
                <a:lnTo>
                  <a:pt x="133437" y="485140"/>
                </a:lnTo>
                <a:cubicBezTo>
                  <a:pt x="131524" y="484243"/>
                  <a:pt x="129455" y="481350"/>
                  <a:pt x="126455" y="476264"/>
                </a:cubicBezTo>
                <a:cubicBezTo>
                  <a:pt x="128369" y="418926"/>
                  <a:pt x="128110" y="344734"/>
                  <a:pt x="131162" y="296270"/>
                </a:cubicBezTo>
                <a:cubicBezTo>
                  <a:pt x="135558" y="290686"/>
                  <a:pt x="134938" y="321699"/>
                  <a:pt x="140161" y="310330"/>
                </a:cubicBezTo>
                <a:close/>
                <a:moveTo>
                  <a:pt x="140782" y="1460900"/>
                </a:moveTo>
                <a:cubicBezTo>
                  <a:pt x="146471" y="1493708"/>
                  <a:pt x="134110" y="1516743"/>
                  <a:pt x="140782" y="1460900"/>
                </a:cubicBezTo>
                <a:close/>
                <a:moveTo>
                  <a:pt x="140821" y="2140142"/>
                </a:moveTo>
                <a:cubicBezTo>
                  <a:pt x="141279" y="2165360"/>
                  <a:pt x="137963" y="2210870"/>
                  <a:pt x="138661" y="2153955"/>
                </a:cubicBezTo>
                <a:lnTo>
                  <a:pt x="138816" y="2126233"/>
                </a:lnTo>
                <a:cubicBezTo>
                  <a:pt x="140096" y="2125585"/>
                  <a:pt x="140668" y="2131736"/>
                  <a:pt x="140821" y="2140142"/>
                </a:cubicBezTo>
                <a:close/>
                <a:moveTo>
                  <a:pt x="142850" y="2057026"/>
                </a:moveTo>
                <a:lnTo>
                  <a:pt x="142592" y="2098610"/>
                </a:lnTo>
                <a:lnTo>
                  <a:pt x="137161" y="2098411"/>
                </a:lnTo>
                <a:lnTo>
                  <a:pt x="137420" y="2056827"/>
                </a:lnTo>
                <a:close/>
                <a:moveTo>
                  <a:pt x="142954" y="767846"/>
                </a:moveTo>
                <a:cubicBezTo>
                  <a:pt x="144092" y="821296"/>
                  <a:pt x="133955" y="820997"/>
                  <a:pt x="135713" y="767647"/>
                </a:cubicBezTo>
                <a:close/>
                <a:moveTo>
                  <a:pt x="146212" y="593835"/>
                </a:moveTo>
                <a:cubicBezTo>
                  <a:pt x="143575" y="609590"/>
                  <a:pt x="140885" y="706019"/>
                  <a:pt x="137834" y="664437"/>
                </a:cubicBezTo>
                <a:cubicBezTo>
                  <a:pt x="134782" y="622854"/>
                  <a:pt x="139230" y="547166"/>
                  <a:pt x="139230" y="547265"/>
                </a:cubicBezTo>
                <a:lnTo>
                  <a:pt x="144402" y="547366"/>
                </a:lnTo>
                <a:cubicBezTo>
                  <a:pt x="145023" y="561525"/>
                  <a:pt x="145695" y="579476"/>
                  <a:pt x="146212" y="593835"/>
                </a:cubicBezTo>
                <a:close/>
                <a:moveTo>
                  <a:pt x="146212" y="3374129"/>
                </a:moveTo>
                <a:cubicBezTo>
                  <a:pt x="138816" y="3374927"/>
                  <a:pt x="137885" y="3328657"/>
                  <a:pt x="128214" y="3345908"/>
                </a:cubicBezTo>
                <a:lnTo>
                  <a:pt x="128524" y="3290463"/>
                </a:lnTo>
                <a:cubicBezTo>
                  <a:pt x="132765" y="3332146"/>
                  <a:pt x="139334" y="3287971"/>
                  <a:pt x="140989" y="3332347"/>
                </a:cubicBezTo>
                <a:cubicBezTo>
                  <a:pt x="147143" y="3326861"/>
                  <a:pt x="136489" y="3278497"/>
                  <a:pt x="144868" y="3290862"/>
                </a:cubicBezTo>
                <a:cubicBezTo>
                  <a:pt x="143316" y="3333243"/>
                  <a:pt x="147764" y="3331747"/>
                  <a:pt x="146212" y="3374129"/>
                </a:cubicBezTo>
                <a:close/>
                <a:moveTo>
                  <a:pt x="148333" y="2680975"/>
                </a:moveTo>
                <a:lnTo>
                  <a:pt x="148178" y="2708697"/>
                </a:lnTo>
                <a:lnTo>
                  <a:pt x="144557" y="2708597"/>
                </a:lnTo>
                <a:lnTo>
                  <a:pt x="144712" y="2680875"/>
                </a:lnTo>
                <a:close/>
                <a:moveTo>
                  <a:pt x="149212" y="310530"/>
                </a:moveTo>
                <a:cubicBezTo>
                  <a:pt x="148436" y="328680"/>
                  <a:pt x="145902" y="332270"/>
                  <a:pt x="145333" y="352013"/>
                </a:cubicBezTo>
                <a:cubicBezTo>
                  <a:pt x="143368" y="348524"/>
                  <a:pt x="144247" y="324392"/>
                  <a:pt x="141868" y="324191"/>
                </a:cubicBezTo>
                <a:cubicBezTo>
                  <a:pt x="142540" y="305444"/>
                  <a:pt x="146471" y="312824"/>
                  <a:pt x="149212" y="310530"/>
                </a:cubicBezTo>
                <a:close/>
                <a:moveTo>
                  <a:pt x="150816" y="377741"/>
                </a:moveTo>
                <a:cubicBezTo>
                  <a:pt x="150609" y="380634"/>
                  <a:pt x="149212" y="426006"/>
                  <a:pt x="149108" y="428199"/>
                </a:cubicBezTo>
                <a:cubicBezTo>
                  <a:pt x="148591" y="440765"/>
                  <a:pt x="149781" y="475168"/>
                  <a:pt x="149264" y="484142"/>
                </a:cubicBezTo>
                <a:cubicBezTo>
                  <a:pt x="149057" y="488331"/>
                  <a:pt x="147453" y="511366"/>
                  <a:pt x="147195" y="519544"/>
                </a:cubicBezTo>
                <a:cubicBezTo>
                  <a:pt x="142902" y="513859"/>
                  <a:pt x="137782" y="516951"/>
                  <a:pt x="142799" y="476663"/>
                </a:cubicBezTo>
                <a:cubicBezTo>
                  <a:pt x="140678" y="480054"/>
                  <a:pt x="139075" y="482348"/>
                  <a:pt x="137627" y="483844"/>
                </a:cubicBezTo>
                <a:cubicBezTo>
                  <a:pt x="138351" y="471279"/>
                  <a:pt x="139178" y="448343"/>
                  <a:pt x="139799" y="442459"/>
                </a:cubicBezTo>
                <a:cubicBezTo>
                  <a:pt x="140419" y="436576"/>
                  <a:pt x="140368" y="411546"/>
                  <a:pt x="140316" y="402572"/>
                </a:cubicBezTo>
                <a:cubicBezTo>
                  <a:pt x="141351" y="390007"/>
                  <a:pt x="141919" y="374451"/>
                  <a:pt x="143420" y="365775"/>
                </a:cubicBezTo>
                <a:cubicBezTo>
                  <a:pt x="147919" y="373953"/>
                  <a:pt x="148850" y="351416"/>
                  <a:pt x="150816" y="377741"/>
                </a:cubicBezTo>
                <a:close/>
                <a:moveTo>
                  <a:pt x="150919" y="1918715"/>
                </a:moveTo>
                <a:cubicBezTo>
                  <a:pt x="147299" y="1944543"/>
                  <a:pt x="146316" y="1920011"/>
                  <a:pt x="141816" y="1918416"/>
                </a:cubicBezTo>
                <a:cubicBezTo>
                  <a:pt x="140368" y="1862473"/>
                  <a:pt x="152987" y="1862871"/>
                  <a:pt x="150919" y="1918715"/>
                </a:cubicBezTo>
                <a:close/>
                <a:moveTo>
                  <a:pt x="150970" y="2542465"/>
                </a:moveTo>
                <a:cubicBezTo>
                  <a:pt x="149988" y="2577266"/>
                  <a:pt x="147195" y="2519329"/>
                  <a:pt x="147557" y="2500781"/>
                </a:cubicBezTo>
                <a:cubicBezTo>
                  <a:pt x="149212" y="2511051"/>
                  <a:pt x="150195" y="2526109"/>
                  <a:pt x="150970" y="2542465"/>
                </a:cubicBezTo>
                <a:close/>
                <a:moveTo>
                  <a:pt x="153091" y="2805923"/>
                </a:moveTo>
                <a:cubicBezTo>
                  <a:pt x="150609" y="2824672"/>
                  <a:pt x="150298" y="2808318"/>
                  <a:pt x="147660" y="2805725"/>
                </a:cubicBezTo>
                <a:cubicBezTo>
                  <a:pt x="144816" y="2803032"/>
                  <a:pt x="140678" y="2813303"/>
                  <a:pt x="140471" y="2791663"/>
                </a:cubicBezTo>
                <a:cubicBezTo>
                  <a:pt x="139799" y="2765040"/>
                  <a:pt x="142178" y="2769527"/>
                  <a:pt x="144247" y="2764042"/>
                </a:cubicBezTo>
                <a:cubicBezTo>
                  <a:pt x="147299" y="2756065"/>
                  <a:pt x="154488" y="2741405"/>
                  <a:pt x="153091" y="2805923"/>
                </a:cubicBezTo>
                <a:close/>
                <a:moveTo>
                  <a:pt x="155211" y="2431575"/>
                </a:moveTo>
                <a:cubicBezTo>
                  <a:pt x="155832" y="2460593"/>
                  <a:pt x="153763" y="2468273"/>
                  <a:pt x="153091" y="2487020"/>
                </a:cubicBezTo>
                <a:cubicBezTo>
                  <a:pt x="151074" y="2484327"/>
                  <a:pt x="152211" y="2473059"/>
                  <a:pt x="153194" y="2473159"/>
                </a:cubicBezTo>
                <a:cubicBezTo>
                  <a:pt x="152522" y="2453015"/>
                  <a:pt x="151591" y="2474555"/>
                  <a:pt x="149522" y="2473059"/>
                </a:cubicBezTo>
                <a:cubicBezTo>
                  <a:pt x="148643" y="2493203"/>
                  <a:pt x="147971" y="2471563"/>
                  <a:pt x="145902" y="2472960"/>
                </a:cubicBezTo>
                <a:cubicBezTo>
                  <a:pt x="147299" y="2445636"/>
                  <a:pt x="150970" y="2436063"/>
                  <a:pt x="155211" y="2431575"/>
                </a:cubicBezTo>
                <a:close/>
                <a:moveTo>
                  <a:pt x="157384" y="2695135"/>
                </a:moveTo>
                <a:lnTo>
                  <a:pt x="157229" y="2722857"/>
                </a:lnTo>
                <a:lnTo>
                  <a:pt x="153608" y="2722758"/>
                </a:lnTo>
                <a:lnTo>
                  <a:pt x="153763" y="2695035"/>
                </a:lnTo>
                <a:close/>
                <a:moveTo>
                  <a:pt x="157849" y="807435"/>
                </a:moveTo>
                <a:cubicBezTo>
                  <a:pt x="157901" y="841141"/>
                  <a:pt x="155677" y="849817"/>
                  <a:pt x="155056" y="878934"/>
                </a:cubicBezTo>
                <a:cubicBezTo>
                  <a:pt x="154591" y="901870"/>
                  <a:pt x="157487" y="914435"/>
                  <a:pt x="154746" y="934379"/>
                </a:cubicBezTo>
                <a:cubicBezTo>
                  <a:pt x="154849" y="969081"/>
                  <a:pt x="154798" y="1044071"/>
                  <a:pt x="152057" y="1056037"/>
                </a:cubicBezTo>
                <a:cubicBezTo>
                  <a:pt x="150919" y="1176898"/>
                  <a:pt x="142902" y="1287687"/>
                  <a:pt x="145075" y="1388303"/>
                </a:cubicBezTo>
                <a:cubicBezTo>
                  <a:pt x="144454" y="1426597"/>
                  <a:pt x="144816" y="1438863"/>
                  <a:pt x="139178" y="1402265"/>
                </a:cubicBezTo>
                <a:cubicBezTo>
                  <a:pt x="139954" y="1355397"/>
                  <a:pt x="142488" y="1322788"/>
                  <a:pt x="141765" y="1263754"/>
                </a:cubicBezTo>
                <a:cubicBezTo>
                  <a:pt x="141765" y="1251588"/>
                  <a:pt x="140523" y="1248298"/>
                  <a:pt x="138868" y="1247998"/>
                </a:cubicBezTo>
                <a:cubicBezTo>
                  <a:pt x="139127" y="1236530"/>
                  <a:pt x="139437" y="1221274"/>
                  <a:pt x="139592" y="1218083"/>
                </a:cubicBezTo>
                <a:cubicBezTo>
                  <a:pt x="139850" y="1212697"/>
                  <a:pt x="139127" y="1171114"/>
                  <a:pt x="139178" y="1165730"/>
                </a:cubicBezTo>
                <a:cubicBezTo>
                  <a:pt x="139178" y="1163037"/>
                  <a:pt x="139178" y="1154361"/>
                  <a:pt x="139075" y="1145985"/>
                </a:cubicBezTo>
                <a:cubicBezTo>
                  <a:pt x="139644" y="1143990"/>
                  <a:pt x="140161" y="1141696"/>
                  <a:pt x="140678" y="1139004"/>
                </a:cubicBezTo>
                <a:cubicBezTo>
                  <a:pt x="140161" y="1076779"/>
                  <a:pt x="142178" y="1035196"/>
                  <a:pt x="143368" y="986631"/>
                </a:cubicBezTo>
                <a:cubicBezTo>
                  <a:pt x="153505" y="1014455"/>
                  <a:pt x="144402" y="846824"/>
                  <a:pt x="151591" y="851212"/>
                </a:cubicBezTo>
                <a:cubicBezTo>
                  <a:pt x="150298" y="802151"/>
                  <a:pt x="151539" y="817208"/>
                  <a:pt x="150246" y="768046"/>
                </a:cubicBezTo>
                <a:cubicBezTo>
                  <a:pt x="152471" y="769142"/>
                  <a:pt x="153815" y="762162"/>
                  <a:pt x="154642" y="751393"/>
                </a:cubicBezTo>
                <a:lnTo>
                  <a:pt x="157694" y="755082"/>
                </a:lnTo>
                <a:cubicBezTo>
                  <a:pt x="157746" y="757575"/>
                  <a:pt x="157849" y="798561"/>
                  <a:pt x="157849" y="807435"/>
                </a:cubicBezTo>
                <a:close/>
                <a:moveTo>
                  <a:pt x="158366" y="2279452"/>
                </a:moveTo>
                <a:cubicBezTo>
                  <a:pt x="156686" y="2288303"/>
                  <a:pt x="153970" y="2294760"/>
                  <a:pt x="152418" y="2292965"/>
                </a:cubicBezTo>
                <a:cubicBezTo>
                  <a:pt x="149884" y="2243603"/>
                  <a:pt x="158625" y="2284787"/>
                  <a:pt x="158108" y="2251581"/>
                </a:cubicBezTo>
                <a:cubicBezTo>
                  <a:pt x="160694" y="2259359"/>
                  <a:pt x="160047" y="2270602"/>
                  <a:pt x="158366" y="2279452"/>
                </a:cubicBezTo>
                <a:close/>
                <a:moveTo>
                  <a:pt x="161780" y="1918915"/>
                </a:moveTo>
                <a:cubicBezTo>
                  <a:pt x="158625" y="1969572"/>
                  <a:pt x="159246" y="1886605"/>
                  <a:pt x="154591" y="1904854"/>
                </a:cubicBezTo>
                <a:cubicBezTo>
                  <a:pt x="153298" y="1860578"/>
                  <a:pt x="157694" y="1862074"/>
                  <a:pt x="158625" y="1835649"/>
                </a:cubicBezTo>
                <a:cubicBezTo>
                  <a:pt x="165969" y="1834651"/>
                  <a:pt x="158625" y="1920011"/>
                  <a:pt x="161780" y="1918915"/>
                </a:cubicBezTo>
                <a:close/>
                <a:moveTo>
                  <a:pt x="162273" y="1654241"/>
                </a:moveTo>
                <a:cubicBezTo>
                  <a:pt x="162555" y="1661338"/>
                  <a:pt x="162387" y="1674826"/>
                  <a:pt x="161262" y="1697138"/>
                </a:cubicBezTo>
                <a:cubicBezTo>
                  <a:pt x="156530" y="1669166"/>
                  <a:pt x="161428" y="1632949"/>
                  <a:pt x="162273" y="1654241"/>
                </a:cubicBezTo>
                <a:close/>
                <a:moveTo>
                  <a:pt x="165025" y="506468"/>
                </a:moveTo>
                <a:cubicBezTo>
                  <a:pt x="165685" y="542255"/>
                  <a:pt x="165245" y="577580"/>
                  <a:pt x="162090" y="602112"/>
                </a:cubicBezTo>
                <a:cubicBezTo>
                  <a:pt x="158832" y="627541"/>
                  <a:pt x="159091" y="603607"/>
                  <a:pt x="160021" y="643694"/>
                </a:cubicBezTo>
                <a:cubicBezTo>
                  <a:pt x="160280" y="655063"/>
                  <a:pt x="160539" y="689267"/>
                  <a:pt x="159867" y="715193"/>
                </a:cubicBezTo>
                <a:cubicBezTo>
                  <a:pt x="156453" y="724568"/>
                  <a:pt x="155005" y="680890"/>
                  <a:pt x="152211" y="675705"/>
                </a:cubicBezTo>
                <a:cubicBezTo>
                  <a:pt x="151850" y="629934"/>
                  <a:pt x="155574" y="622455"/>
                  <a:pt x="152987" y="601813"/>
                </a:cubicBezTo>
                <a:cubicBezTo>
                  <a:pt x="152522" y="601114"/>
                  <a:pt x="152211" y="601713"/>
                  <a:pt x="151850" y="601613"/>
                </a:cubicBezTo>
                <a:lnTo>
                  <a:pt x="153763" y="567409"/>
                </a:lnTo>
                <a:cubicBezTo>
                  <a:pt x="153763" y="567409"/>
                  <a:pt x="155936" y="520541"/>
                  <a:pt x="155470" y="515355"/>
                </a:cubicBezTo>
                <a:cubicBezTo>
                  <a:pt x="155056" y="509870"/>
                  <a:pt x="154488" y="486436"/>
                  <a:pt x="153815" y="475567"/>
                </a:cubicBezTo>
                <a:cubicBezTo>
                  <a:pt x="153453" y="469683"/>
                  <a:pt x="153919" y="457418"/>
                  <a:pt x="154384" y="447047"/>
                </a:cubicBezTo>
                <a:cubicBezTo>
                  <a:pt x="156039" y="438570"/>
                  <a:pt x="158935" y="439568"/>
                  <a:pt x="159453" y="421918"/>
                </a:cubicBezTo>
                <a:cubicBezTo>
                  <a:pt x="158987" y="394095"/>
                  <a:pt x="160073" y="378539"/>
                  <a:pt x="163331" y="380434"/>
                </a:cubicBezTo>
                <a:cubicBezTo>
                  <a:pt x="163538" y="396488"/>
                  <a:pt x="162814" y="405065"/>
                  <a:pt x="161366" y="408057"/>
                </a:cubicBezTo>
                <a:cubicBezTo>
                  <a:pt x="162608" y="434433"/>
                  <a:pt x="164366" y="470681"/>
                  <a:pt x="165025" y="506468"/>
                </a:cubicBezTo>
                <a:close/>
                <a:moveTo>
                  <a:pt x="168607" y="1161640"/>
                </a:moveTo>
                <a:cubicBezTo>
                  <a:pt x="168193" y="1172909"/>
                  <a:pt x="166693" y="1175402"/>
                  <a:pt x="166642" y="1189263"/>
                </a:cubicBezTo>
                <a:lnTo>
                  <a:pt x="163021" y="1189164"/>
                </a:lnTo>
                <a:cubicBezTo>
                  <a:pt x="162297" y="1159646"/>
                  <a:pt x="165762" y="1162937"/>
                  <a:pt x="168607" y="1161640"/>
                </a:cubicBezTo>
                <a:close/>
                <a:moveTo>
                  <a:pt x="232584" y="249003"/>
                </a:moveTo>
                <a:lnTo>
                  <a:pt x="213241" y="249003"/>
                </a:lnTo>
                <a:cubicBezTo>
                  <a:pt x="213603" y="240427"/>
                  <a:pt x="230567" y="239230"/>
                  <a:pt x="232584" y="249003"/>
                </a:cubicBezTo>
                <a:close/>
                <a:moveTo>
                  <a:pt x="1167782" y="40588"/>
                </a:moveTo>
                <a:cubicBezTo>
                  <a:pt x="1167782" y="55646"/>
                  <a:pt x="1102978" y="42782"/>
                  <a:pt x="1149422" y="40588"/>
                </a:cubicBezTo>
                <a:cubicBezTo>
                  <a:pt x="1155525" y="40289"/>
                  <a:pt x="1161680" y="40787"/>
                  <a:pt x="1167782" y="40588"/>
                </a:cubicBezTo>
                <a:close/>
                <a:moveTo>
                  <a:pt x="1346785" y="99522"/>
                </a:moveTo>
                <a:cubicBezTo>
                  <a:pt x="1347664" y="117971"/>
                  <a:pt x="1312443" y="97728"/>
                  <a:pt x="1337630" y="99522"/>
                </a:cubicBezTo>
                <a:cubicBezTo>
                  <a:pt x="1340682" y="99522"/>
                  <a:pt x="1343733" y="99522"/>
                  <a:pt x="1346785" y="99522"/>
                </a:cubicBezTo>
                <a:close/>
                <a:moveTo>
                  <a:pt x="1612935" y="125649"/>
                </a:moveTo>
                <a:cubicBezTo>
                  <a:pt x="1609884" y="125649"/>
                  <a:pt x="1606832" y="125649"/>
                  <a:pt x="1603781" y="125649"/>
                </a:cubicBezTo>
                <a:cubicBezTo>
                  <a:pt x="1603781" y="121262"/>
                  <a:pt x="1603781" y="116973"/>
                  <a:pt x="1603781" y="112586"/>
                </a:cubicBezTo>
                <a:cubicBezTo>
                  <a:pt x="1606832" y="112586"/>
                  <a:pt x="1609884" y="112586"/>
                  <a:pt x="1612935" y="112586"/>
                </a:cubicBezTo>
                <a:cubicBezTo>
                  <a:pt x="1612935" y="116973"/>
                  <a:pt x="1612935" y="121361"/>
                  <a:pt x="1612935" y="125649"/>
                </a:cubicBezTo>
                <a:close/>
                <a:moveTo>
                  <a:pt x="1741459" y="125649"/>
                </a:moveTo>
                <a:cubicBezTo>
                  <a:pt x="1742132" y="134424"/>
                  <a:pt x="1722789" y="145493"/>
                  <a:pt x="1736856" y="151875"/>
                </a:cubicBezTo>
                <a:cubicBezTo>
                  <a:pt x="1725374" y="178102"/>
                  <a:pt x="1721909" y="112586"/>
                  <a:pt x="1741459" y="125649"/>
                </a:cubicBezTo>
                <a:close/>
                <a:moveTo>
                  <a:pt x="1892895" y="248904"/>
                </a:moveTo>
                <a:lnTo>
                  <a:pt x="1883741" y="248904"/>
                </a:lnTo>
                <a:cubicBezTo>
                  <a:pt x="1883741" y="244915"/>
                  <a:pt x="1883741" y="240925"/>
                  <a:pt x="1883741" y="236936"/>
                </a:cubicBezTo>
                <a:cubicBezTo>
                  <a:pt x="1886792" y="236936"/>
                  <a:pt x="1889843" y="236936"/>
                  <a:pt x="1892895" y="236936"/>
                </a:cubicBezTo>
                <a:cubicBezTo>
                  <a:pt x="1892895" y="241026"/>
                  <a:pt x="1892895" y="245014"/>
                  <a:pt x="1892895" y="248904"/>
                </a:cubicBezTo>
                <a:close/>
                <a:moveTo>
                  <a:pt x="1920410" y="99522"/>
                </a:moveTo>
                <a:cubicBezTo>
                  <a:pt x="1921185" y="118071"/>
                  <a:pt x="1892119" y="94037"/>
                  <a:pt x="1892843" y="112586"/>
                </a:cubicBezTo>
                <a:cubicBezTo>
                  <a:pt x="1878723" y="106005"/>
                  <a:pt x="1902825" y="101816"/>
                  <a:pt x="1902050" y="92942"/>
                </a:cubicBezTo>
                <a:cubicBezTo>
                  <a:pt x="1906135" y="98026"/>
                  <a:pt x="1912393" y="100021"/>
                  <a:pt x="1920410" y="99522"/>
                </a:cubicBezTo>
                <a:close/>
                <a:moveTo>
                  <a:pt x="1921651" y="249003"/>
                </a:moveTo>
                <a:lnTo>
                  <a:pt x="1906601" y="249003"/>
                </a:lnTo>
                <a:cubicBezTo>
                  <a:pt x="1906394" y="239928"/>
                  <a:pt x="1919996" y="240327"/>
                  <a:pt x="1921651" y="249003"/>
                </a:cubicBezTo>
                <a:close/>
                <a:moveTo>
                  <a:pt x="1925013" y="151875"/>
                </a:moveTo>
                <a:cubicBezTo>
                  <a:pt x="1923823" y="167233"/>
                  <a:pt x="1904842" y="155665"/>
                  <a:pt x="1902050" y="151875"/>
                </a:cubicBezTo>
                <a:cubicBezTo>
                  <a:pt x="1905980" y="132630"/>
                  <a:pt x="1913635" y="160452"/>
                  <a:pt x="1925013" y="151875"/>
                </a:cubicBezTo>
                <a:close/>
                <a:moveTo>
                  <a:pt x="1952528" y="158458"/>
                </a:moveTo>
                <a:cubicBezTo>
                  <a:pt x="1951131" y="167332"/>
                  <a:pt x="1941046" y="163842"/>
                  <a:pt x="1934219" y="165038"/>
                </a:cubicBezTo>
                <a:cubicBezTo>
                  <a:pt x="1934322" y="158656"/>
                  <a:pt x="1939805" y="159853"/>
                  <a:pt x="1943373" y="158458"/>
                </a:cubicBezTo>
                <a:cubicBezTo>
                  <a:pt x="1946425" y="158458"/>
                  <a:pt x="1949476" y="158458"/>
                  <a:pt x="1952528" y="158458"/>
                </a:cubicBezTo>
                <a:close/>
                <a:moveTo>
                  <a:pt x="2067294" y="125649"/>
                </a:moveTo>
                <a:cubicBezTo>
                  <a:pt x="2070656" y="130535"/>
                  <a:pt x="2048675" y="145095"/>
                  <a:pt x="2053536" y="132231"/>
                </a:cubicBezTo>
                <a:cubicBezTo>
                  <a:pt x="2054209" y="130436"/>
                  <a:pt x="2063415" y="120065"/>
                  <a:pt x="2067294" y="125649"/>
                </a:cubicBezTo>
                <a:close/>
                <a:moveTo>
                  <a:pt x="2094809" y="178102"/>
                </a:moveTo>
                <a:cubicBezTo>
                  <a:pt x="2095740" y="196551"/>
                  <a:pt x="2060519" y="176307"/>
                  <a:pt x="2085655" y="178102"/>
                </a:cubicBezTo>
                <a:cubicBezTo>
                  <a:pt x="2088706" y="178102"/>
                  <a:pt x="2091758" y="178102"/>
                  <a:pt x="2094809" y="178102"/>
                </a:cubicBezTo>
                <a:close/>
                <a:moveTo>
                  <a:pt x="2108567" y="99522"/>
                </a:moveTo>
                <a:cubicBezTo>
                  <a:pt x="2097757" y="120563"/>
                  <a:pt x="2090051" y="76487"/>
                  <a:pt x="2108567" y="99522"/>
                </a:cubicBezTo>
                <a:close/>
                <a:moveTo>
                  <a:pt x="2126927" y="132231"/>
                </a:moveTo>
                <a:cubicBezTo>
                  <a:pt x="2128168" y="136319"/>
                  <a:pt x="2122996" y="138014"/>
                  <a:pt x="2122376" y="132231"/>
                </a:cubicBezTo>
                <a:lnTo>
                  <a:pt x="2122376" y="127064"/>
                </a:lnTo>
                <a:lnTo>
                  <a:pt x="2121129" y="125649"/>
                </a:lnTo>
                <a:lnTo>
                  <a:pt x="2117772" y="125649"/>
                </a:lnTo>
                <a:cubicBezTo>
                  <a:pt x="2113170" y="121560"/>
                  <a:pt x="2114618" y="120413"/>
                  <a:pt x="2117637" y="121685"/>
                </a:cubicBezTo>
                <a:lnTo>
                  <a:pt x="2121129" y="125649"/>
                </a:lnTo>
                <a:lnTo>
                  <a:pt x="2122376" y="125649"/>
                </a:lnTo>
                <a:lnTo>
                  <a:pt x="2122376" y="127064"/>
                </a:lnTo>
                <a:close/>
                <a:moveTo>
                  <a:pt x="2159045" y="106104"/>
                </a:moveTo>
                <a:cubicBezTo>
                  <a:pt x="2155684" y="110792"/>
                  <a:pt x="2154442" y="99522"/>
                  <a:pt x="2154442" y="99522"/>
                </a:cubicBezTo>
                <a:cubicBezTo>
                  <a:pt x="2152477" y="99024"/>
                  <a:pt x="2146788" y="101217"/>
                  <a:pt x="2145287" y="99522"/>
                </a:cubicBezTo>
                <a:cubicBezTo>
                  <a:pt x="2139650" y="93240"/>
                  <a:pt x="2147305" y="88653"/>
                  <a:pt x="2154442" y="92942"/>
                </a:cubicBezTo>
                <a:cubicBezTo>
                  <a:pt x="2154804" y="93140"/>
                  <a:pt x="2160131" y="104509"/>
                  <a:pt x="2159045" y="106104"/>
                </a:cubicBezTo>
                <a:close/>
                <a:moveTo>
                  <a:pt x="2196363" y="110993"/>
                </a:moveTo>
                <a:cubicBezTo>
                  <a:pt x="2195488" y="118949"/>
                  <a:pt x="2180728" y="116051"/>
                  <a:pt x="2191163" y="99522"/>
                </a:cubicBezTo>
                <a:cubicBezTo>
                  <a:pt x="2195404" y="104483"/>
                  <a:pt x="2196655" y="108341"/>
                  <a:pt x="2196363" y="110993"/>
                </a:cubicBezTo>
                <a:close/>
                <a:moveTo>
                  <a:pt x="2200369" y="151875"/>
                </a:moveTo>
                <a:cubicBezTo>
                  <a:pt x="2194577" y="162546"/>
                  <a:pt x="2182112" y="162845"/>
                  <a:pt x="2177405" y="158458"/>
                </a:cubicBezTo>
                <a:cubicBezTo>
                  <a:pt x="2176733" y="157759"/>
                  <a:pt x="2189818" y="139111"/>
                  <a:pt x="2200369" y="151875"/>
                </a:cubicBezTo>
                <a:close/>
                <a:moveTo>
                  <a:pt x="2227884" y="165038"/>
                </a:moveTo>
                <a:cubicBezTo>
                  <a:pt x="2226333" y="166834"/>
                  <a:pt x="2211489" y="166135"/>
                  <a:pt x="2209523" y="165038"/>
                </a:cubicBezTo>
                <a:cubicBezTo>
                  <a:pt x="2209007" y="164740"/>
                  <a:pt x="2210041" y="158756"/>
                  <a:pt x="2209523" y="158458"/>
                </a:cubicBezTo>
                <a:cubicBezTo>
                  <a:pt x="2208489" y="157859"/>
                  <a:pt x="2202127" y="155964"/>
                  <a:pt x="2204921" y="151875"/>
                </a:cubicBezTo>
                <a:cubicBezTo>
                  <a:pt x="2208231" y="147188"/>
                  <a:pt x="2209679" y="158458"/>
                  <a:pt x="2209523" y="158458"/>
                </a:cubicBezTo>
                <a:cubicBezTo>
                  <a:pt x="2212524" y="158557"/>
                  <a:pt x="2232590" y="159654"/>
                  <a:pt x="2227884" y="165038"/>
                </a:cubicBezTo>
                <a:close/>
                <a:moveTo>
                  <a:pt x="2292172" y="158458"/>
                </a:moveTo>
                <a:cubicBezTo>
                  <a:pt x="2287828" y="183985"/>
                  <a:pt x="2269001" y="163942"/>
                  <a:pt x="2255451" y="165038"/>
                </a:cubicBezTo>
                <a:cubicBezTo>
                  <a:pt x="2261502" y="137417"/>
                  <a:pt x="2278466" y="175111"/>
                  <a:pt x="2292172" y="158458"/>
                </a:cubicBezTo>
                <a:close/>
                <a:moveTo>
                  <a:pt x="2356408" y="178002"/>
                </a:moveTo>
                <a:cubicBezTo>
                  <a:pt x="2354494" y="180794"/>
                  <a:pt x="2350926" y="161649"/>
                  <a:pt x="2347202" y="164939"/>
                </a:cubicBezTo>
                <a:cubicBezTo>
                  <a:pt x="2355063" y="142602"/>
                  <a:pt x="2359925" y="173016"/>
                  <a:pt x="2356408" y="178002"/>
                </a:cubicBezTo>
                <a:close/>
                <a:moveTo>
                  <a:pt x="2374888" y="141980"/>
                </a:moveTo>
                <a:cubicBezTo>
                  <a:pt x="2375858" y="142802"/>
                  <a:pt x="2376023" y="143874"/>
                  <a:pt x="2374769" y="145295"/>
                </a:cubicBezTo>
                <a:cubicBezTo>
                  <a:pt x="2368665" y="152274"/>
                  <a:pt x="2362149" y="139810"/>
                  <a:pt x="2361011" y="138713"/>
                </a:cubicBezTo>
                <a:cubicBezTo>
                  <a:pt x="2358891" y="136818"/>
                  <a:pt x="2353770" y="140806"/>
                  <a:pt x="2351805" y="138713"/>
                </a:cubicBezTo>
                <a:cubicBezTo>
                  <a:pt x="2352218" y="139211"/>
                  <a:pt x="2356667" y="125649"/>
                  <a:pt x="2356408" y="125649"/>
                </a:cubicBezTo>
                <a:cubicBezTo>
                  <a:pt x="2362666" y="124752"/>
                  <a:pt x="2357805" y="136518"/>
                  <a:pt x="2361011" y="138713"/>
                </a:cubicBezTo>
                <a:cubicBezTo>
                  <a:pt x="2361825" y="139311"/>
                  <a:pt x="2371979" y="139516"/>
                  <a:pt x="2374888" y="141980"/>
                </a:cubicBezTo>
                <a:close/>
                <a:moveTo>
                  <a:pt x="2440039" y="148001"/>
                </a:moveTo>
                <a:cubicBezTo>
                  <a:pt x="2433600" y="147968"/>
                  <a:pt x="2408309" y="141555"/>
                  <a:pt x="2397680" y="145295"/>
                </a:cubicBezTo>
                <a:cubicBezTo>
                  <a:pt x="2389095" y="115578"/>
                  <a:pt x="2415938" y="136419"/>
                  <a:pt x="2411438" y="112486"/>
                </a:cubicBezTo>
                <a:cubicBezTo>
                  <a:pt x="2417644" y="118968"/>
                  <a:pt x="2420593" y="130037"/>
                  <a:pt x="2425195" y="138713"/>
                </a:cubicBezTo>
                <a:cubicBezTo>
                  <a:pt x="2431712" y="138214"/>
                  <a:pt x="2438177" y="137615"/>
                  <a:pt x="2438953" y="145295"/>
                </a:cubicBezTo>
                <a:cubicBezTo>
                  <a:pt x="2442237" y="147314"/>
                  <a:pt x="2442185" y="148012"/>
                  <a:pt x="2440039" y="148001"/>
                </a:cubicBezTo>
                <a:close/>
                <a:moveTo>
                  <a:pt x="2443607" y="178102"/>
                </a:moveTo>
                <a:cubicBezTo>
                  <a:pt x="2446245" y="196350"/>
                  <a:pt x="2434660" y="183587"/>
                  <a:pt x="2429954" y="184783"/>
                </a:cubicBezTo>
                <a:cubicBezTo>
                  <a:pt x="2422196" y="186478"/>
                  <a:pt x="2419817" y="191963"/>
                  <a:pt x="2411593" y="191365"/>
                </a:cubicBezTo>
                <a:cubicBezTo>
                  <a:pt x="2412265" y="191365"/>
                  <a:pt x="2409783" y="184983"/>
                  <a:pt x="2406990" y="184783"/>
                </a:cubicBezTo>
                <a:cubicBezTo>
                  <a:pt x="2405748" y="184684"/>
                  <a:pt x="2403525" y="185382"/>
                  <a:pt x="2402387" y="184783"/>
                </a:cubicBezTo>
                <a:cubicBezTo>
                  <a:pt x="2401197" y="184085"/>
                  <a:pt x="2396387" y="178002"/>
                  <a:pt x="2397784" y="178201"/>
                </a:cubicBezTo>
                <a:cubicBezTo>
                  <a:pt x="2386044" y="176506"/>
                  <a:pt x="2384492" y="189869"/>
                  <a:pt x="2370217" y="178201"/>
                </a:cubicBezTo>
                <a:cubicBezTo>
                  <a:pt x="2370941" y="170523"/>
                  <a:pt x="2378544" y="172617"/>
                  <a:pt x="2383975" y="171620"/>
                </a:cubicBezTo>
                <a:cubicBezTo>
                  <a:pt x="2389250" y="166135"/>
                  <a:pt x="2396232" y="162945"/>
                  <a:pt x="2406887" y="165038"/>
                </a:cubicBezTo>
                <a:cubicBezTo>
                  <a:pt x="2405594" y="175609"/>
                  <a:pt x="2411231" y="176307"/>
                  <a:pt x="2411489" y="184684"/>
                </a:cubicBezTo>
                <a:cubicBezTo>
                  <a:pt x="2421316" y="179498"/>
                  <a:pt x="2437143" y="168729"/>
                  <a:pt x="2443607" y="178102"/>
                </a:cubicBezTo>
                <a:close/>
                <a:moveTo>
                  <a:pt x="2466520" y="184584"/>
                </a:moveTo>
                <a:cubicBezTo>
                  <a:pt x="2461193" y="202135"/>
                  <a:pt x="2442159" y="185182"/>
                  <a:pt x="2448159" y="164939"/>
                </a:cubicBezTo>
                <a:cubicBezTo>
                  <a:pt x="2466416" y="161448"/>
                  <a:pt x="2443194" y="188174"/>
                  <a:pt x="2466520" y="184584"/>
                </a:cubicBezTo>
                <a:close/>
                <a:moveTo>
                  <a:pt x="2471123" y="138812"/>
                </a:moveTo>
                <a:cubicBezTo>
                  <a:pt x="2466209" y="144896"/>
                  <a:pt x="2469674" y="162945"/>
                  <a:pt x="2457365" y="158458"/>
                </a:cubicBezTo>
                <a:cubicBezTo>
                  <a:pt x="2462278" y="152374"/>
                  <a:pt x="2458813" y="134325"/>
                  <a:pt x="2471123" y="138812"/>
                </a:cubicBezTo>
                <a:close/>
                <a:moveTo>
                  <a:pt x="2494086" y="125649"/>
                </a:moveTo>
                <a:cubicBezTo>
                  <a:pt x="2481984" y="127644"/>
                  <a:pt x="2479036" y="116574"/>
                  <a:pt x="2480329" y="99423"/>
                </a:cubicBezTo>
                <a:cubicBezTo>
                  <a:pt x="2487000" y="105207"/>
                  <a:pt x="2498069" y="104708"/>
                  <a:pt x="2494086" y="125649"/>
                </a:cubicBezTo>
                <a:close/>
                <a:moveTo>
                  <a:pt x="2507844" y="184584"/>
                </a:moveTo>
                <a:cubicBezTo>
                  <a:pt x="2503913" y="194356"/>
                  <a:pt x="2496310" y="198744"/>
                  <a:pt x="2484880" y="197646"/>
                </a:cubicBezTo>
                <a:cubicBezTo>
                  <a:pt x="2480174" y="175708"/>
                  <a:pt x="2499155" y="187476"/>
                  <a:pt x="2507844" y="184584"/>
                </a:cubicBezTo>
                <a:close/>
                <a:moveTo>
                  <a:pt x="2512447" y="138812"/>
                </a:moveTo>
                <a:cubicBezTo>
                  <a:pt x="2507017" y="150679"/>
                  <a:pt x="2488500" y="143898"/>
                  <a:pt x="2480329" y="151875"/>
                </a:cubicBezTo>
                <a:cubicBezTo>
                  <a:pt x="2476657" y="127046"/>
                  <a:pt x="2502051" y="143598"/>
                  <a:pt x="2512447" y="138812"/>
                </a:cubicBezTo>
                <a:close/>
                <a:moveTo>
                  <a:pt x="2558322" y="236936"/>
                </a:moveTo>
                <a:cubicBezTo>
                  <a:pt x="2551443" y="252194"/>
                  <a:pt x="2547099" y="247009"/>
                  <a:pt x="2535359" y="243518"/>
                </a:cubicBezTo>
                <a:cubicBezTo>
                  <a:pt x="2540996" y="234144"/>
                  <a:pt x="2552891" y="228661"/>
                  <a:pt x="2558322" y="236936"/>
                </a:cubicBezTo>
                <a:close/>
                <a:moveTo>
                  <a:pt x="2575219" y="141798"/>
                </a:moveTo>
                <a:cubicBezTo>
                  <a:pt x="2576987" y="148585"/>
                  <a:pt x="2563197" y="163618"/>
                  <a:pt x="2553771" y="158458"/>
                </a:cubicBezTo>
                <a:cubicBezTo>
                  <a:pt x="2549323" y="158557"/>
                  <a:pt x="2550202" y="166435"/>
                  <a:pt x="2549168" y="171521"/>
                </a:cubicBezTo>
                <a:cubicBezTo>
                  <a:pt x="2542910" y="169426"/>
                  <a:pt x="2545341" y="155066"/>
                  <a:pt x="2544565" y="145295"/>
                </a:cubicBezTo>
                <a:cubicBezTo>
                  <a:pt x="2556254" y="138114"/>
                  <a:pt x="2568201" y="167731"/>
                  <a:pt x="2567528" y="138812"/>
                </a:cubicBezTo>
                <a:cubicBezTo>
                  <a:pt x="2572312" y="138189"/>
                  <a:pt x="2574630" y="139535"/>
                  <a:pt x="2575219" y="141798"/>
                </a:cubicBezTo>
                <a:close/>
                <a:moveTo>
                  <a:pt x="2576683" y="197747"/>
                </a:moveTo>
                <a:cubicBezTo>
                  <a:pt x="2577459" y="211907"/>
                  <a:pt x="2560391" y="200639"/>
                  <a:pt x="2553771" y="204328"/>
                </a:cubicBezTo>
                <a:cubicBezTo>
                  <a:pt x="2554495" y="196650"/>
                  <a:pt x="2562149" y="198744"/>
                  <a:pt x="2567528" y="197747"/>
                </a:cubicBezTo>
                <a:cubicBezTo>
                  <a:pt x="2567528" y="193459"/>
                  <a:pt x="2567528" y="189071"/>
                  <a:pt x="2567528" y="184684"/>
                </a:cubicBezTo>
                <a:cubicBezTo>
                  <a:pt x="2572494" y="186279"/>
                  <a:pt x="2570632" y="197646"/>
                  <a:pt x="2576683" y="197747"/>
                </a:cubicBezTo>
                <a:close/>
                <a:moveTo>
                  <a:pt x="2595354" y="248904"/>
                </a:moveTo>
                <a:lnTo>
                  <a:pt x="2589509" y="248904"/>
                </a:lnTo>
                <a:cubicBezTo>
                  <a:pt x="2585475" y="246809"/>
                  <a:pt x="2582993" y="242421"/>
                  <a:pt x="2576683" y="243518"/>
                </a:cubicBezTo>
                <a:cubicBezTo>
                  <a:pt x="2575286" y="232250"/>
                  <a:pt x="2601146" y="231951"/>
                  <a:pt x="2595354" y="248904"/>
                </a:cubicBezTo>
                <a:close/>
                <a:moveTo>
                  <a:pt x="2636174" y="196429"/>
                </a:moveTo>
                <a:cubicBezTo>
                  <a:pt x="2635388" y="196195"/>
                  <a:pt x="2621976" y="183985"/>
                  <a:pt x="2622558" y="197747"/>
                </a:cubicBezTo>
                <a:cubicBezTo>
                  <a:pt x="2605180" y="194057"/>
                  <a:pt x="2632540" y="171122"/>
                  <a:pt x="2631765" y="191265"/>
                </a:cubicBezTo>
                <a:cubicBezTo>
                  <a:pt x="2635295" y="195254"/>
                  <a:pt x="2636436" y="196507"/>
                  <a:pt x="2636174" y="196429"/>
                </a:cubicBezTo>
                <a:close/>
                <a:moveTo>
                  <a:pt x="2636368" y="243518"/>
                </a:moveTo>
                <a:cubicBezTo>
                  <a:pt x="2636005" y="246211"/>
                  <a:pt x="2634816" y="247807"/>
                  <a:pt x="2633420" y="248904"/>
                </a:cubicBezTo>
                <a:lnTo>
                  <a:pt x="2604663" y="248904"/>
                </a:lnTo>
                <a:cubicBezTo>
                  <a:pt x="2607715" y="236438"/>
                  <a:pt x="2627161" y="247308"/>
                  <a:pt x="2636368" y="243518"/>
                </a:cubicBezTo>
                <a:close/>
                <a:moveTo>
                  <a:pt x="2643257" y="149324"/>
                </a:moveTo>
                <a:cubicBezTo>
                  <a:pt x="2644129" y="151489"/>
                  <a:pt x="2643686" y="154519"/>
                  <a:pt x="2640919" y="158458"/>
                </a:cubicBezTo>
                <a:cubicBezTo>
                  <a:pt x="2642677" y="155964"/>
                  <a:pt x="2627110" y="151377"/>
                  <a:pt x="2627161" y="151875"/>
                </a:cubicBezTo>
                <a:cubicBezTo>
                  <a:pt x="2626192" y="144098"/>
                  <a:pt x="2640641" y="142826"/>
                  <a:pt x="2643257" y="149324"/>
                </a:cubicBezTo>
                <a:close/>
                <a:moveTo>
                  <a:pt x="2645522" y="132231"/>
                </a:moveTo>
                <a:cubicBezTo>
                  <a:pt x="2641849" y="126647"/>
                  <a:pt x="2632954" y="128342"/>
                  <a:pt x="2631765" y="119168"/>
                </a:cubicBezTo>
                <a:cubicBezTo>
                  <a:pt x="2627110" y="123355"/>
                  <a:pt x="2627006" y="134226"/>
                  <a:pt x="2618007" y="132231"/>
                </a:cubicBezTo>
                <a:cubicBezTo>
                  <a:pt x="2614077" y="103312"/>
                  <a:pt x="2647746" y="108996"/>
                  <a:pt x="2645522" y="132231"/>
                </a:cubicBezTo>
                <a:close/>
                <a:moveTo>
                  <a:pt x="2673037" y="204229"/>
                </a:moveTo>
                <a:cubicBezTo>
                  <a:pt x="2666417" y="229059"/>
                  <a:pt x="2623075" y="216195"/>
                  <a:pt x="2608801" y="210710"/>
                </a:cubicBezTo>
                <a:cubicBezTo>
                  <a:pt x="2607197" y="206423"/>
                  <a:pt x="2620231" y="200837"/>
                  <a:pt x="2622558" y="204229"/>
                </a:cubicBezTo>
                <a:cubicBezTo>
                  <a:pt x="2627886" y="211807"/>
                  <a:pt x="2623282" y="205326"/>
                  <a:pt x="2627161" y="204229"/>
                </a:cubicBezTo>
                <a:cubicBezTo>
                  <a:pt x="2631196" y="203032"/>
                  <a:pt x="2631919" y="210710"/>
                  <a:pt x="2631765" y="210710"/>
                </a:cubicBezTo>
                <a:cubicBezTo>
                  <a:pt x="2635436" y="209813"/>
                  <a:pt x="2636368" y="203830"/>
                  <a:pt x="2640919" y="204229"/>
                </a:cubicBezTo>
                <a:cubicBezTo>
                  <a:pt x="2648522" y="204927"/>
                  <a:pt x="2659538" y="221979"/>
                  <a:pt x="2659279" y="197646"/>
                </a:cubicBezTo>
                <a:cubicBezTo>
                  <a:pt x="2662951" y="201137"/>
                  <a:pt x="2666727" y="204528"/>
                  <a:pt x="2673037" y="204229"/>
                </a:cubicBezTo>
                <a:close/>
                <a:moveTo>
                  <a:pt x="2691397" y="119168"/>
                </a:moveTo>
                <a:cubicBezTo>
                  <a:pt x="2692329" y="137615"/>
                  <a:pt x="2657107" y="117372"/>
                  <a:pt x="2682243" y="119168"/>
                </a:cubicBezTo>
                <a:cubicBezTo>
                  <a:pt x="2685295" y="119168"/>
                  <a:pt x="2688346" y="119168"/>
                  <a:pt x="2691397" y="119168"/>
                </a:cubicBezTo>
                <a:close/>
                <a:moveTo>
                  <a:pt x="2723515" y="145295"/>
                </a:moveTo>
                <a:cubicBezTo>
                  <a:pt x="2713637" y="157061"/>
                  <a:pt x="2702465" y="156862"/>
                  <a:pt x="2691397" y="151776"/>
                </a:cubicBezTo>
                <a:cubicBezTo>
                  <a:pt x="2699672" y="131533"/>
                  <a:pt x="2705465" y="148286"/>
                  <a:pt x="2723515" y="145295"/>
                </a:cubicBezTo>
                <a:close/>
                <a:moveTo>
                  <a:pt x="2741876" y="164939"/>
                </a:moveTo>
                <a:cubicBezTo>
                  <a:pt x="2742807" y="183388"/>
                  <a:pt x="2707586" y="163143"/>
                  <a:pt x="2732722" y="164939"/>
                </a:cubicBezTo>
                <a:cubicBezTo>
                  <a:pt x="2735773" y="164939"/>
                  <a:pt x="2738825" y="164939"/>
                  <a:pt x="2741876" y="164939"/>
                </a:cubicBezTo>
                <a:close/>
                <a:moveTo>
                  <a:pt x="2778597" y="145295"/>
                </a:moveTo>
                <a:cubicBezTo>
                  <a:pt x="2773270" y="144297"/>
                  <a:pt x="2770425" y="146789"/>
                  <a:pt x="2769391" y="151776"/>
                </a:cubicBezTo>
                <a:cubicBezTo>
                  <a:pt x="2752789" y="156563"/>
                  <a:pt x="2752789" y="140507"/>
                  <a:pt x="2769391" y="145295"/>
                </a:cubicBezTo>
                <a:cubicBezTo>
                  <a:pt x="2768563" y="139709"/>
                  <a:pt x="2771201" y="139111"/>
                  <a:pt x="2773994" y="138713"/>
                </a:cubicBezTo>
                <a:cubicBezTo>
                  <a:pt x="2777924" y="137516"/>
                  <a:pt x="2778339" y="141305"/>
                  <a:pt x="2778597" y="145295"/>
                </a:cubicBezTo>
                <a:close/>
                <a:moveTo>
                  <a:pt x="2810715" y="138812"/>
                </a:moveTo>
                <a:cubicBezTo>
                  <a:pt x="2811025" y="157261"/>
                  <a:pt x="2787183" y="150879"/>
                  <a:pt x="2787751" y="132231"/>
                </a:cubicBezTo>
                <a:cubicBezTo>
                  <a:pt x="2793078" y="137715"/>
                  <a:pt x="2800061" y="140906"/>
                  <a:pt x="2810715" y="138812"/>
                </a:cubicBezTo>
                <a:close/>
                <a:moveTo>
                  <a:pt x="2829076" y="92942"/>
                </a:moveTo>
                <a:cubicBezTo>
                  <a:pt x="2833627" y="97429"/>
                  <a:pt x="2815525" y="99223"/>
                  <a:pt x="2815318" y="99522"/>
                </a:cubicBezTo>
                <a:cubicBezTo>
                  <a:pt x="2810922" y="105805"/>
                  <a:pt x="2811232" y="99522"/>
                  <a:pt x="2801560" y="99522"/>
                </a:cubicBezTo>
                <a:cubicBezTo>
                  <a:pt x="2797734" y="92841"/>
                  <a:pt x="2822766" y="86659"/>
                  <a:pt x="2829076" y="92942"/>
                </a:cubicBezTo>
                <a:close/>
                <a:moveTo>
                  <a:pt x="2878397" y="114767"/>
                </a:moveTo>
                <a:cubicBezTo>
                  <a:pt x="2880252" y="117422"/>
                  <a:pt x="2878675" y="120414"/>
                  <a:pt x="2870400" y="119067"/>
                </a:cubicBezTo>
                <a:cubicBezTo>
                  <a:pt x="2869055" y="119267"/>
                  <a:pt x="2859901" y="130237"/>
                  <a:pt x="2856642" y="125649"/>
                </a:cubicBezTo>
                <a:cubicBezTo>
                  <a:pt x="2854729" y="122956"/>
                  <a:pt x="2868124" y="117870"/>
                  <a:pt x="2865796" y="112486"/>
                </a:cubicBezTo>
                <a:cubicBezTo>
                  <a:pt x="2871253" y="109794"/>
                  <a:pt x="2876541" y="112112"/>
                  <a:pt x="2878397" y="114767"/>
                </a:cubicBezTo>
                <a:close/>
                <a:moveTo>
                  <a:pt x="2884158" y="158458"/>
                </a:moveTo>
                <a:cubicBezTo>
                  <a:pt x="2882554" y="160750"/>
                  <a:pt x="2855659" y="133527"/>
                  <a:pt x="2838230" y="145493"/>
                </a:cubicBezTo>
                <a:cubicBezTo>
                  <a:pt x="2833989" y="127544"/>
                  <a:pt x="2856332" y="147388"/>
                  <a:pt x="2861194" y="138911"/>
                </a:cubicBezTo>
                <a:cubicBezTo>
                  <a:pt x="2861400" y="138513"/>
                  <a:pt x="2861038" y="132331"/>
                  <a:pt x="2861194" y="132331"/>
                </a:cubicBezTo>
                <a:cubicBezTo>
                  <a:pt x="2868280" y="132529"/>
                  <a:pt x="2877227" y="142801"/>
                  <a:pt x="2884158" y="145394"/>
                </a:cubicBezTo>
                <a:cubicBezTo>
                  <a:pt x="2882968" y="148087"/>
                  <a:pt x="2885709" y="156263"/>
                  <a:pt x="2884158" y="158458"/>
                </a:cubicBezTo>
                <a:close/>
                <a:moveTo>
                  <a:pt x="2925482" y="92942"/>
                </a:moveTo>
                <a:cubicBezTo>
                  <a:pt x="2926412" y="111389"/>
                  <a:pt x="2891191" y="91146"/>
                  <a:pt x="2916327" y="92942"/>
                </a:cubicBezTo>
                <a:cubicBezTo>
                  <a:pt x="2919379" y="92942"/>
                  <a:pt x="2922430" y="92942"/>
                  <a:pt x="2925482" y="92942"/>
                </a:cubicBezTo>
                <a:close/>
                <a:moveTo>
                  <a:pt x="2939239" y="164939"/>
                </a:moveTo>
                <a:cubicBezTo>
                  <a:pt x="2938618" y="164141"/>
                  <a:pt x="2926309" y="164241"/>
                  <a:pt x="2925482" y="164939"/>
                </a:cubicBezTo>
                <a:cubicBezTo>
                  <a:pt x="2911465" y="176506"/>
                  <a:pt x="2947721" y="177004"/>
                  <a:pt x="2939239" y="164939"/>
                </a:cubicBezTo>
                <a:close/>
                <a:moveTo>
                  <a:pt x="2966418" y="172328"/>
                </a:moveTo>
                <a:cubicBezTo>
                  <a:pt x="2966686" y="169788"/>
                  <a:pt x="2965513" y="167208"/>
                  <a:pt x="2962203" y="164939"/>
                </a:cubicBezTo>
                <a:cubicBezTo>
                  <a:pt x="2954548" y="180296"/>
                  <a:pt x="2962616" y="162546"/>
                  <a:pt x="2962203" y="151875"/>
                </a:cubicBezTo>
                <a:cubicBezTo>
                  <a:pt x="2947462" y="150480"/>
                  <a:pt x="2951031" y="175210"/>
                  <a:pt x="2943842" y="184584"/>
                </a:cubicBezTo>
                <a:cubicBezTo>
                  <a:pt x="2951832" y="187201"/>
                  <a:pt x="2965613" y="179947"/>
                  <a:pt x="2966418" y="172328"/>
                </a:cubicBezTo>
                <a:close/>
                <a:moveTo>
                  <a:pt x="3012630" y="151875"/>
                </a:moveTo>
                <a:cubicBezTo>
                  <a:pt x="3012630" y="147488"/>
                  <a:pt x="3012630" y="143200"/>
                  <a:pt x="3012630" y="138812"/>
                </a:cubicBezTo>
                <a:cubicBezTo>
                  <a:pt x="3005440" y="139411"/>
                  <a:pt x="2996752" y="137915"/>
                  <a:pt x="2998872" y="151875"/>
                </a:cubicBezTo>
                <a:cubicBezTo>
                  <a:pt x="3003475" y="151875"/>
                  <a:pt x="3008078" y="151875"/>
                  <a:pt x="3012630" y="151875"/>
                </a:cubicBezTo>
                <a:close/>
                <a:moveTo>
                  <a:pt x="3031041" y="178102"/>
                </a:moveTo>
                <a:cubicBezTo>
                  <a:pt x="3032387" y="165238"/>
                  <a:pt x="3024835" y="165139"/>
                  <a:pt x="3021887" y="158458"/>
                </a:cubicBezTo>
                <a:cubicBezTo>
                  <a:pt x="3020853" y="153372"/>
                  <a:pt x="3021732" y="145593"/>
                  <a:pt x="3017285" y="145394"/>
                </a:cubicBezTo>
                <a:cubicBezTo>
                  <a:pt x="3021060" y="163842"/>
                  <a:pt x="3010819" y="162346"/>
                  <a:pt x="3012681" y="178102"/>
                </a:cubicBezTo>
                <a:cubicBezTo>
                  <a:pt x="3018784" y="178102"/>
                  <a:pt x="3024887" y="178102"/>
                  <a:pt x="3031041" y="178102"/>
                </a:cubicBezTo>
                <a:close/>
                <a:moveTo>
                  <a:pt x="3031041" y="236936"/>
                </a:moveTo>
                <a:cubicBezTo>
                  <a:pt x="3029386" y="240526"/>
                  <a:pt x="3027835" y="244217"/>
                  <a:pt x="3027111" y="248904"/>
                </a:cubicBezTo>
                <a:lnTo>
                  <a:pt x="2893571" y="248904"/>
                </a:lnTo>
                <a:cubicBezTo>
                  <a:pt x="2890053" y="247308"/>
                  <a:pt x="2888760" y="244316"/>
                  <a:pt x="2884261" y="243518"/>
                </a:cubicBezTo>
                <a:cubicBezTo>
                  <a:pt x="2885088" y="243618"/>
                  <a:pt x="2884261" y="246709"/>
                  <a:pt x="2882968" y="248904"/>
                </a:cubicBezTo>
                <a:lnTo>
                  <a:pt x="2879606" y="248904"/>
                </a:lnTo>
                <a:cubicBezTo>
                  <a:pt x="2879606" y="247108"/>
                  <a:pt x="2879968" y="243618"/>
                  <a:pt x="2879658" y="243518"/>
                </a:cubicBezTo>
                <a:cubicBezTo>
                  <a:pt x="2872313" y="240627"/>
                  <a:pt x="2856591" y="250398"/>
                  <a:pt x="2861297" y="230455"/>
                </a:cubicBezTo>
                <a:cubicBezTo>
                  <a:pt x="2869986" y="229857"/>
                  <a:pt x="2908517" y="250698"/>
                  <a:pt x="2916379" y="236936"/>
                </a:cubicBezTo>
                <a:cubicBezTo>
                  <a:pt x="2921499" y="227962"/>
                  <a:pt x="2918292" y="239329"/>
                  <a:pt x="2925533" y="236936"/>
                </a:cubicBezTo>
                <a:cubicBezTo>
                  <a:pt x="2926464" y="236737"/>
                  <a:pt x="2926154" y="230754"/>
                  <a:pt x="2930136" y="230455"/>
                </a:cubicBezTo>
                <a:cubicBezTo>
                  <a:pt x="2935412" y="230056"/>
                  <a:pt x="2938360" y="230155"/>
                  <a:pt x="2939290" y="223874"/>
                </a:cubicBezTo>
                <a:cubicBezTo>
                  <a:pt x="2953514" y="223176"/>
                  <a:pt x="2952376" y="244516"/>
                  <a:pt x="2971409" y="236936"/>
                </a:cubicBezTo>
                <a:cubicBezTo>
                  <a:pt x="2972702" y="226367"/>
                  <a:pt x="2967064" y="225668"/>
                  <a:pt x="2966805" y="217292"/>
                </a:cubicBezTo>
                <a:cubicBezTo>
                  <a:pt x="2968719" y="200837"/>
                  <a:pt x="2976684" y="228161"/>
                  <a:pt x="2975960" y="236936"/>
                </a:cubicBezTo>
                <a:cubicBezTo>
                  <a:pt x="2999493" y="240228"/>
                  <a:pt x="3006992" y="247408"/>
                  <a:pt x="3031041" y="236936"/>
                </a:cubicBezTo>
                <a:close/>
                <a:moveTo>
                  <a:pt x="3095226" y="125649"/>
                </a:moveTo>
                <a:cubicBezTo>
                  <a:pt x="3093209" y="147986"/>
                  <a:pt x="3067245" y="159454"/>
                  <a:pt x="3053954" y="145295"/>
                </a:cubicBezTo>
                <a:cubicBezTo>
                  <a:pt x="3056385" y="140108"/>
                  <a:pt x="3058764" y="134724"/>
                  <a:pt x="3058505" y="125649"/>
                </a:cubicBezTo>
                <a:cubicBezTo>
                  <a:pt x="3063884" y="126647"/>
                  <a:pt x="3062384" y="137615"/>
                  <a:pt x="3063108" y="145295"/>
                </a:cubicBezTo>
                <a:cubicBezTo>
                  <a:pt x="3071590" y="148486"/>
                  <a:pt x="3068849" y="128940"/>
                  <a:pt x="3072314" y="125649"/>
                </a:cubicBezTo>
                <a:cubicBezTo>
                  <a:pt x="3073038" y="124951"/>
                  <a:pt x="3082606" y="132331"/>
                  <a:pt x="3095226" y="125649"/>
                </a:cubicBezTo>
                <a:close/>
                <a:moveTo>
                  <a:pt x="3127395" y="138713"/>
                </a:moveTo>
                <a:cubicBezTo>
                  <a:pt x="3125999" y="147587"/>
                  <a:pt x="3115914" y="144197"/>
                  <a:pt x="3109035" y="145295"/>
                </a:cubicBezTo>
                <a:cubicBezTo>
                  <a:pt x="3110329" y="130136"/>
                  <a:pt x="3121293" y="130237"/>
                  <a:pt x="3127395" y="138713"/>
                </a:cubicBezTo>
                <a:close/>
                <a:moveTo>
                  <a:pt x="3164117" y="158458"/>
                </a:moveTo>
                <a:cubicBezTo>
                  <a:pt x="3164375" y="147188"/>
                  <a:pt x="3160600" y="141703"/>
                  <a:pt x="3154962" y="138812"/>
                </a:cubicBezTo>
                <a:cubicBezTo>
                  <a:pt x="3154962" y="145394"/>
                  <a:pt x="3151238" y="146591"/>
                  <a:pt x="3150359" y="151875"/>
                </a:cubicBezTo>
                <a:cubicBezTo>
                  <a:pt x="3156256" y="152274"/>
                  <a:pt x="3156721" y="160252"/>
                  <a:pt x="3164117" y="158458"/>
                </a:cubicBezTo>
                <a:close/>
                <a:moveTo>
                  <a:pt x="3191684" y="197747"/>
                </a:moveTo>
                <a:cubicBezTo>
                  <a:pt x="3190236" y="206622"/>
                  <a:pt x="3180150" y="203131"/>
                  <a:pt x="3173323" y="204328"/>
                </a:cubicBezTo>
                <a:cubicBezTo>
                  <a:pt x="3173426" y="197946"/>
                  <a:pt x="3178909" y="199242"/>
                  <a:pt x="3182477" y="197747"/>
                </a:cubicBezTo>
                <a:cubicBezTo>
                  <a:pt x="3185581" y="197747"/>
                  <a:pt x="3188581" y="197747"/>
                  <a:pt x="3191684" y="197747"/>
                </a:cubicBezTo>
                <a:close/>
                <a:moveTo>
                  <a:pt x="3214595" y="92942"/>
                </a:moveTo>
                <a:cubicBezTo>
                  <a:pt x="3211544" y="92942"/>
                  <a:pt x="3208492" y="92942"/>
                  <a:pt x="3205441" y="92942"/>
                </a:cubicBezTo>
                <a:cubicBezTo>
                  <a:pt x="3205441" y="88554"/>
                  <a:pt x="3205441" y="84266"/>
                  <a:pt x="3205441" y="79878"/>
                </a:cubicBezTo>
                <a:cubicBezTo>
                  <a:pt x="3208492" y="79878"/>
                  <a:pt x="3211544" y="79878"/>
                  <a:pt x="3214595" y="79878"/>
                </a:cubicBezTo>
                <a:cubicBezTo>
                  <a:pt x="3214595" y="84165"/>
                  <a:pt x="3214595" y="88554"/>
                  <a:pt x="3214595" y="92942"/>
                </a:cubicBezTo>
                <a:close/>
                <a:moveTo>
                  <a:pt x="3242162" y="204328"/>
                </a:moveTo>
                <a:cubicBezTo>
                  <a:pt x="3230991" y="200040"/>
                  <a:pt x="3218526" y="191066"/>
                  <a:pt x="3219198" y="217391"/>
                </a:cubicBezTo>
                <a:cubicBezTo>
                  <a:pt x="3227370" y="213802"/>
                  <a:pt x="3238283" y="214002"/>
                  <a:pt x="3242162" y="204328"/>
                </a:cubicBezTo>
                <a:close/>
                <a:moveTo>
                  <a:pt x="3315553" y="249003"/>
                </a:moveTo>
                <a:lnTo>
                  <a:pt x="3304692" y="249003"/>
                </a:lnTo>
                <a:cubicBezTo>
                  <a:pt x="3306708" y="245014"/>
                  <a:pt x="3309087" y="241425"/>
                  <a:pt x="3315553" y="243618"/>
                </a:cubicBezTo>
                <a:cubicBezTo>
                  <a:pt x="3315501" y="245812"/>
                  <a:pt x="3315501" y="247507"/>
                  <a:pt x="3315553" y="249003"/>
                </a:cubicBezTo>
                <a:close/>
                <a:moveTo>
                  <a:pt x="3333913" y="86459"/>
                </a:moveTo>
                <a:cubicBezTo>
                  <a:pt x="3333448" y="76088"/>
                  <a:pt x="3334534" y="63723"/>
                  <a:pt x="3324759" y="66815"/>
                </a:cubicBezTo>
                <a:cubicBezTo>
                  <a:pt x="3324965" y="75789"/>
                  <a:pt x="3322587" y="81174"/>
                  <a:pt x="3320156" y="86459"/>
                </a:cubicBezTo>
                <a:cubicBezTo>
                  <a:pt x="3324759" y="86459"/>
                  <a:pt x="3329310" y="86459"/>
                  <a:pt x="3333913" y="86459"/>
                </a:cubicBezTo>
                <a:close/>
                <a:moveTo>
                  <a:pt x="3341309" y="249003"/>
                </a:moveTo>
                <a:lnTo>
                  <a:pt x="3329310" y="249003"/>
                </a:lnTo>
                <a:cubicBezTo>
                  <a:pt x="3330396" y="238133"/>
                  <a:pt x="3337482" y="245912"/>
                  <a:pt x="3341309" y="249003"/>
                </a:cubicBezTo>
                <a:close/>
                <a:moveTo>
                  <a:pt x="3352274" y="249003"/>
                </a:moveTo>
                <a:lnTo>
                  <a:pt x="3345912" y="249003"/>
                </a:lnTo>
                <a:cubicBezTo>
                  <a:pt x="3347153" y="247207"/>
                  <a:pt x="3346895" y="243818"/>
                  <a:pt x="3347671" y="243618"/>
                </a:cubicBezTo>
                <a:cubicBezTo>
                  <a:pt x="3350256" y="242820"/>
                  <a:pt x="3351911" y="246909"/>
                  <a:pt x="3352274" y="249003"/>
                </a:cubicBezTo>
                <a:close/>
                <a:moveTo>
                  <a:pt x="3357474" y="58640"/>
                </a:moveTo>
                <a:cubicBezTo>
                  <a:pt x="3357766" y="55988"/>
                  <a:pt x="3356515" y="52130"/>
                  <a:pt x="3352274" y="47169"/>
                </a:cubicBezTo>
                <a:cubicBezTo>
                  <a:pt x="3341839" y="63698"/>
                  <a:pt x="3356599" y="66596"/>
                  <a:pt x="3357474" y="58640"/>
                </a:cubicBezTo>
                <a:close/>
                <a:moveTo>
                  <a:pt x="3375754" y="249003"/>
                </a:moveTo>
                <a:lnTo>
                  <a:pt x="3356567" y="249003"/>
                </a:lnTo>
                <a:cubicBezTo>
                  <a:pt x="3362411" y="246709"/>
                  <a:pt x="3366859" y="241723"/>
                  <a:pt x="3375237" y="243618"/>
                </a:cubicBezTo>
                <a:cubicBezTo>
                  <a:pt x="3375341" y="245413"/>
                  <a:pt x="3375496" y="247308"/>
                  <a:pt x="3375754" y="249003"/>
                </a:cubicBezTo>
                <a:close/>
                <a:moveTo>
                  <a:pt x="3385245" y="168242"/>
                </a:moveTo>
                <a:cubicBezTo>
                  <a:pt x="3385245" y="160925"/>
                  <a:pt x="3381909" y="153621"/>
                  <a:pt x="3375237" y="158458"/>
                </a:cubicBezTo>
                <a:cubicBezTo>
                  <a:pt x="3375237" y="165038"/>
                  <a:pt x="3375237" y="171521"/>
                  <a:pt x="3375237" y="178102"/>
                </a:cubicBezTo>
                <a:cubicBezTo>
                  <a:pt x="3381909" y="182889"/>
                  <a:pt x="3385245" y="175559"/>
                  <a:pt x="3385245" y="168242"/>
                </a:cubicBezTo>
                <a:close/>
                <a:moveTo>
                  <a:pt x="3419613" y="249003"/>
                </a:moveTo>
                <a:lnTo>
                  <a:pt x="3404925" y="249003"/>
                </a:lnTo>
                <a:cubicBezTo>
                  <a:pt x="3408390" y="246610"/>
                  <a:pt x="3412114" y="244316"/>
                  <a:pt x="3416510" y="243618"/>
                </a:cubicBezTo>
                <a:cubicBezTo>
                  <a:pt x="3414906" y="243818"/>
                  <a:pt x="3417647" y="247207"/>
                  <a:pt x="3419613" y="249003"/>
                </a:cubicBezTo>
                <a:close/>
                <a:moveTo>
                  <a:pt x="3430267" y="184584"/>
                </a:moveTo>
                <a:cubicBezTo>
                  <a:pt x="3430267" y="175909"/>
                  <a:pt x="3430267" y="167133"/>
                  <a:pt x="3430267" y="158357"/>
                </a:cubicBezTo>
                <a:cubicBezTo>
                  <a:pt x="3415527" y="163842"/>
                  <a:pt x="3420751" y="163942"/>
                  <a:pt x="3411907" y="151776"/>
                </a:cubicBezTo>
                <a:cubicBezTo>
                  <a:pt x="3413872" y="169825"/>
                  <a:pt x="3394788" y="157958"/>
                  <a:pt x="3393546" y="171420"/>
                </a:cubicBezTo>
                <a:cubicBezTo>
                  <a:pt x="3399856" y="171122"/>
                  <a:pt x="3403632" y="174512"/>
                  <a:pt x="3407356" y="178002"/>
                </a:cubicBezTo>
                <a:cubicBezTo>
                  <a:pt x="3405441" y="154368"/>
                  <a:pt x="3415734" y="169027"/>
                  <a:pt x="3411907" y="184584"/>
                </a:cubicBezTo>
                <a:cubicBezTo>
                  <a:pt x="3418062" y="184584"/>
                  <a:pt x="3424164" y="184584"/>
                  <a:pt x="3430267" y="184584"/>
                </a:cubicBezTo>
                <a:close/>
                <a:moveTo>
                  <a:pt x="3434870" y="40588"/>
                </a:moveTo>
                <a:cubicBezTo>
                  <a:pt x="3402080" y="37098"/>
                  <a:pt x="3381651" y="50560"/>
                  <a:pt x="3366031" y="40588"/>
                </a:cubicBezTo>
                <a:cubicBezTo>
                  <a:pt x="3362204" y="48167"/>
                  <a:pt x="3359980" y="58139"/>
                  <a:pt x="3361428" y="73296"/>
                </a:cubicBezTo>
                <a:cubicBezTo>
                  <a:pt x="3356049" y="74294"/>
                  <a:pt x="3348395" y="72199"/>
                  <a:pt x="3347671" y="79878"/>
                </a:cubicBezTo>
                <a:cubicBezTo>
                  <a:pt x="3353515" y="80176"/>
                  <a:pt x="3354032" y="88254"/>
                  <a:pt x="3361428" y="86459"/>
                </a:cubicBezTo>
                <a:cubicBezTo>
                  <a:pt x="3369031" y="86359"/>
                  <a:pt x="3364014" y="68311"/>
                  <a:pt x="3370634" y="66815"/>
                </a:cubicBezTo>
                <a:cubicBezTo>
                  <a:pt x="3367220" y="86958"/>
                  <a:pt x="3383202" y="79379"/>
                  <a:pt x="3379788" y="99522"/>
                </a:cubicBezTo>
                <a:cubicBezTo>
                  <a:pt x="3371772" y="100021"/>
                  <a:pt x="3365514" y="98026"/>
                  <a:pt x="3361428" y="92942"/>
                </a:cubicBezTo>
                <a:cubicBezTo>
                  <a:pt x="3365359" y="113782"/>
                  <a:pt x="3357446" y="117771"/>
                  <a:pt x="3352274" y="125649"/>
                </a:cubicBezTo>
                <a:cubicBezTo>
                  <a:pt x="3375030" y="136319"/>
                  <a:pt x="3366910" y="102913"/>
                  <a:pt x="3384392" y="106005"/>
                </a:cubicBezTo>
                <a:cubicBezTo>
                  <a:pt x="3399132" y="114181"/>
                  <a:pt x="3395408" y="130336"/>
                  <a:pt x="3407356" y="132231"/>
                </a:cubicBezTo>
                <a:cubicBezTo>
                  <a:pt x="3406580" y="132131"/>
                  <a:pt x="3411752" y="119466"/>
                  <a:pt x="3411907" y="119168"/>
                </a:cubicBezTo>
                <a:cubicBezTo>
                  <a:pt x="3421372" y="105706"/>
                  <a:pt x="3419406" y="123157"/>
                  <a:pt x="3430267" y="119168"/>
                </a:cubicBezTo>
                <a:cubicBezTo>
                  <a:pt x="3430267" y="103910"/>
                  <a:pt x="3430267" y="88653"/>
                  <a:pt x="3430267" y="73296"/>
                </a:cubicBezTo>
                <a:cubicBezTo>
                  <a:pt x="3418888" y="74294"/>
                  <a:pt x="3408028" y="74493"/>
                  <a:pt x="3407356" y="60233"/>
                </a:cubicBezTo>
                <a:cubicBezTo>
                  <a:pt x="3421268" y="60532"/>
                  <a:pt x="3437559" y="64023"/>
                  <a:pt x="3434870" y="40588"/>
                </a:cubicBezTo>
                <a:close/>
                <a:moveTo>
                  <a:pt x="3443300" y="249003"/>
                </a:moveTo>
                <a:lnTo>
                  <a:pt x="3432491" y="249003"/>
                </a:lnTo>
                <a:cubicBezTo>
                  <a:pt x="3436887" y="245513"/>
                  <a:pt x="3437870" y="240127"/>
                  <a:pt x="3443300" y="249003"/>
                </a:cubicBezTo>
                <a:close/>
                <a:moveTo>
                  <a:pt x="3448679" y="53751"/>
                </a:moveTo>
                <a:cubicBezTo>
                  <a:pt x="3448162" y="45774"/>
                  <a:pt x="3447283" y="38295"/>
                  <a:pt x="3439474" y="40688"/>
                </a:cubicBezTo>
                <a:cubicBezTo>
                  <a:pt x="3440197" y="48266"/>
                  <a:pt x="3438698" y="59135"/>
                  <a:pt x="3444076" y="60233"/>
                </a:cubicBezTo>
                <a:cubicBezTo>
                  <a:pt x="3444335" y="56244"/>
                  <a:pt x="3444749" y="52455"/>
                  <a:pt x="3448679" y="53751"/>
                </a:cubicBezTo>
                <a:close/>
                <a:moveTo>
                  <a:pt x="3471591" y="164939"/>
                </a:moveTo>
                <a:cubicBezTo>
                  <a:pt x="3462489" y="154070"/>
                  <a:pt x="3465747" y="165538"/>
                  <a:pt x="3453231" y="164939"/>
                </a:cubicBezTo>
                <a:cubicBezTo>
                  <a:pt x="3448731" y="154368"/>
                  <a:pt x="3440973" y="149881"/>
                  <a:pt x="3434870" y="158357"/>
                </a:cubicBezTo>
                <a:cubicBezTo>
                  <a:pt x="3432491" y="190667"/>
                  <a:pt x="3465385" y="176407"/>
                  <a:pt x="3471591" y="164939"/>
                </a:cubicBezTo>
                <a:close/>
                <a:moveTo>
                  <a:pt x="3471591" y="197747"/>
                </a:moveTo>
                <a:cubicBezTo>
                  <a:pt x="3471591" y="193360"/>
                  <a:pt x="3471591" y="189071"/>
                  <a:pt x="3471591" y="184684"/>
                </a:cubicBezTo>
                <a:cubicBezTo>
                  <a:pt x="3466988" y="184684"/>
                  <a:pt x="3462437" y="184684"/>
                  <a:pt x="3457834" y="184684"/>
                </a:cubicBezTo>
                <a:cubicBezTo>
                  <a:pt x="3457834" y="189071"/>
                  <a:pt x="3457834" y="193459"/>
                  <a:pt x="3457834" y="197747"/>
                </a:cubicBezTo>
                <a:cubicBezTo>
                  <a:pt x="3462437" y="197747"/>
                  <a:pt x="3466988" y="197747"/>
                  <a:pt x="3471591" y="197747"/>
                </a:cubicBezTo>
                <a:close/>
                <a:moveTo>
                  <a:pt x="3476194" y="40588"/>
                </a:moveTo>
                <a:cubicBezTo>
                  <a:pt x="3468540" y="40588"/>
                  <a:pt x="3460885" y="40588"/>
                  <a:pt x="3453231" y="40588"/>
                </a:cubicBezTo>
                <a:cubicBezTo>
                  <a:pt x="3449248" y="67612"/>
                  <a:pt x="3476143" y="60532"/>
                  <a:pt x="3476194" y="40588"/>
                </a:cubicBezTo>
                <a:close/>
                <a:moveTo>
                  <a:pt x="3494555" y="165038"/>
                </a:moveTo>
                <a:cubicBezTo>
                  <a:pt x="3488349" y="162945"/>
                  <a:pt x="3485763" y="155665"/>
                  <a:pt x="3476194" y="158458"/>
                </a:cubicBezTo>
                <a:cubicBezTo>
                  <a:pt x="3476194" y="165038"/>
                  <a:pt x="3476194" y="171521"/>
                  <a:pt x="3476194" y="178102"/>
                </a:cubicBezTo>
                <a:cubicBezTo>
                  <a:pt x="3484729" y="177205"/>
                  <a:pt x="3491555" y="173813"/>
                  <a:pt x="3494555" y="165038"/>
                </a:cubicBezTo>
                <a:close/>
                <a:moveTo>
                  <a:pt x="3503710" y="191165"/>
                </a:moveTo>
                <a:cubicBezTo>
                  <a:pt x="3496830" y="192262"/>
                  <a:pt x="3486797" y="188772"/>
                  <a:pt x="3485349" y="197646"/>
                </a:cubicBezTo>
                <a:cubicBezTo>
                  <a:pt x="3491452" y="206223"/>
                  <a:pt x="3502416" y="206322"/>
                  <a:pt x="3503710" y="191165"/>
                </a:cubicBezTo>
                <a:close/>
                <a:moveTo>
                  <a:pt x="3520518" y="249003"/>
                </a:moveTo>
                <a:lnTo>
                  <a:pt x="3510846" y="249003"/>
                </a:lnTo>
                <a:cubicBezTo>
                  <a:pt x="3511985" y="246709"/>
                  <a:pt x="3514105" y="244814"/>
                  <a:pt x="3517519" y="243618"/>
                </a:cubicBezTo>
                <a:cubicBezTo>
                  <a:pt x="3520467" y="244316"/>
                  <a:pt x="3521036" y="246410"/>
                  <a:pt x="3520518" y="249003"/>
                </a:cubicBezTo>
                <a:close/>
                <a:moveTo>
                  <a:pt x="3545033" y="178002"/>
                </a:moveTo>
                <a:cubicBezTo>
                  <a:pt x="3547568" y="145992"/>
                  <a:pt x="3516225" y="162346"/>
                  <a:pt x="3499158" y="158357"/>
                </a:cubicBezTo>
                <a:cubicBezTo>
                  <a:pt x="3498744" y="148087"/>
                  <a:pt x="3499778" y="135621"/>
                  <a:pt x="3490004" y="138713"/>
                </a:cubicBezTo>
                <a:cubicBezTo>
                  <a:pt x="3489280" y="154967"/>
                  <a:pt x="3497193" y="158956"/>
                  <a:pt x="3499158" y="171420"/>
                </a:cubicBezTo>
                <a:cubicBezTo>
                  <a:pt x="3511053" y="182291"/>
                  <a:pt x="3518398" y="169925"/>
                  <a:pt x="3526673" y="171521"/>
                </a:cubicBezTo>
                <a:cubicBezTo>
                  <a:pt x="3527087" y="171620"/>
                  <a:pt x="3530138" y="183985"/>
                  <a:pt x="3531276" y="184584"/>
                </a:cubicBezTo>
                <a:cubicBezTo>
                  <a:pt x="3536397" y="187176"/>
                  <a:pt x="3538206" y="173914"/>
                  <a:pt x="3545033" y="178002"/>
                </a:cubicBezTo>
                <a:close/>
                <a:moveTo>
                  <a:pt x="3549637" y="47169"/>
                </a:moveTo>
                <a:cubicBezTo>
                  <a:pt x="3539758" y="35004"/>
                  <a:pt x="3516018" y="42782"/>
                  <a:pt x="3499158" y="40588"/>
                </a:cubicBezTo>
                <a:cubicBezTo>
                  <a:pt x="3497762" y="53452"/>
                  <a:pt x="3505312" y="53551"/>
                  <a:pt x="3508312" y="60233"/>
                </a:cubicBezTo>
                <a:cubicBezTo>
                  <a:pt x="3527552" y="49064"/>
                  <a:pt x="3539707" y="66715"/>
                  <a:pt x="3549637" y="47169"/>
                </a:cubicBezTo>
                <a:close/>
                <a:moveTo>
                  <a:pt x="3561273" y="249003"/>
                </a:moveTo>
                <a:lnTo>
                  <a:pt x="3530966" y="249003"/>
                </a:lnTo>
                <a:cubicBezTo>
                  <a:pt x="3533707" y="246610"/>
                  <a:pt x="3536500" y="244415"/>
                  <a:pt x="3540430" y="243618"/>
                </a:cubicBezTo>
                <a:cubicBezTo>
                  <a:pt x="3548396" y="241823"/>
                  <a:pt x="3554240" y="246709"/>
                  <a:pt x="3561273" y="249003"/>
                </a:cubicBezTo>
                <a:close/>
                <a:moveTo>
                  <a:pt x="3581755" y="164939"/>
                </a:moveTo>
                <a:cubicBezTo>
                  <a:pt x="3570221" y="159055"/>
                  <a:pt x="3547464" y="154070"/>
                  <a:pt x="3549637" y="184584"/>
                </a:cubicBezTo>
                <a:cubicBezTo>
                  <a:pt x="3561377" y="179498"/>
                  <a:pt x="3575652" y="178102"/>
                  <a:pt x="3581755" y="164939"/>
                </a:cubicBezTo>
                <a:close/>
                <a:moveTo>
                  <a:pt x="3595512" y="92942"/>
                </a:moveTo>
                <a:cubicBezTo>
                  <a:pt x="3569083" y="100021"/>
                  <a:pt x="3573738" y="62826"/>
                  <a:pt x="3545033" y="73296"/>
                </a:cubicBezTo>
                <a:cubicBezTo>
                  <a:pt x="3537793" y="98925"/>
                  <a:pt x="3556929" y="86858"/>
                  <a:pt x="3558791" y="99522"/>
                </a:cubicBezTo>
                <a:cubicBezTo>
                  <a:pt x="3569756" y="95534"/>
                  <a:pt x="3592099" y="107700"/>
                  <a:pt x="3595512" y="92942"/>
                </a:cubicBezTo>
                <a:close/>
                <a:moveTo>
                  <a:pt x="3595512" y="191165"/>
                </a:moveTo>
                <a:cubicBezTo>
                  <a:pt x="3590081" y="183587"/>
                  <a:pt x="3579272" y="183787"/>
                  <a:pt x="3567997" y="184584"/>
                </a:cubicBezTo>
                <a:cubicBezTo>
                  <a:pt x="3561480" y="205525"/>
                  <a:pt x="3595409" y="201137"/>
                  <a:pt x="3595512" y="191165"/>
                </a:cubicBezTo>
                <a:close/>
                <a:moveTo>
                  <a:pt x="3596109" y="150283"/>
                </a:moveTo>
                <a:cubicBezTo>
                  <a:pt x="3596401" y="147631"/>
                  <a:pt x="3595150" y="143773"/>
                  <a:pt x="3590909" y="138812"/>
                </a:cubicBezTo>
                <a:cubicBezTo>
                  <a:pt x="3580475" y="155341"/>
                  <a:pt x="3595234" y="158239"/>
                  <a:pt x="3596109" y="150283"/>
                </a:cubicBezTo>
                <a:close/>
                <a:moveTo>
                  <a:pt x="3613873" y="164939"/>
                </a:moveTo>
                <a:cubicBezTo>
                  <a:pt x="3609942" y="159454"/>
                  <a:pt x="3600787" y="169725"/>
                  <a:pt x="3600115" y="171521"/>
                </a:cubicBezTo>
                <a:cubicBezTo>
                  <a:pt x="3595253" y="184384"/>
                  <a:pt x="3617287" y="169825"/>
                  <a:pt x="3613873" y="164939"/>
                </a:cubicBezTo>
                <a:close/>
                <a:moveTo>
                  <a:pt x="3622975" y="132131"/>
                </a:moveTo>
                <a:cubicBezTo>
                  <a:pt x="3627837" y="107700"/>
                  <a:pt x="3613304" y="110990"/>
                  <a:pt x="3609218" y="99423"/>
                </a:cubicBezTo>
                <a:cubicBezTo>
                  <a:pt x="3621165" y="103312"/>
                  <a:pt x="3625717" y="96830"/>
                  <a:pt x="3622975" y="79777"/>
                </a:cubicBezTo>
                <a:cubicBezTo>
                  <a:pt x="3603477" y="71601"/>
                  <a:pt x="3610718" y="101616"/>
                  <a:pt x="3600011" y="106005"/>
                </a:cubicBezTo>
                <a:cubicBezTo>
                  <a:pt x="3581186" y="117870"/>
                  <a:pt x="3560239" y="98824"/>
                  <a:pt x="3535776" y="99423"/>
                </a:cubicBezTo>
                <a:cubicBezTo>
                  <a:pt x="3541413" y="73596"/>
                  <a:pt x="3519691" y="64221"/>
                  <a:pt x="3517415" y="86359"/>
                </a:cubicBezTo>
                <a:cubicBezTo>
                  <a:pt x="3522846" y="89550"/>
                  <a:pt x="3527811" y="93340"/>
                  <a:pt x="3531173" y="99423"/>
                </a:cubicBezTo>
                <a:cubicBezTo>
                  <a:pt x="3516225" y="110093"/>
                  <a:pt x="3502055" y="97728"/>
                  <a:pt x="3485297" y="99423"/>
                </a:cubicBezTo>
                <a:cubicBezTo>
                  <a:pt x="3478677" y="100121"/>
                  <a:pt x="3469523" y="106303"/>
                  <a:pt x="3466937" y="106005"/>
                </a:cubicBezTo>
                <a:cubicBezTo>
                  <a:pt x="3465178" y="105706"/>
                  <a:pt x="3467350" y="93140"/>
                  <a:pt x="3462385" y="92942"/>
                </a:cubicBezTo>
                <a:cubicBezTo>
                  <a:pt x="3462695" y="92942"/>
                  <a:pt x="3460679" y="105406"/>
                  <a:pt x="3457782" y="106005"/>
                </a:cubicBezTo>
                <a:cubicBezTo>
                  <a:pt x="3448938" y="107899"/>
                  <a:pt x="3437456" y="84565"/>
                  <a:pt x="3434819" y="99423"/>
                </a:cubicBezTo>
                <a:cubicBezTo>
                  <a:pt x="3431457" y="121859"/>
                  <a:pt x="3453541" y="107799"/>
                  <a:pt x="3448628" y="132231"/>
                </a:cubicBezTo>
                <a:cubicBezTo>
                  <a:pt x="3464299" y="137117"/>
                  <a:pt x="3454472" y="105606"/>
                  <a:pt x="3471591" y="112586"/>
                </a:cubicBezTo>
                <a:cubicBezTo>
                  <a:pt x="3472626" y="117672"/>
                  <a:pt x="3471695" y="125450"/>
                  <a:pt x="3476194" y="125649"/>
                </a:cubicBezTo>
                <a:cubicBezTo>
                  <a:pt x="3477229" y="120563"/>
                  <a:pt x="3476298" y="112786"/>
                  <a:pt x="3480797" y="112586"/>
                </a:cubicBezTo>
                <a:cubicBezTo>
                  <a:pt x="3486228" y="115777"/>
                  <a:pt x="3491193" y="119567"/>
                  <a:pt x="3494555" y="125649"/>
                </a:cubicBezTo>
                <a:cubicBezTo>
                  <a:pt x="3503141" y="125749"/>
                  <a:pt x="3504796" y="120065"/>
                  <a:pt x="3512916" y="119067"/>
                </a:cubicBezTo>
                <a:cubicBezTo>
                  <a:pt x="3520053" y="118269"/>
                  <a:pt x="3517415" y="127445"/>
                  <a:pt x="3522070" y="119067"/>
                </a:cubicBezTo>
                <a:cubicBezTo>
                  <a:pt x="3524190" y="115278"/>
                  <a:pt x="3528225" y="125350"/>
                  <a:pt x="3526673" y="125649"/>
                </a:cubicBezTo>
                <a:cubicBezTo>
                  <a:pt x="3533293" y="124254"/>
                  <a:pt x="3531845" y="118668"/>
                  <a:pt x="3535828" y="125649"/>
                </a:cubicBezTo>
                <a:cubicBezTo>
                  <a:pt x="3540534" y="133827"/>
                  <a:pt x="3555481" y="119067"/>
                  <a:pt x="3558791" y="119067"/>
                </a:cubicBezTo>
                <a:cubicBezTo>
                  <a:pt x="3564739" y="119168"/>
                  <a:pt x="3564997" y="126147"/>
                  <a:pt x="3572548" y="125649"/>
                </a:cubicBezTo>
                <a:cubicBezTo>
                  <a:pt x="3578392" y="125250"/>
                  <a:pt x="3579065" y="119765"/>
                  <a:pt x="3586306" y="119067"/>
                </a:cubicBezTo>
                <a:cubicBezTo>
                  <a:pt x="3592254" y="118569"/>
                  <a:pt x="3592512" y="127046"/>
                  <a:pt x="3600064" y="125649"/>
                </a:cubicBezTo>
                <a:cubicBezTo>
                  <a:pt x="3603063" y="125052"/>
                  <a:pt x="3607304" y="118370"/>
                  <a:pt x="3609218" y="119067"/>
                </a:cubicBezTo>
                <a:cubicBezTo>
                  <a:pt x="3612425" y="120264"/>
                  <a:pt x="3614131" y="137715"/>
                  <a:pt x="3622975" y="132131"/>
                </a:cubicBezTo>
                <a:close/>
                <a:moveTo>
                  <a:pt x="3641387" y="178102"/>
                </a:moveTo>
                <a:cubicBezTo>
                  <a:pt x="3641387" y="173714"/>
                  <a:pt x="3641387" y="169326"/>
                  <a:pt x="3641387" y="165038"/>
                </a:cubicBezTo>
                <a:cubicBezTo>
                  <a:pt x="3638336" y="165038"/>
                  <a:pt x="3635285" y="165038"/>
                  <a:pt x="3632233" y="165038"/>
                </a:cubicBezTo>
                <a:cubicBezTo>
                  <a:pt x="3632233" y="169326"/>
                  <a:pt x="3632233" y="173714"/>
                  <a:pt x="3632233" y="178102"/>
                </a:cubicBezTo>
                <a:cubicBezTo>
                  <a:pt x="3635285" y="178102"/>
                  <a:pt x="3638336" y="178102"/>
                  <a:pt x="3641387" y="178102"/>
                </a:cubicBezTo>
                <a:close/>
                <a:moveTo>
                  <a:pt x="3673506" y="53652"/>
                </a:moveTo>
                <a:cubicBezTo>
                  <a:pt x="3673506" y="49264"/>
                  <a:pt x="3673506" y="44976"/>
                  <a:pt x="3673506" y="40588"/>
                </a:cubicBezTo>
                <a:cubicBezTo>
                  <a:pt x="3670454" y="40588"/>
                  <a:pt x="3667403" y="40588"/>
                  <a:pt x="3664300" y="40588"/>
                </a:cubicBezTo>
                <a:cubicBezTo>
                  <a:pt x="3664300" y="44976"/>
                  <a:pt x="3664300" y="49264"/>
                  <a:pt x="3664300" y="53652"/>
                </a:cubicBezTo>
                <a:cubicBezTo>
                  <a:pt x="3667351" y="53652"/>
                  <a:pt x="3670402" y="53652"/>
                  <a:pt x="3673506" y="53652"/>
                </a:cubicBezTo>
                <a:close/>
                <a:moveTo>
                  <a:pt x="3682660" y="125649"/>
                </a:moveTo>
                <a:cubicBezTo>
                  <a:pt x="3682660" y="121262"/>
                  <a:pt x="3682660" y="116973"/>
                  <a:pt x="3682660" y="112586"/>
                </a:cubicBezTo>
                <a:cubicBezTo>
                  <a:pt x="3679661" y="112586"/>
                  <a:pt x="3676609" y="112586"/>
                  <a:pt x="3673506" y="112586"/>
                </a:cubicBezTo>
                <a:cubicBezTo>
                  <a:pt x="3673506" y="116973"/>
                  <a:pt x="3673506" y="121262"/>
                  <a:pt x="3673506" y="125649"/>
                </a:cubicBezTo>
                <a:cubicBezTo>
                  <a:pt x="3676557" y="125649"/>
                  <a:pt x="3679608" y="125649"/>
                  <a:pt x="3682660" y="125649"/>
                </a:cubicBezTo>
                <a:close/>
                <a:moveTo>
                  <a:pt x="3705675" y="92942"/>
                </a:moveTo>
                <a:cubicBezTo>
                  <a:pt x="3705469" y="57042"/>
                  <a:pt x="3681419" y="80575"/>
                  <a:pt x="3664403" y="79878"/>
                </a:cubicBezTo>
                <a:cubicBezTo>
                  <a:pt x="3648991" y="79180"/>
                  <a:pt x="3640353" y="76088"/>
                  <a:pt x="3627682" y="73296"/>
                </a:cubicBezTo>
                <a:cubicBezTo>
                  <a:pt x="3628096" y="83567"/>
                  <a:pt x="3627010" y="96032"/>
                  <a:pt x="3636836" y="92942"/>
                </a:cubicBezTo>
                <a:cubicBezTo>
                  <a:pt x="3661765" y="85063"/>
                  <a:pt x="3674385" y="95633"/>
                  <a:pt x="3705675" y="92942"/>
                </a:cubicBezTo>
                <a:close/>
                <a:moveTo>
                  <a:pt x="3741052" y="249003"/>
                </a:moveTo>
                <a:lnTo>
                  <a:pt x="3720105" y="249003"/>
                </a:lnTo>
                <a:cubicBezTo>
                  <a:pt x="3724657" y="246809"/>
                  <a:pt x="3727242" y="242322"/>
                  <a:pt x="3733190" y="243618"/>
                </a:cubicBezTo>
                <a:cubicBezTo>
                  <a:pt x="3735983" y="244117"/>
                  <a:pt x="3738673" y="246310"/>
                  <a:pt x="3741052" y="249003"/>
                </a:cubicBezTo>
                <a:close/>
                <a:moveTo>
                  <a:pt x="3766860" y="249003"/>
                </a:moveTo>
                <a:lnTo>
                  <a:pt x="3758481" y="249003"/>
                </a:lnTo>
                <a:cubicBezTo>
                  <a:pt x="3759154" y="243119"/>
                  <a:pt x="3759309" y="238632"/>
                  <a:pt x="3760705" y="243618"/>
                </a:cubicBezTo>
                <a:cubicBezTo>
                  <a:pt x="3760447" y="249900"/>
                  <a:pt x="3763705" y="248704"/>
                  <a:pt x="3766860" y="249003"/>
                </a:cubicBezTo>
                <a:close/>
                <a:moveTo>
                  <a:pt x="3769860" y="164939"/>
                </a:moveTo>
                <a:cubicBezTo>
                  <a:pt x="3762981" y="159654"/>
                  <a:pt x="3754137" y="172718"/>
                  <a:pt x="3751499" y="171521"/>
                </a:cubicBezTo>
                <a:cubicBezTo>
                  <a:pt x="3746172" y="169027"/>
                  <a:pt x="3752379" y="150579"/>
                  <a:pt x="3742293" y="164939"/>
                </a:cubicBezTo>
                <a:cubicBezTo>
                  <a:pt x="3737587" y="171620"/>
                  <a:pt x="3714830" y="162546"/>
                  <a:pt x="3705572" y="164939"/>
                </a:cubicBezTo>
                <a:cubicBezTo>
                  <a:pt x="3699728" y="166534"/>
                  <a:pt x="3699314" y="171720"/>
                  <a:pt x="3691866" y="171521"/>
                </a:cubicBezTo>
                <a:cubicBezTo>
                  <a:pt x="3684004" y="171321"/>
                  <a:pt x="3669885" y="157859"/>
                  <a:pt x="3659748" y="164939"/>
                </a:cubicBezTo>
                <a:cubicBezTo>
                  <a:pt x="3656645" y="194057"/>
                  <a:pt x="3675471" y="177105"/>
                  <a:pt x="3682712" y="178002"/>
                </a:cubicBezTo>
                <a:cubicBezTo>
                  <a:pt x="3687263" y="178600"/>
                  <a:pt x="3688142" y="184085"/>
                  <a:pt x="3691866" y="184584"/>
                </a:cubicBezTo>
                <a:cubicBezTo>
                  <a:pt x="3690728" y="184484"/>
                  <a:pt x="3694038" y="178501"/>
                  <a:pt x="3696469" y="178002"/>
                </a:cubicBezTo>
                <a:cubicBezTo>
                  <a:pt x="3700244" y="177304"/>
                  <a:pt x="3703089" y="185880"/>
                  <a:pt x="3705623" y="184584"/>
                </a:cubicBezTo>
                <a:cubicBezTo>
                  <a:pt x="3708158" y="183287"/>
                  <a:pt x="3709555" y="169725"/>
                  <a:pt x="3714778" y="171521"/>
                </a:cubicBezTo>
                <a:cubicBezTo>
                  <a:pt x="3714054" y="182689"/>
                  <a:pt x="3724036" y="174014"/>
                  <a:pt x="3728587" y="178102"/>
                </a:cubicBezTo>
                <a:cubicBezTo>
                  <a:pt x="3731483" y="180695"/>
                  <a:pt x="3728122" y="197747"/>
                  <a:pt x="3737742" y="191165"/>
                </a:cubicBezTo>
                <a:cubicBezTo>
                  <a:pt x="3733759" y="166036"/>
                  <a:pt x="3768929" y="197148"/>
                  <a:pt x="3769860" y="164939"/>
                </a:cubicBezTo>
                <a:close/>
                <a:moveTo>
                  <a:pt x="3769911" y="217292"/>
                </a:moveTo>
                <a:cubicBezTo>
                  <a:pt x="3765309" y="217292"/>
                  <a:pt x="3760757" y="217292"/>
                  <a:pt x="3756154" y="217292"/>
                </a:cubicBezTo>
                <a:cubicBezTo>
                  <a:pt x="3752585" y="218788"/>
                  <a:pt x="3747103" y="217491"/>
                  <a:pt x="3746948" y="223874"/>
                </a:cubicBezTo>
                <a:cubicBezTo>
                  <a:pt x="3753620" y="220283"/>
                  <a:pt x="3770687" y="231552"/>
                  <a:pt x="3769911" y="217292"/>
                </a:cubicBezTo>
                <a:close/>
                <a:moveTo>
                  <a:pt x="3774657" y="139024"/>
                </a:moveTo>
                <a:cubicBezTo>
                  <a:pt x="3775096" y="133103"/>
                  <a:pt x="3773946" y="124901"/>
                  <a:pt x="3774463" y="119067"/>
                </a:cubicBezTo>
                <a:cubicBezTo>
                  <a:pt x="3754550" y="124254"/>
                  <a:pt x="3741207" y="100818"/>
                  <a:pt x="3737742" y="132131"/>
                </a:cubicBezTo>
                <a:cubicBezTo>
                  <a:pt x="3748499" y="130037"/>
                  <a:pt x="3754964" y="121760"/>
                  <a:pt x="3769860" y="125550"/>
                </a:cubicBezTo>
                <a:cubicBezTo>
                  <a:pt x="3769653" y="134026"/>
                  <a:pt x="3764015" y="134724"/>
                  <a:pt x="3765309" y="145295"/>
                </a:cubicBezTo>
                <a:cubicBezTo>
                  <a:pt x="3772187" y="148585"/>
                  <a:pt x="3774217" y="144945"/>
                  <a:pt x="3774657" y="139024"/>
                </a:cubicBezTo>
                <a:close/>
                <a:moveTo>
                  <a:pt x="3792823" y="86459"/>
                </a:moveTo>
                <a:cubicBezTo>
                  <a:pt x="3785945" y="84565"/>
                  <a:pt x="3773480" y="58238"/>
                  <a:pt x="3769911" y="73296"/>
                </a:cubicBezTo>
                <a:cubicBezTo>
                  <a:pt x="3772705" y="73695"/>
                  <a:pt x="3775342" y="74294"/>
                  <a:pt x="3774514" y="79878"/>
                </a:cubicBezTo>
                <a:cubicBezTo>
                  <a:pt x="3762774" y="67712"/>
                  <a:pt x="3752223" y="80277"/>
                  <a:pt x="3746948" y="79878"/>
                </a:cubicBezTo>
                <a:cubicBezTo>
                  <a:pt x="3744517" y="79678"/>
                  <a:pt x="3744672" y="71302"/>
                  <a:pt x="3737742" y="73296"/>
                </a:cubicBezTo>
                <a:cubicBezTo>
                  <a:pt x="3738259" y="73197"/>
                  <a:pt x="3734949" y="78880"/>
                  <a:pt x="3733138" y="79878"/>
                </a:cubicBezTo>
                <a:cubicBezTo>
                  <a:pt x="3729725" y="81873"/>
                  <a:pt x="3723984" y="79678"/>
                  <a:pt x="3723984" y="86459"/>
                </a:cubicBezTo>
                <a:cubicBezTo>
                  <a:pt x="3744983" y="92543"/>
                  <a:pt x="3778807" y="107799"/>
                  <a:pt x="3792823" y="86459"/>
                </a:cubicBezTo>
                <a:close/>
                <a:moveTo>
                  <a:pt x="3797426" y="119168"/>
                </a:moveTo>
                <a:cubicBezTo>
                  <a:pt x="3794375" y="119168"/>
                  <a:pt x="3791271" y="119168"/>
                  <a:pt x="3788272" y="119168"/>
                </a:cubicBezTo>
                <a:cubicBezTo>
                  <a:pt x="3763136" y="117372"/>
                  <a:pt x="3798357" y="137615"/>
                  <a:pt x="3797426" y="119168"/>
                </a:cubicBezTo>
                <a:close/>
                <a:moveTo>
                  <a:pt x="3801098" y="249003"/>
                </a:moveTo>
                <a:lnTo>
                  <a:pt x="3781652" y="249003"/>
                </a:lnTo>
                <a:cubicBezTo>
                  <a:pt x="3785427" y="241425"/>
                  <a:pt x="3792875" y="246511"/>
                  <a:pt x="3801098" y="249003"/>
                </a:cubicBezTo>
                <a:close/>
                <a:moveTo>
                  <a:pt x="3815787" y="79878"/>
                </a:moveTo>
                <a:cubicBezTo>
                  <a:pt x="3812735" y="79878"/>
                  <a:pt x="3809684" y="79878"/>
                  <a:pt x="3806632" y="79878"/>
                </a:cubicBezTo>
                <a:cubicBezTo>
                  <a:pt x="3806632" y="86459"/>
                  <a:pt x="3802909" y="87655"/>
                  <a:pt x="3802029" y="92942"/>
                </a:cubicBezTo>
                <a:cubicBezTo>
                  <a:pt x="3809219" y="92343"/>
                  <a:pt x="3817907" y="93839"/>
                  <a:pt x="3815787" y="79878"/>
                </a:cubicBezTo>
                <a:close/>
                <a:moveTo>
                  <a:pt x="3820390" y="184584"/>
                </a:moveTo>
                <a:cubicBezTo>
                  <a:pt x="3821270" y="171920"/>
                  <a:pt x="3817183" y="175111"/>
                  <a:pt x="3811236" y="171521"/>
                </a:cubicBezTo>
                <a:cubicBezTo>
                  <a:pt x="3796547" y="162546"/>
                  <a:pt x="3800633" y="171321"/>
                  <a:pt x="3788324" y="171521"/>
                </a:cubicBezTo>
                <a:cubicBezTo>
                  <a:pt x="3788013" y="167532"/>
                  <a:pt x="3787548" y="163742"/>
                  <a:pt x="3783669" y="164939"/>
                </a:cubicBezTo>
                <a:cubicBezTo>
                  <a:pt x="3780048" y="208816"/>
                  <a:pt x="3811960" y="162945"/>
                  <a:pt x="3820390" y="184584"/>
                </a:cubicBezTo>
                <a:close/>
                <a:moveTo>
                  <a:pt x="3824993" y="119168"/>
                </a:moveTo>
                <a:cubicBezTo>
                  <a:pt x="3821942" y="119168"/>
                  <a:pt x="3818890" y="119168"/>
                  <a:pt x="3815839" y="119168"/>
                </a:cubicBezTo>
                <a:cubicBezTo>
                  <a:pt x="3790651" y="117372"/>
                  <a:pt x="3825872" y="137615"/>
                  <a:pt x="3824993" y="119168"/>
                </a:cubicBezTo>
                <a:close/>
                <a:moveTo>
                  <a:pt x="3831820" y="249003"/>
                </a:moveTo>
                <a:lnTo>
                  <a:pt x="3824787" y="249003"/>
                </a:lnTo>
                <a:cubicBezTo>
                  <a:pt x="3832389" y="246610"/>
                  <a:pt x="3832958" y="244117"/>
                  <a:pt x="3831820" y="249003"/>
                </a:cubicBezTo>
                <a:close/>
                <a:moveTo>
                  <a:pt x="3870868" y="171521"/>
                </a:moveTo>
                <a:cubicBezTo>
                  <a:pt x="3866265" y="171521"/>
                  <a:pt x="3861663" y="171521"/>
                  <a:pt x="3857111" y="171521"/>
                </a:cubicBezTo>
                <a:cubicBezTo>
                  <a:pt x="3851732" y="172517"/>
                  <a:pt x="3844078" y="170424"/>
                  <a:pt x="3843354" y="178102"/>
                </a:cubicBezTo>
                <a:cubicBezTo>
                  <a:pt x="3851370" y="174313"/>
                  <a:pt x="3870300" y="185980"/>
                  <a:pt x="3870868" y="171521"/>
                </a:cubicBezTo>
                <a:close/>
                <a:moveTo>
                  <a:pt x="3944311" y="92942"/>
                </a:moveTo>
                <a:cubicBezTo>
                  <a:pt x="3932932" y="84165"/>
                  <a:pt x="3895849" y="80575"/>
                  <a:pt x="3889229" y="92942"/>
                </a:cubicBezTo>
                <a:cubicBezTo>
                  <a:pt x="3895436" y="101916"/>
                  <a:pt x="3897401" y="92343"/>
                  <a:pt x="3902986" y="92942"/>
                </a:cubicBezTo>
                <a:cubicBezTo>
                  <a:pt x="3915244" y="94238"/>
                  <a:pt x="3934846" y="109196"/>
                  <a:pt x="3944311" y="92942"/>
                </a:cubicBezTo>
                <a:close/>
                <a:moveTo>
                  <a:pt x="3944311" y="178102"/>
                </a:moveTo>
                <a:cubicBezTo>
                  <a:pt x="3941259" y="178102"/>
                  <a:pt x="3938208" y="178102"/>
                  <a:pt x="3935104" y="178102"/>
                </a:cubicBezTo>
                <a:cubicBezTo>
                  <a:pt x="3909969" y="176307"/>
                  <a:pt x="3945190" y="196551"/>
                  <a:pt x="3944311" y="178102"/>
                </a:cubicBezTo>
                <a:close/>
                <a:moveTo>
                  <a:pt x="3953413" y="132231"/>
                </a:moveTo>
                <a:cubicBezTo>
                  <a:pt x="3942862" y="123555"/>
                  <a:pt x="3938673" y="131832"/>
                  <a:pt x="3935104" y="125649"/>
                </a:cubicBezTo>
                <a:cubicBezTo>
                  <a:pt x="3932415" y="120962"/>
                  <a:pt x="3906245" y="124353"/>
                  <a:pt x="3912141" y="132231"/>
                </a:cubicBezTo>
                <a:cubicBezTo>
                  <a:pt x="3924812" y="129937"/>
                  <a:pt x="3944362" y="151078"/>
                  <a:pt x="3953413" y="132231"/>
                </a:cubicBezTo>
                <a:close/>
                <a:moveTo>
                  <a:pt x="3976429" y="66815"/>
                </a:moveTo>
                <a:cubicBezTo>
                  <a:pt x="3971515" y="63324"/>
                  <a:pt x="3960241" y="62028"/>
                  <a:pt x="3953465" y="73296"/>
                </a:cubicBezTo>
                <a:cubicBezTo>
                  <a:pt x="3966085" y="85961"/>
                  <a:pt x="3978497" y="68210"/>
                  <a:pt x="3976429" y="66815"/>
                </a:cubicBezTo>
                <a:close/>
                <a:moveTo>
                  <a:pt x="3985583" y="106005"/>
                </a:moveTo>
                <a:cubicBezTo>
                  <a:pt x="3984807" y="85363"/>
                  <a:pt x="3967429" y="88254"/>
                  <a:pt x="3953465" y="86359"/>
                </a:cubicBezTo>
                <a:cubicBezTo>
                  <a:pt x="3953672" y="95335"/>
                  <a:pt x="3951293" y="100719"/>
                  <a:pt x="3948914" y="106005"/>
                </a:cubicBezTo>
                <a:cubicBezTo>
                  <a:pt x="3962257" y="113084"/>
                  <a:pt x="3966136" y="107601"/>
                  <a:pt x="3985583" y="106005"/>
                </a:cubicBezTo>
                <a:close/>
                <a:moveTo>
                  <a:pt x="4022304" y="236936"/>
                </a:moveTo>
                <a:cubicBezTo>
                  <a:pt x="4022304" y="232649"/>
                  <a:pt x="4022304" y="228262"/>
                  <a:pt x="4022304" y="223874"/>
                </a:cubicBezTo>
                <a:cubicBezTo>
                  <a:pt x="4019253" y="223874"/>
                  <a:pt x="4016202" y="223874"/>
                  <a:pt x="4013150" y="223874"/>
                </a:cubicBezTo>
                <a:cubicBezTo>
                  <a:pt x="4013150" y="228262"/>
                  <a:pt x="4013150" y="232649"/>
                  <a:pt x="4013150" y="236936"/>
                </a:cubicBezTo>
                <a:cubicBezTo>
                  <a:pt x="4016202" y="236936"/>
                  <a:pt x="4019253" y="236936"/>
                  <a:pt x="4022304" y="236936"/>
                </a:cubicBezTo>
                <a:close/>
                <a:moveTo>
                  <a:pt x="4026907" y="79878"/>
                </a:moveTo>
                <a:cubicBezTo>
                  <a:pt x="4026907" y="75491"/>
                  <a:pt x="4026907" y="71103"/>
                  <a:pt x="4026907" y="66815"/>
                </a:cubicBezTo>
                <a:cubicBezTo>
                  <a:pt x="4023856" y="66815"/>
                  <a:pt x="4020752" y="66815"/>
                  <a:pt x="4017701" y="66815"/>
                </a:cubicBezTo>
                <a:cubicBezTo>
                  <a:pt x="4017701" y="71202"/>
                  <a:pt x="4017701" y="75491"/>
                  <a:pt x="4017701" y="79878"/>
                </a:cubicBezTo>
                <a:cubicBezTo>
                  <a:pt x="4020752" y="79878"/>
                  <a:pt x="4023804" y="79878"/>
                  <a:pt x="4026907" y="79878"/>
                </a:cubicBezTo>
                <a:close/>
                <a:moveTo>
                  <a:pt x="4054422" y="138713"/>
                </a:moveTo>
                <a:cubicBezTo>
                  <a:pt x="4040717" y="140507"/>
                  <a:pt x="4026494" y="120464"/>
                  <a:pt x="4022304" y="145295"/>
                </a:cubicBezTo>
                <a:cubicBezTo>
                  <a:pt x="4031821" y="141405"/>
                  <a:pt x="4052457" y="153372"/>
                  <a:pt x="4054422" y="138713"/>
                </a:cubicBezTo>
                <a:close/>
                <a:moveTo>
                  <a:pt x="4115917" y="150230"/>
                </a:moveTo>
                <a:cubicBezTo>
                  <a:pt x="4115723" y="144721"/>
                  <a:pt x="4111857" y="139760"/>
                  <a:pt x="4104901" y="151875"/>
                </a:cubicBezTo>
                <a:cubicBezTo>
                  <a:pt x="4112633" y="161797"/>
                  <a:pt x="4116111" y="155740"/>
                  <a:pt x="4115917" y="150230"/>
                </a:cubicBezTo>
                <a:close/>
                <a:moveTo>
                  <a:pt x="4132467" y="158357"/>
                </a:moveTo>
                <a:cubicBezTo>
                  <a:pt x="4132467" y="154070"/>
                  <a:pt x="4132467" y="149682"/>
                  <a:pt x="4132467" y="145295"/>
                </a:cubicBezTo>
                <a:cubicBezTo>
                  <a:pt x="4129416" y="145295"/>
                  <a:pt x="4126365" y="145295"/>
                  <a:pt x="4123313" y="145295"/>
                </a:cubicBezTo>
                <a:cubicBezTo>
                  <a:pt x="4123313" y="149682"/>
                  <a:pt x="4123313" y="154070"/>
                  <a:pt x="4123313" y="158357"/>
                </a:cubicBezTo>
                <a:cubicBezTo>
                  <a:pt x="4126365" y="158357"/>
                  <a:pt x="4129416" y="158357"/>
                  <a:pt x="4132467" y="158357"/>
                </a:cubicBezTo>
                <a:close/>
                <a:moveTo>
                  <a:pt x="4700307" y="11598562"/>
                </a:moveTo>
                <a:cubicBezTo>
                  <a:pt x="4700096" y="11625425"/>
                  <a:pt x="4694016" y="11638252"/>
                  <a:pt x="4697972" y="11569520"/>
                </a:cubicBezTo>
                <a:cubicBezTo>
                  <a:pt x="4699795" y="11579093"/>
                  <a:pt x="4700377" y="11589607"/>
                  <a:pt x="4700307" y="11598562"/>
                </a:cubicBezTo>
                <a:close/>
                <a:moveTo>
                  <a:pt x="4705728" y="11382598"/>
                </a:moveTo>
                <a:cubicBezTo>
                  <a:pt x="4704870" y="11402633"/>
                  <a:pt x="4701786" y="11406877"/>
                  <a:pt x="4700972" y="11427220"/>
                </a:cubicBezTo>
                <a:cubicBezTo>
                  <a:pt x="4692439" y="11428316"/>
                  <a:pt x="4700972" y="11340563"/>
                  <a:pt x="4697299" y="11341659"/>
                </a:cubicBezTo>
                <a:cubicBezTo>
                  <a:pt x="4700972" y="11289706"/>
                  <a:pt x="4700247" y="11374867"/>
                  <a:pt x="4705678" y="11356119"/>
                </a:cubicBezTo>
                <a:cubicBezTo>
                  <a:pt x="4706053" y="11367487"/>
                  <a:pt x="4706014" y="11375920"/>
                  <a:pt x="4705728" y="11382598"/>
                </a:cubicBezTo>
                <a:close/>
                <a:moveTo>
                  <a:pt x="4706919" y="10516278"/>
                </a:moveTo>
                <a:lnTo>
                  <a:pt x="4706713" y="10544698"/>
                </a:lnTo>
                <a:lnTo>
                  <a:pt x="4702472" y="10544598"/>
                </a:lnTo>
                <a:lnTo>
                  <a:pt x="4702679" y="10516178"/>
                </a:lnTo>
                <a:close/>
                <a:moveTo>
                  <a:pt x="4708387" y="10980851"/>
                </a:moveTo>
                <a:cubicBezTo>
                  <a:pt x="4706794" y="10991929"/>
                  <a:pt x="4701179" y="10974541"/>
                  <a:pt x="4701644" y="11000118"/>
                </a:cubicBezTo>
                <a:cubicBezTo>
                  <a:pt x="4695593" y="10984163"/>
                  <a:pt x="4704644" y="10953948"/>
                  <a:pt x="4708265" y="10957638"/>
                </a:cubicBezTo>
                <a:cubicBezTo>
                  <a:pt x="4709002" y="10970302"/>
                  <a:pt x="4708918" y="10977158"/>
                  <a:pt x="4708387" y="10980851"/>
                </a:cubicBezTo>
                <a:close/>
                <a:moveTo>
                  <a:pt x="4713850" y="10744238"/>
                </a:moveTo>
                <a:cubicBezTo>
                  <a:pt x="4711937" y="10733766"/>
                  <a:pt x="4710850" y="10718310"/>
                  <a:pt x="4709919" y="10701458"/>
                </a:cubicBezTo>
                <a:cubicBezTo>
                  <a:pt x="4711057" y="10665658"/>
                  <a:pt x="4714315" y="10725191"/>
                  <a:pt x="4713850" y="10744238"/>
                </a:cubicBezTo>
                <a:close/>
                <a:moveTo>
                  <a:pt x="4715764" y="10772758"/>
                </a:moveTo>
                <a:cubicBezTo>
                  <a:pt x="4714160" y="10800878"/>
                  <a:pt x="4709919" y="10810550"/>
                  <a:pt x="4704954" y="10815239"/>
                </a:cubicBezTo>
                <a:cubicBezTo>
                  <a:pt x="4704282" y="10785422"/>
                  <a:pt x="4706661" y="10777543"/>
                  <a:pt x="4707436" y="10758298"/>
                </a:cubicBezTo>
                <a:cubicBezTo>
                  <a:pt x="4709816" y="10761090"/>
                  <a:pt x="4708523" y="10772657"/>
                  <a:pt x="4707334" y="10772558"/>
                </a:cubicBezTo>
                <a:cubicBezTo>
                  <a:pt x="4708109" y="10793200"/>
                  <a:pt x="4709195" y="10771161"/>
                  <a:pt x="4711523" y="10772657"/>
                </a:cubicBezTo>
                <a:cubicBezTo>
                  <a:pt x="4712609" y="10752015"/>
                  <a:pt x="4713384" y="10774153"/>
                  <a:pt x="4715764" y="10772758"/>
                </a:cubicBezTo>
                <a:close/>
                <a:moveTo>
                  <a:pt x="4717368" y="10530837"/>
                </a:moveTo>
                <a:lnTo>
                  <a:pt x="4717160" y="10559256"/>
                </a:lnTo>
                <a:lnTo>
                  <a:pt x="4712919" y="10559157"/>
                </a:lnTo>
                <a:lnTo>
                  <a:pt x="4713126" y="10530737"/>
                </a:lnTo>
                <a:close/>
                <a:moveTo>
                  <a:pt x="4720522" y="11342258"/>
                </a:moveTo>
                <a:cubicBezTo>
                  <a:pt x="4722229" y="11399697"/>
                  <a:pt x="4707540" y="11399298"/>
                  <a:pt x="4709971" y="11341958"/>
                </a:cubicBezTo>
                <a:cubicBezTo>
                  <a:pt x="4714160" y="11315432"/>
                  <a:pt x="4715298" y="11340563"/>
                  <a:pt x="4720522" y="11342258"/>
                </a:cubicBezTo>
                <a:close/>
                <a:moveTo>
                  <a:pt x="4722125" y="10445576"/>
                </a:moveTo>
                <a:cubicBezTo>
                  <a:pt x="4722900" y="10472899"/>
                  <a:pt x="4720108" y="10468311"/>
                  <a:pt x="4717729" y="10473897"/>
                </a:cubicBezTo>
                <a:cubicBezTo>
                  <a:pt x="4714160" y="10482073"/>
                  <a:pt x="4705834" y="10497131"/>
                  <a:pt x="4707436" y="10430917"/>
                </a:cubicBezTo>
                <a:cubicBezTo>
                  <a:pt x="4710333" y="10411670"/>
                  <a:pt x="4710695" y="10428523"/>
                  <a:pt x="4713746" y="10431117"/>
                </a:cubicBezTo>
                <a:cubicBezTo>
                  <a:pt x="4717057" y="10433909"/>
                  <a:pt x="4721919" y="10423338"/>
                  <a:pt x="4722125" y="10445576"/>
                </a:cubicBezTo>
                <a:close/>
                <a:moveTo>
                  <a:pt x="4724288" y="11079379"/>
                </a:moveTo>
                <a:cubicBezTo>
                  <a:pt x="4724375" y="11083864"/>
                  <a:pt x="4724375" y="11090689"/>
                  <a:pt x="4724246" y="11100437"/>
                </a:cubicBezTo>
                <a:lnTo>
                  <a:pt x="4724039" y="11128858"/>
                </a:lnTo>
                <a:cubicBezTo>
                  <a:pt x="4718789" y="11131213"/>
                  <a:pt x="4723677" y="11047982"/>
                  <a:pt x="4724288" y="11079379"/>
                </a:cubicBezTo>
                <a:close/>
                <a:moveTo>
                  <a:pt x="4724913" y="10262664"/>
                </a:moveTo>
                <a:cubicBezTo>
                  <a:pt x="4725190" y="10268292"/>
                  <a:pt x="4724828" y="10276974"/>
                  <a:pt x="4723160" y="10288915"/>
                </a:cubicBezTo>
                <a:cubicBezTo>
                  <a:pt x="4717496" y="10256381"/>
                  <a:pt x="4724081" y="10245780"/>
                  <a:pt x="4724913" y="10262664"/>
                </a:cubicBezTo>
                <a:close/>
                <a:moveTo>
                  <a:pt x="4726005" y="11157377"/>
                </a:moveTo>
                <a:lnTo>
                  <a:pt x="4725746" y="11200057"/>
                </a:lnTo>
                <a:lnTo>
                  <a:pt x="4719384" y="11199857"/>
                </a:lnTo>
                <a:lnTo>
                  <a:pt x="4719643" y="11157178"/>
                </a:lnTo>
                <a:close/>
                <a:moveTo>
                  <a:pt x="4736349" y="9876275"/>
                </a:moveTo>
                <a:lnTo>
                  <a:pt x="4735986" y="9933214"/>
                </a:lnTo>
                <a:cubicBezTo>
                  <a:pt x="4731073" y="9890434"/>
                  <a:pt x="4723418" y="9935806"/>
                  <a:pt x="4721505" y="9890235"/>
                </a:cubicBezTo>
                <a:cubicBezTo>
                  <a:pt x="4714315" y="9895819"/>
                  <a:pt x="4726780" y="9945579"/>
                  <a:pt x="4717005" y="9932815"/>
                </a:cubicBezTo>
                <a:cubicBezTo>
                  <a:pt x="4718816" y="9889337"/>
                  <a:pt x="4713644" y="9890932"/>
                  <a:pt x="4715401" y="9847255"/>
                </a:cubicBezTo>
                <a:cubicBezTo>
                  <a:pt x="4724039" y="9846459"/>
                  <a:pt x="4725125" y="9893924"/>
                  <a:pt x="4736349" y="9876275"/>
                </a:cubicBezTo>
                <a:close/>
                <a:moveTo>
                  <a:pt x="4736349" y="11513577"/>
                </a:moveTo>
                <a:cubicBezTo>
                  <a:pt x="4734435" y="11570219"/>
                  <a:pt x="4734435" y="11570818"/>
                  <a:pt x="4735624" y="11627458"/>
                </a:cubicBezTo>
                <a:cubicBezTo>
                  <a:pt x="4730659" y="11626958"/>
                  <a:pt x="4729210" y="11651789"/>
                  <a:pt x="4722849" y="11641319"/>
                </a:cubicBezTo>
                <a:cubicBezTo>
                  <a:pt x="4722384" y="11563835"/>
                  <a:pt x="4723573" y="11497922"/>
                  <a:pt x="4736349" y="11513577"/>
                </a:cubicBezTo>
                <a:close/>
                <a:moveTo>
                  <a:pt x="4736723" y="11231992"/>
                </a:moveTo>
                <a:cubicBezTo>
                  <a:pt x="4737758" y="11238075"/>
                  <a:pt x="4738210" y="11243086"/>
                  <a:pt x="4735934" y="11243036"/>
                </a:cubicBezTo>
                <a:cubicBezTo>
                  <a:pt x="4733142" y="11242937"/>
                  <a:pt x="4727866" y="11187492"/>
                  <a:pt x="4736297" y="11186097"/>
                </a:cubicBezTo>
                <a:cubicBezTo>
                  <a:pt x="4736039" y="11197464"/>
                  <a:pt x="4733866" y="11200456"/>
                  <a:pt x="4734021" y="11214516"/>
                </a:cubicBezTo>
                <a:cubicBezTo>
                  <a:pt x="4734072" y="11218754"/>
                  <a:pt x="4735689" y="11225909"/>
                  <a:pt x="4736723" y="11231992"/>
                </a:cubicBezTo>
                <a:close/>
                <a:moveTo>
                  <a:pt x="4749071" y="8567050"/>
                </a:moveTo>
                <a:cubicBezTo>
                  <a:pt x="4742244" y="8523572"/>
                  <a:pt x="4742296" y="8619503"/>
                  <a:pt x="4749071" y="8567050"/>
                </a:cubicBezTo>
                <a:close/>
                <a:moveTo>
                  <a:pt x="4755278" y="8772921"/>
                </a:moveTo>
                <a:cubicBezTo>
                  <a:pt x="4755627" y="8767212"/>
                  <a:pt x="4755562" y="8761703"/>
                  <a:pt x="4754192" y="8752130"/>
                </a:cubicBezTo>
                <a:cubicBezTo>
                  <a:pt x="4748916" y="8749637"/>
                  <a:pt x="4747416" y="8773869"/>
                  <a:pt x="4745451" y="8794611"/>
                </a:cubicBezTo>
                <a:cubicBezTo>
                  <a:pt x="4751089" y="8790223"/>
                  <a:pt x="4742968" y="8874287"/>
                  <a:pt x="4751398" y="8851750"/>
                </a:cubicBezTo>
                <a:cubicBezTo>
                  <a:pt x="4754708" y="8849357"/>
                  <a:pt x="4753312" y="8817247"/>
                  <a:pt x="4753881" y="8794910"/>
                </a:cubicBezTo>
                <a:cubicBezTo>
                  <a:pt x="4754166" y="8784538"/>
                  <a:pt x="4754929" y="8778630"/>
                  <a:pt x="4755278" y="8772921"/>
                </a:cubicBezTo>
                <a:close/>
                <a:moveTo>
                  <a:pt x="4758071" y="8481789"/>
                </a:moveTo>
                <a:cubicBezTo>
                  <a:pt x="4750002" y="8497845"/>
                  <a:pt x="4748554" y="8467928"/>
                  <a:pt x="4745193" y="8509910"/>
                </a:cubicBezTo>
                <a:cubicBezTo>
                  <a:pt x="4750106" y="8505523"/>
                  <a:pt x="4753260" y="8512403"/>
                  <a:pt x="4755640" y="8524469"/>
                </a:cubicBezTo>
                <a:cubicBezTo>
                  <a:pt x="4755691" y="8504825"/>
                  <a:pt x="4756881" y="8493156"/>
                  <a:pt x="4758071" y="8481789"/>
                </a:cubicBezTo>
                <a:close/>
                <a:moveTo>
                  <a:pt x="4759241" y="11277701"/>
                </a:moveTo>
                <a:cubicBezTo>
                  <a:pt x="4759351" y="11292124"/>
                  <a:pt x="4758614" y="11309451"/>
                  <a:pt x="4758640" y="11314936"/>
                </a:cubicBezTo>
                <a:cubicBezTo>
                  <a:pt x="4758846" y="11347941"/>
                  <a:pt x="4759053" y="11393215"/>
                  <a:pt x="4755898" y="11414455"/>
                </a:cubicBezTo>
                <a:cubicBezTo>
                  <a:pt x="4752795" y="11435496"/>
                  <a:pt x="4755795" y="11434998"/>
                  <a:pt x="4755640" y="11457136"/>
                </a:cubicBezTo>
                <a:cubicBezTo>
                  <a:pt x="4755588" y="11467406"/>
                  <a:pt x="4753726" y="11472891"/>
                  <a:pt x="4753364" y="11485555"/>
                </a:cubicBezTo>
                <a:cubicBezTo>
                  <a:pt x="4752950" y="11500214"/>
                  <a:pt x="4754812" y="11587868"/>
                  <a:pt x="4752640" y="11599436"/>
                </a:cubicBezTo>
                <a:cubicBezTo>
                  <a:pt x="4752484" y="11600134"/>
                  <a:pt x="4750519" y="11598438"/>
                  <a:pt x="4750519" y="11599336"/>
                </a:cubicBezTo>
                <a:cubicBezTo>
                  <a:pt x="4749899" y="11620177"/>
                  <a:pt x="4752433" y="11620775"/>
                  <a:pt x="4752433" y="11627856"/>
                </a:cubicBezTo>
                <a:cubicBezTo>
                  <a:pt x="4752433" y="11639823"/>
                  <a:pt x="4750209" y="11641916"/>
                  <a:pt x="4750209" y="11642016"/>
                </a:cubicBezTo>
                <a:cubicBezTo>
                  <a:pt x="4750261" y="11666049"/>
                  <a:pt x="4753105" y="11679112"/>
                  <a:pt x="4749950" y="11684697"/>
                </a:cubicBezTo>
                <a:cubicBezTo>
                  <a:pt x="4743848" y="11686193"/>
                  <a:pt x="4748398" y="11672830"/>
                  <a:pt x="4748037" y="11656176"/>
                </a:cubicBezTo>
                <a:cubicBezTo>
                  <a:pt x="4747519" y="11633840"/>
                  <a:pt x="4744106" y="11614593"/>
                  <a:pt x="4748502" y="11584975"/>
                </a:cubicBezTo>
                <a:cubicBezTo>
                  <a:pt x="4750726" y="11570219"/>
                  <a:pt x="4748088" y="11511383"/>
                  <a:pt x="4749433" y="11442676"/>
                </a:cubicBezTo>
                <a:cubicBezTo>
                  <a:pt x="4748916" y="11423331"/>
                  <a:pt x="4744261" y="11430710"/>
                  <a:pt x="4741106" y="11428217"/>
                </a:cubicBezTo>
                <a:cubicBezTo>
                  <a:pt x="4742193" y="11398500"/>
                  <a:pt x="4739865" y="11390523"/>
                  <a:pt x="4739347" y="11371277"/>
                </a:cubicBezTo>
                <a:cubicBezTo>
                  <a:pt x="4733659" y="11359909"/>
                  <a:pt x="4737176" y="11412560"/>
                  <a:pt x="4734745" y="11428118"/>
                </a:cubicBezTo>
                <a:cubicBezTo>
                  <a:pt x="4731177" y="11451153"/>
                  <a:pt x="4738210" y="11446067"/>
                  <a:pt x="4734486" y="11470797"/>
                </a:cubicBezTo>
                <a:cubicBezTo>
                  <a:pt x="4728952" y="11479173"/>
                  <a:pt x="4726935" y="11464913"/>
                  <a:pt x="4728331" y="11428118"/>
                </a:cubicBezTo>
                <a:cubicBezTo>
                  <a:pt x="4728850" y="11367289"/>
                  <a:pt x="4731848" y="11323910"/>
                  <a:pt x="4733555" y="11271657"/>
                </a:cubicBezTo>
                <a:cubicBezTo>
                  <a:pt x="4738675" y="11288609"/>
                  <a:pt x="4746692" y="11287013"/>
                  <a:pt x="4743537" y="11357316"/>
                </a:cubicBezTo>
                <a:cubicBezTo>
                  <a:pt x="4749950" y="11367786"/>
                  <a:pt x="4749899" y="11332883"/>
                  <a:pt x="4756312" y="11343355"/>
                </a:cubicBezTo>
                <a:cubicBezTo>
                  <a:pt x="4758123" y="11299878"/>
                  <a:pt x="4754502" y="11291401"/>
                  <a:pt x="4754761" y="11257895"/>
                </a:cubicBezTo>
                <a:cubicBezTo>
                  <a:pt x="4758174" y="11251761"/>
                  <a:pt x="4759131" y="11263279"/>
                  <a:pt x="4759241" y="11277701"/>
                </a:cubicBezTo>
                <a:close/>
                <a:moveTo>
                  <a:pt x="4760973" y="6914938"/>
                </a:moveTo>
                <a:cubicBezTo>
                  <a:pt x="4759182" y="6920348"/>
                  <a:pt x="4756312" y="6921320"/>
                  <a:pt x="4755536" y="6915786"/>
                </a:cubicBezTo>
                <a:cubicBezTo>
                  <a:pt x="4754657" y="6909803"/>
                  <a:pt x="4760915" y="6898933"/>
                  <a:pt x="4759933" y="6887466"/>
                </a:cubicBezTo>
                <a:cubicBezTo>
                  <a:pt x="4763475" y="6899681"/>
                  <a:pt x="4762764" y="6909528"/>
                  <a:pt x="4760973" y="6914938"/>
                </a:cubicBezTo>
                <a:close/>
                <a:moveTo>
                  <a:pt x="4766708" y="11058754"/>
                </a:moveTo>
                <a:lnTo>
                  <a:pt x="4765777" y="11201054"/>
                </a:lnTo>
                <a:lnTo>
                  <a:pt x="4755226" y="11200754"/>
                </a:lnTo>
                <a:cubicBezTo>
                  <a:pt x="4751503" y="11170142"/>
                  <a:pt x="4754502" y="11096548"/>
                  <a:pt x="4754141" y="11044195"/>
                </a:cubicBezTo>
                <a:cubicBezTo>
                  <a:pt x="4760398" y="11065634"/>
                  <a:pt x="4762363" y="11039708"/>
                  <a:pt x="4766708" y="11058754"/>
                </a:cubicBezTo>
                <a:close/>
                <a:moveTo>
                  <a:pt x="4767432" y="10959033"/>
                </a:moveTo>
                <a:lnTo>
                  <a:pt x="4767225" y="10987455"/>
                </a:lnTo>
                <a:cubicBezTo>
                  <a:pt x="4765414" y="10984762"/>
                  <a:pt x="4765156" y="10992939"/>
                  <a:pt x="4765001" y="11001615"/>
                </a:cubicBezTo>
                <a:cubicBezTo>
                  <a:pt x="4763346" y="10994036"/>
                  <a:pt x="4761639" y="10986755"/>
                  <a:pt x="4758743" y="10987255"/>
                </a:cubicBezTo>
                <a:cubicBezTo>
                  <a:pt x="4753933" y="10995132"/>
                  <a:pt x="4761174" y="11009592"/>
                  <a:pt x="4756364" y="11029935"/>
                </a:cubicBezTo>
                <a:cubicBezTo>
                  <a:pt x="4751761" y="11032329"/>
                  <a:pt x="4755691" y="10979476"/>
                  <a:pt x="4754761" y="10958735"/>
                </a:cubicBezTo>
                <a:cubicBezTo>
                  <a:pt x="4758536" y="10986656"/>
                  <a:pt x="4762467" y="10963323"/>
                  <a:pt x="4767432" y="10959033"/>
                </a:cubicBezTo>
                <a:close/>
                <a:moveTo>
                  <a:pt x="4768259" y="8539028"/>
                </a:moveTo>
                <a:cubicBezTo>
                  <a:pt x="4756777" y="8480094"/>
                  <a:pt x="4746744" y="8686414"/>
                  <a:pt x="4767535" y="8652909"/>
                </a:cubicBezTo>
                <a:cubicBezTo>
                  <a:pt x="4767122" y="8601653"/>
                  <a:pt x="4764742" y="8584202"/>
                  <a:pt x="4768259" y="8539028"/>
                </a:cubicBezTo>
                <a:close/>
                <a:moveTo>
                  <a:pt x="4768518" y="11590462"/>
                </a:moveTo>
                <a:lnTo>
                  <a:pt x="4768311" y="11618881"/>
                </a:lnTo>
                <a:lnTo>
                  <a:pt x="4764070" y="11618782"/>
                </a:lnTo>
                <a:lnTo>
                  <a:pt x="4764276" y="11590361"/>
                </a:lnTo>
                <a:close/>
                <a:moveTo>
                  <a:pt x="4772895" y="9044546"/>
                </a:moveTo>
                <a:cubicBezTo>
                  <a:pt x="4773056" y="9035085"/>
                  <a:pt x="4772681" y="9025612"/>
                  <a:pt x="4771414" y="9023169"/>
                </a:cubicBezTo>
                <a:cubicBezTo>
                  <a:pt x="4766604" y="9013497"/>
                  <a:pt x="4766500" y="9078614"/>
                  <a:pt x="4771155" y="9065849"/>
                </a:cubicBezTo>
                <a:cubicBezTo>
                  <a:pt x="4772035" y="9063456"/>
                  <a:pt x="4772733" y="9054007"/>
                  <a:pt x="4772895" y="9044546"/>
                </a:cubicBezTo>
                <a:close/>
                <a:moveTo>
                  <a:pt x="4776742" y="11471795"/>
                </a:moveTo>
                <a:lnTo>
                  <a:pt x="4776483" y="11514575"/>
                </a:lnTo>
                <a:lnTo>
                  <a:pt x="4772241" y="11514474"/>
                </a:lnTo>
                <a:lnTo>
                  <a:pt x="4772501" y="11471694"/>
                </a:lnTo>
                <a:close/>
                <a:moveTo>
                  <a:pt x="4779172" y="11414955"/>
                </a:moveTo>
                <a:cubicBezTo>
                  <a:pt x="4775500" y="11411463"/>
                  <a:pt x="4774569" y="11390323"/>
                  <a:pt x="4775345" y="11357913"/>
                </a:cubicBezTo>
                <a:cubicBezTo>
                  <a:pt x="4779017" y="11361405"/>
                  <a:pt x="4780000" y="11382446"/>
                  <a:pt x="4779172" y="11414955"/>
                </a:cubicBezTo>
                <a:close/>
                <a:moveTo>
                  <a:pt x="4780123" y="10020792"/>
                </a:moveTo>
                <a:cubicBezTo>
                  <a:pt x="4780349" y="10045074"/>
                  <a:pt x="4779379" y="10071375"/>
                  <a:pt x="4777259" y="10076710"/>
                </a:cubicBezTo>
                <a:cubicBezTo>
                  <a:pt x="4774310" y="10124178"/>
                  <a:pt x="4779586" y="10001822"/>
                  <a:pt x="4775811" y="9976991"/>
                </a:cubicBezTo>
                <a:cubicBezTo>
                  <a:pt x="4778474" y="9974248"/>
                  <a:pt x="4779896" y="9996511"/>
                  <a:pt x="4780123" y="10020792"/>
                </a:cubicBezTo>
                <a:close/>
                <a:moveTo>
                  <a:pt x="4784609" y="8581908"/>
                </a:moveTo>
                <a:cubicBezTo>
                  <a:pt x="4783413" y="8558674"/>
                  <a:pt x="4781215" y="8540225"/>
                  <a:pt x="4778810" y="8539228"/>
                </a:cubicBezTo>
                <a:cubicBezTo>
                  <a:pt x="4777982" y="8557178"/>
                  <a:pt x="4776742" y="8559172"/>
                  <a:pt x="4776431" y="8581908"/>
                </a:cubicBezTo>
                <a:cubicBezTo>
                  <a:pt x="4776069" y="8606937"/>
                  <a:pt x="4770639" y="8626583"/>
                  <a:pt x="4769656" y="8652909"/>
                </a:cubicBezTo>
                <a:cubicBezTo>
                  <a:pt x="4769707" y="8651313"/>
                  <a:pt x="4771880" y="8667768"/>
                  <a:pt x="4771570" y="8681429"/>
                </a:cubicBezTo>
                <a:cubicBezTo>
                  <a:pt x="4771311" y="8693994"/>
                  <a:pt x="4769242" y="8699977"/>
                  <a:pt x="4769294" y="8709848"/>
                </a:cubicBezTo>
                <a:cubicBezTo>
                  <a:pt x="4769294" y="8707455"/>
                  <a:pt x="4771104" y="8717228"/>
                  <a:pt x="4771311" y="8724110"/>
                </a:cubicBezTo>
                <a:cubicBezTo>
                  <a:pt x="4772914" y="8776561"/>
                  <a:pt x="4765725" y="8765991"/>
                  <a:pt x="4770845" y="8795208"/>
                </a:cubicBezTo>
                <a:cubicBezTo>
                  <a:pt x="4771259" y="8797603"/>
                  <a:pt x="4770639" y="8819442"/>
                  <a:pt x="4770639" y="8823730"/>
                </a:cubicBezTo>
                <a:cubicBezTo>
                  <a:pt x="4771259" y="8878974"/>
                  <a:pt x="4767846" y="8878375"/>
                  <a:pt x="4767897" y="8923249"/>
                </a:cubicBezTo>
                <a:cubicBezTo>
                  <a:pt x="4767897" y="8932125"/>
                  <a:pt x="4769914" y="8939404"/>
                  <a:pt x="4769914" y="8937509"/>
                </a:cubicBezTo>
                <a:cubicBezTo>
                  <a:pt x="4769914" y="8947082"/>
                  <a:pt x="4767277" y="8960644"/>
                  <a:pt x="4767639" y="8965930"/>
                </a:cubicBezTo>
                <a:cubicBezTo>
                  <a:pt x="4769345" y="8991159"/>
                  <a:pt x="4770845" y="9001231"/>
                  <a:pt x="4775914" y="8994649"/>
                </a:cubicBezTo>
                <a:cubicBezTo>
                  <a:pt x="4774931" y="8913178"/>
                  <a:pt x="4778965" y="8867506"/>
                  <a:pt x="4779328" y="8795408"/>
                </a:cubicBezTo>
                <a:lnTo>
                  <a:pt x="4783569" y="8795508"/>
                </a:lnTo>
                <a:cubicBezTo>
                  <a:pt x="4785378" y="8756718"/>
                  <a:pt x="4779534" y="8766789"/>
                  <a:pt x="4779690" y="8738469"/>
                </a:cubicBezTo>
                <a:cubicBezTo>
                  <a:pt x="4782948" y="8738370"/>
                  <a:pt x="4786878" y="8699777"/>
                  <a:pt x="4779897" y="8710048"/>
                </a:cubicBezTo>
                <a:lnTo>
                  <a:pt x="4780155" y="8667369"/>
                </a:lnTo>
                <a:cubicBezTo>
                  <a:pt x="4778965" y="8650714"/>
                  <a:pt x="4784034" y="8657995"/>
                  <a:pt x="4784396" y="8653307"/>
                </a:cubicBezTo>
                <a:cubicBezTo>
                  <a:pt x="4785999" y="8633164"/>
                  <a:pt x="4785805" y="8605143"/>
                  <a:pt x="4784609" y="8581908"/>
                </a:cubicBezTo>
                <a:close/>
                <a:moveTo>
                  <a:pt x="4786257" y="10973791"/>
                </a:moveTo>
                <a:cubicBezTo>
                  <a:pt x="4784758" y="10992839"/>
                  <a:pt x="4781551" y="11000118"/>
                  <a:pt x="4777621" y="11002013"/>
                </a:cubicBezTo>
                <a:cubicBezTo>
                  <a:pt x="4778293" y="10976984"/>
                  <a:pt x="4781499" y="10969705"/>
                  <a:pt x="4786257" y="10973791"/>
                </a:cubicBezTo>
                <a:close/>
                <a:moveTo>
                  <a:pt x="4786413" y="8296011"/>
                </a:moveTo>
                <a:cubicBezTo>
                  <a:pt x="4785534" y="8293018"/>
                  <a:pt x="4782586" y="8287136"/>
                  <a:pt x="4782586" y="8283047"/>
                </a:cubicBezTo>
                <a:cubicBezTo>
                  <a:pt x="4782068" y="8294116"/>
                  <a:pt x="4782327" y="8311069"/>
                  <a:pt x="4780310" y="8311467"/>
                </a:cubicBezTo>
                <a:cubicBezTo>
                  <a:pt x="4778035" y="8269185"/>
                  <a:pt x="4783723" y="8183327"/>
                  <a:pt x="4779379" y="8126387"/>
                </a:cubicBezTo>
                <a:cubicBezTo>
                  <a:pt x="4768518" y="8119008"/>
                  <a:pt x="4774828" y="8233287"/>
                  <a:pt x="4770018" y="8268488"/>
                </a:cubicBezTo>
                <a:cubicBezTo>
                  <a:pt x="4771621" y="8271678"/>
                  <a:pt x="4774208" y="8268987"/>
                  <a:pt x="4774156" y="8282848"/>
                </a:cubicBezTo>
                <a:cubicBezTo>
                  <a:pt x="4769397" y="8324531"/>
                  <a:pt x="4774724" y="8337594"/>
                  <a:pt x="4771518" y="8368208"/>
                </a:cubicBezTo>
                <a:cubicBezTo>
                  <a:pt x="4767949" y="8401814"/>
                  <a:pt x="4772294" y="8437215"/>
                  <a:pt x="4768569" y="8496248"/>
                </a:cubicBezTo>
                <a:cubicBezTo>
                  <a:pt x="4779741" y="8515794"/>
                  <a:pt x="4775552" y="8426644"/>
                  <a:pt x="4781810" y="8411187"/>
                </a:cubicBezTo>
                <a:cubicBezTo>
                  <a:pt x="4780931" y="8385759"/>
                  <a:pt x="4784500" y="8384363"/>
                  <a:pt x="4785844" y="8373792"/>
                </a:cubicBezTo>
                <a:lnTo>
                  <a:pt x="4785835" y="8373315"/>
                </a:lnTo>
                <a:lnTo>
                  <a:pt x="4785620" y="8362130"/>
                </a:lnTo>
                <a:cubicBezTo>
                  <a:pt x="4785593" y="8349250"/>
                  <a:pt x="4785782" y="8328412"/>
                  <a:pt x="4786026" y="8313114"/>
                </a:cubicBezTo>
                <a:lnTo>
                  <a:pt x="4786406" y="8296299"/>
                </a:lnTo>
                <a:close/>
                <a:moveTo>
                  <a:pt x="4786788" y="11122001"/>
                </a:moveTo>
                <a:cubicBezTo>
                  <a:pt x="4786413" y="11132721"/>
                  <a:pt x="4785172" y="11146208"/>
                  <a:pt x="4785069" y="11158773"/>
                </a:cubicBezTo>
                <a:cubicBezTo>
                  <a:pt x="4784551" y="11223093"/>
                  <a:pt x="4783931" y="11278936"/>
                  <a:pt x="4779741" y="11329494"/>
                </a:cubicBezTo>
                <a:cubicBezTo>
                  <a:pt x="4777931" y="11320719"/>
                  <a:pt x="4776069" y="11312142"/>
                  <a:pt x="4775500" y="11329394"/>
                </a:cubicBezTo>
                <a:cubicBezTo>
                  <a:pt x="4769500" y="11327301"/>
                  <a:pt x="4772034" y="11269961"/>
                  <a:pt x="4771931" y="11229673"/>
                </a:cubicBezTo>
                <a:cubicBezTo>
                  <a:pt x="4782586" y="11235557"/>
                  <a:pt x="4780879" y="11154187"/>
                  <a:pt x="4783310" y="11101834"/>
                </a:cubicBezTo>
                <a:cubicBezTo>
                  <a:pt x="4786672" y="11103329"/>
                  <a:pt x="4787163" y="11111282"/>
                  <a:pt x="4786788" y="11122001"/>
                </a:cubicBezTo>
                <a:close/>
                <a:moveTo>
                  <a:pt x="4789652" y="7961699"/>
                </a:moveTo>
                <a:cubicBezTo>
                  <a:pt x="4789349" y="7933628"/>
                  <a:pt x="4787344" y="7913035"/>
                  <a:pt x="4780776" y="7912885"/>
                </a:cubicBezTo>
                <a:cubicBezTo>
                  <a:pt x="4780207" y="7923955"/>
                  <a:pt x="4780516" y="7941007"/>
                  <a:pt x="4778500" y="7941306"/>
                </a:cubicBezTo>
                <a:cubicBezTo>
                  <a:pt x="4777311" y="7965937"/>
                  <a:pt x="4780672" y="7973317"/>
                  <a:pt x="4782378" y="7998346"/>
                </a:cubicBezTo>
                <a:cubicBezTo>
                  <a:pt x="4783672" y="8017692"/>
                  <a:pt x="4780879" y="8067950"/>
                  <a:pt x="4788327" y="8055387"/>
                </a:cubicBezTo>
                <a:cubicBezTo>
                  <a:pt x="4788560" y="8025321"/>
                  <a:pt x="4789956" y="7989770"/>
                  <a:pt x="4789652" y="7961699"/>
                </a:cubicBezTo>
                <a:close/>
                <a:moveTo>
                  <a:pt x="4792181" y="9850373"/>
                </a:moveTo>
                <a:cubicBezTo>
                  <a:pt x="4794077" y="9868103"/>
                  <a:pt x="4788598" y="9893475"/>
                  <a:pt x="4788793" y="9934609"/>
                </a:cubicBezTo>
                <a:cubicBezTo>
                  <a:pt x="4784086" y="9928328"/>
                  <a:pt x="4788378" y="9864408"/>
                  <a:pt x="4787344" y="9834890"/>
                </a:cubicBezTo>
                <a:cubicBezTo>
                  <a:pt x="4790098" y="9839402"/>
                  <a:pt x="4791550" y="9844463"/>
                  <a:pt x="4792181" y="9850373"/>
                </a:cubicBezTo>
                <a:close/>
                <a:moveTo>
                  <a:pt x="4795671" y="7571645"/>
                </a:moveTo>
                <a:lnTo>
                  <a:pt x="4787240" y="7571445"/>
                </a:lnTo>
                <a:cubicBezTo>
                  <a:pt x="4787499" y="7628385"/>
                  <a:pt x="4782896" y="7650323"/>
                  <a:pt x="4784137" y="7713746"/>
                </a:cubicBezTo>
                <a:cubicBezTo>
                  <a:pt x="4791482" y="7725013"/>
                  <a:pt x="4790706" y="7666378"/>
                  <a:pt x="4790861" y="7657005"/>
                </a:cubicBezTo>
                <a:cubicBezTo>
                  <a:pt x="4791326" y="7625394"/>
                  <a:pt x="4797016" y="7638058"/>
                  <a:pt x="4795464" y="7600165"/>
                </a:cubicBezTo>
                <a:close/>
                <a:moveTo>
                  <a:pt x="4797572" y="9606531"/>
                </a:moveTo>
                <a:cubicBezTo>
                  <a:pt x="4797093" y="9620667"/>
                  <a:pt x="4795464" y="9632708"/>
                  <a:pt x="4792930" y="9621589"/>
                </a:cubicBezTo>
                <a:lnTo>
                  <a:pt x="4793085" y="9593069"/>
                </a:lnTo>
                <a:cubicBezTo>
                  <a:pt x="4794895" y="9595762"/>
                  <a:pt x="4795154" y="9587584"/>
                  <a:pt x="4795308" y="9578908"/>
                </a:cubicBezTo>
                <a:cubicBezTo>
                  <a:pt x="4797378" y="9576166"/>
                  <a:pt x="4798050" y="9592396"/>
                  <a:pt x="4797572" y="9606531"/>
                </a:cubicBezTo>
                <a:close/>
                <a:moveTo>
                  <a:pt x="4798768" y="6308965"/>
                </a:moveTo>
                <a:cubicBezTo>
                  <a:pt x="4798658" y="6298694"/>
                  <a:pt x="4798128" y="6287002"/>
                  <a:pt x="4797792" y="6262022"/>
                </a:cubicBezTo>
                <a:cubicBezTo>
                  <a:pt x="4787034" y="6245269"/>
                  <a:pt x="4786257" y="6363436"/>
                  <a:pt x="4797223" y="6347382"/>
                </a:cubicBezTo>
                <a:cubicBezTo>
                  <a:pt x="4798567" y="6328086"/>
                  <a:pt x="4798878" y="6319236"/>
                  <a:pt x="4798768" y="6308965"/>
                </a:cubicBezTo>
                <a:close/>
                <a:moveTo>
                  <a:pt x="4803804" y="11142457"/>
                </a:moveTo>
                <a:cubicBezTo>
                  <a:pt x="4803985" y="11149550"/>
                  <a:pt x="4803558" y="11159871"/>
                  <a:pt x="4801929" y="11159273"/>
                </a:cubicBezTo>
                <a:cubicBezTo>
                  <a:pt x="4805498" y="11196368"/>
                  <a:pt x="4800739" y="11202151"/>
                  <a:pt x="4803480" y="11244731"/>
                </a:cubicBezTo>
                <a:cubicBezTo>
                  <a:pt x="4801774" y="11252210"/>
                  <a:pt x="4799964" y="11259491"/>
                  <a:pt x="4797067" y="11258792"/>
                </a:cubicBezTo>
                <a:cubicBezTo>
                  <a:pt x="4799136" y="11297584"/>
                  <a:pt x="4800326" y="11368186"/>
                  <a:pt x="4790085" y="11358313"/>
                </a:cubicBezTo>
                <a:cubicBezTo>
                  <a:pt x="4795205" y="11329593"/>
                  <a:pt x="4789827" y="11303966"/>
                  <a:pt x="4790654" y="11272854"/>
                </a:cubicBezTo>
                <a:cubicBezTo>
                  <a:pt x="4790706" y="11272455"/>
                  <a:pt x="4792723" y="11269263"/>
                  <a:pt x="4792879" y="11258693"/>
                </a:cubicBezTo>
                <a:cubicBezTo>
                  <a:pt x="4792930" y="11254903"/>
                  <a:pt x="4792775" y="11247924"/>
                  <a:pt x="4792981" y="11244432"/>
                </a:cubicBezTo>
                <a:cubicBezTo>
                  <a:pt x="4793860" y="11230671"/>
                  <a:pt x="4796343" y="11216512"/>
                  <a:pt x="4795516" y="11173331"/>
                </a:cubicBezTo>
                <a:cubicBezTo>
                  <a:pt x="4799136" y="11174031"/>
                  <a:pt x="4801049" y="11162861"/>
                  <a:pt x="4802033" y="11145011"/>
                </a:cubicBezTo>
                <a:cubicBezTo>
                  <a:pt x="4802834" y="11131499"/>
                  <a:pt x="4803623" y="11135364"/>
                  <a:pt x="4803804" y="11142457"/>
                </a:cubicBezTo>
                <a:close/>
                <a:moveTo>
                  <a:pt x="4804152" y="8852947"/>
                </a:moveTo>
                <a:cubicBezTo>
                  <a:pt x="4801877" y="8831807"/>
                  <a:pt x="4795568" y="8836095"/>
                  <a:pt x="4796137" y="8795907"/>
                </a:cubicBezTo>
                <a:cubicBezTo>
                  <a:pt x="4799447" y="8794710"/>
                  <a:pt x="4803429" y="8798002"/>
                  <a:pt x="4802653" y="8767587"/>
                </a:cubicBezTo>
                <a:cubicBezTo>
                  <a:pt x="4797688" y="8767785"/>
                  <a:pt x="4796602" y="8742956"/>
                  <a:pt x="4790085" y="8753027"/>
                </a:cubicBezTo>
                <a:cubicBezTo>
                  <a:pt x="4791947" y="8844072"/>
                  <a:pt x="4789620" y="8882464"/>
                  <a:pt x="4788585" y="8980788"/>
                </a:cubicBezTo>
                <a:cubicBezTo>
                  <a:pt x="4791585" y="8993254"/>
                  <a:pt x="4796705" y="8992256"/>
                  <a:pt x="4794534" y="9037828"/>
                </a:cubicBezTo>
                <a:cubicBezTo>
                  <a:pt x="4791429" y="9038027"/>
                  <a:pt x="4788224" y="8977597"/>
                  <a:pt x="4788224" y="9037629"/>
                </a:cubicBezTo>
                <a:cubicBezTo>
                  <a:pt x="4786257" y="9110424"/>
                  <a:pt x="4797430" y="9013795"/>
                  <a:pt x="4798567" y="9066348"/>
                </a:cubicBezTo>
                <a:cubicBezTo>
                  <a:pt x="4797739" y="9119200"/>
                  <a:pt x="4790033" y="9233977"/>
                  <a:pt x="4797378" y="9251428"/>
                </a:cubicBezTo>
                <a:cubicBezTo>
                  <a:pt x="4802239" y="9177038"/>
                  <a:pt x="4799757" y="9080608"/>
                  <a:pt x="4801154" y="8995248"/>
                </a:cubicBezTo>
                <a:cubicBezTo>
                  <a:pt x="4801412" y="8978095"/>
                  <a:pt x="4802911" y="8973707"/>
                  <a:pt x="4803532" y="8952567"/>
                </a:cubicBezTo>
                <a:cubicBezTo>
                  <a:pt x="4804515" y="8917764"/>
                  <a:pt x="4803377" y="8885655"/>
                  <a:pt x="4804152" y="8852947"/>
                </a:cubicBezTo>
                <a:close/>
                <a:moveTo>
                  <a:pt x="4806933" y="10146752"/>
                </a:moveTo>
                <a:cubicBezTo>
                  <a:pt x="4806959" y="10162919"/>
                  <a:pt x="4806454" y="10179722"/>
                  <a:pt x="4806118" y="10191389"/>
                </a:cubicBezTo>
                <a:cubicBezTo>
                  <a:pt x="4805291" y="10219709"/>
                  <a:pt x="4802291" y="10222203"/>
                  <a:pt x="4803532" y="10262490"/>
                </a:cubicBezTo>
                <a:cubicBezTo>
                  <a:pt x="4804463" y="10294301"/>
                  <a:pt x="4803273" y="10286123"/>
                  <a:pt x="4802963" y="10347850"/>
                </a:cubicBezTo>
                <a:cubicBezTo>
                  <a:pt x="4802860" y="10370785"/>
                  <a:pt x="4804308" y="10372481"/>
                  <a:pt x="4804825" y="10390629"/>
                </a:cubicBezTo>
                <a:cubicBezTo>
                  <a:pt x="4805136" y="10401301"/>
                  <a:pt x="4803429" y="10440290"/>
                  <a:pt x="4804463" y="10447570"/>
                </a:cubicBezTo>
                <a:cubicBezTo>
                  <a:pt x="4805705" y="10456645"/>
                  <a:pt x="4805911" y="10459736"/>
                  <a:pt x="4804256" y="10475991"/>
                </a:cubicBezTo>
                <a:cubicBezTo>
                  <a:pt x="4802498" y="10493142"/>
                  <a:pt x="4802704" y="10522260"/>
                  <a:pt x="4803688" y="10561350"/>
                </a:cubicBezTo>
                <a:cubicBezTo>
                  <a:pt x="4798360" y="10556863"/>
                  <a:pt x="4798308" y="10595355"/>
                  <a:pt x="4796963" y="10618191"/>
                </a:cubicBezTo>
                <a:cubicBezTo>
                  <a:pt x="4794844" y="10654589"/>
                  <a:pt x="4795205" y="10689392"/>
                  <a:pt x="4796137" y="10746332"/>
                </a:cubicBezTo>
                <a:lnTo>
                  <a:pt x="4789827" y="10746131"/>
                </a:lnTo>
                <a:cubicBezTo>
                  <a:pt x="4788585" y="10806762"/>
                  <a:pt x="4790912" y="10892819"/>
                  <a:pt x="4786517" y="10931113"/>
                </a:cubicBezTo>
                <a:cubicBezTo>
                  <a:pt x="4782224" y="10923035"/>
                  <a:pt x="4782224" y="10908775"/>
                  <a:pt x="4784706" y="10888333"/>
                </a:cubicBezTo>
                <a:cubicBezTo>
                  <a:pt x="4786465" y="10871281"/>
                  <a:pt x="4782793" y="10863602"/>
                  <a:pt x="4782793" y="10859813"/>
                </a:cubicBezTo>
                <a:cubicBezTo>
                  <a:pt x="4782793" y="10857220"/>
                  <a:pt x="4787292" y="10814539"/>
                  <a:pt x="4785378" y="10802773"/>
                </a:cubicBezTo>
                <a:cubicBezTo>
                  <a:pt x="4781862" y="10782629"/>
                  <a:pt x="4785690" y="10783926"/>
                  <a:pt x="4785637" y="10760093"/>
                </a:cubicBezTo>
                <a:cubicBezTo>
                  <a:pt x="4785637" y="10748325"/>
                  <a:pt x="4783465" y="10746131"/>
                  <a:pt x="4783723" y="10731573"/>
                </a:cubicBezTo>
                <a:cubicBezTo>
                  <a:pt x="4784137" y="10708737"/>
                  <a:pt x="4785482" y="10707441"/>
                  <a:pt x="4786103" y="10688992"/>
                </a:cubicBezTo>
                <a:cubicBezTo>
                  <a:pt x="4787551" y="10644019"/>
                  <a:pt x="4786620" y="10640329"/>
                  <a:pt x="4788844" y="10589372"/>
                </a:cubicBezTo>
                <a:cubicBezTo>
                  <a:pt x="4790033" y="10562049"/>
                  <a:pt x="4789774" y="10575111"/>
                  <a:pt x="4789103" y="10546692"/>
                </a:cubicBezTo>
                <a:cubicBezTo>
                  <a:pt x="4788430" y="10516975"/>
                  <a:pt x="4790809" y="10509097"/>
                  <a:pt x="4791585" y="10489852"/>
                </a:cubicBezTo>
                <a:cubicBezTo>
                  <a:pt x="4791326" y="10473197"/>
                  <a:pt x="4787809" y="10477785"/>
                  <a:pt x="4785327" y="10475491"/>
                </a:cubicBezTo>
                <a:cubicBezTo>
                  <a:pt x="4783362" y="10445675"/>
                  <a:pt x="4788844" y="10456046"/>
                  <a:pt x="4789723" y="10447171"/>
                </a:cubicBezTo>
                <a:cubicBezTo>
                  <a:pt x="4791585" y="10428323"/>
                  <a:pt x="4789516" y="10401301"/>
                  <a:pt x="4792206" y="10390331"/>
                </a:cubicBezTo>
                <a:cubicBezTo>
                  <a:pt x="4791120" y="10356127"/>
                  <a:pt x="4789567" y="10325313"/>
                  <a:pt x="4790809" y="10276351"/>
                </a:cubicBezTo>
                <a:cubicBezTo>
                  <a:pt x="4795877" y="10270865"/>
                  <a:pt x="4789206" y="10341169"/>
                  <a:pt x="4796861" y="10319231"/>
                </a:cubicBezTo>
                <a:cubicBezTo>
                  <a:pt x="4800739" y="10323718"/>
                  <a:pt x="4797532" y="10272062"/>
                  <a:pt x="4799343" y="10262389"/>
                </a:cubicBezTo>
                <a:cubicBezTo>
                  <a:pt x="4800326" y="10257005"/>
                  <a:pt x="4802084" y="10248728"/>
                  <a:pt x="4801618" y="10233970"/>
                </a:cubicBezTo>
                <a:cubicBezTo>
                  <a:pt x="4801463" y="10229483"/>
                  <a:pt x="4799706" y="10213626"/>
                  <a:pt x="4799601" y="10219611"/>
                </a:cubicBezTo>
                <a:cubicBezTo>
                  <a:pt x="4799808" y="10207544"/>
                  <a:pt x="4803946" y="10194281"/>
                  <a:pt x="4803998" y="10191289"/>
                </a:cubicBezTo>
                <a:cubicBezTo>
                  <a:pt x="4804359" y="10158381"/>
                  <a:pt x="4797842" y="10171246"/>
                  <a:pt x="4802343" y="10120090"/>
                </a:cubicBezTo>
                <a:cubicBezTo>
                  <a:pt x="4802653" y="10116998"/>
                  <a:pt x="4805549" y="10118992"/>
                  <a:pt x="4804567" y="10105929"/>
                </a:cubicBezTo>
                <a:cubicBezTo>
                  <a:pt x="4806351" y="10115053"/>
                  <a:pt x="4806907" y="10130585"/>
                  <a:pt x="4806933" y="10146752"/>
                </a:cubicBezTo>
                <a:close/>
                <a:moveTo>
                  <a:pt x="4808394" y="4625117"/>
                </a:moveTo>
                <a:cubicBezTo>
                  <a:pt x="4808291" y="4566482"/>
                  <a:pt x="4808860" y="4504057"/>
                  <a:pt x="4802963" y="4482617"/>
                </a:cubicBezTo>
                <a:cubicBezTo>
                  <a:pt x="4803067" y="4508146"/>
                  <a:pt x="4800636" y="4515824"/>
                  <a:pt x="4796447" y="4510938"/>
                </a:cubicBezTo>
                <a:cubicBezTo>
                  <a:pt x="4794636" y="4544444"/>
                  <a:pt x="4791637" y="4609162"/>
                  <a:pt x="4795619" y="4639077"/>
                </a:cubicBezTo>
                <a:cubicBezTo>
                  <a:pt x="4800585" y="4639477"/>
                  <a:pt x="4801981" y="4614647"/>
                  <a:pt x="4808394" y="4625117"/>
                </a:cubicBezTo>
                <a:close/>
                <a:moveTo>
                  <a:pt x="4811016" y="9962793"/>
                </a:moveTo>
                <a:cubicBezTo>
                  <a:pt x="4810996" y="9982108"/>
                  <a:pt x="4807980" y="9982800"/>
                  <a:pt x="4807204" y="10020569"/>
                </a:cubicBezTo>
                <a:cubicBezTo>
                  <a:pt x="4802343" y="10015882"/>
                  <a:pt x="4799084" y="10022662"/>
                  <a:pt x="4796550" y="10034529"/>
                </a:cubicBezTo>
                <a:cubicBezTo>
                  <a:pt x="4797119" y="10051980"/>
                  <a:pt x="4795671" y="10122384"/>
                  <a:pt x="4794171" y="10077210"/>
                </a:cubicBezTo>
                <a:lnTo>
                  <a:pt x="4794636" y="10006011"/>
                </a:lnTo>
                <a:cubicBezTo>
                  <a:pt x="4800533" y="10017876"/>
                  <a:pt x="4800274" y="9986066"/>
                  <a:pt x="4805239" y="9992049"/>
                </a:cubicBezTo>
                <a:cubicBezTo>
                  <a:pt x="4805911" y="9966820"/>
                  <a:pt x="4803584" y="9920750"/>
                  <a:pt x="4809842" y="9935208"/>
                </a:cubicBezTo>
                <a:cubicBezTo>
                  <a:pt x="4810695" y="9947847"/>
                  <a:pt x="4811022" y="9956355"/>
                  <a:pt x="4811016" y="9962793"/>
                </a:cubicBezTo>
                <a:close/>
                <a:moveTo>
                  <a:pt x="4811478" y="9812827"/>
                </a:moveTo>
                <a:cubicBezTo>
                  <a:pt x="4809519" y="9815245"/>
                  <a:pt x="4806610" y="9813351"/>
                  <a:pt x="4806480" y="9806969"/>
                </a:cubicBezTo>
                <a:cubicBezTo>
                  <a:pt x="4806326" y="9798493"/>
                  <a:pt x="4809584" y="9789119"/>
                  <a:pt x="4810773" y="9792808"/>
                </a:cubicBezTo>
                <a:cubicBezTo>
                  <a:pt x="4814445" y="9803677"/>
                  <a:pt x="4813436" y="9810409"/>
                  <a:pt x="4811478" y="9812827"/>
                </a:cubicBezTo>
                <a:close/>
                <a:moveTo>
                  <a:pt x="4811943" y="11264240"/>
                </a:moveTo>
                <a:cubicBezTo>
                  <a:pt x="4811962" y="11290080"/>
                  <a:pt x="4811523" y="11326053"/>
                  <a:pt x="4811290" y="11344452"/>
                </a:cubicBezTo>
                <a:cubicBezTo>
                  <a:pt x="4811032" y="11367686"/>
                  <a:pt x="4809429" y="11368585"/>
                  <a:pt x="4808911" y="11387132"/>
                </a:cubicBezTo>
                <a:cubicBezTo>
                  <a:pt x="4808187" y="11413459"/>
                  <a:pt x="4809221" y="11442278"/>
                  <a:pt x="4808343" y="11472492"/>
                </a:cubicBezTo>
                <a:cubicBezTo>
                  <a:pt x="4807722" y="11494332"/>
                  <a:pt x="4806480" y="11497223"/>
                  <a:pt x="4805963" y="11515173"/>
                </a:cubicBezTo>
                <a:cubicBezTo>
                  <a:pt x="4804825" y="11555060"/>
                  <a:pt x="4806687" y="11592855"/>
                  <a:pt x="4805239" y="11629053"/>
                </a:cubicBezTo>
                <a:cubicBezTo>
                  <a:pt x="4803946" y="11661562"/>
                  <a:pt x="4800429" y="11675522"/>
                  <a:pt x="4798464" y="11700054"/>
                </a:cubicBezTo>
                <a:cubicBezTo>
                  <a:pt x="4794688" y="11672131"/>
                  <a:pt x="4790757" y="11695466"/>
                  <a:pt x="4785792" y="11699754"/>
                </a:cubicBezTo>
                <a:cubicBezTo>
                  <a:pt x="4784758" y="11679013"/>
                  <a:pt x="4788741" y="11626261"/>
                  <a:pt x="4784137" y="11628553"/>
                </a:cubicBezTo>
                <a:cubicBezTo>
                  <a:pt x="4786103" y="11597940"/>
                  <a:pt x="4793550" y="11605818"/>
                  <a:pt x="4797067" y="11586172"/>
                </a:cubicBezTo>
                <a:cubicBezTo>
                  <a:pt x="4798360" y="11525543"/>
                  <a:pt x="4795464" y="11488448"/>
                  <a:pt x="4800015" y="11458132"/>
                </a:cubicBezTo>
                <a:cubicBezTo>
                  <a:pt x="4803894" y="11432206"/>
                  <a:pt x="4798826" y="11427818"/>
                  <a:pt x="4800585" y="11372772"/>
                </a:cubicBezTo>
                <a:cubicBezTo>
                  <a:pt x="4804980" y="11383343"/>
                  <a:pt x="4803532" y="11354823"/>
                  <a:pt x="4804980" y="11344252"/>
                </a:cubicBezTo>
                <a:cubicBezTo>
                  <a:pt x="4805447" y="11340762"/>
                  <a:pt x="4809066" y="11333383"/>
                  <a:pt x="4809273" y="11330192"/>
                </a:cubicBezTo>
                <a:cubicBezTo>
                  <a:pt x="4810566" y="11310447"/>
                  <a:pt x="4807256" y="11303268"/>
                  <a:pt x="4807411" y="11287412"/>
                </a:cubicBezTo>
                <a:cubicBezTo>
                  <a:pt x="4807359" y="11293695"/>
                  <a:pt x="4809480" y="11276742"/>
                  <a:pt x="4809635" y="11273251"/>
                </a:cubicBezTo>
                <a:cubicBezTo>
                  <a:pt x="4810049" y="11264377"/>
                  <a:pt x="4809531" y="11253907"/>
                  <a:pt x="4809842" y="11244832"/>
                </a:cubicBezTo>
                <a:cubicBezTo>
                  <a:pt x="4811445" y="11222694"/>
                  <a:pt x="4811924" y="11238400"/>
                  <a:pt x="4811943" y="11264240"/>
                </a:cubicBezTo>
                <a:close/>
                <a:moveTo>
                  <a:pt x="4811956" y="9321506"/>
                </a:moveTo>
                <a:cubicBezTo>
                  <a:pt x="4811665" y="9337013"/>
                  <a:pt x="4810928" y="9355386"/>
                  <a:pt x="4811446" y="9365707"/>
                </a:cubicBezTo>
                <a:cubicBezTo>
                  <a:pt x="4802033" y="9367902"/>
                  <a:pt x="4806326" y="9315549"/>
                  <a:pt x="4809790" y="9294508"/>
                </a:cubicBezTo>
                <a:cubicBezTo>
                  <a:pt x="4812092" y="9293361"/>
                  <a:pt x="4812247" y="9306000"/>
                  <a:pt x="4811956" y="9321506"/>
                </a:cubicBezTo>
                <a:close/>
                <a:moveTo>
                  <a:pt x="4813463" y="10362409"/>
                </a:moveTo>
                <a:cubicBezTo>
                  <a:pt x="4810928" y="10356027"/>
                  <a:pt x="4809273" y="10344060"/>
                  <a:pt x="4809531" y="10319529"/>
                </a:cubicBezTo>
                <a:cubicBezTo>
                  <a:pt x="4814083" y="10312948"/>
                  <a:pt x="4813411" y="10339972"/>
                  <a:pt x="4813463" y="10362409"/>
                </a:cubicBezTo>
                <a:close/>
                <a:moveTo>
                  <a:pt x="4815065" y="9138046"/>
                </a:moveTo>
                <a:cubicBezTo>
                  <a:pt x="4809324" y="9152008"/>
                  <a:pt x="4817031" y="9261301"/>
                  <a:pt x="4807980" y="9251728"/>
                </a:cubicBezTo>
                <a:cubicBezTo>
                  <a:pt x="4811962" y="9194687"/>
                  <a:pt x="4805239" y="9154002"/>
                  <a:pt x="4815065" y="9138046"/>
                </a:cubicBezTo>
                <a:close/>
                <a:moveTo>
                  <a:pt x="4815273" y="7145043"/>
                </a:moveTo>
                <a:lnTo>
                  <a:pt x="4814911" y="7201982"/>
                </a:lnTo>
                <a:lnTo>
                  <a:pt x="4810669" y="7201883"/>
                </a:lnTo>
                <a:lnTo>
                  <a:pt x="4811032" y="7144942"/>
                </a:lnTo>
                <a:close/>
                <a:moveTo>
                  <a:pt x="4820083" y="6732401"/>
                </a:moveTo>
                <a:cubicBezTo>
                  <a:pt x="4814807" y="6734495"/>
                  <a:pt x="4813669" y="6709863"/>
                  <a:pt x="4809687" y="6703681"/>
                </a:cubicBezTo>
                <a:cubicBezTo>
                  <a:pt x="4809893" y="6712655"/>
                  <a:pt x="4809221" y="6723326"/>
                  <a:pt x="4809480" y="6732202"/>
                </a:cubicBezTo>
                <a:cubicBezTo>
                  <a:pt x="4810152" y="6753142"/>
                  <a:pt x="4811911" y="6734395"/>
                  <a:pt x="4813617" y="6746562"/>
                </a:cubicBezTo>
                <a:cubicBezTo>
                  <a:pt x="4814342" y="6751249"/>
                  <a:pt x="4812790" y="6769597"/>
                  <a:pt x="4813463" y="6774882"/>
                </a:cubicBezTo>
                <a:cubicBezTo>
                  <a:pt x="4814342" y="6781961"/>
                  <a:pt x="4818687" y="6769297"/>
                  <a:pt x="4819824" y="6775081"/>
                </a:cubicBezTo>
                <a:close/>
                <a:moveTo>
                  <a:pt x="4821996" y="7088201"/>
                </a:moveTo>
                <a:cubicBezTo>
                  <a:pt x="4816049" y="7085708"/>
                  <a:pt x="4813359" y="7061876"/>
                  <a:pt x="4807411" y="7059383"/>
                </a:cubicBezTo>
                <a:cubicBezTo>
                  <a:pt x="4810411" y="7111236"/>
                  <a:pt x="4798722" y="7146837"/>
                  <a:pt x="4802498" y="7173263"/>
                </a:cubicBezTo>
                <a:cubicBezTo>
                  <a:pt x="4805705" y="7195999"/>
                  <a:pt x="4806015" y="7254236"/>
                  <a:pt x="4805963" y="7287243"/>
                </a:cubicBezTo>
                <a:cubicBezTo>
                  <a:pt x="4808445" y="7289537"/>
                  <a:pt x="4812015" y="7284949"/>
                  <a:pt x="4812221" y="7301602"/>
                </a:cubicBezTo>
                <a:cubicBezTo>
                  <a:pt x="4809273" y="7356448"/>
                  <a:pt x="4811032" y="7409700"/>
                  <a:pt x="4811290" y="7443904"/>
                </a:cubicBezTo>
                <a:cubicBezTo>
                  <a:pt x="4811548" y="7478407"/>
                  <a:pt x="4807566" y="7550205"/>
                  <a:pt x="4814859" y="7543623"/>
                </a:cubicBezTo>
                <a:cubicBezTo>
                  <a:pt x="4816049" y="7543623"/>
                  <a:pt x="4817341" y="7532155"/>
                  <a:pt x="4814962" y="7529363"/>
                </a:cubicBezTo>
                <a:cubicBezTo>
                  <a:pt x="4818428" y="7444801"/>
                  <a:pt x="4816566" y="7322444"/>
                  <a:pt x="4821013" y="7244762"/>
                </a:cubicBezTo>
                <a:cubicBezTo>
                  <a:pt x="4817083" y="7242469"/>
                  <a:pt x="4820031" y="7196498"/>
                  <a:pt x="4817135" y="7187722"/>
                </a:cubicBezTo>
                <a:cubicBezTo>
                  <a:pt x="4822669" y="7148932"/>
                  <a:pt x="4818375" y="7127093"/>
                  <a:pt x="4821996" y="7088201"/>
                </a:cubicBezTo>
                <a:close/>
                <a:moveTo>
                  <a:pt x="4822979" y="7913983"/>
                </a:moveTo>
                <a:cubicBezTo>
                  <a:pt x="4820652" y="7910891"/>
                  <a:pt x="4819772" y="7898127"/>
                  <a:pt x="4818944" y="7885463"/>
                </a:cubicBezTo>
                <a:cubicBezTo>
                  <a:pt x="4817652" y="7831813"/>
                  <a:pt x="4821945" y="7817553"/>
                  <a:pt x="4821790" y="7771683"/>
                </a:cubicBezTo>
                <a:cubicBezTo>
                  <a:pt x="4815738" y="7783250"/>
                  <a:pt x="4816462" y="7751440"/>
                  <a:pt x="4811342" y="7757123"/>
                </a:cubicBezTo>
                <a:cubicBezTo>
                  <a:pt x="4814445" y="7819748"/>
                  <a:pt x="4805601" y="7823438"/>
                  <a:pt x="4804463" y="7842384"/>
                </a:cubicBezTo>
                <a:cubicBezTo>
                  <a:pt x="4802550" y="7873997"/>
                  <a:pt x="4804256" y="7912088"/>
                  <a:pt x="4801618" y="7956165"/>
                </a:cubicBezTo>
                <a:cubicBezTo>
                  <a:pt x="4800739" y="7988972"/>
                  <a:pt x="4807618" y="7972120"/>
                  <a:pt x="4807670" y="7999045"/>
                </a:cubicBezTo>
                <a:cubicBezTo>
                  <a:pt x="4807464" y="8018590"/>
                  <a:pt x="4808445" y="8030357"/>
                  <a:pt x="4809480" y="8041824"/>
                </a:cubicBezTo>
                <a:cubicBezTo>
                  <a:pt x="4806997" y="8092881"/>
                  <a:pt x="4810980" y="8137056"/>
                  <a:pt x="4810669" y="8184224"/>
                </a:cubicBezTo>
                <a:cubicBezTo>
                  <a:pt x="4810721" y="8180136"/>
                  <a:pt x="4808704" y="8192801"/>
                  <a:pt x="4808445" y="8198385"/>
                </a:cubicBezTo>
                <a:cubicBezTo>
                  <a:pt x="4805756" y="8260111"/>
                  <a:pt x="4811032" y="8341482"/>
                  <a:pt x="4805239" y="8369106"/>
                </a:cubicBezTo>
                <a:cubicBezTo>
                  <a:pt x="4802446" y="8368806"/>
                  <a:pt x="4803480" y="8344076"/>
                  <a:pt x="4801205" y="8340486"/>
                </a:cubicBezTo>
                <a:cubicBezTo>
                  <a:pt x="4801101" y="8354845"/>
                  <a:pt x="4797378" y="8358236"/>
                  <a:pt x="4796963" y="8340386"/>
                </a:cubicBezTo>
                <a:cubicBezTo>
                  <a:pt x="4794946" y="8268787"/>
                  <a:pt x="4803171" y="8216433"/>
                  <a:pt x="4798051" y="8169565"/>
                </a:cubicBezTo>
                <a:cubicBezTo>
                  <a:pt x="4792412" y="8159594"/>
                  <a:pt x="4793757" y="8198883"/>
                  <a:pt x="4791429" y="8212046"/>
                </a:cubicBezTo>
                <a:cubicBezTo>
                  <a:pt x="4790396" y="8286736"/>
                  <a:pt x="4796861" y="8339389"/>
                  <a:pt x="4792361" y="8397126"/>
                </a:cubicBezTo>
                <a:cubicBezTo>
                  <a:pt x="4800843" y="8388052"/>
                  <a:pt x="4798051" y="8451374"/>
                  <a:pt x="4798051" y="8496946"/>
                </a:cubicBezTo>
                <a:cubicBezTo>
                  <a:pt x="4800480" y="8503927"/>
                  <a:pt x="4802756" y="8512304"/>
                  <a:pt x="4804205" y="8525566"/>
                </a:cubicBezTo>
                <a:cubicBezTo>
                  <a:pt x="4805498" y="8564457"/>
                  <a:pt x="4799808" y="8554086"/>
                  <a:pt x="4799601" y="8582406"/>
                </a:cubicBezTo>
                <a:cubicBezTo>
                  <a:pt x="4802033" y="8584799"/>
                  <a:pt x="4801722" y="8604943"/>
                  <a:pt x="4801412" y="8625186"/>
                </a:cubicBezTo>
                <a:cubicBezTo>
                  <a:pt x="4803377" y="8644233"/>
                  <a:pt x="4806946" y="8653307"/>
                  <a:pt x="4807359" y="8682226"/>
                </a:cubicBezTo>
                <a:cubicBezTo>
                  <a:pt x="4802291" y="8713439"/>
                  <a:pt x="4807515" y="8739067"/>
                  <a:pt x="4813307" y="8739366"/>
                </a:cubicBezTo>
                <a:cubicBezTo>
                  <a:pt x="4817289" y="8692099"/>
                  <a:pt x="4812636" y="8676243"/>
                  <a:pt x="4814135" y="8611325"/>
                </a:cubicBezTo>
                <a:cubicBezTo>
                  <a:pt x="4811652" y="8609031"/>
                  <a:pt x="4808135" y="8613619"/>
                  <a:pt x="4807876" y="8596966"/>
                </a:cubicBezTo>
                <a:cubicBezTo>
                  <a:pt x="4815738" y="8595670"/>
                  <a:pt x="4810721" y="8539925"/>
                  <a:pt x="4810566" y="8511605"/>
                </a:cubicBezTo>
                <a:cubicBezTo>
                  <a:pt x="4810152" y="8452670"/>
                  <a:pt x="4812946" y="8429137"/>
                  <a:pt x="4813411" y="8397824"/>
                </a:cubicBezTo>
                <a:cubicBezTo>
                  <a:pt x="4813928" y="8364817"/>
                  <a:pt x="4813876" y="8309573"/>
                  <a:pt x="4814031" y="8298204"/>
                </a:cubicBezTo>
                <a:cubicBezTo>
                  <a:pt x="4814186" y="8288631"/>
                  <a:pt x="4816255" y="8283247"/>
                  <a:pt x="4816255" y="8284045"/>
                </a:cubicBezTo>
                <a:cubicBezTo>
                  <a:pt x="4816618" y="8265895"/>
                  <a:pt x="4813876" y="8264599"/>
                  <a:pt x="4814445" y="8241264"/>
                </a:cubicBezTo>
                <a:cubicBezTo>
                  <a:pt x="4814962" y="8220023"/>
                  <a:pt x="4816928" y="8215936"/>
                  <a:pt x="4816928" y="8184325"/>
                </a:cubicBezTo>
                <a:cubicBezTo>
                  <a:pt x="4816928" y="8157698"/>
                  <a:pt x="4815118" y="8137955"/>
                  <a:pt x="4815273" y="8113124"/>
                </a:cubicBezTo>
                <a:cubicBezTo>
                  <a:pt x="4815376" y="8094974"/>
                  <a:pt x="4817341" y="8084604"/>
                  <a:pt x="4817755" y="8056284"/>
                </a:cubicBezTo>
                <a:cubicBezTo>
                  <a:pt x="4818221" y="8022678"/>
                  <a:pt x="4817135" y="8003432"/>
                  <a:pt x="4816204" y="7970823"/>
                </a:cubicBezTo>
                <a:cubicBezTo>
                  <a:pt x="4819048" y="7974313"/>
                  <a:pt x="4817445" y="7950581"/>
                  <a:pt x="4818583" y="7942304"/>
                </a:cubicBezTo>
                <a:cubicBezTo>
                  <a:pt x="4819876" y="7932830"/>
                  <a:pt x="4824582" y="7944298"/>
                  <a:pt x="4822979" y="7913983"/>
                </a:cubicBezTo>
                <a:close/>
                <a:moveTo>
                  <a:pt x="4823651" y="5849779"/>
                </a:moveTo>
                <a:cubicBezTo>
                  <a:pt x="4815480" y="5826743"/>
                  <a:pt x="4822513" y="5911306"/>
                  <a:pt x="4816980" y="5906619"/>
                </a:cubicBezTo>
                <a:cubicBezTo>
                  <a:pt x="4816720" y="5890066"/>
                  <a:pt x="4813721" y="5891063"/>
                  <a:pt x="4810721" y="5892259"/>
                </a:cubicBezTo>
                <a:cubicBezTo>
                  <a:pt x="4813152" y="5844792"/>
                  <a:pt x="4808084" y="5845490"/>
                  <a:pt x="4802550" y="5849380"/>
                </a:cubicBezTo>
                <a:cubicBezTo>
                  <a:pt x="4803067" y="5886576"/>
                  <a:pt x="4804308" y="5929356"/>
                  <a:pt x="4803998" y="5949100"/>
                </a:cubicBezTo>
                <a:cubicBezTo>
                  <a:pt x="4803843" y="5959470"/>
                  <a:pt x="4801774" y="5963061"/>
                  <a:pt x="4801774" y="5963260"/>
                </a:cubicBezTo>
                <a:cubicBezTo>
                  <a:pt x="4801101" y="5990185"/>
                  <a:pt x="4804101" y="5994773"/>
                  <a:pt x="4803532" y="6020201"/>
                </a:cubicBezTo>
                <a:cubicBezTo>
                  <a:pt x="4803532" y="6019004"/>
                  <a:pt x="4801670" y="6026682"/>
                  <a:pt x="4801308" y="6034360"/>
                </a:cubicBezTo>
                <a:cubicBezTo>
                  <a:pt x="4800946" y="6043336"/>
                  <a:pt x="4801463" y="6053806"/>
                  <a:pt x="4801101" y="6062781"/>
                </a:cubicBezTo>
                <a:cubicBezTo>
                  <a:pt x="4800067" y="6088508"/>
                  <a:pt x="4799239" y="6096387"/>
                  <a:pt x="4800843" y="6105461"/>
                </a:cubicBezTo>
                <a:cubicBezTo>
                  <a:pt x="4801256" y="6107854"/>
                  <a:pt x="4800636" y="6129692"/>
                  <a:pt x="4800636" y="6133881"/>
                </a:cubicBezTo>
                <a:cubicBezTo>
                  <a:pt x="4800895" y="6157216"/>
                  <a:pt x="4800480" y="6165194"/>
                  <a:pt x="4802498" y="6176661"/>
                </a:cubicBezTo>
                <a:cubicBezTo>
                  <a:pt x="4804980" y="6190821"/>
                  <a:pt x="4800429" y="6248359"/>
                  <a:pt x="4806326" y="6233700"/>
                </a:cubicBezTo>
                <a:cubicBezTo>
                  <a:pt x="4810360" y="6203287"/>
                  <a:pt x="4806532" y="6140563"/>
                  <a:pt x="4815118" y="6176960"/>
                </a:cubicBezTo>
                <a:cubicBezTo>
                  <a:pt x="4817962" y="6086116"/>
                  <a:pt x="4807876" y="6028377"/>
                  <a:pt x="4816410" y="5977719"/>
                </a:cubicBezTo>
                <a:cubicBezTo>
                  <a:pt x="4817341" y="5994572"/>
                  <a:pt x="4818428" y="6010029"/>
                  <a:pt x="4820342" y="6020499"/>
                </a:cubicBezTo>
                <a:cubicBezTo>
                  <a:pt x="4820806" y="5958573"/>
                  <a:pt x="4820600" y="5892460"/>
                  <a:pt x="4823651" y="5849779"/>
                </a:cubicBezTo>
                <a:close/>
                <a:moveTo>
                  <a:pt x="4825255" y="5000663"/>
                </a:moveTo>
                <a:lnTo>
                  <a:pt x="4825255" y="4965362"/>
                </a:lnTo>
                <a:cubicBezTo>
                  <a:pt x="4821996" y="4964166"/>
                  <a:pt x="4815997" y="4980420"/>
                  <a:pt x="4816824" y="4952698"/>
                </a:cubicBezTo>
                <a:cubicBezTo>
                  <a:pt x="4818479" y="4919191"/>
                  <a:pt x="4815634" y="4885486"/>
                  <a:pt x="4815376" y="4852978"/>
                </a:cubicBezTo>
                <a:cubicBezTo>
                  <a:pt x="4815014" y="4811395"/>
                  <a:pt x="4822461" y="4757545"/>
                  <a:pt x="4809584" y="4767418"/>
                </a:cubicBezTo>
                <a:cubicBezTo>
                  <a:pt x="4812790" y="4854772"/>
                  <a:pt x="4806584" y="4910317"/>
                  <a:pt x="4812221" y="5009538"/>
                </a:cubicBezTo>
                <a:cubicBezTo>
                  <a:pt x="4818687" y="5019809"/>
                  <a:pt x="4821738" y="4988995"/>
                  <a:pt x="4825255" y="5000663"/>
                </a:cubicBezTo>
                <a:close/>
                <a:moveTo>
                  <a:pt x="4825255" y="7006232"/>
                </a:moveTo>
                <a:lnTo>
                  <a:pt x="4825255" y="6559686"/>
                </a:lnTo>
                <a:cubicBezTo>
                  <a:pt x="4824685" y="6559686"/>
                  <a:pt x="4824065" y="6560184"/>
                  <a:pt x="4823289" y="6561579"/>
                </a:cubicBezTo>
                <a:cubicBezTo>
                  <a:pt x="4824995" y="6621513"/>
                  <a:pt x="4821479" y="6671771"/>
                  <a:pt x="4824582" y="6689721"/>
                </a:cubicBezTo>
                <a:cubicBezTo>
                  <a:pt x="4826910" y="6703182"/>
                  <a:pt x="4822203" y="6753142"/>
                  <a:pt x="4821996" y="6760822"/>
                </a:cubicBezTo>
                <a:cubicBezTo>
                  <a:pt x="4821273" y="6788543"/>
                  <a:pt x="4823807" y="6831422"/>
                  <a:pt x="4819256" y="6860442"/>
                </a:cubicBezTo>
                <a:cubicBezTo>
                  <a:pt x="4814652" y="6862734"/>
                  <a:pt x="4818635" y="6809883"/>
                  <a:pt x="4817600" y="6789241"/>
                </a:cubicBezTo>
                <a:cubicBezTo>
                  <a:pt x="4807980" y="6786848"/>
                  <a:pt x="4809377" y="6777275"/>
                  <a:pt x="4800688" y="6788842"/>
                </a:cubicBezTo>
                <a:cubicBezTo>
                  <a:pt x="4796188" y="6832321"/>
                  <a:pt x="4802911" y="6863034"/>
                  <a:pt x="4797842" y="6902623"/>
                </a:cubicBezTo>
                <a:cubicBezTo>
                  <a:pt x="4801825" y="6939121"/>
                  <a:pt x="4811652" y="6953081"/>
                  <a:pt x="4805549" y="7016702"/>
                </a:cubicBezTo>
                <a:cubicBezTo>
                  <a:pt x="4810566" y="7006133"/>
                  <a:pt x="4815273" y="7032260"/>
                  <a:pt x="4818221" y="7017002"/>
                </a:cubicBezTo>
                <a:cubicBezTo>
                  <a:pt x="4819669" y="7009324"/>
                  <a:pt x="4817341" y="6969635"/>
                  <a:pt x="4820600" y="6974421"/>
                </a:cubicBezTo>
                <a:cubicBezTo>
                  <a:pt x="4823082" y="6979009"/>
                  <a:pt x="4822669" y="7002045"/>
                  <a:pt x="4825255" y="7006232"/>
                </a:cubicBezTo>
                <a:close/>
                <a:moveTo>
                  <a:pt x="4829044" y="10750914"/>
                </a:moveTo>
                <a:cubicBezTo>
                  <a:pt x="4829077" y="10740189"/>
                  <a:pt x="4828788" y="10727515"/>
                  <a:pt x="4828468" y="10714583"/>
                </a:cubicBezTo>
                <a:lnTo>
                  <a:pt x="4827892" y="10685908"/>
                </a:lnTo>
                <a:lnTo>
                  <a:pt x="4825203" y="10831493"/>
                </a:lnTo>
                <a:cubicBezTo>
                  <a:pt x="4825255" y="10817831"/>
                  <a:pt x="4827426" y="10815437"/>
                  <a:pt x="4827479" y="10803969"/>
                </a:cubicBezTo>
                <a:cubicBezTo>
                  <a:pt x="4827633" y="10782131"/>
                  <a:pt x="4825048" y="10789310"/>
                  <a:pt x="4827686" y="10775550"/>
                </a:cubicBezTo>
                <a:cubicBezTo>
                  <a:pt x="4828655" y="10770414"/>
                  <a:pt x="4829011" y="10761639"/>
                  <a:pt x="4829044" y="10750914"/>
                </a:cubicBezTo>
                <a:close/>
                <a:moveTo>
                  <a:pt x="4838702" y="11048185"/>
                </a:moveTo>
                <a:cubicBezTo>
                  <a:pt x="4834512" y="11048084"/>
                  <a:pt x="4830323" y="11048084"/>
                  <a:pt x="4826185" y="11047985"/>
                </a:cubicBezTo>
                <a:cubicBezTo>
                  <a:pt x="4826082" y="11052173"/>
                  <a:pt x="4825978" y="11056460"/>
                  <a:pt x="4825824" y="11060149"/>
                </a:cubicBezTo>
                <a:cubicBezTo>
                  <a:pt x="4822928" y="11074610"/>
                  <a:pt x="4817910" y="11073911"/>
                  <a:pt x="4815065" y="11088371"/>
                </a:cubicBezTo>
                <a:cubicBezTo>
                  <a:pt x="4812894" y="11127661"/>
                  <a:pt x="4818531" y="11221995"/>
                  <a:pt x="4809997" y="11216312"/>
                </a:cubicBezTo>
                <a:cubicBezTo>
                  <a:pt x="4809945" y="11146508"/>
                  <a:pt x="4814393" y="11108714"/>
                  <a:pt x="4813307" y="11031331"/>
                </a:cubicBezTo>
                <a:lnTo>
                  <a:pt x="4806997" y="11031131"/>
                </a:lnTo>
                <a:cubicBezTo>
                  <a:pt x="4803584" y="11024650"/>
                  <a:pt x="4803015" y="11108613"/>
                  <a:pt x="4806532" y="11102331"/>
                </a:cubicBezTo>
                <a:cubicBezTo>
                  <a:pt x="4806687" y="11133245"/>
                  <a:pt x="4798981" y="11108514"/>
                  <a:pt x="4795877" y="11116293"/>
                </a:cubicBezTo>
                <a:cubicBezTo>
                  <a:pt x="4797895" y="11076104"/>
                  <a:pt x="4793137" y="11079396"/>
                  <a:pt x="4794223" y="11045092"/>
                </a:cubicBezTo>
                <a:cubicBezTo>
                  <a:pt x="4797326" y="11045292"/>
                  <a:pt x="4795361" y="11015974"/>
                  <a:pt x="4796602" y="11002412"/>
                </a:cubicBezTo>
                <a:cubicBezTo>
                  <a:pt x="4797016" y="10998124"/>
                  <a:pt x="4800274" y="11006300"/>
                  <a:pt x="4800843" y="11002512"/>
                </a:cubicBezTo>
                <a:cubicBezTo>
                  <a:pt x="4802704" y="10990446"/>
                  <a:pt x="4800636" y="10951555"/>
                  <a:pt x="4803326" y="10945672"/>
                </a:cubicBezTo>
                <a:cubicBezTo>
                  <a:pt x="4802239" y="10902991"/>
                  <a:pt x="4798722" y="10959233"/>
                  <a:pt x="4794895" y="10945471"/>
                </a:cubicBezTo>
                <a:cubicBezTo>
                  <a:pt x="4793343" y="10899502"/>
                  <a:pt x="4801929" y="10925627"/>
                  <a:pt x="4803636" y="10902991"/>
                </a:cubicBezTo>
                <a:cubicBezTo>
                  <a:pt x="4806326" y="10858416"/>
                  <a:pt x="4803273" y="10865396"/>
                  <a:pt x="4806222" y="10831891"/>
                </a:cubicBezTo>
                <a:lnTo>
                  <a:pt x="4814652" y="10832091"/>
                </a:lnTo>
                <a:cubicBezTo>
                  <a:pt x="4817445" y="10850439"/>
                  <a:pt x="4815532" y="10899401"/>
                  <a:pt x="4818324" y="10917651"/>
                </a:cubicBezTo>
                <a:cubicBezTo>
                  <a:pt x="4827013" y="10906481"/>
                  <a:pt x="4817600" y="10859115"/>
                  <a:pt x="4823082" y="10832390"/>
                </a:cubicBezTo>
                <a:cubicBezTo>
                  <a:pt x="4822979" y="10801277"/>
                  <a:pt x="4817962" y="10801677"/>
                  <a:pt x="4812738" y="10803670"/>
                </a:cubicBezTo>
                <a:cubicBezTo>
                  <a:pt x="4813928" y="10792202"/>
                  <a:pt x="4815065" y="10780635"/>
                  <a:pt x="4815118" y="10760990"/>
                </a:cubicBezTo>
                <a:cubicBezTo>
                  <a:pt x="4814755" y="10731472"/>
                  <a:pt x="4805860" y="10756901"/>
                  <a:pt x="4804722" y="10732270"/>
                </a:cubicBezTo>
                <a:cubicBezTo>
                  <a:pt x="4806687" y="10680417"/>
                  <a:pt x="4811497" y="10733766"/>
                  <a:pt x="4819617" y="10718409"/>
                </a:cubicBezTo>
                <a:cubicBezTo>
                  <a:pt x="4829496" y="10710532"/>
                  <a:pt x="4819979" y="10651498"/>
                  <a:pt x="4828513" y="10647408"/>
                </a:cubicBezTo>
                <a:cubicBezTo>
                  <a:pt x="4827789" y="10654613"/>
                  <a:pt x="4827618" y="10664940"/>
                  <a:pt x="4827707" y="10676700"/>
                </a:cubicBezTo>
                <a:lnTo>
                  <a:pt x="4827892" y="10685908"/>
                </a:lnTo>
                <a:lnTo>
                  <a:pt x="4831668" y="10481474"/>
                </a:lnTo>
                <a:cubicBezTo>
                  <a:pt x="4830582" y="10505906"/>
                  <a:pt x="4828151" y="10533529"/>
                  <a:pt x="4829134" y="10560952"/>
                </a:cubicBezTo>
                <a:cubicBezTo>
                  <a:pt x="4827479" y="10553473"/>
                  <a:pt x="4825772" y="10546094"/>
                  <a:pt x="4822875" y="10546591"/>
                </a:cubicBezTo>
                <a:cubicBezTo>
                  <a:pt x="4819617" y="10568032"/>
                  <a:pt x="4819100" y="10609017"/>
                  <a:pt x="4818014" y="10646112"/>
                </a:cubicBezTo>
                <a:lnTo>
                  <a:pt x="4809584" y="10645914"/>
                </a:lnTo>
                <a:cubicBezTo>
                  <a:pt x="4808549" y="10634446"/>
                  <a:pt x="4807464" y="10622777"/>
                  <a:pt x="4807722" y="10603233"/>
                </a:cubicBezTo>
                <a:cubicBezTo>
                  <a:pt x="4807825" y="10591366"/>
                  <a:pt x="4809945" y="10572718"/>
                  <a:pt x="4809997" y="10574813"/>
                </a:cubicBezTo>
                <a:cubicBezTo>
                  <a:pt x="4809739" y="10550980"/>
                  <a:pt x="4803792" y="10535024"/>
                  <a:pt x="4808239" y="10517872"/>
                </a:cubicBezTo>
                <a:cubicBezTo>
                  <a:pt x="4812015" y="10509796"/>
                  <a:pt x="4820548" y="10535423"/>
                  <a:pt x="4821013" y="10504011"/>
                </a:cubicBezTo>
                <a:cubicBezTo>
                  <a:pt x="4822669" y="10429220"/>
                  <a:pt x="4808704" y="10518670"/>
                  <a:pt x="4808549" y="10475192"/>
                </a:cubicBezTo>
                <a:cubicBezTo>
                  <a:pt x="4809997" y="10415859"/>
                  <a:pt x="4819410" y="10458240"/>
                  <a:pt x="4825306" y="10460135"/>
                </a:cubicBezTo>
                <a:lnTo>
                  <a:pt x="4825306" y="10322920"/>
                </a:lnTo>
                <a:cubicBezTo>
                  <a:pt x="4823341" y="10304671"/>
                  <a:pt x="4821117" y="10291608"/>
                  <a:pt x="4818324" y="10276151"/>
                </a:cubicBezTo>
                <a:cubicBezTo>
                  <a:pt x="4820755" y="10238756"/>
                  <a:pt x="4821427" y="10188896"/>
                  <a:pt x="4821375" y="10133851"/>
                </a:cubicBezTo>
                <a:cubicBezTo>
                  <a:pt x="4822307" y="10140732"/>
                  <a:pt x="4823703" y="10144322"/>
                  <a:pt x="4825358" y="10146415"/>
                </a:cubicBezTo>
                <a:lnTo>
                  <a:pt x="4825358" y="10073720"/>
                </a:lnTo>
                <a:cubicBezTo>
                  <a:pt x="4824428" y="10076911"/>
                  <a:pt x="4823341" y="10078905"/>
                  <a:pt x="4821738" y="10077010"/>
                </a:cubicBezTo>
                <a:cubicBezTo>
                  <a:pt x="4822669" y="10017977"/>
                  <a:pt x="4819307" y="10021466"/>
                  <a:pt x="4822359" y="9977390"/>
                </a:cubicBezTo>
                <a:cubicBezTo>
                  <a:pt x="4822099" y="9960736"/>
                  <a:pt x="4818583" y="9965324"/>
                  <a:pt x="4816100" y="9963030"/>
                </a:cubicBezTo>
                <a:cubicBezTo>
                  <a:pt x="4817135" y="9945579"/>
                  <a:pt x="4818996" y="9933912"/>
                  <a:pt x="4822617" y="9934710"/>
                </a:cubicBezTo>
                <a:cubicBezTo>
                  <a:pt x="4822565" y="9899608"/>
                  <a:pt x="4822720" y="9866103"/>
                  <a:pt x="4825255" y="9849350"/>
                </a:cubicBezTo>
                <a:lnTo>
                  <a:pt x="4825255" y="9749031"/>
                </a:lnTo>
                <a:cubicBezTo>
                  <a:pt x="4824737" y="9749331"/>
                  <a:pt x="4824272" y="9749530"/>
                  <a:pt x="4823755" y="9749629"/>
                </a:cubicBezTo>
                <a:cubicBezTo>
                  <a:pt x="4821686" y="9736367"/>
                  <a:pt x="4823807" y="9717719"/>
                  <a:pt x="4825255" y="9701165"/>
                </a:cubicBezTo>
                <a:lnTo>
                  <a:pt x="4825255" y="9671847"/>
                </a:lnTo>
                <a:cubicBezTo>
                  <a:pt x="4824013" y="9666263"/>
                  <a:pt x="4822307" y="9660280"/>
                  <a:pt x="4822203" y="9664169"/>
                </a:cubicBezTo>
                <a:cubicBezTo>
                  <a:pt x="4822410" y="9655892"/>
                  <a:pt x="4823807" y="9651705"/>
                  <a:pt x="4825255" y="9648314"/>
                </a:cubicBezTo>
                <a:lnTo>
                  <a:pt x="4825255" y="9547997"/>
                </a:lnTo>
                <a:cubicBezTo>
                  <a:pt x="4823238" y="9549691"/>
                  <a:pt x="4823962" y="9571131"/>
                  <a:pt x="4822772" y="9578809"/>
                </a:cubicBezTo>
                <a:cubicBezTo>
                  <a:pt x="4821996" y="9583496"/>
                  <a:pt x="4819256" y="9574023"/>
                  <a:pt x="4818531" y="9578710"/>
                </a:cubicBezTo>
                <a:cubicBezTo>
                  <a:pt x="4817859" y="9582798"/>
                  <a:pt x="4819048" y="9603938"/>
                  <a:pt x="4818324" y="9607129"/>
                </a:cubicBezTo>
                <a:cubicBezTo>
                  <a:pt x="4816307" y="9616104"/>
                  <a:pt x="4811601" y="9596659"/>
                  <a:pt x="4811911" y="9621190"/>
                </a:cubicBezTo>
                <a:cubicBezTo>
                  <a:pt x="4810721" y="9651505"/>
                  <a:pt x="4814755" y="9648415"/>
                  <a:pt x="4818066" y="9649810"/>
                </a:cubicBezTo>
                <a:cubicBezTo>
                  <a:pt x="4814859" y="9684911"/>
                  <a:pt x="4810618" y="9674740"/>
                  <a:pt x="4805291" y="9663671"/>
                </a:cubicBezTo>
                <a:cubicBezTo>
                  <a:pt x="4807515" y="9644823"/>
                  <a:pt x="4803636" y="9604636"/>
                  <a:pt x="4803532" y="9606730"/>
                </a:cubicBezTo>
                <a:cubicBezTo>
                  <a:pt x="4804152" y="9591274"/>
                  <a:pt x="4807774" y="9597258"/>
                  <a:pt x="4807929" y="9578410"/>
                </a:cubicBezTo>
                <a:cubicBezTo>
                  <a:pt x="4805549" y="9529248"/>
                  <a:pt x="4802911" y="9522666"/>
                  <a:pt x="4806635" y="9450270"/>
                </a:cubicBezTo>
                <a:cubicBezTo>
                  <a:pt x="4809066" y="9452663"/>
                  <a:pt x="4808239" y="9476297"/>
                  <a:pt x="4808445" y="9493050"/>
                </a:cubicBezTo>
                <a:cubicBezTo>
                  <a:pt x="4809945" y="9507011"/>
                  <a:pt x="4810825" y="9521769"/>
                  <a:pt x="4812377" y="9535830"/>
                </a:cubicBezTo>
                <a:cubicBezTo>
                  <a:pt x="4813928" y="9549691"/>
                  <a:pt x="4811290" y="9558765"/>
                  <a:pt x="4814290" y="9564349"/>
                </a:cubicBezTo>
                <a:cubicBezTo>
                  <a:pt x="4815583" y="9566744"/>
                  <a:pt x="4817187" y="9562654"/>
                  <a:pt x="4818531" y="9564450"/>
                </a:cubicBezTo>
                <a:cubicBezTo>
                  <a:pt x="4820393" y="9563751"/>
                  <a:pt x="4819048" y="9513492"/>
                  <a:pt x="4819152" y="9464829"/>
                </a:cubicBezTo>
                <a:cubicBezTo>
                  <a:pt x="4819256" y="9426137"/>
                  <a:pt x="4820237" y="9377774"/>
                  <a:pt x="4819979" y="9336689"/>
                </a:cubicBezTo>
                <a:cubicBezTo>
                  <a:pt x="4819824" y="9311459"/>
                  <a:pt x="4818066" y="9306474"/>
                  <a:pt x="4818221" y="9279748"/>
                </a:cubicBezTo>
                <a:cubicBezTo>
                  <a:pt x="4818790" y="9189802"/>
                  <a:pt x="4823651" y="9100453"/>
                  <a:pt x="4822099" y="9009308"/>
                </a:cubicBezTo>
                <a:cubicBezTo>
                  <a:pt x="4814083" y="9002228"/>
                  <a:pt x="4808601" y="9012997"/>
                  <a:pt x="4805032" y="9037330"/>
                </a:cubicBezTo>
                <a:cubicBezTo>
                  <a:pt x="4806067" y="9066846"/>
                  <a:pt x="4801774" y="9130767"/>
                  <a:pt x="4806480" y="9137050"/>
                </a:cubicBezTo>
                <a:cubicBezTo>
                  <a:pt x="4804670" y="9147221"/>
                  <a:pt x="4804980" y="9161680"/>
                  <a:pt x="4804101" y="9179730"/>
                </a:cubicBezTo>
                <a:cubicBezTo>
                  <a:pt x="4803843" y="9184517"/>
                  <a:pt x="4804412" y="9205358"/>
                  <a:pt x="4803894" y="9208150"/>
                </a:cubicBezTo>
                <a:cubicBezTo>
                  <a:pt x="4801360" y="9221513"/>
                  <a:pt x="4804256" y="9220914"/>
                  <a:pt x="4803636" y="9250829"/>
                </a:cubicBezTo>
                <a:cubicBezTo>
                  <a:pt x="4802963" y="9282042"/>
                  <a:pt x="4801567" y="9306773"/>
                  <a:pt x="4800791" y="9364610"/>
                </a:cubicBezTo>
                <a:cubicBezTo>
                  <a:pt x="4800480" y="9387147"/>
                  <a:pt x="4801463" y="9418858"/>
                  <a:pt x="4798308" y="9421452"/>
                </a:cubicBezTo>
                <a:cubicBezTo>
                  <a:pt x="4786465" y="9443390"/>
                  <a:pt x="4796602" y="9323626"/>
                  <a:pt x="4786206" y="9335792"/>
                </a:cubicBezTo>
                <a:cubicBezTo>
                  <a:pt x="4779586" y="9341575"/>
                  <a:pt x="4786051" y="9369297"/>
                  <a:pt x="4785844" y="9392731"/>
                </a:cubicBezTo>
                <a:cubicBezTo>
                  <a:pt x="4785637" y="9414969"/>
                  <a:pt x="4783465" y="9417961"/>
                  <a:pt x="4783465" y="9435412"/>
                </a:cubicBezTo>
                <a:cubicBezTo>
                  <a:pt x="4783516" y="9446481"/>
                  <a:pt x="4785224" y="9459444"/>
                  <a:pt x="4785327" y="9478092"/>
                </a:cubicBezTo>
                <a:cubicBezTo>
                  <a:pt x="4785690" y="9533836"/>
                  <a:pt x="4783569" y="9611219"/>
                  <a:pt x="4784034" y="9677433"/>
                </a:cubicBezTo>
                <a:cubicBezTo>
                  <a:pt x="4784137" y="9692090"/>
                  <a:pt x="4785844" y="9733275"/>
                  <a:pt x="4785690" y="9748632"/>
                </a:cubicBezTo>
                <a:cubicBezTo>
                  <a:pt x="4785690" y="9745642"/>
                  <a:pt x="4783569" y="9754816"/>
                  <a:pt x="4783465" y="9762793"/>
                </a:cubicBezTo>
                <a:cubicBezTo>
                  <a:pt x="4782948" y="9799489"/>
                  <a:pt x="4783775" y="9898612"/>
                  <a:pt x="4780155" y="9947774"/>
                </a:cubicBezTo>
                <a:cubicBezTo>
                  <a:pt x="4775965" y="9938600"/>
                  <a:pt x="4779224" y="9881260"/>
                  <a:pt x="4774310" y="9876473"/>
                </a:cubicBezTo>
                <a:cubicBezTo>
                  <a:pt x="4770742" y="9871189"/>
                  <a:pt x="4770276" y="9887542"/>
                  <a:pt x="4769914" y="9904894"/>
                </a:cubicBezTo>
                <a:cubicBezTo>
                  <a:pt x="4763501" y="9894722"/>
                  <a:pt x="4765932" y="9894822"/>
                  <a:pt x="4759364" y="9904595"/>
                </a:cubicBezTo>
                <a:cubicBezTo>
                  <a:pt x="4761019" y="9921149"/>
                  <a:pt x="4761898" y="9942787"/>
                  <a:pt x="4761019" y="9975794"/>
                </a:cubicBezTo>
                <a:cubicBezTo>
                  <a:pt x="4768880" y="9996537"/>
                  <a:pt x="4765363" y="9936804"/>
                  <a:pt x="4771776" y="9947574"/>
                </a:cubicBezTo>
                <a:cubicBezTo>
                  <a:pt x="4770897" y="9981080"/>
                  <a:pt x="4768104" y="10000925"/>
                  <a:pt x="4769036" y="10047194"/>
                </a:cubicBezTo>
                <a:cubicBezTo>
                  <a:pt x="4765570" y="10051183"/>
                  <a:pt x="4765467" y="10033732"/>
                  <a:pt x="4762777" y="10032834"/>
                </a:cubicBezTo>
                <a:cubicBezTo>
                  <a:pt x="4758846" y="10034829"/>
                  <a:pt x="4761174" y="10080999"/>
                  <a:pt x="4758174" y="10089675"/>
                </a:cubicBezTo>
                <a:cubicBezTo>
                  <a:pt x="4753520" y="10087781"/>
                  <a:pt x="4757657" y="10029245"/>
                  <a:pt x="4756622" y="10004215"/>
                </a:cubicBezTo>
                <a:cubicBezTo>
                  <a:pt x="4747519" y="9994442"/>
                  <a:pt x="4750519" y="10070130"/>
                  <a:pt x="4749537" y="10117895"/>
                </a:cubicBezTo>
                <a:cubicBezTo>
                  <a:pt x="4758692" y="10120090"/>
                  <a:pt x="4767173" y="10078307"/>
                  <a:pt x="4768363" y="10146814"/>
                </a:cubicBezTo>
                <a:cubicBezTo>
                  <a:pt x="4771983" y="10147513"/>
                  <a:pt x="4773898" y="10136443"/>
                  <a:pt x="4774879" y="10118494"/>
                </a:cubicBezTo>
                <a:cubicBezTo>
                  <a:pt x="4779172" y="10136245"/>
                  <a:pt x="4773276" y="10219709"/>
                  <a:pt x="4784965" y="10189894"/>
                </a:cubicBezTo>
                <a:cubicBezTo>
                  <a:pt x="4785120" y="10235766"/>
                  <a:pt x="4780827" y="10250024"/>
                  <a:pt x="4782120" y="10303774"/>
                </a:cubicBezTo>
                <a:cubicBezTo>
                  <a:pt x="4775862" y="10310654"/>
                  <a:pt x="4763708" y="10221006"/>
                  <a:pt x="4763036" y="10317535"/>
                </a:cubicBezTo>
                <a:cubicBezTo>
                  <a:pt x="4758640" y="10352637"/>
                  <a:pt x="4761950" y="10233671"/>
                  <a:pt x="4763656" y="10217914"/>
                </a:cubicBezTo>
                <a:cubicBezTo>
                  <a:pt x="4763087" y="10198570"/>
                  <a:pt x="4758432" y="10205948"/>
                  <a:pt x="4755278" y="10203456"/>
                </a:cubicBezTo>
                <a:cubicBezTo>
                  <a:pt x="4753002" y="10206847"/>
                  <a:pt x="4753674" y="10231676"/>
                  <a:pt x="4750882" y="10231776"/>
                </a:cubicBezTo>
                <a:cubicBezTo>
                  <a:pt x="4749486" y="10263387"/>
                  <a:pt x="4754761" y="10252118"/>
                  <a:pt x="4754812" y="10274556"/>
                </a:cubicBezTo>
                <a:cubicBezTo>
                  <a:pt x="4757812" y="10344759"/>
                  <a:pt x="4745864" y="10428724"/>
                  <a:pt x="4758018" y="10431216"/>
                </a:cubicBezTo>
                <a:cubicBezTo>
                  <a:pt x="4764018" y="10417355"/>
                  <a:pt x="4755226" y="10393123"/>
                  <a:pt x="4760501" y="10374275"/>
                </a:cubicBezTo>
                <a:cubicBezTo>
                  <a:pt x="4765105" y="10372082"/>
                  <a:pt x="4761122" y="10424834"/>
                  <a:pt x="4762156" y="10445576"/>
                </a:cubicBezTo>
                <a:cubicBezTo>
                  <a:pt x="4767018" y="10450261"/>
                  <a:pt x="4770276" y="10443482"/>
                  <a:pt x="4772810" y="10431614"/>
                </a:cubicBezTo>
                <a:cubicBezTo>
                  <a:pt x="4772294" y="10403095"/>
                  <a:pt x="4773535" y="10387039"/>
                  <a:pt x="4777311" y="10389035"/>
                </a:cubicBezTo>
                <a:cubicBezTo>
                  <a:pt x="4776896" y="10407683"/>
                  <a:pt x="4777414" y="10427327"/>
                  <a:pt x="4776948" y="10445975"/>
                </a:cubicBezTo>
                <a:cubicBezTo>
                  <a:pt x="4776431" y="10466617"/>
                  <a:pt x="4774672" y="10472101"/>
                  <a:pt x="4774569" y="10488555"/>
                </a:cubicBezTo>
                <a:cubicBezTo>
                  <a:pt x="4774414" y="10511092"/>
                  <a:pt x="4776638" y="10513784"/>
                  <a:pt x="4776379" y="10531335"/>
                </a:cubicBezTo>
                <a:cubicBezTo>
                  <a:pt x="4775758" y="10572818"/>
                  <a:pt x="4770535" y="10697767"/>
                  <a:pt x="4772914" y="10744835"/>
                </a:cubicBezTo>
                <a:lnTo>
                  <a:pt x="4768673" y="10744736"/>
                </a:lnTo>
                <a:cubicBezTo>
                  <a:pt x="4771001" y="10799681"/>
                  <a:pt x="4767897" y="10810452"/>
                  <a:pt x="4769966" y="10872875"/>
                </a:cubicBezTo>
                <a:cubicBezTo>
                  <a:pt x="4765829" y="10884942"/>
                  <a:pt x="4765260" y="10846948"/>
                  <a:pt x="4763812" y="10844256"/>
                </a:cubicBezTo>
                <a:cubicBezTo>
                  <a:pt x="4762726" y="10842261"/>
                  <a:pt x="4759933" y="10860609"/>
                  <a:pt x="4757398" y="10858317"/>
                </a:cubicBezTo>
                <a:cubicBezTo>
                  <a:pt x="4755640" y="10856621"/>
                  <a:pt x="4755433" y="10843458"/>
                  <a:pt x="4753260" y="10843957"/>
                </a:cubicBezTo>
                <a:cubicBezTo>
                  <a:pt x="4749433" y="10844855"/>
                  <a:pt x="4745657" y="10871081"/>
                  <a:pt x="4740486" y="10857918"/>
                </a:cubicBezTo>
                <a:cubicBezTo>
                  <a:pt x="4740641" y="10902494"/>
                  <a:pt x="4738417" y="10962325"/>
                  <a:pt x="4741778" y="10986058"/>
                </a:cubicBezTo>
                <a:cubicBezTo>
                  <a:pt x="4743796" y="10975688"/>
                  <a:pt x="4745141" y="10960330"/>
                  <a:pt x="4746278" y="10943478"/>
                </a:cubicBezTo>
                <a:cubicBezTo>
                  <a:pt x="4749537" y="10943876"/>
                  <a:pt x="4750261" y="11049082"/>
                  <a:pt x="4743640" y="11028837"/>
                </a:cubicBezTo>
                <a:cubicBezTo>
                  <a:pt x="4743382" y="11062344"/>
                  <a:pt x="4747003" y="11070821"/>
                  <a:pt x="4745193" y="11114298"/>
                </a:cubicBezTo>
                <a:cubicBezTo>
                  <a:pt x="4741623" y="11108913"/>
                  <a:pt x="4741158" y="11125268"/>
                  <a:pt x="4740796" y="11142618"/>
                </a:cubicBezTo>
                <a:cubicBezTo>
                  <a:pt x="4737227" y="11137334"/>
                  <a:pt x="4736762" y="11153687"/>
                  <a:pt x="4736400" y="11171039"/>
                </a:cubicBezTo>
                <a:cubicBezTo>
                  <a:pt x="4734797" y="11169443"/>
                  <a:pt x="4732727" y="11116691"/>
                  <a:pt x="4732624" y="11099739"/>
                </a:cubicBezTo>
                <a:cubicBezTo>
                  <a:pt x="4732417" y="11067829"/>
                  <a:pt x="4732832" y="11035020"/>
                  <a:pt x="4735314" y="11014378"/>
                </a:cubicBezTo>
                <a:cubicBezTo>
                  <a:pt x="4731486" y="10987553"/>
                  <a:pt x="4730038" y="11012684"/>
                  <a:pt x="4724763" y="11014079"/>
                </a:cubicBezTo>
                <a:cubicBezTo>
                  <a:pt x="4725021" y="10988551"/>
                  <a:pt x="4727091" y="10984163"/>
                  <a:pt x="4727246" y="10957239"/>
                </a:cubicBezTo>
                <a:cubicBezTo>
                  <a:pt x="4727401" y="10931610"/>
                  <a:pt x="4725125" y="10927224"/>
                  <a:pt x="4725487" y="10900200"/>
                </a:cubicBezTo>
                <a:cubicBezTo>
                  <a:pt x="4725487" y="10902294"/>
                  <a:pt x="4727608" y="10894614"/>
                  <a:pt x="4727711" y="10886039"/>
                </a:cubicBezTo>
                <a:cubicBezTo>
                  <a:pt x="4727866" y="10874770"/>
                  <a:pt x="4728176" y="10819426"/>
                  <a:pt x="4728331" y="10786419"/>
                </a:cubicBezTo>
                <a:cubicBezTo>
                  <a:pt x="4728435" y="10756103"/>
                  <a:pt x="4726314" y="10719208"/>
                  <a:pt x="4727039" y="10658279"/>
                </a:cubicBezTo>
                <a:cubicBezTo>
                  <a:pt x="4727711" y="10603830"/>
                  <a:pt x="4733142" y="10558857"/>
                  <a:pt x="4730090" y="10515979"/>
                </a:cubicBezTo>
                <a:lnTo>
                  <a:pt x="4740641" y="10516278"/>
                </a:lnTo>
                <a:cubicBezTo>
                  <a:pt x="4737382" y="10590669"/>
                  <a:pt x="4731746" y="10716815"/>
                  <a:pt x="4736710" y="10800878"/>
                </a:cubicBezTo>
                <a:cubicBezTo>
                  <a:pt x="4740848" y="10795194"/>
                  <a:pt x="4738727" y="10745733"/>
                  <a:pt x="4745451" y="10758397"/>
                </a:cubicBezTo>
                <a:cubicBezTo>
                  <a:pt x="4745916" y="10730377"/>
                  <a:pt x="4739916" y="10687196"/>
                  <a:pt x="4745916" y="10687297"/>
                </a:cubicBezTo>
                <a:cubicBezTo>
                  <a:pt x="4749640" y="10687396"/>
                  <a:pt x="4746433" y="10653591"/>
                  <a:pt x="4746175" y="10644618"/>
                </a:cubicBezTo>
                <a:cubicBezTo>
                  <a:pt x="4748606" y="10646911"/>
                  <a:pt x="4749899" y="10641526"/>
                  <a:pt x="4750468" y="10630457"/>
                </a:cubicBezTo>
                <a:cubicBezTo>
                  <a:pt x="4758174" y="10634545"/>
                  <a:pt x="4750829" y="10661670"/>
                  <a:pt x="4752226" y="10687496"/>
                </a:cubicBezTo>
                <a:cubicBezTo>
                  <a:pt x="4753416" y="10708937"/>
                  <a:pt x="4756933" y="10687596"/>
                  <a:pt x="4758484" y="10701856"/>
                </a:cubicBezTo>
                <a:cubicBezTo>
                  <a:pt x="4760088" y="10716515"/>
                  <a:pt x="4756829" y="10756204"/>
                  <a:pt x="4758018" y="10773057"/>
                </a:cubicBezTo>
                <a:lnTo>
                  <a:pt x="4764381" y="10773255"/>
                </a:lnTo>
                <a:cubicBezTo>
                  <a:pt x="4768931" y="10749422"/>
                  <a:pt x="4766242" y="10701357"/>
                  <a:pt x="4767225" y="10659475"/>
                </a:cubicBezTo>
                <a:cubicBezTo>
                  <a:pt x="4768001" y="10627365"/>
                  <a:pt x="4771052" y="10602435"/>
                  <a:pt x="4769914" y="10574115"/>
                </a:cubicBezTo>
                <a:cubicBezTo>
                  <a:pt x="4768363" y="10520066"/>
                  <a:pt x="4761484" y="10563546"/>
                  <a:pt x="4755226" y="10559555"/>
                </a:cubicBezTo>
                <a:cubicBezTo>
                  <a:pt x="4752330" y="10563943"/>
                  <a:pt x="4753260" y="10595156"/>
                  <a:pt x="4752744" y="10616496"/>
                </a:cubicBezTo>
                <a:cubicBezTo>
                  <a:pt x="4738883" y="10569128"/>
                  <a:pt x="4758174" y="10374375"/>
                  <a:pt x="4748347" y="10317435"/>
                </a:cubicBezTo>
                <a:cubicBezTo>
                  <a:pt x="4742399" y="10314743"/>
                  <a:pt x="4750313" y="10410573"/>
                  <a:pt x="4741572" y="10388436"/>
                </a:cubicBezTo>
                <a:cubicBezTo>
                  <a:pt x="4743589" y="10353034"/>
                  <a:pt x="4744830" y="10312250"/>
                  <a:pt x="4744519" y="10260396"/>
                </a:cubicBezTo>
                <a:cubicBezTo>
                  <a:pt x="4738624" y="10248528"/>
                  <a:pt x="4738934" y="10280340"/>
                  <a:pt x="4733866" y="10274357"/>
                </a:cubicBezTo>
                <a:cubicBezTo>
                  <a:pt x="4735159" y="10253714"/>
                  <a:pt x="4731900" y="10200763"/>
                  <a:pt x="4736451" y="10203255"/>
                </a:cubicBezTo>
                <a:cubicBezTo>
                  <a:pt x="4735676" y="10180918"/>
                  <a:pt x="4729883" y="10190890"/>
                  <a:pt x="4732573" y="10146217"/>
                </a:cubicBezTo>
                <a:cubicBezTo>
                  <a:pt x="4725953" y="10139035"/>
                  <a:pt x="4724918" y="10171645"/>
                  <a:pt x="4717677" y="10160078"/>
                </a:cubicBezTo>
                <a:cubicBezTo>
                  <a:pt x="4717316" y="10127668"/>
                  <a:pt x="4718557" y="10106627"/>
                  <a:pt x="4722281" y="10103236"/>
                </a:cubicBezTo>
                <a:cubicBezTo>
                  <a:pt x="4729263" y="10085886"/>
                  <a:pt x="4723625" y="10149408"/>
                  <a:pt x="4730556" y="10131956"/>
                </a:cubicBezTo>
                <a:cubicBezTo>
                  <a:pt x="4729883" y="10133153"/>
                  <a:pt x="4736865" y="10096057"/>
                  <a:pt x="4737176" y="10089476"/>
                </a:cubicBezTo>
                <a:cubicBezTo>
                  <a:pt x="4737900" y="10074218"/>
                  <a:pt x="4733193" y="10066839"/>
                  <a:pt x="4733142" y="10060856"/>
                </a:cubicBezTo>
                <a:cubicBezTo>
                  <a:pt x="4732727" y="10032037"/>
                  <a:pt x="4739761" y="10035726"/>
                  <a:pt x="4735779" y="9975496"/>
                </a:cubicBezTo>
                <a:cubicBezTo>
                  <a:pt x="4733296" y="9941092"/>
                  <a:pt x="4740692" y="9949270"/>
                  <a:pt x="4742399" y="9932915"/>
                </a:cubicBezTo>
                <a:cubicBezTo>
                  <a:pt x="4742968" y="9927829"/>
                  <a:pt x="4741882" y="9908184"/>
                  <a:pt x="4742606" y="9904495"/>
                </a:cubicBezTo>
                <a:cubicBezTo>
                  <a:pt x="4745606" y="9888539"/>
                  <a:pt x="4743330" y="9874380"/>
                  <a:pt x="4745089" y="9847554"/>
                </a:cubicBezTo>
                <a:cubicBezTo>
                  <a:pt x="4745864" y="9835489"/>
                  <a:pt x="4748864" y="9838281"/>
                  <a:pt x="4749486" y="9819135"/>
                </a:cubicBezTo>
                <a:cubicBezTo>
                  <a:pt x="4751295" y="9764387"/>
                  <a:pt x="4746796" y="9743348"/>
                  <a:pt x="4748295" y="9676735"/>
                </a:cubicBezTo>
                <a:cubicBezTo>
                  <a:pt x="4748606" y="9663372"/>
                  <a:pt x="4751864" y="9652004"/>
                  <a:pt x="4748502" y="9648314"/>
                </a:cubicBezTo>
                <a:cubicBezTo>
                  <a:pt x="4749227" y="9611617"/>
                  <a:pt x="4752019" y="9667959"/>
                  <a:pt x="4756933" y="9648513"/>
                </a:cubicBezTo>
                <a:cubicBezTo>
                  <a:pt x="4759829" y="9631561"/>
                  <a:pt x="4760294" y="9643128"/>
                  <a:pt x="4763295" y="9648713"/>
                </a:cubicBezTo>
                <a:cubicBezTo>
                  <a:pt x="4762053" y="9709343"/>
                  <a:pt x="4764381" y="9795401"/>
                  <a:pt x="4759984" y="9833693"/>
                </a:cubicBezTo>
                <a:cubicBezTo>
                  <a:pt x="4759104" y="9866502"/>
                  <a:pt x="4765984" y="9849650"/>
                  <a:pt x="4766035" y="9876573"/>
                </a:cubicBezTo>
                <a:cubicBezTo>
                  <a:pt x="4768155" y="9881758"/>
                  <a:pt x="4769552" y="9849249"/>
                  <a:pt x="4770432" y="9848253"/>
                </a:cubicBezTo>
                <a:cubicBezTo>
                  <a:pt x="4771259" y="9847255"/>
                  <a:pt x="4773587" y="9868695"/>
                  <a:pt x="4774569" y="9862612"/>
                </a:cubicBezTo>
                <a:cubicBezTo>
                  <a:pt x="4779430" y="9832397"/>
                  <a:pt x="4779121" y="9770271"/>
                  <a:pt x="4779897" y="9691892"/>
                </a:cubicBezTo>
                <a:cubicBezTo>
                  <a:pt x="4778448" y="9678529"/>
                  <a:pt x="4776173" y="9670252"/>
                  <a:pt x="4773742" y="9663272"/>
                </a:cubicBezTo>
                <a:cubicBezTo>
                  <a:pt x="4774931" y="9649211"/>
                  <a:pt x="4777206" y="9652104"/>
                  <a:pt x="4778138" y="9634951"/>
                </a:cubicBezTo>
                <a:cubicBezTo>
                  <a:pt x="4779379" y="9611816"/>
                  <a:pt x="4774724" y="9602045"/>
                  <a:pt x="4776379" y="9578011"/>
                </a:cubicBezTo>
                <a:cubicBezTo>
                  <a:pt x="4776431" y="9577412"/>
                  <a:pt x="4778500" y="9578510"/>
                  <a:pt x="4778500" y="9578111"/>
                </a:cubicBezTo>
                <a:cubicBezTo>
                  <a:pt x="4778345" y="9538622"/>
                  <a:pt x="4776379" y="9537027"/>
                  <a:pt x="4779069" y="9492751"/>
                </a:cubicBezTo>
                <a:cubicBezTo>
                  <a:pt x="4780000" y="9477494"/>
                  <a:pt x="4781241" y="9462734"/>
                  <a:pt x="4781448" y="9450071"/>
                </a:cubicBezTo>
                <a:cubicBezTo>
                  <a:pt x="4781966" y="9412676"/>
                  <a:pt x="4776534" y="9368599"/>
                  <a:pt x="4782172" y="9336189"/>
                </a:cubicBezTo>
                <a:cubicBezTo>
                  <a:pt x="4780724" y="9304480"/>
                  <a:pt x="4778086" y="9280547"/>
                  <a:pt x="4778603" y="9236470"/>
                </a:cubicBezTo>
                <a:cubicBezTo>
                  <a:pt x="4783154" y="9202766"/>
                  <a:pt x="4786826" y="9256215"/>
                  <a:pt x="4791378" y="9222509"/>
                </a:cubicBezTo>
                <a:lnTo>
                  <a:pt x="4791844" y="9151310"/>
                </a:lnTo>
                <a:cubicBezTo>
                  <a:pt x="4784344" y="9162379"/>
                  <a:pt x="4784655" y="9191197"/>
                  <a:pt x="4779172" y="9151010"/>
                </a:cubicBezTo>
                <a:cubicBezTo>
                  <a:pt x="4772966" y="9154899"/>
                  <a:pt x="4775397" y="9204859"/>
                  <a:pt x="4774310" y="9250531"/>
                </a:cubicBezTo>
                <a:cubicBezTo>
                  <a:pt x="4774208" y="9254718"/>
                  <a:pt x="4774569" y="9276557"/>
                  <a:pt x="4774104" y="9278950"/>
                </a:cubicBezTo>
                <a:cubicBezTo>
                  <a:pt x="4774000" y="9279450"/>
                  <a:pt x="4771983" y="9278551"/>
                  <a:pt x="4771983" y="9278851"/>
                </a:cubicBezTo>
                <a:cubicBezTo>
                  <a:pt x="4772087" y="9312955"/>
                  <a:pt x="4776638" y="9337685"/>
                  <a:pt x="4775655" y="9364311"/>
                </a:cubicBezTo>
                <a:cubicBezTo>
                  <a:pt x="4772759" y="9368599"/>
                  <a:pt x="4773690" y="9399911"/>
                  <a:pt x="4773173" y="9421152"/>
                </a:cubicBezTo>
                <a:cubicBezTo>
                  <a:pt x="4763812" y="9403600"/>
                  <a:pt x="4758278" y="9408488"/>
                  <a:pt x="4747727" y="9434813"/>
                </a:cubicBezTo>
                <a:cubicBezTo>
                  <a:pt x="4748295" y="9454159"/>
                  <a:pt x="4752950" y="9446779"/>
                  <a:pt x="4756106" y="9449273"/>
                </a:cubicBezTo>
                <a:cubicBezTo>
                  <a:pt x="4754192" y="9500130"/>
                  <a:pt x="4750674" y="9539619"/>
                  <a:pt x="4742813" y="9548594"/>
                </a:cubicBezTo>
                <a:cubicBezTo>
                  <a:pt x="4744003" y="9616603"/>
                  <a:pt x="4738934" y="9640138"/>
                  <a:pt x="4739710" y="9705154"/>
                </a:cubicBezTo>
                <a:cubicBezTo>
                  <a:pt x="4733814" y="9702362"/>
                  <a:pt x="4734228" y="9658585"/>
                  <a:pt x="4729521" y="9648014"/>
                </a:cubicBezTo>
                <a:cubicBezTo>
                  <a:pt x="4727814" y="9621090"/>
                  <a:pt x="4733659" y="9614709"/>
                  <a:pt x="4734021" y="9605434"/>
                </a:cubicBezTo>
                <a:cubicBezTo>
                  <a:pt x="4734745" y="9586090"/>
                  <a:pt x="4729935" y="9565347"/>
                  <a:pt x="4732469" y="9519975"/>
                </a:cubicBezTo>
                <a:cubicBezTo>
                  <a:pt x="4738883" y="9530445"/>
                  <a:pt x="4738831" y="9495543"/>
                  <a:pt x="4745244" y="9506014"/>
                </a:cubicBezTo>
                <a:cubicBezTo>
                  <a:pt x="4746227" y="9458747"/>
                  <a:pt x="4734951" y="9490357"/>
                  <a:pt x="4739452" y="9420454"/>
                </a:cubicBezTo>
                <a:cubicBezTo>
                  <a:pt x="4734176" y="9421850"/>
                  <a:pt x="4732727" y="9446880"/>
                  <a:pt x="4728901" y="9420154"/>
                </a:cubicBezTo>
                <a:cubicBezTo>
                  <a:pt x="4728280" y="9396022"/>
                  <a:pt x="4730710" y="9393430"/>
                  <a:pt x="4733296" y="9391834"/>
                </a:cubicBezTo>
                <a:cubicBezTo>
                  <a:pt x="4733038" y="9354140"/>
                  <a:pt x="4729521" y="9350550"/>
                  <a:pt x="4729521" y="9320633"/>
                </a:cubicBezTo>
                <a:cubicBezTo>
                  <a:pt x="4729470" y="9325421"/>
                  <a:pt x="4731590" y="9312955"/>
                  <a:pt x="4731694" y="9306373"/>
                </a:cubicBezTo>
                <a:cubicBezTo>
                  <a:pt x="4731952" y="9287427"/>
                  <a:pt x="4731848" y="9268381"/>
                  <a:pt x="4732055" y="9249434"/>
                </a:cubicBezTo>
                <a:cubicBezTo>
                  <a:pt x="4737020" y="9249932"/>
                  <a:pt x="4738468" y="9225102"/>
                  <a:pt x="4744830" y="9235573"/>
                </a:cubicBezTo>
                <a:cubicBezTo>
                  <a:pt x="4740692" y="9262597"/>
                  <a:pt x="4745916" y="9261301"/>
                  <a:pt x="4744365" y="9306673"/>
                </a:cubicBezTo>
                <a:cubicBezTo>
                  <a:pt x="4751450" y="9305377"/>
                  <a:pt x="4755743" y="9278551"/>
                  <a:pt x="4759053" y="9321332"/>
                </a:cubicBezTo>
                <a:cubicBezTo>
                  <a:pt x="4763553" y="9308468"/>
                  <a:pt x="4765725" y="9279450"/>
                  <a:pt x="4765932" y="9236071"/>
                </a:cubicBezTo>
                <a:cubicBezTo>
                  <a:pt x="4769552" y="9236769"/>
                  <a:pt x="4771466" y="9225601"/>
                  <a:pt x="4772449" y="9207751"/>
                </a:cubicBezTo>
                <a:cubicBezTo>
                  <a:pt x="4772139" y="9196183"/>
                  <a:pt x="4770432" y="9193491"/>
                  <a:pt x="4770535" y="9179231"/>
                </a:cubicBezTo>
                <a:cubicBezTo>
                  <a:pt x="4770484" y="9147720"/>
                  <a:pt x="4761639" y="9172948"/>
                  <a:pt x="4757967" y="9164673"/>
                </a:cubicBezTo>
                <a:cubicBezTo>
                  <a:pt x="4754399" y="9151508"/>
                  <a:pt x="4747468" y="9159486"/>
                  <a:pt x="4745502" y="9135853"/>
                </a:cubicBezTo>
                <a:cubicBezTo>
                  <a:pt x="4741417" y="9141836"/>
                  <a:pt x="4741417" y="9176439"/>
                  <a:pt x="4734745" y="9164074"/>
                </a:cubicBezTo>
                <a:cubicBezTo>
                  <a:pt x="4735159" y="9147420"/>
                  <a:pt x="4738675" y="9152207"/>
                  <a:pt x="4741158" y="9150014"/>
                </a:cubicBezTo>
                <a:cubicBezTo>
                  <a:pt x="4740900" y="9133360"/>
                  <a:pt x="4737382" y="9137947"/>
                  <a:pt x="4734900" y="9135653"/>
                </a:cubicBezTo>
                <a:cubicBezTo>
                  <a:pt x="4738883" y="9109427"/>
                  <a:pt x="4747778" y="9117505"/>
                  <a:pt x="4752071" y="9093372"/>
                </a:cubicBezTo>
                <a:cubicBezTo>
                  <a:pt x="4751761" y="9069639"/>
                  <a:pt x="4736762" y="9035834"/>
                  <a:pt x="4737279" y="9092973"/>
                </a:cubicBezTo>
                <a:cubicBezTo>
                  <a:pt x="4736503" y="9083998"/>
                  <a:pt x="4732832" y="9065052"/>
                  <a:pt x="4733348" y="9050193"/>
                </a:cubicBezTo>
                <a:cubicBezTo>
                  <a:pt x="4734280" y="9024166"/>
                  <a:pt x="4736814" y="9060464"/>
                  <a:pt x="4737589" y="9050293"/>
                </a:cubicBezTo>
                <a:cubicBezTo>
                  <a:pt x="4739347" y="9026759"/>
                  <a:pt x="4738314" y="9011701"/>
                  <a:pt x="4740072" y="8993452"/>
                </a:cubicBezTo>
                <a:cubicBezTo>
                  <a:pt x="4741211" y="8981187"/>
                  <a:pt x="4745657" y="8979990"/>
                  <a:pt x="4744572" y="8950872"/>
                </a:cubicBezTo>
                <a:cubicBezTo>
                  <a:pt x="4744209" y="8921354"/>
                  <a:pt x="4735314" y="8946783"/>
                  <a:pt x="4734176" y="8922153"/>
                </a:cubicBezTo>
                <a:cubicBezTo>
                  <a:pt x="4735107" y="8893034"/>
                  <a:pt x="4741831" y="8829114"/>
                  <a:pt x="4737020" y="8808373"/>
                </a:cubicBezTo>
                <a:cubicBezTo>
                  <a:pt x="4737641" y="8787830"/>
                  <a:pt x="4743330" y="8803586"/>
                  <a:pt x="4743537" y="8780053"/>
                </a:cubicBezTo>
                <a:cubicBezTo>
                  <a:pt x="4743123" y="8762102"/>
                  <a:pt x="4739400" y="8765592"/>
                  <a:pt x="4739296" y="8779952"/>
                </a:cubicBezTo>
                <a:cubicBezTo>
                  <a:pt x="4735572" y="8769482"/>
                  <a:pt x="4739141" y="8754124"/>
                  <a:pt x="4739555" y="8737271"/>
                </a:cubicBezTo>
                <a:cubicBezTo>
                  <a:pt x="4739969" y="8711743"/>
                  <a:pt x="4737176" y="8707157"/>
                  <a:pt x="4737796" y="8680232"/>
                </a:cubicBezTo>
                <a:cubicBezTo>
                  <a:pt x="4739813" y="8679833"/>
                  <a:pt x="4739555" y="8662880"/>
                  <a:pt x="4740072" y="8651811"/>
                </a:cubicBezTo>
                <a:cubicBezTo>
                  <a:pt x="4742503" y="8654205"/>
                  <a:pt x="4743848" y="8648820"/>
                  <a:pt x="4744365" y="8637751"/>
                </a:cubicBezTo>
                <a:cubicBezTo>
                  <a:pt x="4743020" y="8625785"/>
                  <a:pt x="4741469" y="8623192"/>
                  <a:pt x="4740330" y="8609132"/>
                </a:cubicBezTo>
                <a:cubicBezTo>
                  <a:pt x="4739916" y="8603847"/>
                  <a:pt x="4741158" y="8584301"/>
                  <a:pt x="4740537" y="8580612"/>
                </a:cubicBezTo>
                <a:cubicBezTo>
                  <a:pt x="4740330" y="8579515"/>
                  <a:pt x="4738468" y="8581908"/>
                  <a:pt x="4738417" y="8580512"/>
                </a:cubicBezTo>
                <a:cubicBezTo>
                  <a:pt x="4736865" y="8545510"/>
                  <a:pt x="4739969" y="8493656"/>
                  <a:pt x="4737020" y="8466632"/>
                </a:cubicBezTo>
                <a:cubicBezTo>
                  <a:pt x="4739037" y="8467130"/>
                  <a:pt x="4738521" y="8484083"/>
                  <a:pt x="4738934" y="8495152"/>
                </a:cubicBezTo>
                <a:cubicBezTo>
                  <a:pt x="4742038" y="8495252"/>
                  <a:pt x="4744106" y="8478299"/>
                  <a:pt x="4745451" y="8466831"/>
                </a:cubicBezTo>
                <a:cubicBezTo>
                  <a:pt x="4746537" y="8457359"/>
                  <a:pt x="4747778" y="8457956"/>
                  <a:pt x="4745554" y="8452571"/>
                </a:cubicBezTo>
                <a:cubicBezTo>
                  <a:pt x="4749692" y="8401116"/>
                  <a:pt x="4751192" y="8477801"/>
                  <a:pt x="4756001" y="8467031"/>
                </a:cubicBezTo>
                <a:cubicBezTo>
                  <a:pt x="4761536" y="8440505"/>
                  <a:pt x="4756570" y="8406500"/>
                  <a:pt x="4756570" y="8381670"/>
                </a:cubicBezTo>
                <a:cubicBezTo>
                  <a:pt x="4756622" y="8385858"/>
                  <a:pt x="4760036" y="8374491"/>
                  <a:pt x="4758794" y="8367510"/>
                </a:cubicBezTo>
                <a:cubicBezTo>
                  <a:pt x="4755019" y="8346568"/>
                  <a:pt x="4759622" y="8348364"/>
                  <a:pt x="4759053" y="8324829"/>
                </a:cubicBezTo>
                <a:cubicBezTo>
                  <a:pt x="4759415" y="8340785"/>
                  <a:pt x="4753260" y="8254727"/>
                  <a:pt x="4759519" y="8253629"/>
                </a:cubicBezTo>
                <a:cubicBezTo>
                  <a:pt x="4759673" y="8235879"/>
                  <a:pt x="4756519" y="8234682"/>
                  <a:pt x="4755485" y="8225010"/>
                </a:cubicBezTo>
                <a:cubicBezTo>
                  <a:pt x="4753364" y="8204767"/>
                  <a:pt x="4754399" y="8157898"/>
                  <a:pt x="4747519" y="8153610"/>
                </a:cubicBezTo>
                <a:lnTo>
                  <a:pt x="4748347" y="8025470"/>
                </a:lnTo>
                <a:cubicBezTo>
                  <a:pt x="4756467" y="8023077"/>
                  <a:pt x="4749071" y="8037138"/>
                  <a:pt x="4750209" y="8068250"/>
                </a:cubicBezTo>
                <a:cubicBezTo>
                  <a:pt x="4752484" y="8054389"/>
                  <a:pt x="4754657" y="8040228"/>
                  <a:pt x="4756829" y="8025670"/>
                </a:cubicBezTo>
                <a:cubicBezTo>
                  <a:pt x="4759467" y="8019487"/>
                  <a:pt x="4761277" y="8007521"/>
                  <a:pt x="4761328" y="7983090"/>
                </a:cubicBezTo>
                <a:cubicBezTo>
                  <a:pt x="4760243" y="7940410"/>
                  <a:pt x="4756726" y="7996551"/>
                  <a:pt x="4752899" y="7982890"/>
                </a:cubicBezTo>
                <a:cubicBezTo>
                  <a:pt x="4754399" y="7961649"/>
                  <a:pt x="4750157" y="7955965"/>
                  <a:pt x="4751089" y="7940110"/>
                </a:cubicBezTo>
                <a:cubicBezTo>
                  <a:pt x="4751192" y="7938314"/>
                  <a:pt x="4755381" y="7925151"/>
                  <a:pt x="4755381" y="7926050"/>
                </a:cubicBezTo>
                <a:cubicBezTo>
                  <a:pt x="4755433" y="7910095"/>
                  <a:pt x="4752123" y="7899923"/>
                  <a:pt x="4751450" y="7883270"/>
                </a:cubicBezTo>
                <a:cubicBezTo>
                  <a:pt x="4751709" y="7890249"/>
                  <a:pt x="4753778" y="7875491"/>
                  <a:pt x="4753623" y="7869109"/>
                </a:cubicBezTo>
                <a:cubicBezTo>
                  <a:pt x="4753570" y="7866815"/>
                  <a:pt x="4751605" y="7866815"/>
                  <a:pt x="4751605" y="7854750"/>
                </a:cubicBezTo>
                <a:cubicBezTo>
                  <a:pt x="4751605" y="7831714"/>
                  <a:pt x="4750985" y="7800900"/>
                  <a:pt x="4754243" y="7769389"/>
                </a:cubicBezTo>
                <a:cubicBezTo>
                  <a:pt x="4753468" y="7748148"/>
                  <a:pt x="4751503" y="7774874"/>
                  <a:pt x="4747933" y="7769191"/>
                </a:cubicBezTo>
                <a:cubicBezTo>
                  <a:pt x="4747158" y="7724216"/>
                  <a:pt x="4752071" y="7719031"/>
                  <a:pt x="4750674" y="7669570"/>
                </a:cubicBezTo>
                <a:cubicBezTo>
                  <a:pt x="4754141" y="7665681"/>
                  <a:pt x="4754243" y="7683232"/>
                  <a:pt x="4756933" y="7684029"/>
                </a:cubicBezTo>
                <a:cubicBezTo>
                  <a:pt x="4761950" y="7641747"/>
                  <a:pt x="4754450" y="7596874"/>
                  <a:pt x="4761795" y="7584508"/>
                </a:cubicBezTo>
                <a:cubicBezTo>
                  <a:pt x="4762570" y="7567356"/>
                  <a:pt x="4758329" y="7577428"/>
                  <a:pt x="4757657" y="7570149"/>
                </a:cubicBezTo>
                <a:cubicBezTo>
                  <a:pt x="4756726" y="7560076"/>
                  <a:pt x="4758794" y="7537740"/>
                  <a:pt x="4757915" y="7527469"/>
                </a:cubicBezTo>
                <a:cubicBezTo>
                  <a:pt x="4756829" y="7514704"/>
                  <a:pt x="4754295" y="7515701"/>
                  <a:pt x="4753881" y="7498948"/>
                </a:cubicBezTo>
                <a:cubicBezTo>
                  <a:pt x="4753260" y="7474816"/>
                  <a:pt x="4755691" y="7472224"/>
                  <a:pt x="4758278" y="7470628"/>
                </a:cubicBezTo>
                <a:cubicBezTo>
                  <a:pt x="4756829" y="7457366"/>
                  <a:pt x="4754553" y="7448988"/>
                  <a:pt x="4752123" y="7442009"/>
                </a:cubicBezTo>
                <a:cubicBezTo>
                  <a:pt x="4752795" y="7416979"/>
                  <a:pt x="4755950" y="7409700"/>
                  <a:pt x="4760759" y="7413788"/>
                </a:cubicBezTo>
                <a:cubicBezTo>
                  <a:pt x="4760605" y="7387362"/>
                  <a:pt x="4753674" y="7404812"/>
                  <a:pt x="4752484" y="7385069"/>
                </a:cubicBezTo>
                <a:cubicBezTo>
                  <a:pt x="4753985" y="7366023"/>
                  <a:pt x="4757191" y="7358643"/>
                  <a:pt x="4761122" y="7356847"/>
                </a:cubicBezTo>
                <a:cubicBezTo>
                  <a:pt x="4761691" y="7325834"/>
                  <a:pt x="4759673" y="7311475"/>
                  <a:pt x="4755071" y="7313967"/>
                </a:cubicBezTo>
                <a:cubicBezTo>
                  <a:pt x="4758071" y="7305293"/>
                  <a:pt x="4755743" y="7259221"/>
                  <a:pt x="4759673" y="7257127"/>
                </a:cubicBezTo>
                <a:cubicBezTo>
                  <a:pt x="4758432" y="7242669"/>
                  <a:pt x="4754916" y="7242270"/>
                  <a:pt x="4755743" y="7214347"/>
                </a:cubicBezTo>
                <a:cubicBezTo>
                  <a:pt x="4762932" y="7260917"/>
                  <a:pt x="4764329" y="7176055"/>
                  <a:pt x="4768776" y="7157707"/>
                </a:cubicBezTo>
                <a:cubicBezTo>
                  <a:pt x="4776896" y="7146239"/>
                  <a:pt x="4776742" y="7188121"/>
                  <a:pt x="4778965" y="7214847"/>
                </a:cubicBezTo>
                <a:cubicBezTo>
                  <a:pt x="4787034" y="7180044"/>
                  <a:pt x="4779069" y="7113631"/>
                  <a:pt x="4784086" y="7072645"/>
                </a:cubicBezTo>
                <a:cubicBezTo>
                  <a:pt x="4774777" y="7051406"/>
                  <a:pt x="4777362" y="7114229"/>
                  <a:pt x="4769138" y="7100766"/>
                </a:cubicBezTo>
                <a:cubicBezTo>
                  <a:pt x="4764587" y="7107348"/>
                  <a:pt x="4765260" y="7080324"/>
                  <a:pt x="4765208" y="7057986"/>
                </a:cubicBezTo>
                <a:cubicBezTo>
                  <a:pt x="4758794" y="7047516"/>
                  <a:pt x="4758846" y="7082418"/>
                  <a:pt x="4752433" y="7071947"/>
                </a:cubicBezTo>
                <a:lnTo>
                  <a:pt x="4752899" y="7000848"/>
                </a:lnTo>
                <a:cubicBezTo>
                  <a:pt x="4759415" y="7017101"/>
                  <a:pt x="4758484" y="6996858"/>
                  <a:pt x="4763346" y="7015307"/>
                </a:cubicBezTo>
                <a:cubicBezTo>
                  <a:pt x="4763243" y="6975119"/>
                  <a:pt x="4753468" y="6997257"/>
                  <a:pt x="4755381" y="6943907"/>
                </a:cubicBezTo>
                <a:cubicBezTo>
                  <a:pt x="4760036" y="6935033"/>
                  <a:pt x="4761847" y="6984493"/>
                  <a:pt x="4761795" y="6929846"/>
                </a:cubicBezTo>
                <a:cubicBezTo>
                  <a:pt x="4767846" y="6918278"/>
                  <a:pt x="4767122" y="6950090"/>
                  <a:pt x="4772241" y="6944405"/>
                </a:cubicBezTo>
                <a:cubicBezTo>
                  <a:pt x="4777827" y="6942312"/>
                  <a:pt x="4773380" y="6892052"/>
                  <a:pt x="4772810" y="6859045"/>
                </a:cubicBezTo>
                <a:cubicBezTo>
                  <a:pt x="4772139" y="6819656"/>
                  <a:pt x="4774931" y="6777872"/>
                  <a:pt x="4767018" y="6773484"/>
                </a:cubicBezTo>
                <a:lnTo>
                  <a:pt x="4767588" y="6688025"/>
                </a:lnTo>
                <a:cubicBezTo>
                  <a:pt x="4766087" y="6681343"/>
                  <a:pt x="4764897" y="6666786"/>
                  <a:pt x="4763553" y="6659406"/>
                </a:cubicBezTo>
                <a:cubicBezTo>
                  <a:pt x="4762570" y="6653921"/>
                  <a:pt x="4761847" y="6641655"/>
                  <a:pt x="4759415" y="6645145"/>
                </a:cubicBezTo>
                <a:cubicBezTo>
                  <a:pt x="4758432" y="6613535"/>
                  <a:pt x="4763604" y="6625003"/>
                  <a:pt x="4763915" y="6602566"/>
                </a:cubicBezTo>
                <a:cubicBezTo>
                  <a:pt x="4764018" y="6595784"/>
                  <a:pt x="4767380" y="6565270"/>
                  <a:pt x="4768518" y="6545725"/>
                </a:cubicBezTo>
                <a:cubicBezTo>
                  <a:pt x="4769605" y="6511421"/>
                  <a:pt x="4764846" y="6514713"/>
                  <a:pt x="4766863" y="6474525"/>
                </a:cubicBezTo>
                <a:cubicBezTo>
                  <a:pt x="4761795" y="6468541"/>
                  <a:pt x="4762105" y="6500353"/>
                  <a:pt x="4756208" y="6488486"/>
                </a:cubicBezTo>
                <a:cubicBezTo>
                  <a:pt x="4761588" y="6450592"/>
                  <a:pt x="4758381" y="6387071"/>
                  <a:pt x="4759260" y="6346185"/>
                </a:cubicBezTo>
                <a:cubicBezTo>
                  <a:pt x="4759725" y="6322652"/>
                  <a:pt x="4760243" y="6318762"/>
                  <a:pt x="4763656" y="6317766"/>
                </a:cubicBezTo>
                <a:cubicBezTo>
                  <a:pt x="4762622" y="6288149"/>
                  <a:pt x="4759519" y="6271694"/>
                  <a:pt x="4757812" y="6246466"/>
                </a:cubicBezTo>
                <a:cubicBezTo>
                  <a:pt x="4759260" y="6234399"/>
                  <a:pt x="4758588" y="6198798"/>
                  <a:pt x="4760294" y="6189624"/>
                </a:cubicBezTo>
                <a:cubicBezTo>
                  <a:pt x="4762467" y="6177957"/>
                  <a:pt x="4764225" y="6128097"/>
                  <a:pt x="4765052" y="6104365"/>
                </a:cubicBezTo>
                <a:cubicBezTo>
                  <a:pt x="4764846" y="6109649"/>
                  <a:pt x="4761795" y="6096387"/>
                  <a:pt x="4763036" y="6090105"/>
                </a:cubicBezTo>
                <a:cubicBezTo>
                  <a:pt x="4763243" y="6089007"/>
                  <a:pt x="4765052" y="6091700"/>
                  <a:pt x="4765156" y="6090204"/>
                </a:cubicBezTo>
                <a:cubicBezTo>
                  <a:pt x="4765518" y="6085219"/>
                  <a:pt x="4764794" y="6064875"/>
                  <a:pt x="4765363" y="6061783"/>
                </a:cubicBezTo>
                <a:cubicBezTo>
                  <a:pt x="4767949" y="6048122"/>
                  <a:pt x="4766139" y="6051712"/>
                  <a:pt x="4763346" y="6047523"/>
                </a:cubicBezTo>
                <a:cubicBezTo>
                  <a:pt x="4766242" y="6018606"/>
                  <a:pt x="4773742" y="6021896"/>
                  <a:pt x="4772345" y="5962363"/>
                </a:cubicBezTo>
                <a:cubicBezTo>
                  <a:pt x="4772449" y="5947704"/>
                  <a:pt x="4769759" y="5952291"/>
                  <a:pt x="4768208" y="5948004"/>
                </a:cubicBezTo>
                <a:cubicBezTo>
                  <a:pt x="4765467" y="5940524"/>
                  <a:pt x="4765777" y="5920581"/>
                  <a:pt x="4759933" y="5919283"/>
                </a:cubicBezTo>
                <a:cubicBezTo>
                  <a:pt x="4758640" y="5875707"/>
                  <a:pt x="4763812" y="5877501"/>
                  <a:pt x="4762570" y="5833923"/>
                </a:cubicBezTo>
                <a:cubicBezTo>
                  <a:pt x="4764225" y="5841502"/>
                  <a:pt x="4765932" y="5848882"/>
                  <a:pt x="4768828" y="5848283"/>
                </a:cubicBezTo>
                <a:cubicBezTo>
                  <a:pt x="4769449" y="5811386"/>
                  <a:pt x="4767742" y="5735001"/>
                  <a:pt x="4773535" y="5777182"/>
                </a:cubicBezTo>
                <a:cubicBezTo>
                  <a:pt x="4766914" y="5733305"/>
                  <a:pt x="4764897" y="5660012"/>
                  <a:pt x="4766449" y="5563483"/>
                </a:cubicBezTo>
                <a:cubicBezTo>
                  <a:pt x="4768880" y="5565876"/>
                  <a:pt x="4768052" y="5589509"/>
                  <a:pt x="4768259" y="5606262"/>
                </a:cubicBezTo>
                <a:cubicBezTo>
                  <a:pt x="4773018" y="5600379"/>
                  <a:pt x="4770432" y="5530774"/>
                  <a:pt x="4768828" y="5520902"/>
                </a:cubicBezTo>
                <a:cubicBezTo>
                  <a:pt x="4768104" y="5498565"/>
                  <a:pt x="4762311" y="5508537"/>
                  <a:pt x="4765001" y="5463863"/>
                </a:cubicBezTo>
                <a:cubicBezTo>
                  <a:pt x="4767018" y="5464262"/>
                  <a:pt x="4766500" y="5481314"/>
                  <a:pt x="4766914" y="5492383"/>
                </a:cubicBezTo>
                <a:cubicBezTo>
                  <a:pt x="4772397" y="5473535"/>
                  <a:pt x="4764225" y="5429159"/>
                  <a:pt x="4765467" y="5392662"/>
                </a:cubicBezTo>
                <a:cubicBezTo>
                  <a:pt x="4769036" y="5398047"/>
                  <a:pt x="4769500" y="5381692"/>
                  <a:pt x="4769863" y="5364342"/>
                </a:cubicBezTo>
                <a:cubicBezTo>
                  <a:pt x="4772034" y="5318670"/>
                  <a:pt x="4764587" y="5334625"/>
                  <a:pt x="4763915" y="5307202"/>
                </a:cubicBezTo>
                <a:cubicBezTo>
                  <a:pt x="4762829" y="5273197"/>
                  <a:pt x="4767225" y="5203992"/>
                  <a:pt x="4762518" y="5193322"/>
                </a:cubicBezTo>
                <a:cubicBezTo>
                  <a:pt x="4763915" y="5161311"/>
                  <a:pt x="4765673" y="5210674"/>
                  <a:pt x="4768931" y="5179261"/>
                </a:cubicBezTo>
                <a:cubicBezTo>
                  <a:pt x="4765932" y="5149645"/>
                  <a:pt x="4756675" y="5115241"/>
                  <a:pt x="4763346" y="5065281"/>
                </a:cubicBezTo>
                <a:cubicBezTo>
                  <a:pt x="4766190" y="5069668"/>
                  <a:pt x="4764897" y="5100881"/>
                  <a:pt x="4765105" y="5122222"/>
                </a:cubicBezTo>
                <a:cubicBezTo>
                  <a:pt x="4768931" y="5099485"/>
                  <a:pt x="4770070" y="5058301"/>
                  <a:pt x="4770070" y="5008441"/>
                </a:cubicBezTo>
                <a:cubicBezTo>
                  <a:pt x="4767794" y="4997770"/>
                  <a:pt x="4767897" y="5051221"/>
                  <a:pt x="4767690" y="5051121"/>
                </a:cubicBezTo>
                <a:cubicBezTo>
                  <a:pt x="4764742" y="5049824"/>
                  <a:pt x="4764276" y="4948808"/>
                  <a:pt x="4762208" y="4922880"/>
                </a:cubicBezTo>
                <a:cubicBezTo>
                  <a:pt x="4766398" y="4922880"/>
                  <a:pt x="4765156" y="4884190"/>
                  <a:pt x="4770845" y="4894660"/>
                </a:cubicBezTo>
                <a:cubicBezTo>
                  <a:pt x="4770586" y="4877907"/>
                  <a:pt x="4767069" y="4882495"/>
                  <a:pt x="4764587" y="4880201"/>
                </a:cubicBezTo>
                <a:cubicBezTo>
                  <a:pt x="4764432" y="4849089"/>
                  <a:pt x="4766604" y="4834928"/>
                  <a:pt x="4771207" y="4837621"/>
                </a:cubicBezTo>
                <a:cubicBezTo>
                  <a:pt x="4766087" y="4813987"/>
                  <a:pt x="4761795" y="4726632"/>
                  <a:pt x="4770018" y="4695220"/>
                </a:cubicBezTo>
                <a:cubicBezTo>
                  <a:pt x="4770070" y="4644862"/>
                  <a:pt x="4762829" y="4725336"/>
                  <a:pt x="4763759" y="4680861"/>
                </a:cubicBezTo>
                <a:cubicBezTo>
                  <a:pt x="4762984" y="4650446"/>
                  <a:pt x="4766967" y="4653837"/>
                  <a:pt x="4770276" y="4652540"/>
                </a:cubicBezTo>
                <a:cubicBezTo>
                  <a:pt x="4772655" y="4607866"/>
                  <a:pt x="4771104" y="4567179"/>
                  <a:pt x="4775397" y="4510339"/>
                </a:cubicBezTo>
                <a:cubicBezTo>
                  <a:pt x="4775138" y="4493686"/>
                  <a:pt x="4771621" y="4498274"/>
                  <a:pt x="4769138" y="4495980"/>
                </a:cubicBezTo>
                <a:cubicBezTo>
                  <a:pt x="4769656" y="4434651"/>
                  <a:pt x="4773948" y="4455394"/>
                  <a:pt x="4771880" y="4396359"/>
                </a:cubicBezTo>
                <a:cubicBezTo>
                  <a:pt x="4771725" y="4391872"/>
                  <a:pt x="4769294" y="4397058"/>
                  <a:pt x="4769863" y="4382000"/>
                </a:cubicBezTo>
                <a:cubicBezTo>
                  <a:pt x="4769966" y="4379506"/>
                  <a:pt x="4772810" y="4381500"/>
                  <a:pt x="4772087" y="4367839"/>
                </a:cubicBezTo>
                <a:cubicBezTo>
                  <a:pt x="4771311" y="4353280"/>
                  <a:pt x="4768208" y="4357269"/>
                  <a:pt x="4768052" y="4339220"/>
                </a:cubicBezTo>
                <a:cubicBezTo>
                  <a:pt x="4765777" y="4293050"/>
                  <a:pt x="4774983" y="4328450"/>
                  <a:pt x="4772655" y="4282380"/>
                </a:cubicBezTo>
                <a:cubicBezTo>
                  <a:pt x="4771466" y="4265626"/>
                  <a:pt x="4763346" y="4299631"/>
                  <a:pt x="4766708" y="4225240"/>
                </a:cubicBezTo>
                <a:cubicBezTo>
                  <a:pt x="4770328" y="4220154"/>
                  <a:pt x="4770639" y="4236508"/>
                  <a:pt x="4770742" y="4253860"/>
                </a:cubicBezTo>
                <a:cubicBezTo>
                  <a:pt x="4777000" y="4241893"/>
                  <a:pt x="4769759" y="4207988"/>
                  <a:pt x="4771207" y="4182660"/>
                </a:cubicBezTo>
                <a:cubicBezTo>
                  <a:pt x="4776844" y="4192632"/>
                  <a:pt x="4775500" y="4153342"/>
                  <a:pt x="4777827" y="4140079"/>
                </a:cubicBezTo>
                <a:cubicBezTo>
                  <a:pt x="4779897" y="4113154"/>
                  <a:pt x="4774156" y="4106573"/>
                  <a:pt x="4773898" y="4097298"/>
                </a:cubicBezTo>
                <a:cubicBezTo>
                  <a:pt x="4773587" y="4086229"/>
                  <a:pt x="4778551" y="4041754"/>
                  <a:pt x="4776638" y="3997678"/>
                </a:cubicBezTo>
                <a:cubicBezTo>
                  <a:pt x="4776379" y="3981025"/>
                  <a:pt x="4772862" y="3985612"/>
                  <a:pt x="4770380" y="3983319"/>
                </a:cubicBezTo>
                <a:cubicBezTo>
                  <a:pt x="4768984" y="3934057"/>
                  <a:pt x="4773121" y="3923288"/>
                  <a:pt x="4775138" y="3898058"/>
                </a:cubicBezTo>
                <a:cubicBezTo>
                  <a:pt x="4776534" y="3884696"/>
                  <a:pt x="4773173" y="3886191"/>
                  <a:pt x="4773121" y="3883798"/>
                </a:cubicBezTo>
                <a:cubicBezTo>
                  <a:pt x="4772862" y="3870934"/>
                  <a:pt x="4775345" y="3869638"/>
                  <a:pt x="4775345" y="3869638"/>
                </a:cubicBezTo>
                <a:cubicBezTo>
                  <a:pt x="4774569" y="3820576"/>
                  <a:pt x="4766967" y="3761741"/>
                  <a:pt x="4776276" y="3727337"/>
                </a:cubicBezTo>
                <a:cubicBezTo>
                  <a:pt x="4775500" y="3705000"/>
                  <a:pt x="4769707" y="3714972"/>
                  <a:pt x="4772397" y="3670298"/>
                </a:cubicBezTo>
                <a:cubicBezTo>
                  <a:pt x="4771466" y="3638687"/>
                  <a:pt x="4776586" y="3650155"/>
                  <a:pt x="4776896" y="3627717"/>
                </a:cubicBezTo>
                <a:cubicBezTo>
                  <a:pt x="4775655" y="3613157"/>
                  <a:pt x="4772139" y="3612859"/>
                  <a:pt x="4772966" y="3584837"/>
                </a:cubicBezTo>
                <a:cubicBezTo>
                  <a:pt x="4775397" y="3587231"/>
                  <a:pt x="4776742" y="3581746"/>
                  <a:pt x="4777259" y="3570677"/>
                </a:cubicBezTo>
                <a:cubicBezTo>
                  <a:pt x="4776173" y="3556817"/>
                  <a:pt x="4774000" y="3558810"/>
                  <a:pt x="4773224" y="3542158"/>
                </a:cubicBezTo>
                <a:cubicBezTo>
                  <a:pt x="4770432" y="3481827"/>
                  <a:pt x="4775086" y="3274010"/>
                  <a:pt x="4779586" y="3214876"/>
                </a:cubicBezTo>
                <a:cubicBezTo>
                  <a:pt x="4779172" y="3199419"/>
                  <a:pt x="4775448" y="3205103"/>
                  <a:pt x="4775552" y="3186356"/>
                </a:cubicBezTo>
                <a:cubicBezTo>
                  <a:pt x="4776638" y="3138889"/>
                  <a:pt x="4774362" y="3071279"/>
                  <a:pt x="4778603" y="3044055"/>
                </a:cubicBezTo>
                <a:cubicBezTo>
                  <a:pt x="4777466" y="3051534"/>
                  <a:pt x="4777982" y="2971161"/>
                  <a:pt x="4777155" y="2944335"/>
                </a:cubicBezTo>
                <a:cubicBezTo>
                  <a:pt x="4776534" y="2924092"/>
                  <a:pt x="4774259" y="2917012"/>
                  <a:pt x="4779430" y="2915916"/>
                </a:cubicBezTo>
                <a:cubicBezTo>
                  <a:pt x="4780362" y="2891783"/>
                  <a:pt x="4777982" y="2888991"/>
                  <a:pt x="4775397" y="2887396"/>
                </a:cubicBezTo>
                <a:cubicBezTo>
                  <a:pt x="4776379" y="2857181"/>
                  <a:pt x="4777880" y="2843818"/>
                  <a:pt x="4777982" y="2816296"/>
                </a:cubicBezTo>
                <a:cubicBezTo>
                  <a:pt x="4778086" y="2787177"/>
                  <a:pt x="4776069" y="2778102"/>
                  <a:pt x="4776225" y="2759355"/>
                </a:cubicBezTo>
                <a:cubicBezTo>
                  <a:pt x="4776431" y="2734425"/>
                  <a:pt x="4778190" y="2728641"/>
                  <a:pt x="4778707" y="2702515"/>
                </a:cubicBezTo>
                <a:cubicBezTo>
                  <a:pt x="4779534" y="2658937"/>
                  <a:pt x="4773742" y="2612269"/>
                  <a:pt x="4781397" y="2617155"/>
                </a:cubicBezTo>
                <a:cubicBezTo>
                  <a:pt x="4778138" y="2606484"/>
                  <a:pt x="4782327" y="2547450"/>
                  <a:pt x="4775448" y="2560015"/>
                </a:cubicBezTo>
                <a:cubicBezTo>
                  <a:pt x="4773898" y="2542863"/>
                  <a:pt x="4777672" y="2535384"/>
                  <a:pt x="4777724" y="2531594"/>
                </a:cubicBezTo>
                <a:cubicBezTo>
                  <a:pt x="4777931" y="2520227"/>
                  <a:pt x="4775552" y="2517334"/>
                  <a:pt x="4775811" y="2503074"/>
                </a:cubicBezTo>
                <a:cubicBezTo>
                  <a:pt x="4776225" y="2480239"/>
                  <a:pt x="4777672" y="2478842"/>
                  <a:pt x="4778190" y="2460395"/>
                </a:cubicBezTo>
                <a:cubicBezTo>
                  <a:pt x="4779276" y="2422800"/>
                  <a:pt x="4776276" y="2372141"/>
                  <a:pt x="4781034" y="2346613"/>
                </a:cubicBezTo>
                <a:cubicBezTo>
                  <a:pt x="4778035" y="2322981"/>
                  <a:pt x="4777206" y="2368452"/>
                  <a:pt x="4777155" y="2289573"/>
                </a:cubicBezTo>
                <a:cubicBezTo>
                  <a:pt x="4777155" y="2229542"/>
                  <a:pt x="4779121" y="2156648"/>
                  <a:pt x="4778551" y="2076073"/>
                </a:cubicBezTo>
                <a:cubicBezTo>
                  <a:pt x="4778345" y="2048251"/>
                  <a:pt x="4774672" y="2036185"/>
                  <a:pt x="4777000" y="1990613"/>
                </a:cubicBezTo>
                <a:cubicBezTo>
                  <a:pt x="4778035" y="1970868"/>
                  <a:pt x="4778914" y="1971068"/>
                  <a:pt x="4777466" y="1919413"/>
                </a:cubicBezTo>
                <a:cubicBezTo>
                  <a:pt x="4776844" y="1897375"/>
                  <a:pt x="4775345" y="1886605"/>
                  <a:pt x="4775707" y="1862473"/>
                </a:cubicBezTo>
                <a:cubicBezTo>
                  <a:pt x="4775655" y="1863869"/>
                  <a:pt x="4781448" y="1860180"/>
                  <a:pt x="4780000" y="1848313"/>
                </a:cubicBezTo>
                <a:cubicBezTo>
                  <a:pt x="4780051" y="1834452"/>
                  <a:pt x="4777466" y="1837244"/>
                  <a:pt x="4775862" y="1833953"/>
                </a:cubicBezTo>
                <a:cubicBezTo>
                  <a:pt x="4775655" y="1811316"/>
                  <a:pt x="4777672" y="1809123"/>
                  <a:pt x="4778241" y="1791373"/>
                </a:cubicBezTo>
                <a:cubicBezTo>
                  <a:pt x="4778086" y="1795661"/>
                  <a:pt x="4775914" y="1785589"/>
                  <a:pt x="4776225" y="1777013"/>
                </a:cubicBezTo>
                <a:cubicBezTo>
                  <a:pt x="4776379" y="1773622"/>
                  <a:pt x="4778759" y="1777112"/>
                  <a:pt x="4778448" y="1762852"/>
                </a:cubicBezTo>
                <a:cubicBezTo>
                  <a:pt x="4777724" y="1729047"/>
                  <a:pt x="4770380" y="1695441"/>
                  <a:pt x="4777155" y="1634712"/>
                </a:cubicBezTo>
                <a:cubicBezTo>
                  <a:pt x="4770535" y="1566505"/>
                  <a:pt x="4773018" y="1473765"/>
                  <a:pt x="4772397" y="1392592"/>
                </a:cubicBezTo>
                <a:cubicBezTo>
                  <a:pt x="4772139" y="1361480"/>
                  <a:pt x="4771052" y="1336549"/>
                  <a:pt x="4771001" y="1278711"/>
                </a:cubicBezTo>
                <a:cubicBezTo>
                  <a:pt x="4771001" y="1269537"/>
                  <a:pt x="4772190" y="1227656"/>
                  <a:pt x="4771362" y="1221772"/>
                </a:cubicBezTo>
                <a:cubicBezTo>
                  <a:pt x="4768621" y="1202227"/>
                  <a:pt x="4772139" y="1219976"/>
                  <a:pt x="4771725" y="1164831"/>
                </a:cubicBezTo>
                <a:cubicBezTo>
                  <a:pt x="4771466" y="1134417"/>
                  <a:pt x="4768621" y="1106794"/>
                  <a:pt x="4768052" y="1079272"/>
                </a:cubicBezTo>
                <a:cubicBezTo>
                  <a:pt x="4767069" y="1034498"/>
                  <a:pt x="4768673" y="989423"/>
                  <a:pt x="4766760" y="951132"/>
                </a:cubicBezTo>
                <a:cubicBezTo>
                  <a:pt x="4766553" y="946145"/>
                  <a:pt x="4767535" y="925803"/>
                  <a:pt x="4766967" y="922711"/>
                </a:cubicBezTo>
                <a:cubicBezTo>
                  <a:pt x="4764381" y="907953"/>
                  <a:pt x="4765984" y="893793"/>
                  <a:pt x="4765208" y="865771"/>
                </a:cubicBezTo>
                <a:cubicBezTo>
                  <a:pt x="4764070" y="826881"/>
                  <a:pt x="4761432" y="722174"/>
                  <a:pt x="4760139" y="666331"/>
                </a:cubicBezTo>
                <a:cubicBezTo>
                  <a:pt x="4759829" y="653069"/>
                  <a:pt x="4760915" y="636614"/>
                  <a:pt x="4760398" y="623651"/>
                </a:cubicBezTo>
                <a:cubicBezTo>
                  <a:pt x="4760191" y="618166"/>
                  <a:pt x="4758381" y="606000"/>
                  <a:pt x="4758381" y="609391"/>
                </a:cubicBezTo>
                <a:cubicBezTo>
                  <a:pt x="4758278" y="584262"/>
                  <a:pt x="4761432" y="578877"/>
                  <a:pt x="4760863" y="552551"/>
                </a:cubicBezTo>
                <a:cubicBezTo>
                  <a:pt x="4760553" y="537791"/>
                  <a:pt x="4758950" y="502192"/>
                  <a:pt x="4757088" y="481251"/>
                </a:cubicBezTo>
                <a:cubicBezTo>
                  <a:pt x="4755640" y="464697"/>
                  <a:pt x="4754553" y="385520"/>
                  <a:pt x="4753778" y="338850"/>
                </a:cubicBezTo>
                <a:cubicBezTo>
                  <a:pt x="4753623" y="307738"/>
                  <a:pt x="4748658" y="308137"/>
                  <a:pt x="4743382" y="310131"/>
                </a:cubicBezTo>
                <a:cubicBezTo>
                  <a:pt x="4743382" y="279916"/>
                  <a:pt x="4740951" y="265456"/>
                  <a:pt x="4738779" y="249103"/>
                </a:cubicBezTo>
                <a:lnTo>
                  <a:pt x="3984963" y="249103"/>
                </a:lnTo>
                <a:cubicBezTo>
                  <a:pt x="3978394" y="242820"/>
                  <a:pt x="3954654" y="237835"/>
                  <a:pt x="3949741" y="249103"/>
                </a:cubicBezTo>
                <a:lnTo>
                  <a:pt x="3910435" y="249103"/>
                </a:lnTo>
                <a:cubicBezTo>
                  <a:pt x="3912710" y="248005"/>
                  <a:pt x="3914986" y="246410"/>
                  <a:pt x="3917106" y="243718"/>
                </a:cubicBezTo>
                <a:cubicBezTo>
                  <a:pt x="3886850" y="242222"/>
                  <a:pt x="3837561" y="226666"/>
                  <a:pt x="3811546" y="237136"/>
                </a:cubicBezTo>
                <a:cubicBezTo>
                  <a:pt x="3805495" y="237136"/>
                  <a:pt x="3807357" y="225668"/>
                  <a:pt x="3802392" y="224073"/>
                </a:cubicBezTo>
                <a:cubicBezTo>
                  <a:pt x="3793185" y="236239"/>
                  <a:pt x="3778756" y="230355"/>
                  <a:pt x="3765670" y="230655"/>
                </a:cubicBezTo>
                <a:cubicBezTo>
                  <a:pt x="3730449" y="231453"/>
                  <a:pt x="3688349" y="232150"/>
                  <a:pt x="3660110" y="230655"/>
                </a:cubicBezTo>
                <a:cubicBezTo>
                  <a:pt x="3656852" y="230455"/>
                  <a:pt x="3660472" y="222079"/>
                  <a:pt x="3655559" y="230655"/>
                </a:cubicBezTo>
                <a:cubicBezTo>
                  <a:pt x="3654938" y="231651"/>
                  <a:pt x="3647387" y="230854"/>
                  <a:pt x="3646353" y="230655"/>
                </a:cubicBezTo>
                <a:cubicBezTo>
                  <a:pt x="3635336" y="228760"/>
                  <a:pt x="3630733" y="217491"/>
                  <a:pt x="3623389" y="230655"/>
                </a:cubicBezTo>
                <a:cubicBezTo>
                  <a:pt x="3621216" y="234444"/>
                  <a:pt x="3617287" y="224372"/>
                  <a:pt x="3618786" y="224073"/>
                </a:cubicBezTo>
                <a:cubicBezTo>
                  <a:pt x="3610356" y="225569"/>
                  <a:pt x="3601305" y="222378"/>
                  <a:pt x="3600426" y="237136"/>
                </a:cubicBezTo>
                <a:cubicBezTo>
                  <a:pt x="3613511" y="242721"/>
                  <a:pt x="3626699" y="246511"/>
                  <a:pt x="3641698" y="243718"/>
                </a:cubicBezTo>
                <a:cubicBezTo>
                  <a:pt x="3655300" y="241224"/>
                  <a:pt x="3654628" y="234045"/>
                  <a:pt x="3660058" y="243718"/>
                </a:cubicBezTo>
                <a:cubicBezTo>
                  <a:pt x="3662231" y="247507"/>
                  <a:pt x="3666213" y="237436"/>
                  <a:pt x="3664662" y="237136"/>
                </a:cubicBezTo>
                <a:cubicBezTo>
                  <a:pt x="3670610" y="238234"/>
                  <a:pt x="3671075" y="242921"/>
                  <a:pt x="3678419" y="243718"/>
                </a:cubicBezTo>
                <a:cubicBezTo>
                  <a:pt x="3689022" y="244814"/>
                  <a:pt x="3706865" y="243419"/>
                  <a:pt x="3710537" y="243718"/>
                </a:cubicBezTo>
                <a:cubicBezTo>
                  <a:pt x="3712451" y="243818"/>
                  <a:pt x="3714468" y="247308"/>
                  <a:pt x="3715089" y="249103"/>
                </a:cubicBezTo>
                <a:lnTo>
                  <a:pt x="3572238" y="249103"/>
                </a:lnTo>
                <a:cubicBezTo>
                  <a:pt x="3579013" y="246112"/>
                  <a:pt x="3587650" y="237934"/>
                  <a:pt x="3595822" y="243718"/>
                </a:cubicBezTo>
                <a:cubicBezTo>
                  <a:pt x="3596133" y="229159"/>
                  <a:pt x="3580048" y="218588"/>
                  <a:pt x="3572859" y="217491"/>
                </a:cubicBezTo>
                <a:cubicBezTo>
                  <a:pt x="3573427" y="217592"/>
                  <a:pt x="3571514" y="224073"/>
                  <a:pt x="3568256" y="224073"/>
                </a:cubicBezTo>
                <a:cubicBezTo>
                  <a:pt x="3565618" y="224073"/>
                  <a:pt x="3562618" y="217491"/>
                  <a:pt x="3563653" y="217491"/>
                </a:cubicBezTo>
                <a:cubicBezTo>
                  <a:pt x="3554912" y="217890"/>
                  <a:pt x="3546895" y="228560"/>
                  <a:pt x="3536138" y="224073"/>
                </a:cubicBezTo>
                <a:cubicBezTo>
                  <a:pt x="3528483" y="215397"/>
                  <a:pt x="3520777" y="206721"/>
                  <a:pt x="3504020" y="211009"/>
                </a:cubicBezTo>
                <a:cubicBezTo>
                  <a:pt x="3498382" y="212206"/>
                  <a:pt x="3499313" y="220882"/>
                  <a:pt x="3494866" y="224073"/>
                </a:cubicBezTo>
                <a:cubicBezTo>
                  <a:pt x="3480177" y="234543"/>
                  <a:pt x="3484056" y="221680"/>
                  <a:pt x="3471902" y="224073"/>
                </a:cubicBezTo>
                <a:cubicBezTo>
                  <a:pt x="3472005" y="224073"/>
                  <a:pt x="3469988" y="229657"/>
                  <a:pt x="3467299" y="230655"/>
                </a:cubicBezTo>
                <a:cubicBezTo>
                  <a:pt x="3463110" y="232150"/>
                  <a:pt x="3453076" y="232150"/>
                  <a:pt x="3448938" y="230655"/>
                </a:cubicBezTo>
                <a:cubicBezTo>
                  <a:pt x="3437663" y="226666"/>
                  <a:pt x="3434715" y="229756"/>
                  <a:pt x="3421372" y="230655"/>
                </a:cubicBezTo>
                <a:cubicBezTo>
                  <a:pt x="3412734" y="231153"/>
                  <a:pt x="3411182" y="222976"/>
                  <a:pt x="3403011" y="224073"/>
                </a:cubicBezTo>
                <a:cubicBezTo>
                  <a:pt x="3403942" y="223973"/>
                  <a:pt x="3400321" y="229857"/>
                  <a:pt x="3398408" y="230655"/>
                </a:cubicBezTo>
                <a:cubicBezTo>
                  <a:pt x="3394322" y="232449"/>
                  <a:pt x="3388891" y="229756"/>
                  <a:pt x="3384650" y="230655"/>
                </a:cubicBezTo>
                <a:cubicBezTo>
                  <a:pt x="3369497" y="233846"/>
                  <a:pt x="3369290" y="234942"/>
                  <a:pt x="3366290" y="230655"/>
                </a:cubicBezTo>
                <a:cubicBezTo>
                  <a:pt x="3363238" y="226267"/>
                  <a:pt x="3353722" y="231153"/>
                  <a:pt x="3352532" y="224073"/>
                </a:cubicBezTo>
                <a:cubicBezTo>
                  <a:pt x="3340120" y="246511"/>
                  <a:pt x="3328069" y="223874"/>
                  <a:pt x="3320414" y="237136"/>
                </a:cubicBezTo>
                <a:cubicBezTo>
                  <a:pt x="3317311" y="242522"/>
                  <a:pt x="3301640" y="233148"/>
                  <a:pt x="3297451" y="237136"/>
                </a:cubicBezTo>
                <a:cubicBezTo>
                  <a:pt x="3290210" y="239728"/>
                  <a:pt x="3295847" y="243718"/>
                  <a:pt x="3296364" y="249103"/>
                </a:cubicBezTo>
                <a:lnTo>
                  <a:pt x="3289124" y="249103"/>
                </a:lnTo>
                <a:cubicBezTo>
                  <a:pt x="3289797" y="246410"/>
                  <a:pt x="3289744" y="242820"/>
                  <a:pt x="3288296" y="237136"/>
                </a:cubicBezTo>
                <a:cubicBezTo>
                  <a:pt x="3281107" y="236537"/>
                  <a:pt x="3272418" y="238033"/>
                  <a:pt x="3274539" y="224073"/>
                </a:cubicBezTo>
                <a:cubicBezTo>
                  <a:pt x="3259230" y="224073"/>
                  <a:pt x="3258868" y="245413"/>
                  <a:pt x="3242421" y="243718"/>
                </a:cubicBezTo>
                <a:cubicBezTo>
                  <a:pt x="3242007" y="233447"/>
                  <a:pt x="3243041" y="220981"/>
                  <a:pt x="3233266" y="224073"/>
                </a:cubicBezTo>
                <a:cubicBezTo>
                  <a:pt x="3225664" y="224172"/>
                  <a:pt x="3230680" y="242222"/>
                  <a:pt x="3224060" y="243718"/>
                </a:cubicBezTo>
                <a:cubicBezTo>
                  <a:pt x="3212837" y="231352"/>
                  <a:pt x="3192460" y="232050"/>
                  <a:pt x="3196545" y="197847"/>
                </a:cubicBezTo>
                <a:cubicBezTo>
                  <a:pt x="3211441" y="199742"/>
                  <a:pt x="3225457" y="184783"/>
                  <a:pt x="3233266" y="184783"/>
                </a:cubicBezTo>
                <a:cubicBezTo>
                  <a:pt x="3239266" y="184883"/>
                  <a:pt x="3239421" y="192062"/>
                  <a:pt x="3247024" y="191365"/>
                </a:cubicBezTo>
                <a:cubicBezTo>
                  <a:pt x="3253437" y="190766"/>
                  <a:pt x="3255764" y="185382"/>
                  <a:pt x="3265384" y="184783"/>
                </a:cubicBezTo>
                <a:cubicBezTo>
                  <a:pt x="3270763" y="184484"/>
                  <a:pt x="3272263" y="190667"/>
                  <a:pt x="3279142" y="191365"/>
                </a:cubicBezTo>
                <a:cubicBezTo>
                  <a:pt x="3285451" y="191963"/>
                  <a:pt x="3289331" y="184484"/>
                  <a:pt x="3292899" y="184783"/>
                </a:cubicBezTo>
                <a:cubicBezTo>
                  <a:pt x="3299778" y="185382"/>
                  <a:pt x="3297761" y="192262"/>
                  <a:pt x="3302054" y="184783"/>
                </a:cubicBezTo>
                <a:cubicBezTo>
                  <a:pt x="3303088" y="182989"/>
                  <a:pt x="3309604" y="185680"/>
                  <a:pt x="3311260" y="184783"/>
                </a:cubicBezTo>
                <a:cubicBezTo>
                  <a:pt x="3315191" y="182489"/>
                  <a:pt x="3317208" y="181293"/>
                  <a:pt x="3320414" y="178201"/>
                </a:cubicBezTo>
                <a:cubicBezTo>
                  <a:pt x="3328017" y="189171"/>
                  <a:pt x="3347360" y="183487"/>
                  <a:pt x="3361687" y="184783"/>
                </a:cubicBezTo>
                <a:cubicBezTo>
                  <a:pt x="3363652" y="168429"/>
                  <a:pt x="3386771" y="148784"/>
                  <a:pt x="3366290" y="139012"/>
                </a:cubicBezTo>
                <a:cubicBezTo>
                  <a:pt x="3365514" y="148784"/>
                  <a:pt x="3367893" y="163143"/>
                  <a:pt x="3361687" y="165139"/>
                </a:cubicBezTo>
                <a:cubicBezTo>
                  <a:pt x="3362462" y="148784"/>
                  <a:pt x="3354652" y="144696"/>
                  <a:pt x="3347929" y="139012"/>
                </a:cubicBezTo>
                <a:cubicBezTo>
                  <a:pt x="3350153" y="159654"/>
                  <a:pt x="3326880" y="143898"/>
                  <a:pt x="3324965" y="158656"/>
                </a:cubicBezTo>
                <a:cubicBezTo>
                  <a:pt x="3328535" y="160053"/>
                  <a:pt x="3330293" y="164141"/>
                  <a:pt x="3329569" y="171720"/>
                </a:cubicBezTo>
                <a:cubicBezTo>
                  <a:pt x="3320880" y="160053"/>
                  <a:pt x="3299261" y="166933"/>
                  <a:pt x="3283693" y="165139"/>
                </a:cubicBezTo>
                <a:cubicBezTo>
                  <a:pt x="3297089" y="146690"/>
                  <a:pt x="3269987" y="157061"/>
                  <a:pt x="3274539" y="132430"/>
                </a:cubicBezTo>
                <a:cubicBezTo>
                  <a:pt x="3264091" y="130535"/>
                  <a:pt x="3257264" y="133926"/>
                  <a:pt x="3256178" y="145493"/>
                </a:cubicBezTo>
                <a:cubicBezTo>
                  <a:pt x="3247541" y="142602"/>
                  <a:pt x="3228560" y="154469"/>
                  <a:pt x="3233266" y="132430"/>
                </a:cubicBezTo>
                <a:cubicBezTo>
                  <a:pt x="3250179" y="152973"/>
                  <a:pt x="3253127" y="121262"/>
                  <a:pt x="3269987" y="119367"/>
                </a:cubicBezTo>
                <a:cubicBezTo>
                  <a:pt x="3269884" y="119367"/>
                  <a:pt x="3270866" y="126248"/>
                  <a:pt x="3274591" y="125949"/>
                </a:cubicBezTo>
                <a:cubicBezTo>
                  <a:pt x="3275832" y="125849"/>
                  <a:pt x="3278159" y="114381"/>
                  <a:pt x="3283745" y="119367"/>
                </a:cubicBezTo>
                <a:cubicBezTo>
                  <a:pt x="3286072" y="121460"/>
                  <a:pt x="3282814" y="134625"/>
                  <a:pt x="3288348" y="132430"/>
                </a:cubicBezTo>
                <a:cubicBezTo>
                  <a:pt x="3288089" y="121162"/>
                  <a:pt x="3291865" y="115677"/>
                  <a:pt x="3297502" y="112786"/>
                </a:cubicBezTo>
                <a:cubicBezTo>
                  <a:pt x="3300450" y="127046"/>
                  <a:pt x="3284521" y="133627"/>
                  <a:pt x="3302105" y="132430"/>
                </a:cubicBezTo>
                <a:cubicBezTo>
                  <a:pt x="3308312" y="125949"/>
                  <a:pt x="3311260" y="114979"/>
                  <a:pt x="3315863" y="106204"/>
                </a:cubicBezTo>
                <a:cubicBezTo>
                  <a:pt x="3312708" y="93340"/>
                  <a:pt x="3290262" y="107799"/>
                  <a:pt x="3288348" y="93140"/>
                </a:cubicBezTo>
                <a:cubicBezTo>
                  <a:pt x="3300347" y="95035"/>
                  <a:pt x="3308105" y="90747"/>
                  <a:pt x="3306708" y="73496"/>
                </a:cubicBezTo>
                <a:cubicBezTo>
                  <a:pt x="3289227" y="66416"/>
                  <a:pt x="3278055" y="90846"/>
                  <a:pt x="3274591" y="67013"/>
                </a:cubicBezTo>
                <a:cubicBezTo>
                  <a:pt x="3282710" y="65519"/>
                  <a:pt x="3297554" y="73596"/>
                  <a:pt x="3292951" y="53950"/>
                </a:cubicBezTo>
                <a:cubicBezTo>
                  <a:pt x="3292124" y="44178"/>
                  <a:pt x="3281883" y="47967"/>
                  <a:pt x="3274591" y="47369"/>
                </a:cubicBezTo>
                <a:cubicBezTo>
                  <a:pt x="3254316" y="45774"/>
                  <a:pt x="3243352" y="52854"/>
                  <a:pt x="3233318" y="53950"/>
                </a:cubicBezTo>
                <a:cubicBezTo>
                  <a:pt x="3226129" y="54648"/>
                  <a:pt x="3228818" y="45674"/>
                  <a:pt x="3224112" y="53950"/>
                </a:cubicBezTo>
                <a:cubicBezTo>
                  <a:pt x="3223388" y="55247"/>
                  <a:pt x="3216302" y="53751"/>
                  <a:pt x="3214958" y="53950"/>
                </a:cubicBezTo>
                <a:cubicBezTo>
                  <a:pt x="3206630" y="55047"/>
                  <a:pt x="3196235" y="50062"/>
                  <a:pt x="3187442" y="60433"/>
                </a:cubicBezTo>
                <a:cubicBezTo>
                  <a:pt x="3183409" y="81474"/>
                  <a:pt x="3202545" y="69407"/>
                  <a:pt x="3201200" y="86659"/>
                </a:cubicBezTo>
                <a:cubicBezTo>
                  <a:pt x="3194373" y="87856"/>
                  <a:pt x="3196959" y="102414"/>
                  <a:pt x="3196597" y="112786"/>
                </a:cubicBezTo>
                <a:cubicBezTo>
                  <a:pt x="3203476" y="113982"/>
                  <a:pt x="3213509" y="110492"/>
                  <a:pt x="3214958" y="119367"/>
                </a:cubicBezTo>
                <a:cubicBezTo>
                  <a:pt x="3212424" y="119367"/>
                  <a:pt x="3209733" y="124653"/>
                  <a:pt x="3214958" y="125949"/>
                </a:cubicBezTo>
                <a:cubicBezTo>
                  <a:pt x="3215320" y="137417"/>
                  <a:pt x="3213923" y="146391"/>
                  <a:pt x="3210355" y="152175"/>
                </a:cubicBezTo>
                <a:cubicBezTo>
                  <a:pt x="3202441" y="140806"/>
                  <a:pt x="3182012" y="144896"/>
                  <a:pt x="3178237" y="158756"/>
                </a:cubicBezTo>
                <a:cubicBezTo>
                  <a:pt x="3191218" y="159853"/>
                  <a:pt x="3209733" y="153072"/>
                  <a:pt x="3210355" y="171819"/>
                </a:cubicBezTo>
                <a:cubicBezTo>
                  <a:pt x="3185684" y="166435"/>
                  <a:pt x="3171151" y="182789"/>
                  <a:pt x="3155273" y="171819"/>
                </a:cubicBezTo>
                <a:cubicBezTo>
                  <a:pt x="3157135" y="187476"/>
                  <a:pt x="3134378" y="168130"/>
                  <a:pt x="3141515" y="191465"/>
                </a:cubicBezTo>
                <a:cubicBezTo>
                  <a:pt x="3140792" y="209912"/>
                  <a:pt x="3169806" y="185980"/>
                  <a:pt x="3169082" y="204528"/>
                </a:cubicBezTo>
                <a:cubicBezTo>
                  <a:pt x="3163496" y="205226"/>
                  <a:pt x="3158221" y="206423"/>
                  <a:pt x="3159928" y="217592"/>
                </a:cubicBezTo>
                <a:cubicBezTo>
                  <a:pt x="3167945" y="218090"/>
                  <a:pt x="3174202" y="216095"/>
                  <a:pt x="3178288" y="211009"/>
                </a:cubicBezTo>
                <a:cubicBezTo>
                  <a:pt x="3182943" y="219586"/>
                  <a:pt x="3182736" y="235142"/>
                  <a:pt x="3187442" y="243718"/>
                </a:cubicBezTo>
                <a:cubicBezTo>
                  <a:pt x="3174409" y="243320"/>
                  <a:pt x="3163496" y="244316"/>
                  <a:pt x="3155324" y="243718"/>
                </a:cubicBezTo>
                <a:cubicBezTo>
                  <a:pt x="3152893" y="243518"/>
                  <a:pt x="3149583" y="237136"/>
                  <a:pt x="3150722" y="237136"/>
                </a:cubicBezTo>
                <a:cubicBezTo>
                  <a:pt x="3139447" y="237136"/>
                  <a:pt x="3132620" y="245213"/>
                  <a:pt x="3123206" y="243718"/>
                </a:cubicBezTo>
                <a:cubicBezTo>
                  <a:pt x="3119793" y="243119"/>
                  <a:pt x="3119017" y="237236"/>
                  <a:pt x="3118604" y="237136"/>
                </a:cubicBezTo>
                <a:cubicBezTo>
                  <a:pt x="3116535" y="236537"/>
                  <a:pt x="3111776" y="242721"/>
                  <a:pt x="3114001" y="243718"/>
                </a:cubicBezTo>
                <a:cubicBezTo>
                  <a:pt x="3108414" y="241224"/>
                  <a:pt x="3105673" y="231253"/>
                  <a:pt x="3100242" y="230655"/>
                </a:cubicBezTo>
                <a:cubicBezTo>
                  <a:pt x="3100657" y="230655"/>
                  <a:pt x="3096157" y="243518"/>
                  <a:pt x="3095640" y="243718"/>
                </a:cubicBezTo>
                <a:cubicBezTo>
                  <a:pt x="3091399" y="245413"/>
                  <a:pt x="3089899" y="237037"/>
                  <a:pt x="3086486" y="237136"/>
                </a:cubicBezTo>
                <a:cubicBezTo>
                  <a:pt x="3088089" y="244017"/>
                  <a:pt x="3087261" y="247408"/>
                  <a:pt x="3085193" y="249103"/>
                </a:cubicBezTo>
                <a:lnTo>
                  <a:pt x="3068849" y="249103"/>
                </a:lnTo>
                <a:cubicBezTo>
                  <a:pt x="3080176" y="232250"/>
                  <a:pt x="3054471" y="241524"/>
                  <a:pt x="3058919" y="217491"/>
                </a:cubicBezTo>
                <a:cubicBezTo>
                  <a:pt x="3070659" y="210311"/>
                  <a:pt x="3082555" y="239829"/>
                  <a:pt x="3081882" y="210910"/>
                </a:cubicBezTo>
                <a:cubicBezTo>
                  <a:pt x="3041179" y="208916"/>
                  <a:pt x="3035748" y="216794"/>
                  <a:pt x="2999234" y="217491"/>
                </a:cubicBezTo>
                <a:cubicBezTo>
                  <a:pt x="3004561" y="207818"/>
                  <a:pt x="3004561" y="201038"/>
                  <a:pt x="2999234" y="191365"/>
                </a:cubicBezTo>
                <a:cubicBezTo>
                  <a:pt x="2995717" y="189869"/>
                  <a:pt x="2990235" y="191165"/>
                  <a:pt x="2990079" y="184783"/>
                </a:cubicBezTo>
                <a:cubicBezTo>
                  <a:pt x="2975546" y="194257"/>
                  <a:pt x="2959203" y="189470"/>
                  <a:pt x="2944204" y="191365"/>
                </a:cubicBezTo>
                <a:cubicBezTo>
                  <a:pt x="2926102" y="193658"/>
                  <a:pt x="2929878" y="194455"/>
                  <a:pt x="2921241" y="191365"/>
                </a:cubicBezTo>
                <a:cubicBezTo>
                  <a:pt x="2905259" y="185680"/>
                  <a:pt x="2887829" y="202534"/>
                  <a:pt x="2889123" y="191365"/>
                </a:cubicBezTo>
                <a:cubicBezTo>
                  <a:pt x="2889123" y="184783"/>
                  <a:pt x="2885399" y="183587"/>
                  <a:pt x="2884520" y="178302"/>
                </a:cubicBezTo>
                <a:cubicBezTo>
                  <a:pt x="2903242" y="172916"/>
                  <a:pt x="2900346" y="177304"/>
                  <a:pt x="2921241" y="178302"/>
                </a:cubicBezTo>
                <a:cubicBezTo>
                  <a:pt x="2920206" y="165836"/>
                  <a:pt x="2926412" y="163842"/>
                  <a:pt x="2925843" y="152076"/>
                </a:cubicBezTo>
                <a:cubicBezTo>
                  <a:pt x="2917724" y="140009"/>
                  <a:pt x="2912448" y="154967"/>
                  <a:pt x="2902880" y="158656"/>
                </a:cubicBezTo>
                <a:cubicBezTo>
                  <a:pt x="2900035" y="133827"/>
                  <a:pt x="2883692" y="165737"/>
                  <a:pt x="2884520" y="132430"/>
                </a:cubicBezTo>
                <a:cubicBezTo>
                  <a:pt x="2897035" y="127644"/>
                  <a:pt x="2893777" y="145394"/>
                  <a:pt x="2902880" y="145493"/>
                </a:cubicBezTo>
                <a:cubicBezTo>
                  <a:pt x="2898846" y="124453"/>
                  <a:pt x="2917982" y="136518"/>
                  <a:pt x="2916637" y="119267"/>
                </a:cubicBezTo>
                <a:cubicBezTo>
                  <a:pt x="2904897" y="122657"/>
                  <a:pt x="2900552" y="127943"/>
                  <a:pt x="2893674" y="112685"/>
                </a:cubicBezTo>
                <a:cubicBezTo>
                  <a:pt x="2904173" y="125151"/>
                  <a:pt x="2927033" y="99921"/>
                  <a:pt x="2939549" y="119267"/>
                </a:cubicBezTo>
                <a:cubicBezTo>
                  <a:pt x="2922016" y="114481"/>
                  <a:pt x="2934325" y="143400"/>
                  <a:pt x="2939549" y="145493"/>
                </a:cubicBezTo>
                <a:cubicBezTo>
                  <a:pt x="2941204" y="123854"/>
                  <a:pt x="2966029" y="135222"/>
                  <a:pt x="2980873" y="132430"/>
                </a:cubicBezTo>
                <a:cubicBezTo>
                  <a:pt x="2984442" y="133827"/>
                  <a:pt x="2986200" y="137915"/>
                  <a:pt x="2985477" y="145493"/>
                </a:cubicBezTo>
                <a:cubicBezTo>
                  <a:pt x="2999130" y="145394"/>
                  <a:pt x="3001044" y="128441"/>
                  <a:pt x="3012992" y="125849"/>
                </a:cubicBezTo>
                <a:cubicBezTo>
                  <a:pt x="3019663" y="122258"/>
                  <a:pt x="3036731" y="133428"/>
                  <a:pt x="3035955" y="119267"/>
                </a:cubicBezTo>
                <a:cubicBezTo>
                  <a:pt x="3026542" y="117472"/>
                  <a:pt x="3026801" y="101816"/>
                  <a:pt x="3022198" y="93140"/>
                </a:cubicBezTo>
                <a:cubicBezTo>
                  <a:pt x="3031197" y="95135"/>
                  <a:pt x="3031300" y="84365"/>
                  <a:pt x="3035955" y="80077"/>
                </a:cubicBezTo>
                <a:cubicBezTo>
                  <a:pt x="3037042" y="89451"/>
                  <a:pt x="3043506" y="91146"/>
                  <a:pt x="3045110" y="99722"/>
                </a:cubicBezTo>
                <a:cubicBezTo>
                  <a:pt x="3032076" y="107999"/>
                  <a:pt x="3028818" y="96830"/>
                  <a:pt x="3035955" y="112786"/>
                </a:cubicBezTo>
                <a:cubicBezTo>
                  <a:pt x="3043609" y="130037"/>
                  <a:pt x="3033938" y="124653"/>
                  <a:pt x="3031352" y="139012"/>
                </a:cubicBezTo>
                <a:cubicBezTo>
                  <a:pt x="3051730" y="130237"/>
                  <a:pt x="3041747" y="155864"/>
                  <a:pt x="3045110" y="165139"/>
                </a:cubicBezTo>
                <a:cubicBezTo>
                  <a:pt x="3046506" y="168928"/>
                  <a:pt x="3059229" y="164740"/>
                  <a:pt x="3054315" y="178201"/>
                </a:cubicBezTo>
                <a:cubicBezTo>
                  <a:pt x="3050126" y="186079"/>
                  <a:pt x="3042937" y="179897"/>
                  <a:pt x="3035955" y="184783"/>
                </a:cubicBezTo>
                <a:cubicBezTo>
                  <a:pt x="3033472" y="186478"/>
                  <a:pt x="3035334" y="195253"/>
                  <a:pt x="3031352" y="197847"/>
                </a:cubicBezTo>
                <a:cubicBezTo>
                  <a:pt x="3032335" y="197248"/>
                  <a:pt x="3026852" y="187974"/>
                  <a:pt x="3026749" y="197847"/>
                </a:cubicBezTo>
                <a:cubicBezTo>
                  <a:pt x="3032956" y="199940"/>
                  <a:pt x="3035541" y="207221"/>
                  <a:pt x="3045110" y="204429"/>
                </a:cubicBezTo>
                <a:cubicBezTo>
                  <a:pt x="3053747" y="199541"/>
                  <a:pt x="3048264" y="184883"/>
                  <a:pt x="3058867" y="197847"/>
                </a:cubicBezTo>
                <a:cubicBezTo>
                  <a:pt x="3063729" y="191764"/>
                  <a:pt x="3060263" y="173714"/>
                  <a:pt x="3072625" y="178201"/>
                </a:cubicBezTo>
                <a:cubicBezTo>
                  <a:pt x="3069779" y="184285"/>
                  <a:pt x="3061919" y="202334"/>
                  <a:pt x="3077176" y="197847"/>
                </a:cubicBezTo>
                <a:cubicBezTo>
                  <a:pt x="3097708" y="196152"/>
                  <a:pt x="3070504" y="163143"/>
                  <a:pt x="3081779" y="158557"/>
                </a:cubicBezTo>
                <a:cubicBezTo>
                  <a:pt x="3088451" y="170124"/>
                  <a:pt x="3117672" y="152873"/>
                  <a:pt x="3146015" y="158557"/>
                </a:cubicBezTo>
                <a:cubicBezTo>
                  <a:pt x="3149377" y="129937"/>
                  <a:pt x="3136912" y="163842"/>
                  <a:pt x="3136861" y="145493"/>
                </a:cubicBezTo>
                <a:cubicBezTo>
                  <a:pt x="3132568" y="119367"/>
                  <a:pt x="3186408" y="142501"/>
                  <a:pt x="3173582" y="125849"/>
                </a:cubicBezTo>
                <a:cubicBezTo>
                  <a:pt x="3155480" y="134226"/>
                  <a:pt x="3161686" y="107899"/>
                  <a:pt x="3155221" y="99622"/>
                </a:cubicBezTo>
                <a:cubicBezTo>
                  <a:pt x="3162410" y="99024"/>
                  <a:pt x="3171151" y="100520"/>
                  <a:pt x="3168979" y="86560"/>
                </a:cubicBezTo>
                <a:cubicBezTo>
                  <a:pt x="3145911" y="82869"/>
                  <a:pt x="3141567" y="82869"/>
                  <a:pt x="3118500" y="86560"/>
                </a:cubicBezTo>
                <a:cubicBezTo>
                  <a:pt x="3113380" y="85861"/>
                  <a:pt x="3111363" y="96032"/>
                  <a:pt x="3109346" y="86560"/>
                </a:cubicBezTo>
                <a:cubicBezTo>
                  <a:pt x="3112966" y="85063"/>
                  <a:pt x="3114673" y="80974"/>
                  <a:pt x="3113949" y="73395"/>
                </a:cubicBezTo>
                <a:cubicBezTo>
                  <a:pt x="3127758" y="73395"/>
                  <a:pt x="3141515" y="73395"/>
                  <a:pt x="3155273" y="73395"/>
                </a:cubicBezTo>
                <a:cubicBezTo>
                  <a:pt x="3156100" y="59135"/>
                  <a:pt x="3151549" y="52555"/>
                  <a:pt x="3141515" y="53751"/>
                </a:cubicBezTo>
                <a:cubicBezTo>
                  <a:pt x="3139291" y="60631"/>
                  <a:pt x="3127448" y="53352"/>
                  <a:pt x="3123155" y="53751"/>
                </a:cubicBezTo>
                <a:cubicBezTo>
                  <a:pt x="3117259" y="54250"/>
                  <a:pt x="3116742" y="59734"/>
                  <a:pt x="3109397" y="60233"/>
                </a:cubicBezTo>
                <a:cubicBezTo>
                  <a:pt x="3069573" y="63225"/>
                  <a:pt x="3017336" y="64321"/>
                  <a:pt x="2980873" y="53751"/>
                </a:cubicBezTo>
                <a:cubicBezTo>
                  <a:pt x="2969030" y="85861"/>
                  <a:pt x="2939859" y="52654"/>
                  <a:pt x="2925792" y="79878"/>
                </a:cubicBezTo>
                <a:cubicBezTo>
                  <a:pt x="2921603" y="68410"/>
                  <a:pt x="2911465" y="65418"/>
                  <a:pt x="2898277" y="66815"/>
                </a:cubicBezTo>
                <a:cubicBezTo>
                  <a:pt x="2888657" y="72698"/>
                  <a:pt x="2877899" y="76985"/>
                  <a:pt x="2870762" y="86459"/>
                </a:cubicBezTo>
                <a:cubicBezTo>
                  <a:pt x="2863883" y="78781"/>
                  <a:pt x="2859539" y="67513"/>
                  <a:pt x="2847798" y="66815"/>
                </a:cubicBezTo>
                <a:cubicBezTo>
                  <a:pt x="2829334" y="68510"/>
                  <a:pt x="2810146" y="64421"/>
                  <a:pt x="2797320" y="66815"/>
                </a:cubicBezTo>
                <a:cubicBezTo>
                  <a:pt x="2788579" y="68410"/>
                  <a:pt x="2786872" y="72598"/>
                  <a:pt x="2783562" y="66815"/>
                </a:cubicBezTo>
                <a:cubicBezTo>
                  <a:pt x="2776994" y="55347"/>
                  <a:pt x="2746841" y="73296"/>
                  <a:pt x="2746841" y="73296"/>
                </a:cubicBezTo>
                <a:cubicBezTo>
                  <a:pt x="2732670" y="73695"/>
                  <a:pt x="2722895" y="58736"/>
                  <a:pt x="2714723" y="73296"/>
                </a:cubicBezTo>
                <a:cubicBezTo>
                  <a:pt x="2712551" y="77185"/>
                  <a:pt x="2708569" y="67114"/>
                  <a:pt x="2710120" y="66815"/>
                </a:cubicBezTo>
                <a:cubicBezTo>
                  <a:pt x="2696466" y="69307"/>
                  <a:pt x="2697242" y="76388"/>
                  <a:pt x="2691759" y="66815"/>
                </a:cubicBezTo>
                <a:cubicBezTo>
                  <a:pt x="2691087" y="65519"/>
                  <a:pt x="2683898" y="66914"/>
                  <a:pt x="2682605" y="66815"/>
                </a:cubicBezTo>
                <a:cubicBezTo>
                  <a:pt x="2655452" y="64521"/>
                  <a:pt x="2613352" y="68111"/>
                  <a:pt x="2595405" y="66815"/>
                </a:cubicBezTo>
                <a:cubicBezTo>
                  <a:pt x="2593026" y="66615"/>
                  <a:pt x="2589613" y="60233"/>
                  <a:pt x="2590802" y="60233"/>
                </a:cubicBezTo>
                <a:cubicBezTo>
                  <a:pt x="2582320" y="60332"/>
                  <a:pt x="2580407" y="65319"/>
                  <a:pt x="2572442" y="66815"/>
                </a:cubicBezTo>
                <a:cubicBezTo>
                  <a:pt x="2566442" y="67912"/>
                  <a:pt x="2560133" y="66216"/>
                  <a:pt x="2554081" y="66815"/>
                </a:cubicBezTo>
                <a:cubicBezTo>
                  <a:pt x="2535876" y="68710"/>
                  <a:pt x="2539910" y="69906"/>
                  <a:pt x="2531118" y="66815"/>
                </a:cubicBezTo>
                <a:cubicBezTo>
                  <a:pt x="2528222" y="65817"/>
                  <a:pt x="2524808" y="67712"/>
                  <a:pt x="2521912" y="66815"/>
                </a:cubicBezTo>
                <a:cubicBezTo>
                  <a:pt x="2514205" y="64421"/>
                  <a:pt x="2511102" y="60631"/>
                  <a:pt x="2503551" y="60233"/>
                </a:cubicBezTo>
                <a:cubicBezTo>
                  <a:pt x="2498793" y="60034"/>
                  <a:pt x="2473450" y="80775"/>
                  <a:pt x="2480587" y="53751"/>
                </a:cubicBezTo>
                <a:cubicBezTo>
                  <a:pt x="2468071" y="48965"/>
                  <a:pt x="2471329" y="66715"/>
                  <a:pt x="2462227" y="66815"/>
                </a:cubicBezTo>
                <a:cubicBezTo>
                  <a:pt x="2441952" y="40190"/>
                  <a:pt x="2393594" y="59335"/>
                  <a:pt x="2361269" y="53751"/>
                </a:cubicBezTo>
                <a:cubicBezTo>
                  <a:pt x="2355270" y="52654"/>
                  <a:pt x="2355063" y="47070"/>
                  <a:pt x="2347512" y="47169"/>
                </a:cubicBezTo>
                <a:cubicBezTo>
                  <a:pt x="2339030" y="47369"/>
                  <a:pt x="2337168" y="52355"/>
                  <a:pt x="2329151" y="53751"/>
                </a:cubicBezTo>
                <a:cubicBezTo>
                  <a:pt x="2306240" y="57740"/>
                  <a:pt x="2277173" y="58937"/>
                  <a:pt x="2255710" y="53751"/>
                </a:cubicBezTo>
                <a:cubicBezTo>
                  <a:pt x="2248831" y="52056"/>
                  <a:pt x="2247382" y="47568"/>
                  <a:pt x="2237349" y="47169"/>
                </a:cubicBezTo>
                <a:cubicBezTo>
                  <a:pt x="2230470" y="46970"/>
                  <a:pt x="2221057" y="53053"/>
                  <a:pt x="2214385" y="53751"/>
                </a:cubicBezTo>
                <a:cubicBezTo>
                  <a:pt x="2208489" y="54250"/>
                  <a:pt x="2208127" y="46073"/>
                  <a:pt x="2200628" y="47169"/>
                </a:cubicBezTo>
                <a:cubicBezTo>
                  <a:pt x="2194938" y="47967"/>
                  <a:pt x="2193749" y="52255"/>
                  <a:pt x="2186819" y="53751"/>
                </a:cubicBezTo>
                <a:cubicBezTo>
                  <a:pt x="2163803" y="58637"/>
                  <a:pt x="2150511" y="47369"/>
                  <a:pt x="2136340" y="47169"/>
                </a:cubicBezTo>
                <a:cubicBezTo>
                  <a:pt x="2129823" y="47070"/>
                  <a:pt x="2120100" y="54051"/>
                  <a:pt x="2113376" y="53751"/>
                </a:cubicBezTo>
                <a:cubicBezTo>
                  <a:pt x="2101274" y="53253"/>
                  <a:pt x="2092947" y="45375"/>
                  <a:pt x="2081258" y="47169"/>
                </a:cubicBezTo>
                <a:cubicBezTo>
                  <a:pt x="2065225" y="49562"/>
                  <a:pt x="2073346" y="50860"/>
                  <a:pt x="2062898" y="47169"/>
                </a:cubicBezTo>
                <a:cubicBezTo>
                  <a:pt x="2046916" y="41486"/>
                  <a:pt x="2028659" y="48366"/>
                  <a:pt x="2017022" y="47169"/>
                </a:cubicBezTo>
                <a:cubicBezTo>
                  <a:pt x="2009368" y="46371"/>
                  <a:pt x="2002593" y="40787"/>
                  <a:pt x="1998662" y="40588"/>
                </a:cubicBezTo>
                <a:cubicBezTo>
                  <a:pt x="1997214" y="40588"/>
                  <a:pt x="1995559" y="48167"/>
                  <a:pt x="1989507" y="47169"/>
                </a:cubicBezTo>
                <a:cubicBezTo>
                  <a:pt x="1983508" y="46073"/>
                  <a:pt x="1983301" y="40488"/>
                  <a:pt x="1975750" y="40588"/>
                </a:cubicBezTo>
                <a:cubicBezTo>
                  <a:pt x="1971664" y="40588"/>
                  <a:pt x="1972026" y="46970"/>
                  <a:pt x="1971147" y="47169"/>
                </a:cubicBezTo>
                <a:cubicBezTo>
                  <a:pt x="1968354" y="47967"/>
                  <a:pt x="1965147" y="40887"/>
                  <a:pt x="1966544" y="40588"/>
                </a:cubicBezTo>
                <a:cubicBezTo>
                  <a:pt x="1960596" y="42083"/>
                  <a:pt x="1960182" y="46472"/>
                  <a:pt x="1952786" y="47169"/>
                </a:cubicBezTo>
                <a:cubicBezTo>
                  <a:pt x="1940528" y="48366"/>
                  <a:pt x="1918858" y="48266"/>
                  <a:pt x="1911462" y="47169"/>
                </a:cubicBezTo>
                <a:cubicBezTo>
                  <a:pt x="1906549" y="46371"/>
                  <a:pt x="1900032" y="40190"/>
                  <a:pt x="1897705" y="40588"/>
                </a:cubicBezTo>
                <a:cubicBezTo>
                  <a:pt x="1895222" y="40987"/>
                  <a:pt x="1892223" y="59834"/>
                  <a:pt x="1883948" y="53652"/>
                </a:cubicBezTo>
                <a:cubicBezTo>
                  <a:pt x="1874534" y="32810"/>
                  <a:pt x="1856070" y="47868"/>
                  <a:pt x="1847226" y="47070"/>
                </a:cubicBezTo>
                <a:cubicBezTo>
                  <a:pt x="1848002" y="47070"/>
                  <a:pt x="1844795" y="41285"/>
                  <a:pt x="1842623" y="40488"/>
                </a:cubicBezTo>
                <a:cubicBezTo>
                  <a:pt x="1839830" y="39491"/>
                  <a:pt x="1836262" y="40688"/>
                  <a:pt x="1833417" y="40488"/>
                </a:cubicBezTo>
                <a:cubicBezTo>
                  <a:pt x="1806522" y="38195"/>
                  <a:pt x="1774457" y="36999"/>
                  <a:pt x="1759975" y="33907"/>
                </a:cubicBezTo>
                <a:cubicBezTo>
                  <a:pt x="1749631" y="31712"/>
                  <a:pt x="1742390" y="35602"/>
                  <a:pt x="1732408" y="33907"/>
                </a:cubicBezTo>
                <a:cubicBezTo>
                  <a:pt x="1727960" y="40588"/>
                  <a:pt x="1723357" y="47169"/>
                  <a:pt x="1718650" y="53551"/>
                </a:cubicBezTo>
                <a:cubicBezTo>
                  <a:pt x="1720047" y="40688"/>
                  <a:pt x="1712444" y="40588"/>
                  <a:pt x="1709496" y="33907"/>
                </a:cubicBezTo>
                <a:cubicBezTo>
                  <a:pt x="1694032" y="45873"/>
                  <a:pt x="1679447" y="36798"/>
                  <a:pt x="1672775" y="33907"/>
                </a:cubicBezTo>
                <a:cubicBezTo>
                  <a:pt x="1654311" y="25930"/>
                  <a:pt x="1655552" y="31214"/>
                  <a:pt x="1645260" y="33907"/>
                </a:cubicBezTo>
                <a:cubicBezTo>
                  <a:pt x="1637813" y="35802"/>
                  <a:pt x="1629745" y="32411"/>
                  <a:pt x="1622296" y="33907"/>
                </a:cubicBezTo>
                <a:cubicBezTo>
                  <a:pt x="1617745" y="34903"/>
                  <a:pt x="1616970" y="39192"/>
                  <a:pt x="1613142" y="40488"/>
                </a:cubicBezTo>
                <a:cubicBezTo>
                  <a:pt x="1597627" y="45674"/>
                  <a:pt x="1588627" y="37098"/>
                  <a:pt x="1581024" y="33907"/>
                </a:cubicBezTo>
                <a:cubicBezTo>
                  <a:pt x="1569284" y="28920"/>
                  <a:pt x="1560026" y="26527"/>
                  <a:pt x="1548906" y="27325"/>
                </a:cubicBezTo>
                <a:cubicBezTo>
                  <a:pt x="1545492" y="27624"/>
                  <a:pt x="1544407" y="33907"/>
                  <a:pt x="1544303" y="33907"/>
                </a:cubicBezTo>
                <a:cubicBezTo>
                  <a:pt x="1537062" y="35302"/>
                  <a:pt x="1540011" y="25331"/>
                  <a:pt x="1535097" y="33907"/>
                </a:cubicBezTo>
                <a:cubicBezTo>
                  <a:pt x="1530753" y="41486"/>
                  <a:pt x="1514823" y="27724"/>
                  <a:pt x="1512185" y="27325"/>
                </a:cubicBezTo>
                <a:cubicBezTo>
                  <a:pt x="1481774" y="22838"/>
                  <a:pt x="1451983" y="13863"/>
                  <a:pt x="1424986" y="14261"/>
                </a:cubicBezTo>
                <a:cubicBezTo>
                  <a:pt x="1412676" y="27525"/>
                  <a:pt x="1407504" y="20445"/>
                  <a:pt x="1397419" y="27325"/>
                </a:cubicBezTo>
                <a:cubicBezTo>
                  <a:pt x="1386868" y="20544"/>
                  <a:pt x="1382627" y="4788"/>
                  <a:pt x="1365301" y="7681"/>
                </a:cubicBezTo>
                <a:cubicBezTo>
                  <a:pt x="1351388" y="9675"/>
                  <a:pt x="1348905" y="27924"/>
                  <a:pt x="1328579" y="20744"/>
                </a:cubicBezTo>
                <a:cubicBezTo>
                  <a:pt x="1321339" y="20145"/>
                  <a:pt x="1325011" y="4091"/>
                  <a:pt x="1314822" y="7681"/>
                </a:cubicBezTo>
                <a:cubicBezTo>
                  <a:pt x="1298996" y="2495"/>
                  <a:pt x="1295479" y="14960"/>
                  <a:pt x="1287307" y="20744"/>
                </a:cubicBezTo>
                <a:cubicBezTo>
                  <a:pt x="1286583" y="12068"/>
                  <a:pt x="1279963" y="14960"/>
                  <a:pt x="1273550" y="14162"/>
                </a:cubicBezTo>
                <a:cubicBezTo>
                  <a:pt x="1262534" y="12767"/>
                  <a:pt x="1245414" y="7780"/>
                  <a:pt x="1245983" y="7581"/>
                </a:cubicBezTo>
                <a:cubicBezTo>
                  <a:pt x="1244225" y="8080"/>
                  <a:pt x="1246707" y="16655"/>
                  <a:pt x="1241380" y="14162"/>
                </a:cubicBezTo>
                <a:cubicBezTo>
                  <a:pt x="1240190" y="13664"/>
                  <a:pt x="1238380" y="2196"/>
                  <a:pt x="1236777" y="1099"/>
                </a:cubicBezTo>
                <a:cubicBezTo>
                  <a:pt x="1231864" y="-2392"/>
                  <a:pt x="1223588" y="3791"/>
                  <a:pt x="1218416" y="1099"/>
                </a:cubicBezTo>
                <a:cubicBezTo>
                  <a:pt x="1217692" y="8778"/>
                  <a:pt x="1219192" y="19647"/>
                  <a:pt x="1213813" y="20744"/>
                </a:cubicBezTo>
                <a:cubicBezTo>
                  <a:pt x="1205745" y="8877"/>
                  <a:pt x="1192660" y="17952"/>
                  <a:pt x="1181695" y="14162"/>
                </a:cubicBezTo>
                <a:cubicBezTo>
                  <a:pt x="1173782" y="11469"/>
                  <a:pt x="1166748" y="-1295"/>
                  <a:pt x="1158731" y="1099"/>
                </a:cubicBezTo>
                <a:cubicBezTo>
                  <a:pt x="1159507" y="26926"/>
                  <a:pt x="1151698" y="-995"/>
                  <a:pt x="1144974" y="14162"/>
                </a:cubicBezTo>
                <a:cubicBezTo>
                  <a:pt x="1130027" y="20145"/>
                  <a:pt x="1114925" y="8578"/>
                  <a:pt x="1099099" y="7581"/>
                </a:cubicBezTo>
                <a:cubicBezTo>
                  <a:pt x="1091134" y="7082"/>
                  <a:pt x="1084668" y="14362"/>
                  <a:pt x="1080738" y="14162"/>
                </a:cubicBezTo>
                <a:cubicBezTo>
                  <a:pt x="1081721" y="14162"/>
                  <a:pt x="1078204" y="8278"/>
                  <a:pt x="1076135" y="7581"/>
                </a:cubicBezTo>
                <a:cubicBezTo>
                  <a:pt x="1062946" y="2894"/>
                  <a:pt x="1062533" y="12368"/>
                  <a:pt x="1053172" y="14162"/>
                </a:cubicBezTo>
                <a:cubicBezTo>
                  <a:pt x="1035277" y="17553"/>
                  <a:pt x="1031345" y="8179"/>
                  <a:pt x="1021053" y="7581"/>
                </a:cubicBezTo>
                <a:cubicBezTo>
                  <a:pt x="999486" y="6385"/>
                  <a:pt x="973522" y="11370"/>
                  <a:pt x="952214" y="7581"/>
                </a:cubicBezTo>
                <a:cubicBezTo>
                  <a:pt x="945387" y="6385"/>
                  <a:pt x="943939" y="999"/>
                  <a:pt x="933854" y="1099"/>
                </a:cubicBezTo>
                <a:cubicBezTo>
                  <a:pt x="927027" y="1099"/>
                  <a:pt x="922993" y="13364"/>
                  <a:pt x="915493" y="14162"/>
                </a:cubicBezTo>
                <a:cubicBezTo>
                  <a:pt x="917665" y="13863"/>
                  <a:pt x="911977" y="8080"/>
                  <a:pt x="910890" y="7581"/>
                </a:cubicBezTo>
                <a:cubicBezTo>
                  <a:pt x="884410" y="-3887"/>
                  <a:pt x="841534" y="11469"/>
                  <a:pt x="819087" y="7581"/>
                </a:cubicBezTo>
                <a:cubicBezTo>
                  <a:pt x="813088" y="6583"/>
                  <a:pt x="812829" y="1198"/>
                  <a:pt x="805330" y="1099"/>
                </a:cubicBezTo>
                <a:cubicBezTo>
                  <a:pt x="799382" y="900"/>
                  <a:pt x="796227" y="7182"/>
                  <a:pt x="786969" y="7581"/>
                </a:cubicBezTo>
                <a:cubicBezTo>
                  <a:pt x="778953" y="7980"/>
                  <a:pt x="772488" y="799"/>
                  <a:pt x="764006" y="1099"/>
                </a:cubicBezTo>
                <a:cubicBezTo>
                  <a:pt x="765143" y="999"/>
                  <a:pt x="761368" y="6883"/>
                  <a:pt x="759402" y="7581"/>
                </a:cubicBezTo>
                <a:cubicBezTo>
                  <a:pt x="738094" y="15259"/>
                  <a:pt x="718440" y="900"/>
                  <a:pt x="708924" y="1099"/>
                </a:cubicBezTo>
                <a:cubicBezTo>
                  <a:pt x="700338" y="1198"/>
                  <a:pt x="698683" y="6484"/>
                  <a:pt x="690564" y="7581"/>
                </a:cubicBezTo>
                <a:cubicBezTo>
                  <a:pt x="678306" y="9177"/>
                  <a:pt x="658032" y="5087"/>
                  <a:pt x="644637" y="7581"/>
                </a:cubicBezTo>
                <a:cubicBezTo>
                  <a:pt x="628810" y="10572"/>
                  <a:pt x="636465" y="11969"/>
                  <a:pt x="626276" y="7581"/>
                </a:cubicBezTo>
                <a:cubicBezTo>
                  <a:pt x="605846" y="-1195"/>
                  <a:pt x="584227" y="14063"/>
                  <a:pt x="575797" y="14162"/>
                </a:cubicBezTo>
                <a:cubicBezTo>
                  <a:pt x="569849" y="14261"/>
                  <a:pt x="566746" y="7980"/>
                  <a:pt x="557437" y="7581"/>
                </a:cubicBezTo>
                <a:cubicBezTo>
                  <a:pt x="548799" y="7282"/>
                  <a:pt x="547248" y="14960"/>
                  <a:pt x="539076" y="14162"/>
                </a:cubicBezTo>
                <a:cubicBezTo>
                  <a:pt x="533077" y="13564"/>
                  <a:pt x="532921" y="6883"/>
                  <a:pt x="525319" y="7581"/>
                </a:cubicBezTo>
                <a:cubicBezTo>
                  <a:pt x="518802" y="8179"/>
                  <a:pt x="516733" y="13863"/>
                  <a:pt x="506958" y="14162"/>
                </a:cubicBezTo>
                <a:cubicBezTo>
                  <a:pt x="504269" y="14261"/>
                  <a:pt x="500390" y="15059"/>
                  <a:pt x="497803" y="14162"/>
                </a:cubicBezTo>
                <a:cubicBezTo>
                  <a:pt x="485288" y="9675"/>
                  <a:pt x="488132" y="11769"/>
                  <a:pt x="474840" y="14162"/>
                </a:cubicBezTo>
                <a:cubicBezTo>
                  <a:pt x="475306" y="14063"/>
                  <a:pt x="473702" y="7381"/>
                  <a:pt x="470237" y="7581"/>
                </a:cubicBezTo>
                <a:cubicBezTo>
                  <a:pt x="470031" y="7681"/>
                  <a:pt x="470444" y="13763"/>
                  <a:pt x="470237" y="14162"/>
                </a:cubicBezTo>
                <a:cubicBezTo>
                  <a:pt x="469513" y="15458"/>
                  <a:pt x="462324" y="14063"/>
                  <a:pt x="461031" y="14162"/>
                </a:cubicBezTo>
                <a:cubicBezTo>
                  <a:pt x="424207" y="17054"/>
                  <a:pt x="388623" y="11969"/>
                  <a:pt x="350920" y="14162"/>
                </a:cubicBezTo>
                <a:cubicBezTo>
                  <a:pt x="350144" y="21840"/>
                  <a:pt x="343679" y="21342"/>
                  <a:pt x="337162" y="20744"/>
                </a:cubicBezTo>
                <a:cubicBezTo>
                  <a:pt x="331732" y="48266"/>
                  <a:pt x="356505" y="32510"/>
                  <a:pt x="360126" y="46970"/>
                </a:cubicBezTo>
                <a:cubicBezTo>
                  <a:pt x="327697" y="44377"/>
                  <a:pt x="300855" y="49763"/>
                  <a:pt x="282080" y="66615"/>
                </a:cubicBezTo>
                <a:cubicBezTo>
                  <a:pt x="274323" y="50461"/>
                  <a:pt x="256221" y="65319"/>
                  <a:pt x="249962" y="66615"/>
                </a:cubicBezTo>
                <a:cubicBezTo>
                  <a:pt x="238791" y="68908"/>
                  <a:pt x="225137" y="65219"/>
                  <a:pt x="213241" y="66615"/>
                </a:cubicBezTo>
                <a:cubicBezTo>
                  <a:pt x="207345" y="67214"/>
                  <a:pt x="206828" y="72399"/>
                  <a:pt x="199484" y="73097"/>
                </a:cubicBezTo>
                <a:cubicBezTo>
                  <a:pt x="178330" y="75092"/>
                  <a:pt x="155470" y="72300"/>
                  <a:pt x="135248" y="73097"/>
                </a:cubicBezTo>
                <a:cubicBezTo>
                  <a:pt x="130541" y="73296"/>
                  <a:pt x="129920" y="78880"/>
                  <a:pt x="126041" y="79678"/>
                </a:cubicBezTo>
                <a:cubicBezTo>
                  <a:pt x="123456" y="80176"/>
                  <a:pt x="122059" y="78083"/>
                  <a:pt x="120663" y="76088"/>
                </a:cubicBezTo>
                <a:cubicBezTo>
                  <a:pt x="121180" y="86858"/>
                  <a:pt x="121490" y="99024"/>
                  <a:pt x="123145" y="101717"/>
                </a:cubicBezTo>
                <a:cubicBezTo>
                  <a:pt x="119990" y="187377"/>
                  <a:pt x="125887" y="271340"/>
                  <a:pt x="121697" y="351215"/>
                </a:cubicBezTo>
                <a:cubicBezTo>
                  <a:pt x="118077" y="377144"/>
                  <a:pt x="118438" y="342839"/>
                  <a:pt x="112594" y="350917"/>
                </a:cubicBezTo>
                <a:cubicBezTo>
                  <a:pt x="113629" y="393597"/>
                  <a:pt x="113680" y="377542"/>
                  <a:pt x="112181" y="420222"/>
                </a:cubicBezTo>
                <a:cubicBezTo>
                  <a:pt x="112387" y="436476"/>
                  <a:pt x="115439" y="432089"/>
                  <a:pt x="117559" y="434283"/>
                </a:cubicBezTo>
                <a:cubicBezTo>
                  <a:pt x="115646" y="479356"/>
                  <a:pt x="118077" y="539288"/>
                  <a:pt x="114767" y="600517"/>
                </a:cubicBezTo>
                <a:cubicBezTo>
                  <a:pt x="103957" y="581569"/>
                  <a:pt x="103027" y="641801"/>
                  <a:pt x="92837" y="627640"/>
                </a:cubicBezTo>
                <a:lnTo>
                  <a:pt x="93562" y="502891"/>
                </a:lnTo>
                <a:cubicBezTo>
                  <a:pt x="97337" y="508874"/>
                  <a:pt x="98423" y="493517"/>
                  <a:pt x="100906" y="489228"/>
                </a:cubicBezTo>
                <a:cubicBezTo>
                  <a:pt x="102095" y="476663"/>
                  <a:pt x="99768" y="429098"/>
                  <a:pt x="101319" y="419924"/>
                </a:cubicBezTo>
                <a:cubicBezTo>
                  <a:pt x="101423" y="419125"/>
                  <a:pt x="104475" y="400179"/>
                  <a:pt x="103285" y="392301"/>
                </a:cubicBezTo>
                <a:cubicBezTo>
                  <a:pt x="101009" y="377442"/>
                  <a:pt x="103233" y="388411"/>
                  <a:pt x="103388" y="378440"/>
                </a:cubicBezTo>
                <a:cubicBezTo>
                  <a:pt x="103647" y="360689"/>
                  <a:pt x="103130" y="340346"/>
                  <a:pt x="103699" y="322995"/>
                </a:cubicBezTo>
                <a:cubicBezTo>
                  <a:pt x="103906" y="316813"/>
                  <a:pt x="107888" y="266454"/>
                  <a:pt x="105923" y="253790"/>
                </a:cubicBezTo>
                <a:cubicBezTo>
                  <a:pt x="104682" y="245713"/>
                  <a:pt x="104733" y="241125"/>
                  <a:pt x="106077" y="226067"/>
                </a:cubicBezTo>
                <a:cubicBezTo>
                  <a:pt x="107526" y="210013"/>
                  <a:pt x="108146" y="193658"/>
                  <a:pt x="106491" y="156761"/>
                </a:cubicBezTo>
                <a:cubicBezTo>
                  <a:pt x="108715" y="154368"/>
                  <a:pt x="109077" y="139909"/>
                  <a:pt x="110267" y="129140"/>
                </a:cubicBezTo>
                <a:cubicBezTo>
                  <a:pt x="111146" y="121262"/>
                  <a:pt x="113370" y="109295"/>
                  <a:pt x="114042" y="101517"/>
                </a:cubicBezTo>
                <a:cubicBezTo>
                  <a:pt x="114715" y="94138"/>
                  <a:pt x="115439" y="101816"/>
                  <a:pt x="115956" y="87756"/>
                </a:cubicBezTo>
                <a:cubicBezTo>
                  <a:pt x="116111" y="83268"/>
                  <a:pt x="116111" y="78481"/>
                  <a:pt x="116060" y="73596"/>
                </a:cubicBezTo>
                <a:cubicBezTo>
                  <a:pt x="114353" y="75191"/>
                  <a:pt x="113577" y="80974"/>
                  <a:pt x="107629" y="79777"/>
                </a:cubicBezTo>
                <a:cubicBezTo>
                  <a:pt x="101785" y="78581"/>
                  <a:pt x="101319" y="72399"/>
                  <a:pt x="93872" y="73197"/>
                </a:cubicBezTo>
                <a:cubicBezTo>
                  <a:pt x="94492" y="73197"/>
                  <a:pt x="91596" y="78980"/>
                  <a:pt x="89269" y="79777"/>
                </a:cubicBezTo>
                <a:cubicBezTo>
                  <a:pt x="76132" y="84465"/>
                  <a:pt x="70960" y="84863"/>
                  <a:pt x="61805" y="86359"/>
                </a:cubicBezTo>
                <a:cubicBezTo>
                  <a:pt x="64650" y="88554"/>
                  <a:pt x="64029" y="163044"/>
                  <a:pt x="59323" y="141604"/>
                </a:cubicBezTo>
                <a:cubicBezTo>
                  <a:pt x="58702" y="112685"/>
                  <a:pt x="60771" y="104908"/>
                  <a:pt x="61443" y="86260"/>
                </a:cubicBezTo>
                <a:cubicBezTo>
                  <a:pt x="57099" y="86659"/>
                  <a:pt x="56220" y="79777"/>
                  <a:pt x="52547" y="79777"/>
                </a:cubicBezTo>
                <a:cubicBezTo>
                  <a:pt x="54255" y="79777"/>
                  <a:pt x="49393" y="85762"/>
                  <a:pt x="47996" y="86359"/>
                </a:cubicBezTo>
                <a:cubicBezTo>
                  <a:pt x="43910" y="88155"/>
                  <a:pt x="39980" y="88653"/>
                  <a:pt x="36204" y="88753"/>
                </a:cubicBezTo>
                <a:cubicBezTo>
                  <a:pt x="35997" y="96830"/>
                  <a:pt x="35842" y="104908"/>
                  <a:pt x="36049" y="112685"/>
                </a:cubicBezTo>
                <a:cubicBezTo>
                  <a:pt x="33411" y="114979"/>
                  <a:pt x="31498" y="122558"/>
                  <a:pt x="30049" y="133926"/>
                </a:cubicBezTo>
                <a:cubicBezTo>
                  <a:pt x="31601" y="135023"/>
                  <a:pt x="33050" y="136319"/>
                  <a:pt x="34394" y="138214"/>
                </a:cubicBezTo>
                <a:cubicBezTo>
                  <a:pt x="32843" y="137615"/>
                  <a:pt x="31291" y="137217"/>
                  <a:pt x="29739" y="137018"/>
                </a:cubicBezTo>
                <a:cubicBezTo>
                  <a:pt x="27774" y="154368"/>
                  <a:pt x="26791" y="179398"/>
                  <a:pt x="26429" y="209513"/>
                </a:cubicBezTo>
                <a:cubicBezTo>
                  <a:pt x="27929" y="233846"/>
                  <a:pt x="32636" y="235043"/>
                  <a:pt x="35273" y="251297"/>
                </a:cubicBezTo>
                <a:cubicBezTo>
                  <a:pt x="37187" y="310231"/>
                  <a:pt x="35532" y="325987"/>
                  <a:pt x="34498" y="389907"/>
                </a:cubicBezTo>
                <a:cubicBezTo>
                  <a:pt x="34498" y="425208"/>
                  <a:pt x="36825" y="443757"/>
                  <a:pt x="41428" y="445551"/>
                </a:cubicBezTo>
                <a:cubicBezTo>
                  <a:pt x="40083" y="456719"/>
                  <a:pt x="38376" y="483445"/>
                  <a:pt x="41169" y="487135"/>
                </a:cubicBezTo>
                <a:cubicBezTo>
                  <a:pt x="42101" y="511865"/>
                  <a:pt x="35480" y="544574"/>
                  <a:pt x="40755" y="556439"/>
                </a:cubicBezTo>
                <a:cubicBezTo>
                  <a:pt x="40186" y="578178"/>
                  <a:pt x="36618" y="584062"/>
                  <a:pt x="35015" y="611685"/>
                </a:cubicBezTo>
                <a:cubicBezTo>
                  <a:pt x="34549" y="619563"/>
                  <a:pt x="35170" y="631131"/>
                  <a:pt x="34859" y="639407"/>
                </a:cubicBezTo>
                <a:cubicBezTo>
                  <a:pt x="34652" y="644792"/>
                  <a:pt x="32946" y="657157"/>
                  <a:pt x="32946" y="653168"/>
                </a:cubicBezTo>
                <a:cubicBezTo>
                  <a:pt x="32894" y="664437"/>
                  <a:pt x="34859" y="666830"/>
                  <a:pt x="34601" y="680890"/>
                </a:cubicBezTo>
                <a:cubicBezTo>
                  <a:pt x="34239" y="699439"/>
                  <a:pt x="28550" y="764655"/>
                  <a:pt x="35946" y="764057"/>
                </a:cubicBezTo>
                <a:cubicBezTo>
                  <a:pt x="31756" y="798061"/>
                  <a:pt x="30619" y="856697"/>
                  <a:pt x="29636" y="916430"/>
                </a:cubicBezTo>
                <a:cubicBezTo>
                  <a:pt x="25447" y="911842"/>
                  <a:pt x="22654" y="918424"/>
                  <a:pt x="20482" y="929991"/>
                </a:cubicBezTo>
                <a:cubicBezTo>
                  <a:pt x="19240" y="944550"/>
                  <a:pt x="21671" y="987530"/>
                  <a:pt x="20067" y="999296"/>
                </a:cubicBezTo>
                <a:cubicBezTo>
                  <a:pt x="19757" y="1001889"/>
                  <a:pt x="16603" y="996305"/>
                  <a:pt x="16447" y="999197"/>
                </a:cubicBezTo>
                <a:cubicBezTo>
                  <a:pt x="14792" y="1035794"/>
                  <a:pt x="16189" y="1068602"/>
                  <a:pt x="14016" y="1109985"/>
                </a:cubicBezTo>
                <a:lnTo>
                  <a:pt x="8586" y="1109787"/>
                </a:lnTo>
                <a:cubicBezTo>
                  <a:pt x="6620" y="1128434"/>
                  <a:pt x="10965" y="1160045"/>
                  <a:pt x="10086" y="1165230"/>
                </a:cubicBezTo>
                <a:cubicBezTo>
                  <a:pt x="5327" y="1193351"/>
                  <a:pt x="14430" y="1210603"/>
                  <a:pt x="6155" y="1220575"/>
                </a:cubicBezTo>
                <a:cubicBezTo>
                  <a:pt x="5690" y="1250890"/>
                  <a:pt x="7396" y="1264751"/>
                  <a:pt x="11378" y="1262358"/>
                </a:cubicBezTo>
                <a:cubicBezTo>
                  <a:pt x="8017" y="1316905"/>
                  <a:pt x="8068" y="1304640"/>
                  <a:pt x="10810" y="1359386"/>
                </a:cubicBezTo>
                <a:cubicBezTo>
                  <a:pt x="8793" y="1358189"/>
                  <a:pt x="7758" y="1364970"/>
                  <a:pt x="6465" y="1369457"/>
                </a:cubicBezTo>
                <a:cubicBezTo>
                  <a:pt x="6620" y="1369257"/>
                  <a:pt x="6724" y="1369058"/>
                  <a:pt x="6879" y="1368759"/>
                </a:cubicBezTo>
                <a:cubicBezTo>
                  <a:pt x="8637" y="1365568"/>
                  <a:pt x="15361" y="1378232"/>
                  <a:pt x="20636" y="1368759"/>
                </a:cubicBezTo>
                <a:cubicBezTo>
                  <a:pt x="23016" y="1364571"/>
                  <a:pt x="26377" y="1375440"/>
                  <a:pt x="25240" y="1375341"/>
                </a:cubicBezTo>
                <a:cubicBezTo>
                  <a:pt x="27412" y="1375440"/>
                  <a:pt x="29377" y="1375640"/>
                  <a:pt x="31342" y="1375839"/>
                </a:cubicBezTo>
                <a:lnTo>
                  <a:pt x="31342" y="1410243"/>
                </a:lnTo>
                <a:cubicBezTo>
                  <a:pt x="28136" y="1411041"/>
                  <a:pt x="25447" y="1414430"/>
                  <a:pt x="25240" y="1421211"/>
                </a:cubicBezTo>
                <a:cubicBezTo>
                  <a:pt x="27619" y="1422009"/>
                  <a:pt x="29429" y="1423505"/>
                  <a:pt x="31342" y="1425001"/>
                </a:cubicBezTo>
                <a:lnTo>
                  <a:pt x="31342" y="1433477"/>
                </a:lnTo>
                <a:cubicBezTo>
                  <a:pt x="20998" y="1430585"/>
                  <a:pt x="11689" y="1431383"/>
                  <a:pt x="3982" y="1430486"/>
                </a:cubicBezTo>
                <a:cubicBezTo>
                  <a:pt x="3724" y="1437567"/>
                  <a:pt x="3414" y="1444647"/>
                  <a:pt x="3052" y="1451726"/>
                </a:cubicBezTo>
                <a:cubicBezTo>
                  <a:pt x="6310" y="1462795"/>
                  <a:pt x="20274" y="1458407"/>
                  <a:pt x="20689" y="1473564"/>
                </a:cubicBezTo>
                <a:cubicBezTo>
                  <a:pt x="21568" y="1473266"/>
                  <a:pt x="22395" y="1473266"/>
                  <a:pt x="23274" y="1473066"/>
                </a:cubicBezTo>
                <a:cubicBezTo>
                  <a:pt x="24671" y="1448535"/>
                  <a:pt x="27774" y="1460501"/>
                  <a:pt x="28032" y="1472469"/>
                </a:cubicBezTo>
                <a:cubicBezTo>
                  <a:pt x="29170" y="1472469"/>
                  <a:pt x="30308" y="1472469"/>
                  <a:pt x="31395" y="1472568"/>
                </a:cubicBezTo>
                <a:lnTo>
                  <a:pt x="31395" y="1511359"/>
                </a:lnTo>
                <a:cubicBezTo>
                  <a:pt x="25757" y="1508966"/>
                  <a:pt x="20533" y="1510461"/>
                  <a:pt x="16137" y="1506273"/>
                </a:cubicBezTo>
                <a:cubicBezTo>
                  <a:pt x="11585" y="1501985"/>
                  <a:pt x="6051" y="1500189"/>
                  <a:pt x="725" y="1498993"/>
                </a:cubicBezTo>
                <a:cubicBezTo>
                  <a:pt x="362" y="1508367"/>
                  <a:pt x="52" y="1517442"/>
                  <a:pt x="0" y="1526118"/>
                </a:cubicBezTo>
                <a:cubicBezTo>
                  <a:pt x="879" y="1526017"/>
                  <a:pt x="1811" y="1525917"/>
                  <a:pt x="2431" y="1525917"/>
                </a:cubicBezTo>
                <a:cubicBezTo>
                  <a:pt x="6465" y="1526217"/>
                  <a:pt x="6103" y="1532200"/>
                  <a:pt x="7034" y="1532500"/>
                </a:cubicBezTo>
                <a:cubicBezTo>
                  <a:pt x="22084" y="1537485"/>
                  <a:pt x="24929" y="1530206"/>
                  <a:pt x="29998" y="1539082"/>
                </a:cubicBezTo>
                <a:cubicBezTo>
                  <a:pt x="30256" y="1539479"/>
                  <a:pt x="30774" y="1539679"/>
                  <a:pt x="31498" y="1539679"/>
                </a:cubicBezTo>
                <a:lnTo>
                  <a:pt x="31498" y="1739319"/>
                </a:lnTo>
                <a:cubicBezTo>
                  <a:pt x="32325" y="1742510"/>
                  <a:pt x="33204" y="1747396"/>
                  <a:pt x="34135" y="1748294"/>
                </a:cubicBezTo>
                <a:cubicBezTo>
                  <a:pt x="34963" y="1773822"/>
                  <a:pt x="33256" y="1779406"/>
                  <a:pt x="31498" y="1784292"/>
                </a:cubicBezTo>
                <a:lnTo>
                  <a:pt x="31498" y="2150564"/>
                </a:lnTo>
                <a:cubicBezTo>
                  <a:pt x="33204" y="2126133"/>
                  <a:pt x="31704" y="2113767"/>
                  <a:pt x="31704" y="2113767"/>
                </a:cubicBezTo>
                <a:lnTo>
                  <a:pt x="35066" y="2023620"/>
                </a:lnTo>
                <a:lnTo>
                  <a:pt x="35428" y="1958603"/>
                </a:lnTo>
                <a:cubicBezTo>
                  <a:pt x="39824" y="1957108"/>
                  <a:pt x="38376" y="1921607"/>
                  <a:pt x="40497" y="1900965"/>
                </a:cubicBezTo>
                <a:cubicBezTo>
                  <a:pt x="43031" y="1877032"/>
                  <a:pt x="41169" y="1836945"/>
                  <a:pt x="46548" y="1836246"/>
                </a:cubicBezTo>
                <a:cubicBezTo>
                  <a:pt x="50479" y="1867759"/>
                  <a:pt x="48617" y="1895081"/>
                  <a:pt x="47634" y="1928887"/>
                </a:cubicBezTo>
                <a:cubicBezTo>
                  <a:pt x="46290" y="1976254"/>
                  <a:pt x="47013" y="2016042"/>
                  <a:pt x="45048" y="2067498"/>
                </a:cubicBezTo>
                <a:cubicBezTo>
                  <a:pt x="44790" y="2073679"/>
                  <a:pt x="43083" y="2084250"/>
                  <a:pt x="43135" y="2081259"/>
                </a:cubicBezTo>
                <a:cubicBezTo>
                  <a:pt x="42980" y="2094321"/>
                  <a:pt x="45411" y="2111075"/>
                  <a:pt x="44635" y="2136703"/>
                </a:cubicBezTo>
                <a:cubicBezTo>
                  <a:pt x="44583" y="2138598"/>
                  <a:pt x="42876" y="2138997"/>
                  <a:pt x="42721" y="2150465"/>
                </a:cubicBezTo>
                <a:cubicBezTo>
                  <a:pt x="42359" y="2177788"/>
                  <a:pt x="36773" y="2223958"/>
                  <a:pt x="43962" y="2247592"/>
                </a:cubicBezTo>
                <a:cubicBezTo>
                  <a:pt x="43342" y="2263847"/>
                  <a:pt x="35635" y="2304931"/>
                  <a:pt x="43652" y="2303036"/>
                </a:cubicBezTo>
                <a:cubicBezTo>
                  <a:pt x="44686" y="2340331"/>
                  <a:pt x="39721" y="2329661"/>
                  <a:pt x="37962" y="2344421"/>
                </a:cubicBezTo>
                <a:cubicBezTo>
                  <a:pt x="38945" y="2395875"/>
                  <a:pt x="34549" y="2403853"/>
                  <a:pt x="35532" y="2455309"/>
                </a:cubicBezTo>
                <a:cubicBezTo>
                  <a:pt x="33877" y="2456406"/>
                  <a:pt x="32532" y="2455509"/>
                  <a:pt x="31498" y="2453015"/>
                </a:cubicBezTo>
                <a:lnTo>
                  <a:pt x="31498" y="2489911"/>
                </a:lnTo>
                <a:cubicBezTo>
                  <a:pt x="32429" y="2485025"/>
                  <a:pt x="33463" y="2480538"/>
                  <a:pt x="35377" y="2483031"/>
                </a:cubicBezTo>
                <a:cubicBezTo>
                  <a:pt x="37135" y="2518631"/>
                  <a:pt x="29480" y="2548946"/>
                  <a:pt x="34911" y="2566197"/>
                </a:cubicBezTo>
                <a:cubicBezTo>
                  <a:pt x="33101" y="2588335"/>
                  <a:pt x="32325" y="2581355"/>
                  <a:pt x="31498" y="2568491"/>
                </a:cubicBezTo>
                <a:lnTo>
                  <a:pt x="31498" y="2621542"/>
                </a:lnTo>
                <a:lnTo>
                  <a:pt x="34601" y="2621641"/>
                </a:lnTo>
                <a:lnTo>
                  <a:pt x="34445" y="2649364"/>
                </a:lnTo>
                <a:lnTo>
                  <a:pt x="31498" y="2649265"/>
                </a:lnTo>
                <a:lnTo>
                  <a:pt x="31498" y="2722957"/>
                </a:lnTo>
                <a:cubicBezTo>
                  <a:pt x="32067" y="2728043"/>
                  <a:pt x="32894" y="2731334"/>
                  <a:pt x="33980" y="2732531"/>
                </a:cubicBezTo>
                <a:cubicBezTo>
                  <a:pt x="32739" y="2753870"/>
                  <a:pt x="32015" y="2773515"/>
                  <a:pt x="31498" y="2792463"/>
                </a:cubicBezTo>
                <a:lnTo>
                  <a:pt x="31498" y="3407136"/>
                </a:lnTo>
                <a:cubicBezTo>
                  <a:pt x="33204" y="3415014"/>
                  <a:pt x="34652" y="3424787"/>
                  <a:pt x="35377" y="3439645"/>
                </a:cubicBezTo>
                <a:cubicBezTo>
                  <a:pt x="35480" y="3475545"/>
                  <a:pt x="33411" y="3487112"/>
                  <a:pt x="31498" y="3505959"/>
                </a:cubicBezTo>
                <a:lnTo>
                  <a:pt x="31498" y="3592017"/>
                </a:lnTo>
                <a:cubicBezTo>
                  <a:pt x="34239" y="3592616"/>
                  <a:pt x="37755" y="3582544"/>
                  <a:pt x="40031" y="3578455"/>
                </a:cubicBezTo>
                <a:cubicBezTo>
                  <a:pt x="39824" y="3562201"/>
                  <a:pt x="36773" y="3566589"/>
                  <a:pt x="34652" y="3564396"/>
                </a:cubicBezTo>
                <a:cubicBezTo>
                  <a:pt x="36825" y="3524507"/>
                  <a:pt x="40445" y="3518623"/>
                  <a:pt x="45721" y="3536973"/>
                </a:cubicBezTo>
                <a:cubicBezTo>
                  <a:pt x="45927" y="3513239"/>
                  <a:pt x="44583" y="3500973"/>
                  <a:pt x="42307" y="3495288"/>
                </a:cubicBezTo>
                <a:cubicBezTo>
                  <a:pt x="44686" y="3475444"/>
                  <a:pt x="48721" y="3469163"/>
                  <a:pt x="53375" y="3467865"/>
                </a:cubicBezTo>
                <a:cubicBezTo>
                  <a:pt x="56064" y="3487211"/>
                  <a:pt x="50530" y="3518724"/>
                  <a:pt x="51151" y="3537072"/>
                </a:cubicBezTo>
                <a:cubicBezTo>
                  <a:pt x="51306" y="3540961"/>
                  <a:pt x="54616" y="3556617"/>
                  <a:pt x="54720" y="3551033"/>
                </a:cubicBezTo>
                <a:cubicBezTo>
                  <a:pt x="54462" y="3567587"/>
                  <a:pt x="49806" y="3566988"/>
                  <a:pt x="49134" y="3578555"/>
                </a:cubicBezTo>
                <a:cubicBezTo>
                  <a:pt x="47893" y="3600594"/>
                  <a:pt x="54978" y="3627618"/>
                  <a:pt x="50479" y="3661821"/>
                </a:cubicBezTo>
                <a:cubicBezTo>
                  <a:pt x="54255" y="3672890"/>
                  <a:pt x="53013" y="3643374"/>
                  <a:pt x="54255" y="3634200"/>
                </a:cubicBezTo>
                <a:cubicBezTo>
                  <a:pt x="54875" y="3629612"/>
                  <a:pt x="57254" y="3638885"/>
                  <a:pt x="57875" y="3634299"/>
                </a:cubicBezTo>
                <a:cubicBezTo>
                  <a:pt x="58392" y="3630310"/>
                  <a:pt x="57409" y="3609668"/>
                  <a:pt x="58030" y="3606577"/>
                </a:cubicBezTo>
                <a:cubicBezTo>
                  <a:pt x="59788" y="3597801"/>
                  <a:pt x="63822" y="3616648"/>
                  <a:pt x="63564" y="3592815"/>
                </a:cubicBezTo>
                <a:cubicBezTo>
                  <a:pt x="64598" y="3563298"/>
                  <a:pt x="61133" y="3566390"/>
                  <a:pt x="58288" y="3564993"/>
                </a:cubicBezTo>
                <a:cubicBezTo>
                  <a:pt x="61029" y="3530789"/>
                  <a:pt x="64650" y="3540662"/>
                  <a:pt x="69253" y="3551431"/>
                </a:cubicBezTo>
                <a:cubicBezTo>
                  <a:pt x="67288" y="3569780"/>
                  <a:pt x="70701" y="3608871"/>
                  <a:pt x="70753" y="3606876"/>
                </a:cubicBezTo>
                <a:cubicBezTo>
                  <a:pt x="70236" y="3621934"/>
                  <a:pt x="67081" y="3616150"/>
                  <a:pt x="66977" y="3634498"/>
                </a:cubicBezTo>
                <a:cubicBezTo>
                  <a:pt x="68994" y="3682364"/>
                  <a:pt x="71270" y="3688746"/>
                  <a:pt x="68064" y="3759249"/>
                </a:cubicBezTo>
                <a:cubicBezTo>
                  <a:pt x="65943" y="3756855"/>
                  <a:pt x="66667" y="3733919"/>
                  <a:pt x="66460" y="3717566"/>
                </a:cubicBezTo>
                <a:cubicBezTo>
                  <a:pt x="65115" y="3704003"/>
                  <a:pt x="64392" y="3689544"/>
                  <a:pt x="63047" y="3675883"/>
                </a:cubicBezTo>
                <a:cubicBezTo>
                  <a:pt x="61702" y="3662420"/>
                  <a:pt x="63978" y="3653544"/>
                  <a:pt x="61392" y="3648160"/>
                </a:cubicBezTo>
                <a:cubicBezTo>
                  <a:pt x="60306" y="3645767"/>
                  <a:pt x="58909" y="3649855"/>
                  <a:pt x="57772" y="3648060"/>
                </a:cubicBezTo>
                <a:cubicBezTo>
                  <a:pt x="56168" y="3648758"/>
                  <a:pt x="57306" y="3697721"/>
                  <a:pt x="57202" y="3745088"/>
                </a:cubicBezTo>
                <a:cubicBezTo>
                  <a:pt x="57099" y="3782683"/>
                  <a:pt x="56271" y="3829850"/>
                  <a:pt x="56478" y="3869837"/>
                </a:cubicBezTo>
                <a:cubicBezTo>
                  <a:pt x="56633" y="3894369"/>
                  <a:pt x="58133" y="3899254"/>
                  <a:pt x="57978" y="3925282"/>
                </a:cubicBezTo>
                <a:cubicBezTo>
                  <a:pt x="57512" y="4012837"/>
                  <a:pt x="53323" y="4099792"/>
                  <a:pt x="54668" y="4188542"/>
                </a:cubicBezTo>
                <a:cubicBezTo>
                  <a:pt x="61547" y="4195424"/>
                  <a:pt x="66305" y="4184952"/>
                  <a:pt x="69357" y="4161219"/>
                </a:cubicBezTo>
                <a:cubicBezTo>
                  <a:pt x="68478" y="4132401"/>
                  <a:pt x="72150" y="4070175"/>
                  <a:pt x="68115" y="4064092"/>
                </a:cubicBezTo>
                <a:cubicBezTo>
                  <a:pt x="69719" y="4054121"/>
                  <a:pt x="69408" y="4040059"/>
                  <a:pt x="70184" y="4022509"/>
                </a:cubicBezTo>
                <a:cubicBezTo>
                  <a:pt x="70391" y="4017822"/>
                  <a:pt x="69873" y="3997579"/>
                  <a:pt x="70339" y="3994787"/>
                </a:cubicBezTo>
                <a:cubicBezTo>
                  <a:pt x="72564" y="3981723"/>
                  <a:pt x="70029" y="3982322"/>
                  <a:pt x="70598" y="3953203"/>
                </a:cubicBezTo>
                <a:cubicBezTo>
                  <a:pt x="71167" y="3922789"/>
                  <a:pt x="72357" y="3898756"/>
                  <a:pt x="73029" y="3842414"/>
                </a:cubicBezTo>
                <a:cubicBezTo>
                  <a:pt x="73287" y="3820476"/>
                  <a:pt x="72460" y="3789563"/>
                  <a:pt x="75149" y="3787070"/>
                </a:cubicBezTo>
                <a:cubicBezTo>
                  <a:pt x="85338" y="3765730"/>
                  <a:pt x="76597" y="3882402"/>
                  <a:pt x="85545" y="3870535"/>
                </a:cubicBezTo>
                <a:cubicBezTo>
                  <a:pt x="91234" y="3864951"/>
                  <a:pt x="85648" y="3837927"/>
                  <a:pt x="85855" y="3815091"/>
                </a:cubicBezTo>
                <a:cubicBezTo>
                  <a:pt x="86062" y="3793353"/>
                  <a:pt x="87924" y="3790460"/>
                  <a:pt x="87924" y="3773509"/>
                </a:cubicBezTo>
                <a:cubicBezTo>
                  <a:pt x="87924" y="3762738"/>
                  <a:pt x="86424" y="3750074"/>
                  <a:pt x="86320" y="3731925"/>
                </a:cubicBezTo>
                <a:cubicBezTo>
                  <a:pt x="85959" y="3677677"/>
                  <a:pt x="87821" y="3602388"/>
                  <a:pt x="87407" y="3537870"/>
                </a:cubicBezTo>
                <a:cubicBezTo>
                  <a:pt x="87355" y="3523610"/>
                  <a:pt x="85907" y="3483522"/>
                  <a:pt x="86010" y="3468564"/>
                </a:cubicBezTo>
                <a:cubicBezTo>
                  <a:pt x="86010" y="3471356"/>
                  <a:pt x="87821" y="3462481"/>
                  <a:pt x="87924" y="3454703"/>
                </a:cubicBezTo>
                <a:cubicBezTo>
                  <a:pt x="88389" y="3419003"/>
                  <a:pt x="87665" y="3322474"/>
                  <a:pt x="90769" y="3274608"/>
                </a:cubicBezTo>
                <a:cubicBezTo>
                  <a:pt x="94441" y="3283484"/>
                  <a:pt x="91596" y="3339427"/>
                  <a:pt x="95837" y="3344013"/>
                </a:cubicBezTo>
                <a:cubicBezTo>
                  <a:pt x="98888" y="3349199"/>
                  <a:pt x="99302" y="3333343"/>
                  <a:pt x="99613" y="3316391"/>
                </a:cubicBezTo>
                <a:cubicBezTo>
                  <a:pt x="105147" y="3326264"/>
                  <a:pt x="103078" y="3326264"/>
                  <a:pt x="108715" y="3316690"/>
                </a:cubicBezTo>
                <a:cubicBezTo>
                  <a:pt x="107267" y="3300635"/>
                  <a:pt x="106491" y="3279495"/>
                  <a:pt x="107267" y="3247385"/>
                </a:cubicBezTo>
                <a:cubicBezTo>
                  <a:pt x="100492" y="3227241"/>
                  <a:pt x="103543" y="3285478"/>
                  <a:pt x="98009" y="3274907"/>
                </a:cubicBezTo>
                <a:cubicBezTo>
                  <a:pt x="98785" y="3242399"/>
                  <a:pt x="101164" y="3222953"/>
                  <a:pt x="100389" y="3177980"/>
                </a:cubicBezTo>
                <a:cubicBezTo>
                  <a:pt x="103336" y="3174091"/>
                  <a:pt x="103440" y="3191143"/>
                  <a:pt x="105767" y="3191940"/>
                </a:cubicBezTo>
                <a:cubicBezTo>
                  <a:pt x="109129" y="3189946"/>
                  <a:pt x="107112" y="3145072"/>
                  <a:pt x="109698" y="3136596"/>
                </a:cubicBezTo>
                <a:cubicBezTo>
                  <a:pt x="113680" y="3138391"/>
                  <a:pt x="110112" y="3195331"/>
                  <a:pt x="111042" y="3219762"/>
                </a:cubicBezTo>
                <a:cubicBezTo>
                  <a:pt x="118852" y="3229335"/>
                  <a:pt x="116267" y="3155643"/>
                  <a:pt x="117094" y="3109073"/>
                </a:cubicBezTo>
                <a:cubicBezTo>
                  <a:pt x="109233" y="3106879"/>
                  <a:pt x="101940" y="3147565"/>
                  <a:pt x="100906" y="3080852"/>
                </a:cubicBezTo>
                <a:cubicBezTo>
                  <a:pt x="97802" y="3080154"/>
                  <a:pt x="96147" y="3090925"/>
                  <a:pt x="95320" y="3108376"/>
                </a:cubicBezTo>
                <a:cubicBezTo>
                  <a:pt x="91596" y="3091123"/>
                  <a:pt x="96716" y="3009851"/>
                  <a:pt x="86631" y="3038870"/>
                </a:cubicBezTo>
                <a:cubicBezTo>
                  <a:pt x="86476" y="2994196"/>
                  <a:pt x="90148" y="2980335"/>
                  <a:pt x="89062" y="2927981"/>
                </a:cubicBezTo>
                <a:cubicBezTo>
                  <a:pt x="94492" y="2921401"/>
                  <a:pt x="104940" y="3008655"/>
                  <a:pt x="105509" y="2914619"/>
                </a:cubicBezTo>
                <a:cubicBezTo>
                  <a:pt x="109284" y="2880415"/>
                  <a:pt x="106440" y="2996289"/>
                  <a:pt x="104940" y="3011647"/>
                </a:cubicBezTo>
                <a:cubicBezTo>
                  <a:pt x="105405" y="3030493"/>
                  <a:pt x="109440" y="3023214"/>
                  <a:pt x="112129" y="3025707"/>
                </a:cubicBezTo>
                <a:cubicBezTo>
                  <a:pt x="114094" y="3022317"/>
                  <a:pt x="113526" y="2998185"/>
                  <a:pt x="115904" y="2998085"/>
                </a:cubicBezTo>
                <a:cubicBezTo>
                  <a:pt x="117043" y="2967371"/>
                  <a:pt x="112543" y="2978241"/>
                  <a:pt x="112491" y="2956402"/>
                </a:cubicBezTo>
                <a:cubicBezTo>
                  <a:pt x="109853" y="2887993"/>
                  <a:pt x="120146" y="2806223"/>
                  <a:pt x="109698" y="2803830"/>
                </a:cubicBezTo>
                <a:cubicBezTo>
                  <a:pt x="104526" y="2817292"/>
                  <a:pt x="112129" y="2840927"/>
                  <a:pt x="107578" y="2859275"/>
                </a:cubicBezTo>
                <a:cubicBezTo>
                  <a:pt x="103595" y="2861468"/>
                  <a:pt x="107009" y="2810113"/>
                  <a:pt x="106130" y="2789869"/>
                </a:cubicBezTo>
                <a:cubicBezTo>
                  <a:pt x="101940" y="2785382"/>
                  <a:pt x="99147" y="2791963"/>
                  <a:pt x="96975" y="2803530"/>
                </a:cubicBezTo>
                <a:cubicBezTo>
                  <a:pt x="97440" y="2831353"/>
                  <a:pt x="96354" y="2846909"/>
                  <a:pt x="93096" y="2845015"/>
                </a:cubicBezTo>
                <a:cubicBezTo>
                  <a:pt x="93458" y="2826865"/>
                  <a:pt x="92993" y="2807719"/>
                  <a:pt x="93406" y="2789570"/>
                </a:cubicBezTo>
                <a:cubicBezTo>
                  <a:pt x="93872" y="2769427"/>
                  <a:pt x="95371" y="2764141"/>
                  <a:pt x="95475" y="2748087"/>
                </a:cubicBezTo>
                <a:cubicBezTo>
                  <a:pt x="95631" y="2726147"/>
                  <a:pt x="93665" y="2723456"/>
                  <a:pt x="93923" y="2706404"/>
                </a:cubicBezTo>
                <a:cubicBezTo>
                  <a:pt x="94492" y="2666117"/>
                  <a:pt x="98992" y="2544459"/>
                  <a:pt x="96923" y="2498587"/>
                </a:cubicBezTo>
                <a:lnTo>
                  <a:pt x="100543" y="2498686"/>
                </a:lnTo>
                <a:cubicBezTo>
                  <a:pt x="98578" y="2445137"/>
                  <a:pt x="101216" y="2434667"/>
                  <a:pt x="99457" y="2373937"/>
                </a:cubicBezTo>
                <a:cubicBezTo>
                  <a:pt x="103027" y="2362169"/>
                  <a:pt x="103492" y="2399066"/>
                  <a:pt x="104733" y="2401759"/>
                </a:cubicBezTo>
                <a:cubicBezTo>
                  <a:pt x="105664" y="2403654"/>
                  <a:pt x="108095" y="2385705"/>
                  <a:pt x="110267" y="2387997"/>
                </a:cubicBezTo>
                <a:cubicBezTo>
                  <a:pt x="111767" y="2389593"/>
                  <a:pt x="111974" y="2402457"/>
                  <a:pt x="113836" y="2401959"/>
                </a:cubicBezTo>
                <a:cubicBezTo>
                  <a:pt x="117094" y="2401161"/>
                  <a:pt x="120353" y="2375533"/>
                  <a:pt x="124800" y="2388396"/>
                </a:cubicBezTo>
                <a:cubicBezTo>
                  <a:pt x="124697" y="2345018"/>
                  <a:pt x="126610" y="2286682"/>
                  <a:pt x="123714" y="2263647"/>
                </a:cubicBezTo>
                <a:cubicBezTo>
                  <a:pt x="121955" y="2273819"/>
                  <a:pt x="120818" y="2288775"/>
                  <a:pt x="119835" y="2305131"/>
                </a:cubicBezTo>
                <a:cubicBezTo>
                  <a:pt x="117043" y="2304831"/>
                  <a:pt x="116422" y="2202319"/>
                  <a:pt x="122111" y="2222063"/>
                </a:cubicBezTo>
                <a:cubicBezTo>
                  <a:pt x="122318" y="2189355"/>
                  <a:pt x="119214" y="2181178"/>
                  <a:pt x="120766" y="2138798"/>
                </a:cubicBezTo>
                <a:cubicBezTo>
                  <a:pt x="123818" y="2143983"/>
                  <a:pt x="124232" y="2128027"/>
                  <a:pt x="124542" y="2111175"/>
                </a:cubicBezTo>
                <a:cubicBezTo>
                  <a:pt x="127593" y="2116360"/>
                  <a:pt x="128007" y="2100505"/>
                  <a:pt x="128317" y="2083552"/>
                </a:cubicBezTo>
                <a:cubicBezTo>
                  <a:pt x="129713" y="2085048"/>
                  <a:pt x="131472" y="2136405"/>
                  <a:pt x="131575" y="2152957"/>
                </a:cubicBezTo>
                <a:cubicBezTo>
                  <a:pt x="131782" y="2183970"/>
                  <a:pt x="131472" y="2215981"/>
                  <a:pt x="129300" y="2236025"/>
                </a:cubicBezTo>
                <a:cubicBezTo>
                  <a:pt x="132610" y="2262151"/>
                  <a:pt x="133851" y="2237720"/>
                  <a:pt x="138402" y="2236323"/>
                </a:cubicBezTo>
                <a:cubicBezTo>
                  <a:pt x="138195" y="2261154"/>
                  <a:pt x="136437" y="2265442"/>
                  <a:pt x="136282" y="2291669"/>
                </a:cubicBezTo>
                <a:cubicBezTo>
                  <a:pt x="136127" y="2316597"/>
                  <a:pt x="138092" y="2320986"/>
                  <a:pt x="137782" y="2347213"/>
                </a:cubicBezTo>
                <a:cubicBezTo>
                  <a:pt x="137782" y="2345117"/>
                  <a:pt x="135972" y="2352597"/>
                  <a:pt x="135868" y="2360973"/>
                </a:cubicBezTo>
                <a:cubicBezTo>
                  <a:pt x="135713" y="2371943"/>
                  <a:pt x="135403" y="2425891"/>
                  <a:pt x="135299" y="2458001"/>
                </a:cubicBezTo>
                <a:cubicBezTo>
                  <a:pt x="135196" y="2487419"/>
                  <a:pt x="137006" y="2523418"/>
                  <a:pt x="136386" y="2582751"/>
                </a:cubicBezTo>
                <a:cubicBezTo>
                  <a:pt x="135817" y="2635802"/>
                  <a:pt x="131110" y="2679579"/>
                  <a:pt x="133748" y="2721361"/>
                </a:cubicBezTo>
                <a:lnTo>
                  <a:pt x="124645" y="2721063"/>
                </a:lnTo>
                <a:cubicBezTo>
                  <a:pt x="127438" y="2648665"/>
                  <a:pt x="132351" y="2525811"/>
                  <a:pt x="128058" y="2443940"/>
                </a:cubicBezTo>
                <a:cubicBezTo>
                  <a:pt x="124542" y="2449425"/>
                  <a:pt x="126300" y="2497591"/>
                  <a:pt x="120559" y="2485325"/>
                </a:cubicBezTo>
                <a:cubicBezTo>
                  <a:pt x="120146" y="2512647"/>
                  <a:pt x="125318" y="2554730"/>
                  <a:pt x="120146" y="2554629"/>
                </a:cubicBezTo>
                <a:cubicBezTo>
                  <a:pt x="116887" y="2554530"/>
                  <a:pt x="119680" y="2587537"/>
                  <a:pt x="119887" y="2596213"/>
                </a:cubicBezTo>
                <a:cubicBezTo>
                  <a:pt x="117766" y="2593919"/>
                  <a:pt x="116629" y="2599205"/>
                  <a:pt x="116163" y="2609975"/>
                </a:cubicBezTo>
                <a:cubicBezTo>
                  <a:pt x="109543" y="2605986"/>
                  <a:pt x="115853" y="2579560"/>
                  <a:pt x="114663" y="2554431"/>
                </a:cubicBezTo>
                <a:cubicBezTo>
                  <a:pt x="113629" y="2533589"/>
                  <a:pt x="110629" y="2554331"/>
                  <a:pt x="109284" y="2540470"/>
                </a:cubicBezTo>
                <a:cubicBezTo>
                  <a:pt x="107888" y="2526210"/>
                  <a:pt x="110732" y="2487617"/>
                  <a:pt x="109698" y="2471164"/>
                </a:cubicBezTo>
                <a:lnTo>
                  <a:pt x="104268" y="2470965"/>
                </a:lnTo>
                <a:cubicBezTo>
                  <a:pt x="100336" y="2494100"/>
                  <a:pt x="102664" y="2540968"/>
                  <a:pt x="101837" y="2581754"/>
                </a:cubicBezTo>
                <a:cubicBezTo>
                  <a:pt x="101216" y="2613065"/>
                  <a:pt x="98578" y="2637298"/>
                  <a:pt x="99561" y="2664920"/>
                </a:cubicBezTo>
                <a:cubicBezTo>
                  <a:pt x="100906" y="2717573"/>
                  <a:pt x="106802" y="2675191"/>
                  <a:pt x="112181" y="2679081"/>
                </a:cubicBezTo>
                <a:cubicBezTo>
                  <a:pt x="114663" y="2674792"/>
                  <a:pt x="113887" y="2644377"/>
                  <a:pt x="114301" y="2623636"/>
                </a:cubicBezTo>
                <a:cubicBezTo>
                  <a:pt x="126197" y="2669706"/>
                  <a:pt x="109647" y="2859374"/>
                  <a:pt x="118077" y="2914819"/>
                </a:cubicBezTo>
                <a:cubicBezTo>
                  <a:pt x="123249" y="2917311"/>
                  <a:pt x="116422" y="2824073"/>
                  <a:pt x="123921" y="2845612"/>
                </a:cubicBezTo>
                <a:cubicBezTo>
                  <a:pt x="122214" y="2880115"/>
                  <a:pt x="121128" y="2919804"/>
                  <a:pt x="121387" y="2970263"/>
                </a:cubicBezTo>
                <a:cubicBezTo>
                  <a:pt x="126455" y="2981831"/>
                  <a:pt x="126197" y="2950818"/>
                  <a:pt x="130541" y="2956702"/>
                </a:cubicBezTo>
                <a:cubicBezTo>
                  <a:pt x="129404" y="2976745"/>
                  <a:pt x="132248" y="3028399"/>
                  <a:pt x="128317" y="3025907"/>
                </a:cubicBezTo>
                <a:cubicBezTo>
                  <a:pt x="128990" y="3047745"/>
                  <a:pt x="133955" y="3037873"/>
                  <a:pt x="131627" y="3081451"/>
                </a:cubicBezTo>
                <a:cubicBezTo>
                  <a:pt x="137316" y="3088431"/>
                  <a:pt x="138144" y="3056721"/>
                  <a:pt x="144402" y="3067989"/>
                </a:cubicBezTo>
                <a:cubicBezTo>
                  <a:pt x="144764" y="3099599"/>
                  <a:pt x="143678" y="3120043"/>
                  <a:pt x="140471" y="3123333"/>
                </a:cubicBezTo>
                <a:cubicBezTo>
                  <a:pt x="134524" y="3140285"/>
                  <a:pt x="139385" y="3078459"/>
                  <a:pt x="133386" y="3095412"/>
                </a:cubicBezTo>
                <a:cubicBezTo>
                  <a:pt x="133955" y="3094315"/>
                  <a:pt x="127955" y="3130413"/>
                  <a:pt x="127696" y="3136795"/>
                </a:cubicBezTo>
                <a:cubicBezTo>
                  <a:pt x="127076" y="3151654"/>
                  <a:pt x="131110" y="3158834"/>
                  <a:pt x="131162" y="3164617"/>
                </a:cubicBezTo>
                <a:cubicBezTo>
                  <a:pt x="131524" y="3192639"/>
                  <a:pt x="125473" y="3189049"/>
                  <a:pt x="128886" y="3247685"/>
                </a:cubicBezTo>
                <a:cubicBezTo>
                  <a:pt x="131006" y="3281190"/>
                  <a:pt x="124645" y="3273213"/>
                  <a:pt x="123197" y="3289167"/>
                </a:cubicBezTo>
                <a:cubicBezTo>
                  <a:pt x="122731" y="3294253"/>
                  <a:pt x="123663" y="3313300"/>
                  <a:pt x="123042" y="3316890"/>
                </a:cubicBezTo>
                <a:cubicBezTo>
                  <a:pt x="120456" y="3332446"/>
                  <a:pt x="122421" y="3346208"/>
                  <a:pt x="120921" y="3372335"/>
                </a:cubicBezTo>
                <a:cubicBezTo>
                  <a:pt x="120249" y="3384001"/>
                  <a:pt x="117715" y="3381309"/>
                  <a:pt x="117146" y="3399956"/>
                </a:cubicBezTo>
                <a:cubicBezTo>
                  <a:pt x="115594" y="3453207"/>
                  <a:pt x="119473" y="3473749"/>
                  <a:pt x="118180" y="3538567"/>
                </a:cubicBezTo>
                <a:cubicBezTo>
                  <a:pt x="117922" y="3551632"/>
                  <a:pt x="115128" y="3562699"/>
                  <a:pt x="118025" y="3566289"/>
                </a:cubicBezTo>
                <a:cubicBezTo>
                  <a:pt x="117404" y="3601989"/>
                  <a:pt x="115025" y="3547143"/>
                  <a:pt x="110784" y="3566090"/>
                </a:cubicBezTo>
                <a:cubicBezTo>
                  <a:pt x="108301" y="3582644"/>
                  <a:pt x="107939" y="3571375"/>
                  <a:pt x="105354" y="3565890"/>
                </a:cubicBezTo>
                <a:cubicBezTo>
                  <a:pt x="106440" y="3506857"/>
                  <a:pt x="104422" y="3423092"/>
                  <a:pt x="108198" y="3385797"/>
                </a:cubicBezTo>
                <a:cubicBezTo>
                  <a:pt x="108922" y="3353786"/>
                  <a:pt x="103027" y="3370240"/>
                  <a:pt x="102974" y="3344013"/>
                </a:cubicBezTo>
                <a:cubicBezTo>
                  <a:pt x="101112" y="3339028"/>
                  <a:pt x="99923" y="3370638"/>
                  <a:pt x="99199" y="3371636"/>
                </a:cubicBezTo>
                <a:cubicBezTo>
                  <a:pt x="98475" y="3372533"/>
                  <a:pt x="96458" y="3351693"/>
                  <a:pt x="95631" y="3357675"/>
                </a:cubicBezTo>
                <a:cubicBezTo>
                  <a:pt x="91441" y="3387093"/>
                  <a:pt x="91699" y="3447622"/>
                  <a:pt x="91027" y="3523908"/>
                </a:cubicBezTo>
                <a:cubicBezTo>
                  <a:pt x="92268" y="3536973"/>
                  <a:pt x="94182" y="3545049"/>
                  <a:pt x="96303" y="3551830"/>
                </a:cubicBezTo>
                <a:cubicBezTo>
                  <a:pt x="95268" y="3565592"/>
                  <a:pt x="93303" y="3562800"/>
                  <a:pt x="92527" y="3579453"/>
                </a:cubicBezTo>
                <a:cubicBezTo>
                  <a:pt x="91441" y="3601989"/>
                  <a:pt x="95475" y="3611562"/>
                  <a:pt x="94027" y="3634897"/>
                </a:cubicBezTo>
                <a:cubicBezTo>
                  <a:pt x="93976" y="3635396"/>
                  <a:pt x="92217" y="3634398"/>
                  <a:pt x="92217" y="3634797"/>
                </a:cubicBezTo>
                <a:cubicBezTo>
                  <a:pt x="92372" y="3673289"/>
                  <a:pt x="94079" y="3674785"/>
                  <a:pt x="91751" y="3717964"/>
                </a:cubicBezTo>
                <a:cubicBezTo>
                  <a:pt x="90924" y="3732822"/>
                  <a:pt x="89837" y="3747281"/>
                  <a:pt x="89683" y="3759547"/>
                </a:cubicBezTo>
                <a:cubicBezTo>
                  <a:pt x="89269" y="3795945"/>
                  <a:pt x="93923" y="3838824"/>
                  <a:pt x="89062" y="3870436"/>
                </a:cubicBezTo>
                <a:cubicBezTo>
                  <a:pt x="90303" y="3901349"/>
                  <a:pt x="92579" y="3924584"/>
                  <a:pt x="92165" y="3967564"/>
                </a:cubicBezTo>
                <a:cubicBezTo>
                  <a:pt x="88286" y="4000371"/>
                  <a:pt x="85079" y="3948317"/>
                  <a:pt x="81200" y="3981125"/>
                </a:cubicBezTo>
                <a:lnTo>
                  <a:pt x="80786" y="4050430"/>
                </a:lnTo>
                <a:cubicBezTo>
                  <a:pt x="87252" y="4039660"/>
                  <a:pt x="86993" y="4011639"/>
                  <a:pt x="91699" y="4050730"/>
                </a:cubicBezTo>
                <a:cubicBezTo>
                  <a:pt x="97079" y="4046940"/>
                  <a:pt x="94958" y="3998277"/>
                  <a:pt x="95889" y="3953802"/>
                </a:cubicBezTo>
                <a:cubicBezTo>
                  <a:pt x="95992" y="3949613"/>
                  <a:pt x="95682" y="3928373"/>
                  <a:pt x="96044" y="3926080"/>
                </a:cubicBezTo>
                <a:cubicBezTo>
                  <a:pt x="96147" y="3925581"/>
                  <a:pt x="97854" y="3926478"/>
                  <a:pt x="97854" y="3926179"/>
                </a:cubicBezTo>
                <a:cubicBezTo>
                  <a:pt x="97751" y="3892872"/>
                  <a:pt x="93872" y="3868841"/>
                  <a:pt x="94699" y="3842912"/>
                </a:cubicBezTo>
                <a:cubicBezTo>
                  <a:pt x="97182" y="3838725"/>
                  <a:pt x="96406" y="3808310"/>
                  <a:pt x="96820" y="3787569"/>
                </a:cubicBezTo>
                <a:cubicBezTo>
                  <a:pt x="104888" y="3804720"/>
                  <a:pt x="109594" y="3800033"/>
                  <a:pt x="118698" y="3774306"/>
                </a:cubicBezTo>
                <a:cubicBezTo>
                  <a:pt x="118232" y="3755459"/>
                  <a:pt x="114198" y="3762638"/>
                  <a:pt x="111508" y="3760245"/>
                </a:cubicBezTo>
                <a:cubicBezTo>
                  <a:pt x="113215" y="3710684"/>
                  <a:pt x="116215" y="3672291"/>
                  <a:pt x="122990" y="3663516"/>
                </a:cubicBezTo>
                <a:cubicBezTo>
                  <a:pt x="121955" y="3597303"/>
                  <a:pt x="126352" y="3574367"/>
                  <a:pt x="125680" y="3511045"/>
                </a:cubicBezTo>
                <a:cubicBezTo>
                  <a:pt x="130799" y="3513737"/>
                  <a:pt x="130438" y="3556417"/>
                  <a:pt x="134472" y="3566688"/>
                </a:cubicBezTo>
                <a:cubicBezTo>
                  <a:pt x="135920" y="3593015"/>
                  <a:pt x="130903" y="3599197"/>
                  <a:pt x="130593" y="3608172"/>
                </a:cubicBezTo>
                <a:cubicBezTo>
                  <a:pt x="129972" y="3627019"/>
                  <a:pt x="134110" y="3647262"/>
                  <a:pt x="131938" y="3691439"/>
                </a:cubicBezTo>
                <a:cubicBezTo>
                  <a:pt x="126455" y="3681267"/>
                  <a:pt x="126455" y="3715172"/>
                  <a:pt x="120973" y="3705000"/>
                </a:cubicBezTo>
                <a:cubicBezTo>
                  <a:pt x="120093" y="3751071"/>
                  <a:pt x="129817" y="3720358"/>
                  <a:pt x="125938" y="3788366"/>
                </a:cubicBezTo>
                <a:cubicBezTo>
                  <a:pt x="130438" y="3786970"/>
                  <a:pt x="131679" y="3762638"/>
                  <a:pt x="134989" y="3788666"/>
                </a:cubicBezTo>
                <a:cubicBezTo>
                  <a:pt x="135558" y="3812299"/>
                  <a:pt x="133437" y="3814793"/>
                  <a:pt x="131213" y="3816287"/>
                </a:cubicBezTo>
                <a:cubicBezTo>
                  <a:pt x="131420" y="3853084"/>
                  <a:pt x="134420" y="3856575"/>
                  <a:pt x="134420" y="3885693"/>
                </a:cubicBezTo>
                <a:cubicBezTo>
                  <a:pt x="134420" y="3881006"/>
                  <a:pt x="132610" y="3893172"/>
                  <a:pt x="132507" y="3899554"/>
                </a:cubicBezTo>
                <a:cubicBezTo>
                  <a:pt x="132300" y="3918003"/>
                  <a:pt x="132403" y="3936550"/>
                  <a:pt x="132196" y="3954999"/>
                </a:cubicBezTo>
                <a:cubicBezTo>
                  <a:pt x="127955" y="3954600"/>
                  <a:pt x="126714" y="3978732"/>
                  <a:pt x="121232" y="3968560"/>
                </a:cubicBezTo>
                <a:cubicBezTo>
                  <a:pt x="124800" y="3942235"/>
                  <a:pt x="120300" y="3943531"/>
                  <a:pt x="121645" y="3899355"/>
                </a:cubicBezTo>
                <a:cubicBezTo>
                  <a:pt x="115542" y="3900651"/>
                  <a:pt x="111870" y="3926778"/>
                  <a:pt x="109026" y="3885095"/>
                </a:cubicBezTo>
                <a:cubicBezTo>
                  <a:pt x="105147" y="3897559"/>
                  <a:pt x="103233" y="3925881"/>
                  <a:pt x="103078" y="3968062"/>
                </a:cubicBezTo>
                <a:cubicBezTo>
                  <a:pt x="100026" y="3967364"/>
                  <a:pt x="98320" y="3978233"/>
                  <a:pt x="97492" y="3995684"/>
                </a:cubicBezTo>
                <a:cubicBezTo>
                  <a:pt x="97751" y="4006854"/>
                  <a:pt x="99251" y="4009545"/>
                  <a:pt x="99147" y="4023406"/>
                </a:cubicBezTo>
                <a:cubicBezTo>
                  <a:pt x="99199" y="4054020"/>
                  <a:pt x="106802" y="4029489"/>
                  <a:pt x="109957" y="4037567"/>
                </a:cubicBezTo>
                <a:cubicBezTo>
                  <a:pt x="113060" y="4050331"/>
                  <a:pt x="119007" y="4042552"/>
                  <a:pt x="120714" y="4065587"/>
                </a:cubicBezTo>
                <a:cubicBezTo>
                  <a:pt x="124232" y="4059804"/>
                  <a:pt x="124232" y="4026099"/>
                  <a:pt x="129972" y="4038164"/>
                </a:cubicBezTo>
                <a:cubicBezTo>
                  <a:pt x="129558" y="4054419"/>
                  <a:pt x="126610" y="4049832"/>
                  <a:pt x="124439" y="4051926"/>
                </a:cubicBezTo>
                <a:cubicBezTo>
                  <a:pt x="124645" y="4068181"/>
                  <a:pt x="127696" y="4063694"/>
                  <a:pt x="129817" y="4065887"/>
                </a:cubicBezTo>
                <a:cubicBezTo>
                  <a:pt x="126352" y="4091415"/>
                  <a:pt x="118749" y="4083538"/>
                  <a:pt x="115025" y="4107071"/>
                </a:cubicBezTo>
                <a:cubicBezTo>
                  <a:pt x="115284" y="4130107"/>
                  <a:pt x="128214" y="4163114"/>
                  <a:pt x="127749" y="4107470"/>
                </a:cubicBezTo>
                <a:cubicBezTo>
                  <a:pt x="128472" y="4116246"/>
                  <a:pt x="131627" y="4134693"/>
                  <a:pt x="131162" y="4149153"/>
                </a:cubicBezTo>
                <a:cubicBezTo>
                  <a:pt x="130386" y="4174482"/>
                  <a:pt x="128214" y="4139082"/>
                  <a:pt x="127542" y="4149054"/>
                </a:cubicBezTo>
                <a:cubicBezTo>
                  <a:pt x="126041" y="4171889"/>
                  <a:pt x="126921" y="4186649"/>
                  <a:pt x="125421" y="4204398"/>
                </a:cubicBezTo>
                <a:cubicBezTo>
                  <a:pt x="124439" y="4216364"/>
                  <a:pt x="120611" y="4217561"/>
                  <a:pt x="121542" y="4245882"/>
                </a:cubicBezTo>
                <a:cubicBezTo>
                  <a:pt x="121852" y="4274700"/>
                  <a:pt x="129507" y="4249970"/>
                  <a:pt x="130489" y="4273903"/>
                </a:cubicBezTo>
                <a:cubicBezTo>
                  <a:pt x="129662" y="4302224"/>
                  <a:pt x="123921" y="4364549"/>
                  <a:pt x="128058" y="4384691"/>
                </a:cubicBezTo>
                <a:cubicBezTo>
                  <a:pt x="127542" y="4404636"/>
                  <a:pt x="122628" y="4389379"/>
                  <a:pt x="122473" y="4412215"/>
                </a:cubicBezTo>
                <a:cubicBezTo>
                  <a:pt x="122783" y="4429666"/>
                  <a:pt x="125990" y="4426275"/>
                  <a:pt x="126094" y="4412314"/>
                </a:cubicBezTo>
                <a:cubicBezTo>
                  <a:pt x="129248" y="4422486"/>
                  <a:pt x="126197" y="4437544"/>
                  <a:pt x="125834" y="4453898"/>
                </a:cubicBezTo>
                <a:cubicBezTo>
                  <a:pt x="125473" y="4478828"/>
                  <a:pt x="127903" y="4483216"/>
                  <a:pt x="127335" y="4509442"/>
                </a:cubicBezTo>
                <a:cubicBezTo>
                  <a:pt x="125576" y="4509742"/>
                  <a:pt x="125834" y="4526294"/>
                  <a:pt x="125369" y="4537064"/>
                </a:cubicBezTo>
                <a:cubicBezTo>
                  <a:pt x="123249" y="4534771"/>
                  <a:pt x="122111" y="4540056"/>
                  <a:pt x="121645" y="4550826"/>
                </a:cubicBezTo>
                <a:cubicBezTo>
                  <a:pt x="122783" y="4562393"/>
                  <a:pt x="124128" y="4564887"/>
                  <a:pt x="125111" y="4578647"/>
                </a:cubicBezTo>
                <a:cubicBezTo>
                  <a:pt x="125473" y="4583733"/>
                  <a:pt x="124386" y="4602780"/>
                  <a:pt x="124955" y="4606370"/>
                </a:cubicBezTo>
                <a:cubicBezTo>
                  <a:pt x="125111" y="4607467"/>
                  <a:pt x="126714" y="4605074"/>
                  <a:pt x="126766" y="4606469"/>
                </a:cubicBezTo>
                <a:cubicBezTo>
                  <a:pt x="128058" y="4640573"/>
                  <a:pt x="125421" y="4691132"/>
                  <a:pt x="127955" y="4717458"/>
                </a:cubicBezTo>
                <a:cubicBezTo>
                  <a:pt x="126197" y="4717059"/>
                  <a:pt x="126662" y="4700505"/>
                  <a:pt x="126300" y="4689736"/>
                </a:cubicBezTo>
                <a:cubicBezTo>
                  <a:pt x="123663" y="4689537"/>
                  <a:pt x="121852" y="4706089"/>
                  <a:pt x="120714" y="4717258"/>
                </a:cubicBezTo>
                <a:cubicBezTo>
                  <a:pt x="119732" y="4726433"/>
                  <a:pt x="118698" y="4725834"/>
                  <a:pt x="120611" y="4731119"/>
                </a:cubicBezTo>
                <a:cubicBezTo>
                  <a:pt x="117043" y="4781180"/>
                  <a:pt x="115749" y="4706588"/>
                  <a:pt x="111612" y="4717059"/>
                </a:cubicBezTo>
                <a:cubicBezTo>
                  <a:pt x="106905" y="4742886"/>
                  <a:pt x="111146" y="4776094"/>
                  <a:pt x="111146" y="4800226"/>
                </a:cubicBezTo>
                <a:cubicBezTo>
                  <a:pt x="111146" y="4796137"/>
                  <a:pt x="108146" y="4807206"/>
                  <a:pt x="109233" y="4813987"/>
                </a:cubicBezTo>
                <a:cubicBezTo>
                  <a:pt x="112336" y="4833831"/>
                  <a:pt x="108767" y="4832934"/>
                  <a:pt x="108974" y="4853775"/>
                </a:cubicBezTo>
                <a:cubicBezTo>
                  <a:pt x="109233" y="4850085"/>
                  <a:pt x="113577" y="4923878"/>
                  <a:pt x="108560" y="4924876"/>
                </a:cubicBezTo>
                <a:cubicBezTo>
                  <a:pt x="108405" y="4942127"/>
                  <a:pt x="111146" y="4943324"/>
                  <a:pt x="112025" y="4952698"/>
                </a:cubicBezTo>
                <a:cubicBezTo>
                  <a:pt x="113887" y="4972342"/>
                  <a:pt x="113008" y="5018014"/>
                  <a:pt x="118904" y="5022203"/>
                </a:cubicBezTo>
                <a:lnTo>
                  <a:pt x="118180" y="5146952"/>
                </a:lnTo>
                <a:cubicBezTo>
                  <a:pt x="111198" y="5149246"/>
                  <a:pt x="117559" y="5135484"/>
                  <a:pt x="116577" y="5105269"/>
                </a:cubicBezTo>
                <a:cubicBezTo>
                  <a:pt x="114612" y="5118731"/>
                  <a:pt x="112750" y="5132592"/>
                  <a:pt x="110888" y="5146752"/>
                </a:cubicBezTo>
                <a:cubicBezTo>
                  <a:pt x="108612" y="5152736"/>
                  <a:pt x="107060" y="5164403"/>
                  <a:pt x="107009" y="5188236"/>
                </a:cubicBezTo>
                <a:cubicBezTo>
                  <a:pt x="107992" y="5229819"/>
                  <a:pt x="110991" y="5175073"/>
                  <a:pt x="114301" y="5188436"/>
                </a:cubicBezTo>
                <a:cubicBezTo>
                  <a:pt x="113008" y="5209077"/>
                  <a:pt x="116680" y="5214662"/>
                  <a:pt x="115853" y="5230119"/>
                </a:cubicBezTo>
                <a:cubicBezTo>
                  <a:pt x="115749" y="5231913"/>
                  <a:pt x="112129" y="5244778"/>
                  <a:pt x="112129" y="5243881"/>
                </a:cubicBezTo>
                <a:cubicBezTo>
                  <a:pt x="112129" y="5259437"/>
                  <a:pt x="114974" y="5269409"/>
                  <a:pt x="115542" y="5285564"/>
                </a:cubicBezTo>
                <a:cubicBezTo>
                  <a:pt x="115284" y="5278781"/>
                  <a:pt x="113473" y="5293042"/>
                  <a:pt x="113629" y="5299324"/>
                </a:cubicBezTo>
                <a:cubicBezTo>
                  <a:pt x="113629" y="5301519"/>
                  <a:pt x="115335" y="5301519"/>
                  <a:pt x="115335" y="5313285"/>
                </a:cubicBezTo>
                <a:cubicBezTo>
                  <a:pt x="115335" y="5335722"/>
                  <a:pt x="115904" y="5365638"/>
                  <a:pt x="113060" y="5396352"/>
                </a:cubicBezTo>
                <a:cubicBezTo>
                  <a:pt x="113733" y="5416994"/>
                  <a:pt x="115388" y="5390967"/>
                  <a:pt x="118491" y="5396551"/>
                </a:cubicBezTo>
                <a:cubicBezTo>
                  <a:pt x="119111" y="5440328"/>
                  <a:pt x="114922" y="5445414"/>
                  <a:pt x="116111" y="5493579"/>
                </a:cubicBezTo>
                <a:cubicBezTo>
                  <a:pt x="113163" y="5497368"/>
                  <a:pt x="113060" y="5480316"/>
                  <a:pt x="110732" y="5479518"/>
                </a:cubicBezTo>
                <a:cubicBezTo>
                  <a:pt x="106388" y="5520703"/>
                  <a:pt x="112905" y="5564480"/>
                  <a:pt x="106543" y="5576446"/>
                </a:cubicBezTo>
                <a:cubicBezTo>
                  <a:pt x="105871" y="5593099"/>
                  <a:pt x="109543" y="5583327"/>
                  <a:pt x="110112" y="5590408"/>
                </a:cubicBezTo>
                <a:cubicBezTo>
                  <a:pt x="110888" y="5600179"/>
                  <a:pt x="109077" y="5622018"/>
                  <a:pt x="109853" y="5631990"/>
                </a:cubicBezTo>
                <a:cubicBezTo>
                  <a:pt x="110784" y="5644456"/>
                  <a:pt x="112957" y="5643458"/>
                  <a:pt x="113319" y="5659812"/>
                </a:cubicBezTo>
                <a:cubicBezTo>
                  <a:pt x="113887" y="5683446"/>
                  <a:pt x="111767" y="5685938"/>
                  <a:pt x="109543" y="5687435"/>
                </a:cubicBezTo>
                <a:cubicBezTo>
                  <a:pt x="110784" y="5700399"/>
                  <a:pt x="112698" y="5708575"/>
                  <a:pt x="114818" y="5715356"/>
                </a:cubicBezTo>
                <a:cubicBezTo>
                  <a:pt x="114198" y="5739788"/>
                  <a:pt x="111508" y="5746868"/>
                  <a:pt x="107371" y="5742879"/>
                </a:cubicBezTo>
                <a:cubicBezTo>
                  <a:pt x="107474" y="5768507"/>
                  <a:pt x="113473" y="5751555"/>
                  <a:pt x="114456" y="5770800"/>
                </a:cubicBezTo>
                <a:cubicBezTo>
                  <a:pt x="113112" y="5789349"/>
                  <a:pt x="110422" y="5796528"/>
                  <a:pt x="107009" y="5798323"/>
                </a:cubicBezTo>
                <a:cubicBezTo>
                  <a:pt x="106543" y="5828538"/>
                  <a:pt x="108250" y="5842500"/>
                  <a:pt x="112232" y="5840106"/>
                </a:cubicBezTo>
                <a:cubicBezTo>
                  <a:pt x="109698" y="5848483"/>
                  <a:pt x="111663" y="5893456"/>
                  <a:pt x="108301" y="5895450"/>
                </a:cubicBezTo>
                <a:cubicBezTo>
                  <a:pt x="109440" y="5909611"/>
                  <a:pt x="112439" y="5909911"/>
                  <a:pt x="111715" y="5937133"/>
                </a:cubicBezTo>
                <a:cubicBezTo>
                  <a:pt x="105509" y="5891761"/>
                  <a:pt x="104319" y="5974429"/>
                  <a:pt x="100492" y="5992279"/>
                </a:cubicBezTo>
                <a:cubicBezTo>
                  <a:pt x="93510" y="6003447"/>
                  <a:pt x="93665" y="5962661"/>
                  <a:pt x="91751" y="5936635"/>
                </a:cubicBezTo>
                <a:cubicBezTo>
                  <a:pt x="84769" y="5970639"/>
                  <a:pt x="91596" y="6035259"/>
                  <a:pt x="87303" y="6075146"/>
                </a:cubicBezTo>
                <a:cubicBezTo>
                  <a:pt x="95320" y="6095888"/>
                  <a:pt x="93096" y="6034759"/>
                  <a:pt x="100182" y="6047823"/>
                </a:cubicBezTo>
                <a:cubicBezTo>
                  <a:pt x="104112" y="6041441"/>
                  <a:pt x="103543" y="6067667"/>
                  <a:pt x="103595" y="6089506"/>
                </a:cubicBezTo>
                <a:cubicBezTo>
                  <a:pt x="109077" y="6099678"/>
                  <a:pt x="109077" y="6065772"/>
                  <a:pt x="114560" y="6075944"/>
                </a:cubicBezTo>
                <a:lnTo>
                  <a:pt x="114146" y="6145249"/>
                </a:lnTo>
                <a:cubicBezTo>
                  <a:pt x="108560" y="6129394"/>
                  <a:pt x="109336" y="6149138"/>
                  <a:pt x="105147" y="6131189"/>
                </a:cubicBezTo>
                <a:cubicBezTo>
                  <a:pt x="105250" y="6170280"/>
                  <a:pt x="113680" y="6148740"/>
                  <a:pt x="112025" y="6200693"/>
                </a:cubicBezTo>
                <a:cubicBezTo>
                  <a:pt x="107992" y="6209369"/>
                  <a:pt x="106440" y="6161304"/>
                  <a:pt x="106491" y="6214455"/>
                </a:cubicBezTo>
                <a:cubicBezTo>
                  <a:pt x="101319" y="6225723"/>
                  <a:pt x="101888" y="6194710"/>
                  <a:pt x="97492" y="6200294"/>
                </a:cubicBezTo>
                <a:cubicBezTo>
                  <a:pt x="92682" y="6202390"/>
                  <a:pt x="96561" y="6251352"/>
                  <a:pt x="97026" y="6283462"/>
                </a:cubicBezTo>
                <a:cubicBezTo>
                  <a:pt x="97595" y="6321753"/>
                  <a:pt x="95165" y="6362539"/>
                  <a:pt x="101991" y="6366728"/>
                </a:cubicBezTo>
                <a:lnTo>
                  <a:pt x="101526" y="6449894"/>
                </a:lnTo>
                <a:cubicBezTo>
                  <a:pt x="102820" y="6456375"/>
                  <a:pt x="103854" y="6470536"/>
                  <a:pt x="104991" y="6477715"/>
                </a:cubicBezTo>
                <a:cubicBezTo>
                  <a:pt x="105871" y="6483101"/>
                  <a:pt x="106440" y="6495067"/>
                  <a:pt x="108560" y="6491676"/>
                </a:cubicBezTo>
                <a:cubicBezTo>
                  <a:pt x="109387" y="6522490"/>
                  <a:pt x="104940" y="6511322"/>
                  <a:pt x="104682" y="6533160"/>
                </a:cubicBezTo>
                <a:cubicBezTo>
                  <a:pt x="104629" y="6539741"/>
                  <a:pt x="101733" y="6569459"/>
                  <a:pt x="100750" y="6588504"/>
                </a:cubicBezTo>
                <a:cubicBezTo>
                  <a:pt x="99768" y="6621812"/>
                  <a:pt x="103854" y="6618721"/>
                  <a:pt x="102147" y="6657810"/>
                </a:cubicBezTo>
                <a:cubicBezTo>
                  <a:pt x="106491" y="6663694"/>
                  <a:pt x="106233" y="6632681"/>
                  <a:pt x="111302" y="6644248"/>
                </a:cubicBezTo>
                <a:cubicBezTo>
                  <a:pt x="106750" y="6681145"/>
                  <a:pt x="109440" y="6742972"/>
                  <a:pt x="108715" y="6782760"/>
                </a:cubicBezTo>
                <a:cubicBezTo>
                  <a:pt x="108301" y="6805596"/>
                  <a:pt x="107888" y="6809484"/>
                  <a:pt x="104940" y="6810381"/>
                </a:cubicBezTo>
                <a:cubicBezTo>
                  <a:pt x="105871" y="6839302"/>
                  <a:pt x="108508" y="6855355"/>
                  <a:pt x="110008" y="6879887"/>
                </a:cubicBezTo>
                <a:cubicBezTo>
                  <a:pt x="108767" y="6891754"/>
                  <a:pt x="109387" y="6926357"/>
                  <a:pt x="107888" y="6935332"/>
                </a:cubicBezTo>
                <a:cubicBezTo>
                  <a:pt x="106026" y="6946699"/>
                  <a:pt x="104526" y="6995262"/>
                  <a:pt x="103802" y="7018397"/>
                </a:cubicBezTo>
                <a:cubicBezTo>
                  <a:pt x="103957" y="7013213"/>
                  <a:pt x="106543" y="7026175"/>
                  <a:pt x="105509" y="7032260"/>
                </a:cubicBezTo>
                <a:cubicBezTo>
                  <a:pt x="105302" y="7033355"/>
                  <a:pt x="103750" y="7030763"/>
                  <a:pt x="103699" y="7032159"/>
                </a:cubicBezTo>
                <a:cubicBezTo>
                  <a:pt x="103440" y="7037045"/>
                  <a:pt x="104061" y="7056890"/>
                  <a:pt x="103543" y="7059881"/>
                </a:cubicBezTo>
                <a:cubicBezTo>
                  <a:pt x="101268" y="7073244"/>
                  <a:pt x="102871" y="7069753"/>
                  <a:pt x="105250" y="7073841"/>
                </a:cubicBezTo>
                <a:cubicBezTo>
                  <a:pt x="102716" y="7102062"/>
                  <a:pt x="96303" y="7098871"/>
                  <a:pt x="97492" y="7156809"/>
                </a:cubicBezTo>
                <a:cubicBezTo>
                  <a:pt x="97440" y="7171069"/>
                  <a:pt x="99716" y="7166582"/>
                  <a:pt x="101061" y="7170771"/>
                </a:cubicBezTo>
                <a:cubicBezTo>
                  <a:pt x="103388" y="7178050"/>
                  <a:pt x="103130" y="7197396"/>
                  <a:pt x="108146" y="7198692"/>
                </a:cubicBezTo>
                <a:cubicBezTo>
                  <a:pt x="109233" y="7241073"/>
                  <a:pt x="104785" y="7239278"/>
                  <a:pt x="105871" y="7281758"/>
                </a:cubicBezTo>
                <a:cubicBezTo>
                  <a:pt x="104422" y="7274379"/>
                  <a:pt x="102974" y="7267199"/>
                  <a:pt x="100492" y="7267798"/>
                </a:cubicBezTo>
                <a:cubicBezTo>
                  <a:pt x="99975" y="7303698"/>
                  <a:pt x="101423" y="7378088"/>
                  <a:pt x="96458" y="7337003"/>
                </a:cubicBezTo>
                <a:cubicBezTo>
                  <a:pt x="102095" y="7379783"/>
                  <a:pt x="103854" y="7451083"/>
                  <a:pt x="102509" y="7545119"/>
                </a:cubicBezTo>
                <a:cubicBezTo>
                  <a:pt x="100440" y="7542726"/>
                  <a:pt x="101164" y="7519790"/>
                  <a:pt x="100957" y="7503436"/>
                </a:cubicBezTo>
                <a:cubicBezTo>
                  <a:pt x="96872" y="7509219"/>
                  <a:pt x="99095" y="7576929"/>
                  <a:pt x="100492" y="7586602"/>
                </a:cubicBezTo>
                <a:cubicBezTo>
                  <a:pt x="101164" y="7608442"/>
                  <a:pt x="106130" y="7598568"/>
                  <a:pt x="103802" y="7642146"/>
                </a:cubicBezTo>
                <a:cubicBezTo>
                  <a:pt x="102044" y="7641648"/>
                  <a:pt x="102509" y="7625094"/>
                  <a:pt x="102147" y="7614324"/>
                </a:cubicBezTo>
                <a:cubicBezTo>
                  <a:pt x="97389" y="7632674"/>
                  <a:pt x="104422" y="7675951"/>
                  <a:pt x="103388" y="7711452"/>
                </a:cubicBezTo>
                <a:cubicBezTo>
                  <a:pt x="100336" y="7706266"/>
                  <a:pt x="99923" y="7722221"/>
                  <a:pt x="99613" y="7739073"/>
                </a:cubicBezTo>
                <a:cubicBezTo>
                  <a:pt x="97751" y="7783550"/>
                  <a:pt x="104164" y="7767994"/>
                  <a:pt x="104733" y="7794718"/>
                </a:cubicBezTo>
                <a:cubicBezTo>
                  <a:pt x="105664" y="7827825"/>
                  <a:pt x="101888" y="7895137"/>
                  <a:pt x="105923" y="7905606"/>
                </a:cubicBezTo>
                <a:cubicBezTo>
                  <a:pt x="104733" y="7936919"/>
                  <a:pt x="103181" y="7888754"/>
                  <a:pt x="100389" y="7919368"/>
                </a:cubicBezTo>
                <a:cubicBezTo>
                  <a:pt x="102974" y="7948188"/>
                  <a:pt x="110939" y="7981693"/>
                  <a:pt x="105198" y="8030357"/>
                </a:cubicBezTo>
                <a:cubicBezTo>
                  <a:pt x="102767" y="8026069"/>
                  <a:pt x="103906" y="7995654"/>
                  <a:pt x="103699" y="7974912"/>
                </a:cubicBezTo>
                <a:cubicBezTo>
                  <a:pt x="100440" y="7996950"/>
                  <a:pt x="99457" y="8037237"/>
                  <a:pt x="99457" y="8085701"/>
                </a:cubicBezTo>
                <a:cubicBezTo>
                  <a:pt x="101423" y="8096171"/>
                  <a:pt x="101371" y="8044117"/>
                  <a:pt x="101526" y="8044217"/>
                </a:cubicBezTo>
                <a:cubicBezTo>
                  <a:pt x="104112" y="8045415"/>
                  <a:pt x="104526" y="8143839"/>
                  <a:pt x="106284" y="8169067"/>
                </a:cubicBezTo>
                <a:cubicBezTo>
                  <a:pt x="102664" y="8169166"/>
                  <a:pt x="103750" y="8206861"/>
                  <a:pt x="98837" y="8196589"/>
                </a:cubicBezTo>
                <a:cubicBezTo>
                  <a:pt x="99044" y="8212844"/>
                  <a:pt x="102095" y="8208456"/>
                  <a:pt x="104216" y="8210650"/>
                </a:cubicBezTo>
                <a:cubicBezTo>
                  <a:pt x="104371" y="8240965"/>
                  <a:pt x="102457" y="8254727"/>
                  <a:pt x="98527" y="8252134"/>
                </a:cubicBezTo>
                <a:cubicBezTo>
                  <a:pt x="102974" y="8275069"/>
                  <a:pt x="106646" y="8360132"/>
                  <a:pt x="99561" y="8390744"/>
                </a:cubicBezTo>
                <a:cubicBezTo>
                  <a:pt x="99509" y="8439908"/>
                  <a:pt x="105767" y="8361527"/>
                  <a:pt x="104940" y="8404805"/>
                </a:cubicBezTo>
                <a:cubicBezTo>
                  <a:pt x="105664" y="8434323"/>
                  <a:pt x="102198" y="8431131"/>
                  <a:pt x="99354" y="8432328"/>
                </a:cubicBezTo>
                <a:cubicBezTo>
                  <a:pt x="97233" y="8475906"/>
                  <a:pt x="98578" y="8515495"/>
                  <a:pt x="94906" y="8570839"/>
                </a:cubicBezTo>
                <a:cubicBezTo>
                  <a:pt x="95113" y="8587093"/>
                  <a:pt x="98165" y="8582706"/>
                  <a:pt x="100285" y="8584900"/>
                </a:cubicBezTo>
                <a:cubicBezTo>
                  <a:pt x="99820" y="8644532"/>
                  <a:pt x="96147" y="8624388"/>
                  <a:pt x="97906" y="8681828"/>
                </a:cubicBezTo>
                <a:cubicBezTo>
                  <a:pt x="98061" y="8686215"/>
                  <a:pt x="100130" y="8681129"/>
                  <a:pt x="99664" y="8695788"/>
                </a:cubicBezTo>
                <a:cubicBezTo>
                  <a:pt x="99561" y="8698181"/>
                  <a:pt x="97130" y="8696187"/>
                  <a:pt x="97751" y="8709550"/>
                </a:cubicBezTo>
                <a:cubicBezTo>
                  <a:pt x="98423" y="8723709"/>
                  <a:pt x="101061" y="8719820"/>
                  <a:pt x="101216" y="8737372"/>
                </a:cubicBezTo>
                <a:cubicBezTo>
                  <a:pt x="103233" y="8782345"/>
                  <a:pt x="95320" y="8747842"/>
                  <a:pt x="97286" y="8792716"/>
                </a:cubicBezTo>
                <a:cubicBezTo>
                  <a:pt x="98320" y="8809069"/>
                  <a:pt x="105302" y="8775864"/>
                  <a:pt x="102406" y="8848359"/>
                </a:cubicBezTo>
                <a:cubicBezTo>
                  <a:pt x="99302" y="8853445"/>
                  <a:pt x="99044" y="8837490"/>
                  <a:pt x="98941" y="8820537"/>
                </a:cubicBezTo>
                <a:cubicBezTo>
                  <a:pt x="93562" y="8832105"/>
                  <a:pt x="99768" y="8865213"/>
                  <a:pt x="98527" y="8889843"/>
                </a:cubicBezTo>
                <a:cubicBezTo>
                  <a:pt x="93716" y="8880171"/>
                  <a:pt x="94855" y="8918463"/>
                  <a:pt x="92837" y="8931328"/>
                </a:cubicBezTo>
                <a:cubicBezTo>
                  <a:pt x="91079" y="8957554"/>
                  <a:pt x="96044" y="8964035"/>
                  <a:pt x="96251" y="8973011"/>
                </a:cubicBezTo>
                <a:cubicBezTo>
                  <a:pt x="96510" y="8983879"/>
                  <a:pt x="92217" y="9027158"/>
                  <a:pt x="93872" y="9070037"/>
                </a:cubicBezTo>
                <a:cubicBezTo>
                  <a:pt x="94079" y="9086292"/>
                  <a:pt x="97130" y="9081805"/>
                  <a:pt x="99251" y="9083998"/>
                </a:cubicBezTo>
                <a:cubicBezTo>
                  <a:pt x="100440" y="9131964"/>
                  <a:pt x="96923" y="9142434"/>
                  <a:pt x="95165" y="9167066"/>
                </a:cubicBezTo>
                <a:cubicBezTo>
                  <a:pt x="93976" y="9180129"/>
                  <a:pt x="96872" y="9178732"/>
                  <a:pt x="96923" y="9181026"/>
                </a:cubicBezTo>
                <a:cubicBezTo>
                  <a:pt x="97182" y="9193590"/>
                  <a:pt x="95010" y="9194887"/>
                  <a:pt x="95010" y="9194887"/>
                </a:cubicBezTo>
                <a:cubicBezTo>
                  <a:pt x="95734" y="9242653"/>
                  <a:pt x="102251" y="9299993"/>
                  <a:pt x="94234" y="9333498"/>
                </a:cubicBezTo>
                <a:cubicBezTo>
                  <a:pt x="94906" y="9355237"/>
                  <a:pt x="99871" y="9345464"/>
                  <a:pt x="97544" y="9389042"/>
                </a:cubicBezTo>
                <a:cubicBezTo>
                  <a:pt x="98371" y="9419855"/>
                  <a:pt x="93976" y="9408686"/>
                  <a:pt x="93665" y="9430525"/>
                </a:cubicBezTo>
                <a:cubicBezTo>
                  <a:pt x="94803" y="9444686"/>
                  <a:pt x="97751" y="9444985"/>
                  <a:pt x="97079" y="9472208"/>
                </a:cubicBezTo>
                <a:cubicBezTo>
                  <a:pt x="94958" y="9469915"/>
                  <a:pt x="93820" y="9475200"/>
                  <a:pt x="93355" y="9485970"/>
                </a:cubicBezTo>
                <a:cubicBezTo>
                  <a:pt x="94285" y="9499432"/>
                  <a:pt x="96147" y="9497537"/>
                  <a:pt x="96820" y="9513791"/>
                </a:cubicBezTo>
                <a:cubicBezTo>
                  <a:pt x="99251" y="9572527"/>
                  <a:pt x="95217" y="9774958"/>
                  <a:pt x="91338" y="9832497"/>
                </a:cubicBezTo>
                <a:cubicBezTo>
                  <a:pt x="91699" y="9847554"/>
                  <a:pt x="94906" y="9842070"/>
                  <a:pt x="94803" y="9860320"/>
                </a:cubicBezTo>
                <a:cubicBezTo>
                  <a:pt x="93872" y="9906589"/>
                  <a:pt x="95785" y="9972404"/>
                  <a:pt x="92165" y="9998930"/>
                </a:cubicBezTo>
                <a:cubicBezTo>
                  <a:pt x="93148" y="9991650"/>
                  <a:pt x="92682" y="10069830"/>
                  <a:pt x="93406" y="10095957"/>
                </a:cubicBezTo>
                <a:cubicBezTo>
                  <a:pt x="93923" y="10115603"/>
                  <a:pt x="95889" y="10122483"/>
                  <a:pt x="91441" y="10123580"/>
                </a:cubicBezTo>
                <a:cubicBezTo>
                  <a:pt x="90613" y="10147114"/>
                  <a:pt x="92682" y="10149806"/>
                  <a:pt x="94906" y="10151402"/>
                </a:cubicBezTo>
                <a:cubicBezTo>
                  <a:pt x="94027" y="10180918"/>
                  <a:pt x="92786" y="10193883"/>
                  <a:pt x="92682" y="10220708"/>
                </a:cubicBezTo>
                <a:cubicBezTo>
                  <a:pt x="92579" y="10249127"/>
                  <a:pt x="94285" y="10257902"/>
                  <a:pt x="94182" y="10276151"/>
                </a:cubicBezTo>
                <a:cubicBezTo>
                  <a:pt x="94027" y="10300583"/>
                  <a:pt x="92475" y="10306167"/>
                  <a:pt x="92061" y="10331596"/>
                </a:cubicBezTo>
                <a:cubicBezTo>
                  <a:pt x="91389" y="10373977"/>
                  <a:pt x="96354" y="10419449"/>
                  <a:pt x="89786" y="10414662"/>
                </a:cubicBezTo>
                <a:cubicBezTo>
                  <a:pt x="92630" y="10425033"/>
                  <a:pt x="88958" y="10482573"/>
                  <a:pt x="94906" y="10470306"/>
                </a:cubicBezTo>
                <a:cubicBezTo>
                  <a:pt x="96251" y="10486860"/>
                  <a:pt x="92993" y="10494238"/>
                  <a:pt x="92941" y="10497929"/>
                </a:cubicBezTo>
                <a:cubicBezTo>
                  <a:pt x="92786" y="10509097"/>
                  <a:pt x="94803" y="10511790"/>
                  <a:pt x="94596" y="10525751"/>
                </a:cubicBezTo>
                <a:cubicBezTo>
                  <a:pt x="94234" y="10547988"/>
                  <a:pt x="92993" y="10549284"/>
                  <a:pt x="92527" y="10567235"/>
                </a:cubicBezTo>
                <a:cubicBezTo>
                  <a:pt x="91596" y="10603830"/>
                  <a:pt x="94182" y="10653193"/>
                  <a:pt x="90096" y="10678023"/>
                </a:cubicBezTo>
                <a:cubicBezTo>
                  <a:pt x="92630" y="10700958"/>
                  <a:pt x="93355" y="10656782"/>
                  <a:pt x="93406" y="10733566"/>
                </a:cubicBezTo>
                <a:cubicBezTo>
                  <a:pt x="93458" y="10792103"/>
                  <a:pt x="91751" y="10863003"/>
                  <a:pt x="92217" y="10941483"/>
                </a:cubicBezTo>
                <a:cubicBezTo>
                  <a:pt x="92372" y="10968508"/>
                  <a:pt x="95578" y="10980274"/>
                  <a:pt x="93562" y="11024650"/>
                </a:cubicBezTo>
                <a:cubicBezTo>
                  <a:pt x="92682" y="11043796"/>
                  <a:pt x="91906" y="11043596"/>
                  <a:pt x="93148" y="11093956"/>
                </a:cubicBezTo>
                <a:cubicBezTo>
                  <a:pt x="93665" y="11115495"/>
                  <a:pt x="94958" y="11125866"/>
                  <a:pt x="94648" y="11149400"/>
                </a:cubicBezTo>
                <a:cubicBezTo>
                  <a:pt x="94648" y="11148004"/>
                  <a:pt x="89683" y="11151594"/>
                  <a:pt x="90924" y="11163161"/>
                </a:cubicBezTo>
                <a:cubicBezTo>
                  <a:pt x="90924" y="11176623"/>
                  <a:pt x="93096" y="11173930"/>
                  <a:pt x="94492" y="11177121"/>
                </a:cubicBezTo>
                <a:cubicBezTo>
                  <a:pt x="94648" y="11199160"/>
                  <a:pt x="92941" y="11201353"/>
                  <a:pt x="92424" y="11218606"/>
                </a:cubicBezTo>
                <a:cubicBezTo>
                  <a:pt x="92579" y="11214417"/>
                  <a:pt x="94441" y="11224190"/>
                  <a:pt x="94182" y="11232566"/>
                </a:cubicBezTo>
                <a:cubicBezTo>
                  <a:pt x="94079" y="11235857"/>
                  <a:pt x="92010" y="11232366"/>
                  <a:pt x="92268" y="11246328"/>
                </a:cubicBezTo>
                <a:cubicBezTo>
                  <a:pt x="92837" y="11279234"/>
                  <a:pt x="99147" y="11311943"/>
                  <a:pt x="93355" y="11371077"/>
                </a:cubicBezTo>
                <a:cubicBezTo>
                  <a:pt x="99044" y="11437590"/>
                  <a:pt x="96923" y="11527937"/>
                  <a:pt x="97440" y="11606915"/>
                </a:cubicBezTo>
                <a:cubicBezTo>
                  <a:pt x="97647" y="11637229"/>
                  <a:pt x="98578" y="11661562"/>
                  <a:pt x="98630" y="11717804"/>
                </a:cubicBezTo>
                <a:cubicBezTo>
                  <a:pt x="98630" y="11722241"/>
                  <a:pt x="98371" y="11734656"/>
                  <a:pt x="98203" y="11746685"/>
                </a:cubicBezTo>
                <a:lnTo>
                  <a:pt x="98207" y="11747497"/>
                </a:lnTo>
                <a:lnTo>
                  <a:pt x="4729484" y="11747497"/>
                </a:lnTo>
                <a:lnTo>
                  <a:pt x="4729573" y="11735255"/>
                </a:lnTo>
                <a:lnTo>
                  <a:pt x="4733814" y="11735355"/>
                </a:lnTo>
                <a:lnTo>
                  <a:pt x="4733726" y="11747497"/>
                </a:lnTo>
                <a:lnTo>
                  <a:pt x="4762499" y="11747497"/>
                </a:lnTo>
                <a:lnTo>
                  <a:pt x="4764245" y="11718850"/>
                </a:lnTo>
                <a:cubicBezTo>
                  <a:pt x="4764975" y="11696738"/>
                  <a:pt x="4765648" y="11674226"/>
                  <a:pt x="4767380" y="11659268"/>
                </a:cubicBezTo>
                <a:cubicBezTo>
                  <a:pt x="4769190" y="11670436"/>
                  <a:pt x="4772034" y="11674725"/>
                  <a:pt x="4775707" y="11673727"/>
                </a:cubicBezTo>
                <a:cubicBezTo>
                  <a:pt x="4775164" y="11697210"/>
                  <a:pt x="4773806" y="11714961"/>
                  <a:pt x="4772126" y="11730392"/>
                </a:cubicBezTo>
                <a:lnTo>
                  <a:pt x="4769917" y="11747497"/>
                </a:lnTo>
                <a:lnTo>
                  <a:pt x="4783288" y="11747497"/>
                </a:lnTo>
                <a:lnTo>
                  <a:pt x="4785741" y="11714014"/>
                </a:lnTo>
                <a:cubicBezTo>
                  <a:pt x="4789180" y="11718700"/>
                  <a:pt x="4789322" y="11727750"/>
                  <a:pt x="4788870" y="11738868"/>
                </a:cubicBezTo>
                <a:lnTo>
                  <a:pt x="4788768" y="11747497"/>
                </a:lnTo>
                <a:lnTo>
                  <a:pt x="4820676" y="11747497"/>
                </a:lnTo>
                <a:lnTo>
                  <a:pt x="4820755" y="11746659"/>
                </a:lnTo>
                <a:cubicBezTo>
                  <a:pt x="4822022" y="11738146"/>
                  <a:pt x="4823574" y="11731664"/>
                  <a:pt x="4825255" y="11729370"/>
                </a:cubicBezTo>
                <a:lnTo>
                  <a:pt x="4825255" y="11631645"/>
                </a:lnTo>
                <a:cubicBezTo>
                  <a:pt x="4824945" y="11630847"/>
                  <a:pt x="4824634" y="11630150"/>
                  <a:pt x="4824272" y="11629551"/>
                </a:cubicBezTo>
                <a:cubicBezTo>
                  <a:pt x="4824479" y="11623269"/>
                  <a:pt x="4824789" y="11618083"/>
                  <a:pt x="4825255" y="11613896"/>
                </a:cubicBezTo>
                <a:lnTo>
                  <a:pt x="4825255" y="11133744"/>
                </a:lnTo>
                <a:cubicBezTo>
                  <a:pt x="4827531" y="11133146"/>
                  <a:pt x="4830840" y="11131749"/>
                  <a:pt x="4833892" y="11129356"/>
                </a:cubicBezTo>
                <a:cubicBezTo>
                  <a:pt x="4833841" y="11125467"/>
                  <a:pt x="4833788" y="11121777"/>
                  <a:pt x="4833943" y="11117388"/>
                </a:cubicBezTo>
                <a:cubicBezTo>
                  <a:pt x="4833995" y="11116092"/>
                  <a:pt x="4834926" y="11115395"/>
                  <a:pt x="4835547" y="11111407"/>
                </a:cubicBezTo>
                <a:cubicBezTo>
                  <a:pt x="4832237" y="11110907"/>
                  <a:pt x="4828875" y="11110609"/>
                  <a:pt x="4825255" y="11110609"/>
                </a:cubicBezTo>
                <a:lnTo>
                  <a:pt x="4825255" y="11102531"/>
                </a:lnTo>
                <a:cubicBezTo>
                  <a:pt x="4829185" y="11101634"/>
                  <a:pt x="4832805" y="11100338"/>
                  <a:pt x="4836271" y="11098941"/>
                </a:cubicBezTo>
                <a:cubicBezTo>
                  <a:pt x="4836477" y="11091961"/>
                  <a:pt x="4836892" y="11084183"/>
                  <a:pt x="4837409" y="11075907"/>
                </a:cubicBezTo>
                <a:cubicBezTo>
                  <a:pt x="4835805" y="11075507"/>
                  <a:pt x="4833995" y="11075407"/>
                  <a:pt x="4832495" y="11074908"/>
                </a:cubicBezTo>
                <a:cubicBezTo>
                  <a:pt x="4828151" y="11071718"/>
                  <a:pt x="4828823" y="11085679"/>
                  <a:pt x="4827944" y="11085679"/>
                </a:cubicBezTo>
                <a:cubicBezTo>
                  <a:pt x="4826910" y="11085579"/>
                  <a:pt x="4826031" y="11084682"/>
                  <a:pt x="4825203" y="11083484"/>
                </a:cubicBezTo>
                <a:lnTo>
                  <a:pt x="4825203" y="11066831"/>
                </a:lnTo>
                <a:cubicBezTo>
                  <a:pt x="4829288" y="11066632"/>
                  <a:pt x="4833633" y="11066333"/>
                  <a:pt x="4837978" y="11066133"/>
                </a:cubicBezTo>
                <a:cubicBezTo>
                  <a:pt x="4838288" y="11060149"/>
                  <a:pt x="4838547" y="11054166"/>
                  <a:pt x="4838702" y="11048185"/>
                </a:cubicBezTo>
                <a:close/>
              </a:path>
            </a:pathLst>
          </a:custGeom>
          <a:solidFill>
            <a:schemeClr val="bg1"/>
          </a:solidFill>
          <a:ln w="7215" cap="flat">
            <a:noFill/>
            <a:prstDash val="solid"/>
            <a:miter/>
          </a:ln>
        </p:spPr>
        <p:txBody>
          <a:bodyPr wrap="square" rtlCol="0" anchor="ctr">
            <a:noAutofit/>
          </a:bodyPr>
          <a:lstStyle/>
          <a:p>
            <a:endParaRPr lang="en-GB"/>
          </a:p>
        </p:txBody>
      </p:sp>
      <p:sp>
        <p:nvSpPr>
          <p:cNvPr id="5" name="Footer Placeholder 4">
            <a:extLst>
              <a:ext uri="{FF2B5EF4-FFF2-40B4-BE49-F238E27FC236}">
                <a16:creationId xmlns:a16="http://schemas.microsoft.com/office/drawing/2014/main" id="{B92983AD-385A-4823-88FC-18B20DC60E4F}"/>
              </a:ext>
            </a:extLst>
          </p:cNvPr>
          <p:cNvSpPr>
            <a:spLocks noGrp="1"/>
          </p:cNvSpPr>
          <p:nvPr>
            <p:ph type="ftr" sz="quarter" idx="11"/>
          </p:nvPr>
        </p:nvSpPr>
        <p:spPr/>
        <p:txBody>
          <a:bodyPr/>
          <a:lstStyle/>
          <a:p>
            <a:r>
              <a:rPr lang="en-US"/>
              <a:t>Cadent Gas Ltd ©</a:t>
            </a:r>
            <a:endParaRPr lang="en-GB"/>
          </a:p>
        </p:txBody>
      </p:sp>
      <p:sp>
        <p:nvSpPr>
          <p:cNvPr id="6" name="Slide Number Placeholder 5">
            <a:extLst>
              <a:ext uri="{FF2B5EF4-FFF2-40B4-BE49-F238E27FC236}">
                <a16:creationId xmlns:a16="http://schemas.microsoft.com/office/drawing/2014/main" id="{9E2A4CA0-D24F-44EB-9413-EB037826E4DB}"/>
              </a:ext>
            </a:extLst>
          </p:cNvPr>
          <p:cNvSpPr>
            <a:spLocks noGrp="1"/>
          </p:cNvSpPr>
          <p:nvPr>
            <p:ph type="sldNum" sz="quarter" idx="12"/>
          </p:nvPr>
        </p:nvSpPr>
        <p:spPr/>
        <p:txBody>
          <a:bodyPr/>
          <a:lstStyle/>
          <a:p>
            <a:fld id="{A8B7E462-AA7B-4427-9DF0-5AABDADAA92F}" type="slidenum">
              <a:rPr lang="en-GB" smtClean="0"/>
              <a:t>‹#›</a:t>
            </a:fld>
            <a:endParaRPr lang="en-GB"/>
          </a:p>
        </p:txBody>
      </p:sp>
      <p:sp>
        <p:nvSpPr>
          <p:cNvPr id="18" name="Text Placeholder 17">
            <a:extLst>
              <a:ext uri="{FF2B5EF4-FFF2-40B4-BE49-F238E27FC236}">
                <a16:creationId xmlns:a16="http://schemas.microsoft.com/office/drawing/2014/main" id="{02C5A429-B967-4720-B426-66E1F8640CF8}"/>
              </a:ext>
            </a:extLst>
          </p:cNvPr>
          <p:cNvSpPr>
            <a:spLocks noGrp="1"/>
          </p:cNvSpPr>
          <p:nvPr>
            <p:ph type="body" sz="quarter" idx="13"/>
          </p:nvPr>
        </p:nvSpPr>
        <p:spPr>
          <a:xfrm>
            <a:off x="515938" y="2068195"/>
            <a:ext cx="11160125" cy="3895725"/>
          </a:xfrm>
        </p:spPr>
        <p:txBody>
          <a:bodyPr>
            <a:normAutofit/>
          </a:bodyPr>
          <a:lstStyle>
            <a:lvl1pPr marL="288000" indent="-288000">
              <a:buClr>
                <a:schemeClr val="accent1"/>
              </a:buClr>
              <a:buFont typeface="+mj-lt"/>
              <a:buAutoNum type="arabicPeriod"/>
              <a:defRPr sz="1600">
                <a:solidFill>
                  <a:schemeClr val="tx1"/>
                </a:solidFill>
              </a:defRPr>
            </a:lvl1pPr>
            <a:lvl2pPr marL="306388" indent="0">
              <a:buClr>
                <a:schemeClr val="accent1"/>
              </a:buClr>
              <a:buFont typeface="Arial" panose="020B0604020202020204" pitchFamily="34" charset="0"/>
              <a:buNone/>
              <a:defRPr sz="1600"/>
            </a:lvl2pPr>
            <a:lvl3pPr marL="450000" indent="-144000">
              <a:buClr>
                <a:schemeClr val="accent1"/>
              </a:buClr>
              <a:buSzPct val="100000"/>
              <a:buFont typeface="Arial" panose="020B0604020202020204" pitchFamily="34" charset="0"/>
              <a:buChar char="•"/>
              <a:defRPr sz="1600"/>
            </a:lvl3pPr>
            <a:lvl4pPr marL="450000" indent="-144000">
              <a:buClr>
                <a:schemeClr val="accent1"/>
              </a:buClr>
              <a:buSzPct val="100000"/>
              <a:buFont typeface="Arial" panose="020B0604020202020204" pitchFamily="34" charset="0"/>
              <a:buChar char="•"/>
              <a:defRPr sz="1600"/>
            </a:lvl4pPr>
            <a:lvl5pPr marL="450000" indent="-144000">
              <a:buClr>
                <a:schemeClr val="accent1"/>
              </a:buClr>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5018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1648772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40" name="Picture Placeholder 2439">
            <a:extLst>
              <a:ext uri="{FF2B5EF4-FFF2-40B4-BE49-F238E27FC236}">
                <a16:creationId xmlns:a16="http://schemas.microsoft.com/office/drawing/2014/main" id="{286F7148-2231-43C9-8145-73755F69A2C5}"/>
              </a:ext>
            </a:extLst>
          </p:cNvPr>
          <p:cNvSpPr>
            <a:spLocks noGrp="1"/>
          </p:cNvSpPr>
          <p:nvPr>
            <p:ph type="pic" sz="quarter" idx="13"/>
          </p:nvPr>
        </p:nvSpPr>
        <p:spPr>
          <a:xfrm>
            <a:off x="7200901" y="0"/>
            <a:ext cx="4991099" cy="6857998"/>
          </a:xfrm>
          <a:custGeom>
            <a:avLst/>
            <a:gdLst>
              <a:gd name="connsiteX0" fmla="*/ 572814 w 4991099"/>
              <a:gd name="connsiteY0" fmla="*/ 4535775 h 6857998"/>
              <a:gd name="connsiteX1" fmla="*/ 591872 w 4991099"/>
              <a:gd name="connsiteY1" fmla="*/ 4570960 h 6857998"/>
              <a:gd name="connsiteX2" fmla="*/ 566951 w 4991099"/>
              <a:gd name="connsiteY2" fmla="*/ 4581225 h 6857998"/>
              <a:gd name="connsiteX3" fmla="*/ 572814 w 4991099"/>
              <a:gd name="connsiteY3" fmla="*/ 4535775 h 6857998"/>
              <a:gd name="connsiteX4" fmla="*/ 394050 w 4991099"/>
              <a:gd name="connsiteY4" fmla="*/ 3806517 h 6857998"/>
              <a:gd name="connsiteX5" fmla="*/ 399824 w 4991099"/>
              <a:gd name="connsiteY5" fmla="*/ 3810089 h 6857998"/>
              <a:gd name="connsiteX6" fmla="*/ 386629 w 4991099"/>
              <a:gd name="connsiteY6" fmla="*/ 3818888 h 6857998"/>
              <a:gd name="connsiteX7" fmla="*/ 384428 w 4991099"/>
              <a:gd name="connsiteY7" fmla="*/ 3806794 h 6857998"/>
              <a:gd name="connsiteX8" fmla="*/ 394050 w 4991099"/>
              <a:gd name="connsiteY8" fmla="*/ 3806517 h 6857998"/>
              <a:gd name="connsiteX9" fmla="*/ 559620 w 4991099"/>
              <a:gd name="connsiteY9" fmla="*/ 3766110 h 6857998"/>
              <a:gd name="connsiteX10" fmla="*/ 572814 w 4991099"/>
              <a:gd name="connsiteY10" fmla="*/ 3792499 h 6857998"/>
              <a:gd name="connsiteX11" fmla="*/ 559620 w 4991099"/>
              <a:gd name="connsiteY11" fmla="*/ 3766110 h 6857998"/>
              <a:gd name="connsiteX12" fmla="*/ 561705 w 4991099"/>
              <a:gd name="connsiteY12" fmla="*/ 3721303 h 6857998"/>
              <a:gd name="connsiteX13" fmla="*/ 572814 w 4991099"/>
              <a:gd name="connsiteY13" fmla="*/ 3729458 h 6857998"/>
              <a:gd name="connsiteX14" fmla="*/ 553756 w 4991099"/>
              <a:gd name="connsiteY14" fmla="*/ 3783703 h 6857998"/>
              <a:gd name="connsiteX15" fmla="*/ 534698 w 4991099"/>
              <a:gd name="connsiteY15" fmla="*/ 3748519 h 6857998"/>
              <a:gd name="connsiteX16" fmla="*/ 549907 w 4991099"/>
              <a:gd name="connsiteY16" fmla="*/ 3723594 h 6857998"/>
              <a:gd name="connsiteX17" fmla="*/ 561705 w 4991099"/>
              <a:gd name="connsiteY17" fmla="*/ 3721303 h 6857998"/>
              <a:gd name="connsiteX18" fmla="*/ 354376 w 4991099"/>
              <a:gd name="connsiteY18" fmla="*/ 3613644 h 6857998"/>
              <a:gd name="connsiteX19" fmla="*/ 367571 w 4991099"/>
              <a:gd name="connsiteY19" fmla="*/ 3613644 h 6857998"/>
              <a:gd name="connsiteX20" fmla="*/ 367571 w 4991099"/>
              <a:gd name="connsiteY20" fmla="*/ 3631235 h 6857998"/>
              <a:gd name="connsiteX21" fmla="*/ 354376 w 4991099"/>
              <a:gd name="connsiteY21" fmla="*/ 3631235 h 6857998"/>
              <a:gd name="connsiteX22" fmla="*/ 569515 w 4991099"/>
              <a:gd name="connsiteY22" fmla="*/ 3550969 h 6857998"/>
              <a:gd name="connsiteX23" fmla="*/ 572814 w 4991099"/>
              <a:gd name="connsiteY23" fmla="*/ 3587255 h 6857998"/>
              <a:gd name="connsiteX24" fmla="*/ 559620 w 4991099"/>
              <a:gd name="connsiteY24" fmla="*/ 3552068 h 6857998"/>
              <a:gd name="connsiteX25" fmla="*/ 569515 w 4991099"/>
              <a:gd name="connsiteY25" fmla="*/ 3550969 h 6857998"/>
              <a:gd name="connsiteX26" fmla="*/ 335318 w 4991099"/>
              <a:gd name="connsiteY26" fmla="*/ 3550603 h 6857998"/>
              <a:gd name="connsiteX27" fmla="*/ 354376 w 4991099"/>
              <a:gd name="connsiteY27" fmla="*/ 3550603 h 6857998"/>
              <a:gd name="connsiteX28" fmla="*/ 354376 w 4991099"/>
              <a:gd name="connsiteY28" fmla="*/ 3576992 h 6857998"/>
              <a:gd name="connsiteX29" fmla="*/ 335318 w 4991099"/>
              <a:gd name="connsiteY29" fmla="*/ 3568194 h 6857998"/>
              <a:gd name="connsiteX30" fmla="*/ 561087 w 4991099"/>
              <a:gd name="connsiteY30" fmla="*/ 3184096 h 6857998"/>
              <a:gd name="connsiteX31" fmla="*/ 574279 w 4991099"/>
              <a:gd name="connsiteY31" fmla="*/ 3219281 h 6857998"/>
              <a:gd name="connsiteX32" fmla="*/ 580145 w 4991099"/>
              <a:gd name="connsiteY32" fmla="*/ 3184096 h 6857998"/>
              <a:gd name="connsiteX33" fmla="*/ 605067 w 4991099"/>
              <a:gd name="connsiteY33" fmla="*/ 3229541 h 6857998"/>
              <a:gd name="connsiteX34" fmla="*/ 559620 w 4991099"/>
              <a:gd name="connsiteY34" fmla="*/ 3255930 h 6857998"/>
              <a:gd name="connsiteX35" fmla="*/ 561087 w 4991099"/>
              <a:gd name="connsiteY35" fmla="*/ 3184096 h 6857998"/>
              <a:gd name="connsiteX36" fmla="*/ 552800 w 4991099"/>
              <a:gd name="connsiteY36" fmla="*/ 3051568 h 6857998"/>
              <a:gd name="connsiteX37" fmla="*/ 566951 w 4991099"/>
              <a:gd name="connsiteY37" fmla="*/ 3112260 h 6857998"/>
              <a:gd name="connsiteX38" fmla="*/ 542026 w 4991099"/>
              <a:gd name="connsiteY38" fmla="*/ 3103465 h 6857998"/>
              <a:gd name="connsiteX39" fmla="*/ 547893 w 4991099"/>
              <a:gd name="connsiteY39" fmla="*/ 3058017 h 6857998"/>
              <a:gd name="connsiteX40" fmla="*/ 552800 w 4991099"/>
              <a:gd name="connsiteY40" fmla="*/ 3051568 h 6857998"/>
              <a:gd name="connsiteX41" fmla="*/ 610931 w 4991099"/>
              <a:gd name="connsiteY41" fmla="*/ 3015502 h 6857998"/>
              <a:gd name="connsiteX42" fmla="*/ 624125 w 4991099"/>
              <a:gd name="connsiteY42" fmla="*/ 3050686 h 6857998"/>
              <a:gd name="connsiteX43" fmla="*/ 610931 w 4991099"/>
              <a:gd name="connsiteY43" fmla="*/ 3077073 h 6857998"/>
              <a:gd name="connsiteX44" fmla="*/ 591872 w 4991099"/>
              <a:gd name="connsiteY44" fmla="*/ 3050686 h 6857998"/>
              <a:gd name="connsiteX45" fmla="*/ 610931 w 4991099"/>
              <a:gd name="connsiteY45" fmla="*/ 3015502 h 6857998"/>
              <a:gd name="connsiteX46" fmla="*/ 546425 w 4991099"/>
              <a:gd name="connsiteY46" fmla="*/ 2789733 h 6857998"/>
              <a:gd name="connsiteX47" fmla="*/ 559620 w 4991099"/>
              <a:gd name="connsiteY47" fmla="*/ 2816122 h 6857998"/>
              <a:gd name="connsiteX48" fmla="*/ 546425 w 4991099"/>
              <a:gd name="connsiteY48" fmla="*/ 2789733 h 6857998"/>
              <a:gd name="connsiteX49" fmla="*/ 553756 w 4991099"/>
              <a:gd name="connsiteY49" fmla="*/ 2754548 h 6857998"/>
              <a:gd name="connsiteX50" fmla="*/ 540562 w 4991099"/>
              <a:gd name="connsiteY50" fmla="*/ 2772139 h 6857998"/>
              <a:gd name="connsiteX51" fmla="*/ 553756 w 4991099"/>
              <a:gd name="connsiteY51" fmla="*/ 2754548 h 6857998"/>
              <a:gd name="connsiteX52" fmla="*/ 521503 w 4991099"/>
              <a:gd name="connsiteY52" fmla="*/ 2754548 h 6857998"/>
              <a:gd name="connsiteX53" fmla="*/ 521503 w 4991099"/>
              <a:gd name="connsiteY53" fmla="*/ 2772139 h 6857998"/>
              <a:gd name="connsiteX54" fmla="*/ 281073 w 4991099"/>
              <a:gd name="connsiteY54" fmla="*/ 2744286 h 6857998"/>
              <a:gd name="connsiteX55" fmla="*/ 281073 w 4991099"/>
              <a:gd name="connsiteY55" fmla="*/ 2861569 h 6857998"/>
              <a:gd name="connsiteX56" fmla="*/ 279400 w 4991099"/>
              <a:gd name="connsiteY56" fmla="*/ 2856794 h 6857998"/>
              <a:gd name="connsiteX57" fmla="*/ 279400 w 4991099"/>
              <a:gd name="connsiteY57" fmla="*/ 2756251 h 6857998"/>
              <a:gd name="connsiteX58" fmla="*/ 279676 w 4991099"/>
              <a:gd name="connsiteY58" fmla="*/ 2754273 h 6857998"/>
              <a:gd name="connsiteX59" fmla="*/ 281073 w 4991099"/>
              <a:gd name="connsiteY59" fmla="*/ 2744286 h 6857998"/>
              <a:gd name="connsiteX60" fmla="*/ 525123 w 4991099"/>
              <a:gd name="connsiteY60" fmla="*/ 2708276 h 6857998"/>
              <a:gd name="connsiteX61" fmla="*/ 534698 w 4991099"/>
              <a:gd name="connsiteY61" fmla="*/ 2709101 h 6857998"/>
              <a:gd name="connsiteX62" fmla="*/ 534698 w 4991099"/>
              <a:gd name="connsiteY62" fmla="*/ 2726692 h 6857998"/>
              <a:gd name="connsiteX63" fmla="*/ 528834 w 4991099"/>
              <a:gd name="connsiteY63" fmla="*/ 2735490 h 6857998"/>
              <a:gd name="connsiteX64" fmla="*/ 525123 w 4991099"/>
              <a:gd name="connsiteY64" fmla="*/ 2708276 h 6857998"/>
              <a:gd name="connsiteX65" fmla="*/ 584748 w 4991099"/>
              <a:gd name="connsiteY65" fmla="*/ 2693982 h 6857998"/>
              <a:gd name="connsiteX66" fmla="*/ 610931 w 4991099"/>
              <a:gd name="connsiteY66" fmla="*/ 2717896 h 6857998"/>
              <a:gd name="connsiteX67" fmla="*/ 586009 w 4991099"/>
              <a:gd name="connsiteY67" fmla="*/ 2726692 h 6857998"/>
              <a:gd name="connsiteX68" fmla="*/ 578678 w 4991099"/>
              <a:gd name="connsiteY68" fmla="*/ 2700306 h 6857998"/>
              <a:gd name="connsiteX69" fmla="*/ 584748 w 4991099"/>
              <a:gd name="connsiteY69" fmla="*/ 2693982 h 6857998"/>
              <a:gd name="connsiteX70" fmla="*/ 547893 w 4991099"/>
              <a:gd name="connsiteY70" fmla="*/ 2673917 h 6857998"/>
              <a:gd name="connsiteX71" fmla="*/ 542026 w 4991099"/>
              <a:gd name="connsiteY71" fmla="*/ 2709101 h 6857998"/>
              <a:gd name="connsiteX72" fmla="*/ 547893 w 4991099"/>
              <a:gd name="connsiteY72" fmla="*/ 2673917 h 6857998"/>
              <a:gd name="connsiteX73" fmla="*/ 474933 w 4991099"/>
              <a:gd name="connsiteY73" fmla="*/ 2609983 h 6857998"/>
              <a:gd name="connsiteX74" fmla="*/ 482470 w 4991099"/>
              <a:gd name="connsiteY74" fmla="*/ 2610328 h 6857998"/>
              <a:gd name="connsiteX75" fmla="*/ 496582 w 4991099"/>
              <a:gd name="connsiteY75" fmla="*/ 2619674 h 6857998"/>
              <a:gd name="connsiteX76" fmla="*/ 471657 w 4991099"/>
              <a:gd name="connsiteY76" fmla="*/ 2619674 h 6857998"/>
              <a:gd name="connsiteX77" fmla="*/ 474933 w 4991099"/>
              <a:gd name="connsiteY77" fmla="*/ 2609983 h 6857998"/>
              <a:gd name="connsiteX78" fmla="*/ 548303 w 4991099"/>
              <a:gd name="connsiteY78" fmla="*/ 2600087 h 6857998"/>
              <a:gd name="connsiteX79" fmla="*/ 559620 w 4991099"/>
              <a:gd name="connsiteY79" fmla="*/ 2602080 h 6857998"/>
              <a:gd name="connsiteX80" fmla="*/ 553756 w 4991099"/>
              <a:gd name="connsiteY80" fmla="*/ 2637265 h 6857998"/>
              <a:gd name="connsiteX81" fmla="*/ 521503 w 4991099"/>
              <a:gd name="connsiteY81" fmla="*/ 2637265 h 6857998"/>
              <a:gd name="connsiteX82" fmla="*/ 521503 w 4991099"/>
              <a:gd name="connsiteY82" fmla="*/ 2602080 h 6857998"/>
              <a:gd name="connsiteX83" fmla="*/ 534698 w 4991099"/>
              <a:gd name="connsiteY83" fmla="*/ 2619674 h 6857998"/>
              <a:gd name="connsiteX84" fmla="*/ 548303 w 4991099"/>
              <a:gd name="connsiteY84" fmla="*/ 2600087 h 6857998"/>
              <a:gd name="connsiteX85" fmla="*/ 289871 w 4991099"/>
              <a:gd name="connsiteY85" fmla="*/ 2597681 h 6857998"/>
              <a:gd name="connsiteX86" fmla="*/ 286754 w 4991099"/>
              <a:gd name="connsiteY86" fmla="*/ 2622239 h 6857998"/>
              <a:gd name="connsiteX87" fmla="*/ 279400 w 4991099"/>
              <a:gd name="connsiteY87" fmla="*/ 2624251 h 6857998"/>
              <a:gd name="connsiteX88" fmla="*/ 279400 w 4991099"/>
              <a:gd name="connsiteY88" fmla="*/ 2606611 h 6857998"/>
              <a:gd name="connsiteX89" fmla="*/ 279447 w 4991099"/>
              <a:gd name="connsiteY89" fmla="*/ 2606593 h 6857998"/>
              <a:gd name="connsiteX90" fmla="*/ 289871 w 4991099"/>
              <a:gd name="connsiteY90" fmla="*/ 2597681 h 6857998"/>
              <a:gd name="connsiteX91" fmla="*/ 553756 w 4991099"/>
              <a:gd name="connsiteY91" fmla="*/ 2495060 h 6857998"/>
              <a:gd name="connsiteX92" fmla="*/ 521503 w 4991099"/>
              <a:gd name="connsiteY92" fmla="*/ 2540507 h 6857998"/>
              <a:gd name="connsiteX93" fmla="*/ 553756 w 4991099"/>
              <a:gd name="connsiteY93" fmla="*/ 2495060 h 6857998"/>
              <a:gd name="connsiteX94" fmla="*/ 584542 w 4991099"/>
              <a:gd name="connsiteY94" fmla="*/ 2476001 h 6857998"/>
              <a:gd name="connsiteX95" fmla="*/ 590408 w 4991099"/>
              <a:gd name="connsiteY95" fmla="*/ 2539042 h 6857998"/>
              <a:gd name="connsiteX96" fmla="*/ 584542 w 4991099"/>
              <a:gd name="connsiteY96" fmla="*/ 2547838 h 6857998"/>
              <a:gd name="connsiteX97" fmla="*/ 578678 w 4991099"/>
              <a:gd name="connsiteY97" fmla="*/ 2556633 h 6857998"/>
              <a:gd name="connsiteX98" fmla="*/ 584542 w 4991099"/>
              <a:gd name="connsiteY98" fmla="*/ 2476001 h 6857998"/>
              <a:gd name="connsiteX99" fmla="*/ 624125 w 4991099"/>
              <a:gd name="connsiteY99" fmla="*/ 2298611 h 6857998"/>
              <a:gd name="connsiteX100" fmla="*/ 643183 w 4991099"/>
              <a:gd name="connsiteY100" fmla="*/ 2333796 h 6857998"/>
              <a:gd name="connsiteX101" fmla="*/ 624125 w 4991099"/>
              <a:gd name="connsiteY101" fmla="*/ 2351390 h 6857998"/>
              <a:gd name="connsiteX102" fmla="*/ 643183 w 4991099"/>
              <a:gd name="connsiteY102" fmla="*/ 2386574 h 6857998"/>
              <a:gd name="connsiteX103" fmla="*/ 629989 w 4991099"/>
              <a:gd name="connsiteY103" fmla="*/ 2404165 h 6857998"/>
              <a:gd name="connsiteX104" fmla="*/ 605067 w 4991099"/>
              <a:gd name="connsiteY104" fmla="*/ 2377779 h 6857998"/>
              <a:gd name="connsiteX105" fmla="*/ 610931 w 4991099"/>
              <a:gd name="connsiteY105" fmla="*/ 2333796 h 6857998"/>
              <a:gd name="connsiteX106" fmla="*/ 624125 w 4991099"/>
              <a:gd name="connsiteY106" fmla="*/ 2333796 h 6857998"/>
              <a:gd name="connsiteX107" fmla="*/ 610931 w 4991099"/>
              <a:gd name="connsiteY107" fmla="*/ 2316205 h 6857998"/>
              <a:gd name="connsiteX108" fmla="*/ 624125 w 4991099"/>
              <a:gd name="connsiteY108" fmla="*/ 2298611 h 6857998"/>
              <a:gd name="connsiteX109" fmla="*/ 586009 w 4991099"/>
              <a:gd name="connsiteY109" fmla="*/ 2279553 h 6857998"/>
              <a:gd name="connsiteX110" fmla="*/ 599203 w 4991099"/>
              <a:gd name="connsiteY110" fmla="*/ 2297147 h 6857998"/>
              <a:gd name="connsiteX111" fmla="*/ 580145 w 4991099"/>
              <a:gd name="connsiteY111" fmla="*/ 2305942 h 6857998"/>
              <a:gd name="connsiteX112" fmla="*/ 586009 w 4991099"/>
              <a:gd name="connsiteY112" fmla="*/ 2279553 h 6857998"/>
              <a:gd name="connsiteX113" fmla="*/ 367571 w 4991099"/>
              <a:gd name="connsiteY113" fmla="*/ 2216515 h 6857998"/>
              <a:gd name="connsiteX114" fmla="*/ 367571 w 4991099"/>
              <a:gd name="connsiteY114" fmla="*/ 2216515 h 6857998"/>
              <a:gd name="connsiteX115" fmla="*/ 662242 w 4991099"/>
              <a:gd name="connsiteY115" fmla="*/ 2173322 h 6857998"/>
              <a:gd name="connsiteX116" fmla="*/ 674378 w 4991099"/>
              <a:gd name="connsiteY116" fmla="*/ 2190126 h 6857998"/>
              <a:gd name="connsiteX117" fmla="*/ 662242 w 4991099"/>
              <a:gd name="connsiteY117" fmla="*/ 2190126 h 6857998"/>
              <a:gd name="connsiteX118" fmla="*/ 656378 w 4991099"/>
              <a:gd name="connsiteY118" fmla="*/ 2165201 h 6857998"/>
              <a:gd name="connsiteX119" fmla="*/ 662242 w 4991099"/>
              <a:gd name="connsiteY119" fmla="*/ 2167452 h 6857998"/>
              <a:gd name="connsiteX120" fmla="*/ 662242 w 4991099"/>
              <a:gd name="connsiteY120" fmla="*/ 2173322 h 6857998"/>
              <a:gd name="connsiteX121" fmla="*/ 662242 w 4991099"/>
              <a:gd name="connsiteY121" fmla="*/ 2163737 h 6857998"/>
              <a:gd name="connsiteX122" fmla="*/ 675436 w 4991099"/>
              <a:gd name="connsiteY122" fmla="*/ 2163737 h 6857998"/>
              <a:gd name="connsiteX123" fmla="*/ 675436 w 4991099"/>
              <a:gd name="connsiteY123" fmla="*/ 2169803 h 6857998"/>
              <a:gd name="connsiteX124" fmla="*/ 672138 w 4991099"/>
              <a:gd name="connsiteY124" fmla="*/ 2171250 h 6857998"/>
              <a:gd name="connsiteX125" fmla="*/ 662242 w 4991099"/>
              <a:gd name="connsiteY125" fmla="*/ 2167452 h 6857998"/>
              <a:gd name="connsiteX126" fmla="*/ 374899 w 4991099"/>
              <a:gd name="connsiteY126" fmla="*/ 2163737 h 6857998"/>
              <a:gd name="connsiteX127" fmla="*/ 374899 w 4991099"/>
              <a:gd name="connsiteY127" fmla="*/ 2174000 h 6857998"/>
              <a:gd name="connsiteX128" fmla="*/ 361704 w 4991099"/>
              <a:gd name="connsiteY128" fmla="*/ 2209184 h 6857998"/>
              <a:gd name="connsiteX129" fmla="*/ 374899 w 4991099"/>
              <a:gd name="connsiteY129" fmla="*/ 2163737 h 6857998"/>
              <a:gd name="connsiteX130" fmla="*/ 316257 w 4991099"/>
              <a:gd name="connsiteY130" fmla="*/ 2153474 h 6857998"/>
              <a:gd name="connsiteX131" fmla="*/ 316257 w 4991099"/>
              <a:gd name="connsiteY131" fmla="*/ 2338195 h 6857998"/>
              <a:gd name="connsiteX132" fmla="*/ 291335 w 4991099"/>
              <a:gd name="connsiteY132" fmla="*/ 2351390 h 6857998"/>
              <a:gd name="connsiteX133" fmla="*/ 316257 w 4991099"/>
              <a:gd name="connsiteY133" fmla="*/ 2377779 h 6857998"/>
              <a:gd name="connsiteX134" fmla="*/ 291335 w 4991099"/>
              <a:gd name="connsiteY134" fmla="*/ 2401233 h 6857998"/>
              <a:gd name="connsiteX135" fmla="*/ 284004 w 4991099"/>
              <a:gd name="connsiteY135" fmla="*/ 2474534 h 6857998"/>
              <a:gd name="connsiteX136" fmla="*/ 282540 w 4991099"/>
              <a:gd name="connsiteY136" fmla="*/ 2380710 h 6857998"/>
              <a:gd name="connsiteX137" fmla="*/ 284004 w 4991099"/>
              <a:gd name="connsiteY137" fmla="*/ 2314738 h 6857998"/>
              <a:gd name="connsiteX138" fmla="*/ 297199 w 4991099"/>
              <a:gd name="connsiteY138" fmla="*/ 2332331 h 6857998"/>
              <a:gd name="connsiteX139" fmla="*/ 303063 w 4991099"/>
              <a:gd name="connsiteY139" fmla="*/ 2264891 h 6857998"/>
              <a:gd name="connsiteX140" fmla="*/ 316257 w 4991099"/>
              <a:gd name="connsiteY140" fmla="*/ 2153474 h 6857998"/>
              <a:gd name="connsiteX141" fmla="*/ 629989 w 4991099"/>
              <a:gd name="connsiteY141" fmla="*/ 2137348 h 6857998"/>
              <a:gd name="connsiteX142" fmla="*/ 643183 w 4991099"/>
              <a:gd name="connsiteY142" fmla="*/ 2137348 h 6857998"/>
              <a:gd name="connsiteX143" fmla="*/ 643183 w 4991099"/>
              <a:gd name="connsiteY143" fmla="*/ 2154942 h 6857998"/>
              <a:gd name="connsiteX144" fmla="*/ 629989 w 4991099"/>
              <a:gd name="connsiteY144" fmla="*/ 2154942 h 6857998"/>
              <a:gd name="connsiteX145" fmla="*/ 605067 w 4991099"/>
              <a:gd name="connsiteY145" fmla="*/ 2127085 h 6857998"/>
              <a:gd name="connsiteX146" fmla="*/ 610931 w 4991099"/>
              <a:gd name="connsiteY146" fmla="*/ 2190126 h 6857998"/>
              <a:gd name="connsiteX147" fmla="*/ 605067 w 4991099"/>
              <a:gd name="connsiteY147" fmla="*/ 2127085 h 6857998"/>
              <a:gd name="connsiteX148" fmla="*/ 553756 w 4991099"/>
              <a:gd name="connsiteY148" fmla="*/ 1983415 h 6857998"/>
              <a:gd name="connsiteX149" fmla="*/ 547893 w 4991099"/>
              <a:gd name="connsiteY149" fmla="*/ 2028862 h 6857998"/>
              <a:gd name="connsiteX150" fmla="*/ 553756 w 4991099"/>
              <a:gd name="connsiteY150" fmla="*/ 1983415 h 6857998"/>
              <a:gd name="connsiteX151" fmla="*/ 371097 w 4991099"/>
              <a:gd name="connsiteY151" fmla="*/ 1983141 h 6857998"/>
              <a:gd name="connsiteX152" fmla="*/ 374899 w 4991099"/>
              <a:gd name="connsiteY152" fmla="*/ 1992211 h 6857998"/>
              <a:gd name="connsiteX153" fmla="*/ 374899 w 4991099"/>
              <a:gd name="connsiteY153" fmla="*/ 2037658 h 6857998"/>
              <a:gd name="connsiteX154" fmla="*/ 374899 w 4991099"/>
              <a:gd name="connsiteY154" fmla="*/ 2134416 h 6857998"/>
              <a:gd name="connsiteX155" fmla="*/ 374899 w 4991099"/>
              <a:gd name="connsiteY155" fmla="*/ 2108027 h 6857998"/>
              <a:gd name="connsiteX156" fmla="*/ 369035 w 4991099"/>
              <a:gd name="connsiteY156" fmla="*/ 2081638 h 6857998"/>
              <a:gd name="connsiteX157" fmla="*/ 374899 w 4991099"/>
              <a:gd name="connsiteY157" fmla="*/ 2072842 h 6857998"/>
              <a:gd name="connsiteX158" fmla="*/ 369035 w 4991099"/>
              <a:gd name="connsiteY158" fmla="*/ 2018600 h 6857998"/>
              <a:gd name="connsiteX159" fmla="*/ 368669 w 4991099"/>
              <a:gd name="connsiteY159" fmla="*/ 1991113 h 6857998"/>
              <a:gd name="connsiteX160" fmla="*/ 371097 w 4991099"/>
              <a:gd name="connsiteY160" fmla="*/ 1983141 h 6857998"/>
              <a:gd name="connsiteX161" fmla="*/ 304571 w 4991099"/>
              <a:gd name="connsiteY161" fmla="*/ 1970963 h 6857998"/>
              <a:gd name="connsiteX162" fmla="*/ 307096 w 4991099"/>
              <a:gd name="connsiteY162" fmla="*/ 1979566 h 6857998"/>
              <a:gd name="connsiteX163" fmla="*/ 295734 w 4991099"/>
              <a:gd name="connsiteY163" fmla="*/ 1983415 h 6857998"/>
              <a:gd name="connsiteX164" fmla="*/ 303063 w 4991099"/>
              <a:gd name="connsiteY164" fmla="*/ 1965821 h 6857998"/>
              <a:gd name="connsiteX165" fmla="*/ 307501 w 4991099"/>
              <a:gd name="connsiteY165" fmla="*/ 1966834 h 6857998"/>
              <a:gd name="connsiteX166" fmla="*/ 304571 w 4991099"/>
              <a:gd name="connsiteY166" fmla="*/ 1970963 h 6857998"/>
              <a:gd name="connsiteX167" fmla="*/ 327987 w 4991099"/>
              <a:gd name="connsiteY167" fmla="*/ 1937968 h 6857998"/>
              <a:gd name="connsiteX168" fmla="*/ 327987 w 4991099"/>
              <a:gd name="connsiteY168" fmla="*/ 1983415 h 6857998"/>
              <a:gd name="connsiteX169" fmla="*/ 319923 w 4991099"/>
              <a:gd name="connsiteY169" fmla="*/ 1969670 h 6857998"/>
              <a:gd name="connsiteX170" fmla="*/ 307501 w 4991099"/>
              <a:gd name="connsiteY170" fmla="*/ 1966834 h 6857998"/>
              <a:gd name="connsiteX171" fmla="*/ 597736 w 4991099"/>
              <a:gd name="connsiteY171" fmla="*/ 1932104 h 6857998"/>
              <a:gd name="connsiteX172" fmla="*/ 629989 w 4991099"/>
              <a:gd name="connsiteY172" fmla="*/ 1949695 h 6857998"/>
              <a:gd name="connsiteX173" fmla="*/ 629989 w 4991099"/>
              <a:gd name="connsiteY173" fmla="*/ 1967289 h 6857998"/>
              <a:gd name="connsiteX174" fmla="*/ 649047 w 4991099"/>
              <a:gd name="connsiteY174" fmla="*/ 1984880 h 6857998"/>
              <a:gd name="connsiteX175" fmla="*/ 644648 w 4991099"/>
              <a:gd name="connsiteY175" fmla="*/ 2065511 h 6857998"/>
              <a:gd name="connsiteX176" fmla="*/ 631456 w 4991099"/>
              <a:gd name="connsiteY176" fmla="*/ 2047921 h 6857998"/>
              <a:gd name="connsiteX177" fmla="*/ 618262 w 4991099"/>
              <a:gd name="connsiteY177" fmla="*/ 2119757 h 6857998"/>
              <a:gd name="connsiteX178" fmla="*/ 572814 w 4991099"/>
              <a:gd name="connsiteY178" fmla="*/ 2093368 h 6857998"/>
              <a:gd name="connsiteX179" fmla="*/ 572814 w 4991099"/>
              <a:gd name="connsiteY179" fmla="*/ 2012736 h 6857998"/>
              <a:gd name="connsiteX180" fmla="*/ 597736 w 4991099"/>
              <a:gd name="connsiteY180" fmla="*/ 1932104 h 6857998"/>
              <a:gd name="connsiteX181" fmla="*/ 588985 w 4991099"/>
              <a:gd name="connsiteY181" fmla="*/ 1857152 h 6857998"/>
              <a:gd name="connsiteX182" fmla="*/ 591872 w 4991099"/>
              <a:gd name="connsiteY182" fmla="*/ 1885190 h 6857998"/>
              <a:gd name="connsiteX183" fmla="*/ 597736 w 4991099"/>
              <a:gd name="connsiteY183" fmla="*/ 1876394 h 6857998"/>
              <a:gd name="connsiteX184" fmla="*/ 597736 w 4991099"/>
              <a:gd name="connsiteY184" fmla="*/ 1858801 h 6857998"/>
              <a:gd name="connsiteX185" fmla="*/ 588985 w 4991099"/>
              <a:gd name="connsiteY185" fmla="*/ 1857152 h 6857998"/>
              <a:gd name="connsiteX186" fmla="*/ 307829 w 4991099"/>
              <a:gd name="connsiteY186" fmla="*/ 1801076 h 6857998"/>
              <a:gd name="connsiteX187" fmla="*/ 329452 w 4991099"/>
              <a:gd name="connsiteY187" fmla="*/ 1806025 h 6857998"/>
              <a:gd name="connsiteX188" fmla="*/ 297199 w 4991099"/>
              <a:gd name="connsiteY188" fmla="*/ 1814821 h 6857998"/>
              <a:gd name="connsiteX189" fmla="*/ 307829 w 4991099"/>
              <a:gd name="connsiteY189" fmla="*/ 1801076 h 6857998"/>
              <a:gd name="connsiteX190" fmla="*/ 593510 w 4991099"/>
              <a:gd name="connsiteY190" fmla="*/ 1776251 h 6857998"/>
              <a:gd name="connsiteX191" fmla="*/ 578678 w 4991099"/>
              <a:gd name="connsiteY191" fmla="*/ 1841210 h 6857998"/>
              <a:gd name="connsiteX192" fmla="*/ 609466 w 4991099"/>
              <a:gd name="connsiteY192" fmla="*/ 1823619 h 6857998"/>
              <a:gd name="connsiteX193" fmla="*/ 603600 w 4991099"/>
              <a:gd name="connsiteY193" fmla="*/ 1778172 h 6857998"/>
              <a:gd name="connsiteX194" fmla="*/ 593510 w 4991099"/>
              <a:gd name="connsiteY194" fmla="*/ 1776251 h 6857998"/>
              <a:gd name="connsiteX195" fmla="*/ 656378 w 4991099"/>
              <a:gd name="connsiteY195" fmla="*/ 1706335 h 6857998"/>
              <a:gd name="connsiteX196" fmla="*/ 672688 w 4991099"/>
              <a:gd name="connsiteY196" fmla="*/ 1733091 h 6857998"/>
              <a:gd name="connsiteX197" fmla="*/ 678616 w 4991099"/>
              <a:gd name="connsiteY197" fmla="*/ 1759077 h 6857998"/>
              <a:gd name="connsiteX198" fmla="*/ 673969 w 4991099"/>
              <a:gd name="connsiteY198" fmla="*/ 1764977 h 6857998"/>
              <a:gd name="connsiteX199" fmla="*/ 681037 w 4991099"/>
              <a:gd name="connsiteY199" fmla="*/ 1769689 h 6857998"/>
              <a:gd name="connsiteX200" fmla="*/ 681300 w 4991099"/>
              <a:gd name="connsiteY200" fmla="*/ 1770841 h 6857998"/>
              <a:gd name="connsiteX201" fmla="*/ 656378 w 4991099"/>
              <a:gd name="connsiteY201" fmla="*/ 1779636 h 6857998"/>
              <a:gd name="connsiteX202" fmla="*/ 650514 w 4991099"/>
              <a:gd name="connsiteY202" fmla="*/ 1814821 h 6857998"/>
              <a:gd name="connsiteX203" fmla="*/ 656378 w 4991099"/>
              <a:gd name="connsiteY203" fmla="*/ 1751783 h 6857998"/>
              <a:gd name="connsiteX204" fmla="*/ 656378 w 4991099"/>
              <a:gd name="connsiteY204" fmla="*/ 1706335 h 6857998"/>
              <a:gd name="connsiteX205" fmla="*/ 616794 w 4991099"/>
              <a:gd name="connsiteY205" fmla="*/ 1672615 h 6857998"/>
              <a:gd name="connsiteX206" fmla="*/ 622658 w 4991099"/>
              <a:gd name="connsiteY206" fmla="*/ 1699004 h 6857998"/>
              <a:gd name="connsiteX207" fmla="*/ 635852 w 4991099"/>
              <a:gd name="connsiteY207" fmla="*/ 1744452 h 6857998"/>
              <a:gd name="connsiteX208" fmla="*/ 629989 w 4991099"/>
              <a:gd name="connsiteY208" fmla="*/ 1779636 h 6857998"/>
              <a:gd name="connsiteX209" fmla="*/ 629989 w 4991099"/>
              <a:gd name="connsiteY209" fmla="*/ 1797230 h 6857998"/>
              <a:gd name="connsiteX210" fmla="*/ 624125 w 4991099"/>
              <a:gd name="connsiteY210" fmla="*/ 1823616 h 6857998"/>
              <a:gd name="connsiteX211" fmla="*/ 610931 w 4991099"/>
              <a:gd name="connsiteY211" fmla="*/ 1858801 h 6857998"/>
              <a:gd name="connsiteX212" fmla="*/ 629989 w 4991099"/>
              <a:gd name="connsiteY212" fmla="*/ 1893985 h 6857998"/>
              <a:gd name="connsiteX213" fmla="*/ 610931 w 4991099"/>
              <a:gd name="connsiteY213" fmla="*/ 1911579 h 6857998"/>
              <a:gd name="connsiteX214" fmla="*/ 578678 w 4991099"/>
              <a:gd name="connsiteY214" fmla="*/ 1911579 h 6857998"/>
              <a:gd name="connsiteX215" fmla="*/ 572814 w 4991099"/>
              <a:gd name="connsiteY215" fmla="*/ 1983415 h 6857998"/>
              <a:gd name="connsiteX216" fmla="*/ 572814 w 4991099"/>
              <a:gd name="connsiteY216" fmla="*/ 1920374 h 6857998"/>
              <a:gd name="connsiteX217" fmla="*/ 572814 w 4991099"/>
              <a:gd name="connsiteY217" fmla="*/ 1893985 h 6857998"/>
              <a:gd name="connsiteX218" fmla="*/ 566951 w 4991099"/>
              <a:gd name="connsiteY218" fmla="*/ 1885190 h 6857998"/>
              <a:gd name="connsiteX219" fmla="*/ 572814 w 4991099"/>
              <a:gd name="connsiteY219" fmla="*/ 1867599 h 6857998"/>
              <a:gd name="connsiteX220" fmla="*/ 572814 w 4991099"/>
              <a:gd name="connsiteY220" fmla="*/ 1832414 h 6857998"/>
              <a:gd name="connsiteX221" fmla="*/ 572814 w 4991099"/>
              <a:gd name="connsiteY221" fmla="*/ 1823616 h 6857998"/>
              <a:gd name="connsiteX222" fmla="*/ 572814 w 4991099"/>
              <a:gd name="connsiteY222" fmla="*/ 1726858 h 6857998"/>
              <a:gd name="connsiteX223" fmla="*/ 591872 w 4991099"/>
              <a:gd name="connsiteY223" fmla="*/ 1753247 h 6857998"/>
              <a:gd name="connsiteX224" fmla="*/ 597736 w 4991099"/>
              <a:gd name="connsiteY224" fmla="*/ 1726858 h 6857998"/>
              <a:gd name="connsiteX225" fmla="*/ 616794 w 4991099"/>
              <a:gd name="connsiteY225" fmla="*/ 1726858 h 6857998"/>
              <a:gd name="connsiteX226" fmla="*/ 329452 w 4991099"/>
              <a:gd name="connsiteY226" fmla="*/ 1662353 h 6857998"/>
              <a:gd name="connsiteX227" fmla="*/ 329452 w 4991099"/>
              <a:gd name="connsiteY227" fmla="*/ 1697537 h 6857998"/>
              <a:gd name="connsiteX228" fmla="*/ 329452 w 4991099"/>
              <a:gd name="connsiteY228" fmla="*/ 1662353 h 6857998"/>
              <a:gd name="connsiteX229" fmla="*/ 663709 w 4991099"/>
              <a:gd name="connsiteY229" fmla="*/ 1634499 h 6857998"/>
              <a:gd name="connsiteX230" fmla="*/ 669572 w 4991099"/>
              <a:gd name="connsiteY230" fmla="*/ 1688742 h 6857998"/>
              <a:gd name="connsiteX231" fmla="*/ 657845 w 4991099"/>
              <a:gd name="connsiteY231" fmla="*/ 1697537 h 6857998"/>
              <a:gd name="connsiteX232" fmla="*/ 663709 w 4991099"/>
              <a:gd name="connsiteY232" fmla="*/ 1634499 h 6857998"/>
              <a:gd name="connsiteX233" fmla="*/ 660181 w 4991099"/>
              <a:gd name="connsiteY233" fmla="*/ 1557120 h 6857998"/>
              <a:gd name="connsiteX234" fmla="*/ 675436 w 4991099"/>
              <a:gd name="connsiteY234" fmla="*/ 1564130 h 6857998"/>
              <a:gd name="connsiteX235" fmla="*/ 669572 w 4991099"/>
              <a:gd name="connsiteY235" fmla="*/ 1599314 h 6857998"/>
              <a:gd name="connsiteX236" fmla="*/ 656378 w 4991099"/>
              <a:gd name="connsiteY236" fmla="*/ 1564130 h 6857998"/>
              <a:gd name="connsiteX237" fmla="*/ 660181 w 4991099"/>
              <a:gd name="connsiteY237" fmla="*/ 1557120 h 6857998"/>
              <a:gd name="connsiteX238" fmla="*/ 355841 w 4991099"/>
              <a:gd name="connsiteY238" fmla="*/ 1545072 h 6857998"/>
              <a:gd name="connsiteX239" fmla="*/ 374899 w 4991099"/>
              <a:gd name="connsiteY239" fmla="*/ 1599314 h 6857998"/>
              <a:gd name="connsiteX240" fmla="*/ 355841 w 4991099"/>
              <a:gd name="connsiteY240" fmla="*/ 1545072 h 6857998"/>
              <a:gd name="connsiteX241" fmla="*/ 572814 w 4991099"/>
              <a:gd name="connsiteY241" fmla="*/ 1446846 h 6857998"/>
              <a:gd name="connsiteX242" fmla="*/ 572814 w 4991099"/>
              <a:gd name="connsiteY242" fmla="*/ 1464440 h 6857998"/>
              <a:gd name="connsiteX243" fmla="*/ 626507 w 4991099"/>
              <a:gd name="connsiteY243" fmla="*/ 1446022 h 6857998"/>
              <a:gd name="connsiteX244" fmla="*/ 637320 w 4991099"/>
              <a:gd name="connsiteY244" fmla="*/ 1446846 h 6857998"/>
              <a:gd name="connsiteX245" fmla="*/ 643183 w 4991099"/>
              <a:gd name="connsiteY245" fmla="*/ 1492294 h 6857998"/>
              <a:gd name="connsiteX246" fmla="*/ 629989 w 4991099"/>
              <a:gd name="connsiteY246" fmla="*/ 1492294 h 6857998"/>
              <a:gd name="connsiteX247" fmla="*/ 643183 w 4991099"/>
              <a:gd name="connsiteY247" fmla="*/ 1501089 h 6857998"/>
              <a:gd name="connsiteX248" fmla="*/ 599203 w 4991099"/>
              <a:gd name="connsiteY248" fmla="*/ 1482031 h 6857998"/>
              <a:gd name="connsiteX249" fmla="*/ 605067 w 4991099"/>
              <a:gd name="connsiteY249" fmla="*/ 1455642 h 6857998"/>
              <a:gd name="connsiteX250" fmla="*/ 618262 w 4991099"/>
              <a:gd name="connsiteY250" fmla="*/ 1473235 h 6857998"/>
              <a:gd name="connsiteX251" fmla="*/ 626507 w 4991099"/>
              <a:gd name="connsiteY251" fmla="*/ 1446022 h 6857998"/>
              <a:gd name="connsiteX252" fmla="*/ 374899 w 4991099"/>
              <a:gd name="connsiteY252" fmla="*/ 1438051 h 6857998"/>
              <a:gd name="connsiteX253" fmla="*/ 374899 w 4991099"/>
              <a:gd name="connsiteY253" fmla="*/ 1509887 h 6857998"/>
              <a:gd name="connsiteX254" fmla="*/ 374899 w 4991099"/>
              <a:gd name="connsiteY254" fmla="*/ 1438051 h 6857998"/>
              <a:gd name="connsiteX255" fmla="*/ 361704 w 4991099"/>
              <a:gd name="connsiteY255" fmla="*/ 1394071 h 6857998"/>
              <a:gd name="connsiteX256" fmla="*/ 374899 w 4991099"/>
              <a:gd name="connsiteY256" fmla="*/ 1394071 h 6857998"/>
              <a:gd name="connsiteX257" fmla="*/ 374899 w 4991099"/>
              <a:gd name="connsiteY257" fmla="*/ 1411662 h 6857998"/>
              <a:gd name="connsiteX258" fmla="*/ 361704 w 4991099"/>
              <a:gd name="connsiteY258" fmla="*/ 1411662 h 6857998"/>
              <a:gd name="connsiteX259" fmla="*/ 687163 w 4991099"/>
              <a:gd name="connsiteY259" fmla="*/ 1392604 h 6857998"/>
              <a:gd name="connsiteX260" fmla="*/ 681300 w 4991099"/>
              <a:gd name="connsiteY260" fmla="*/ 1464440 h 6857998"/>
              <a:gd name="connsiteX261" fmla="*/ 654911 w 4991099"/>
              <a:gd name="connsiteY261" fmla="*/ 1410194 h 6857998"/>
              <a:gd name="connsiteX262" fmla="*/ 687163 w 4991099"/>
              <a:gd name="connsiteY262" fmla="*/ 1392604 h 6857998"/>
              <a:gd name="connsiteX263" fmla="*/ 618262 w 4991099"/>
              <a:gd name="connsiteY263" fmla="*/ 1310505 h 6857998"/>
              <a:gd name="connsiteX264" fmla="*/ 615330 w 4991099"/>
              <a:gd name="connsiteY264" fmla="*/ 1366215 h 6857998"/>
              <a:gd name="connsiteX265" fmla="*/ 596272 w 4991099"/>
              <a:gd name="connsiteY265" fmla="*/ 1361818 h 6857998"/>
              <a:gd name="connsiteX266" fmla="*/ 600668 w 4991099"/>
              <a:gd name="connsiteY266" fmla="*/ 1326631 h 6857998"/>
              <a:gd name="connsiteX267" fmla="*/ 618262 w 4991099"/>
              <a:gd name="connsiteY267" fmla="*/ 1310505 h 6857998"/>
              <a:gd name="connsiteX268" fmla="*/ 578678 w 4991099"/>
              <a:gd name="connsiteY268" fmla="*/ 1169766 h 6857998"/>
              <a:gd name="connsiteX269" fmla="*/ 578678 w 4991099"/>
              <a:gd name="connsiteY269" fmla="*/ 1259194 h 6857998"/>
              <a:gd name="connsiteX270" fmla="*/ 540562 w 4991099"/>
              <a:gd name="connsiteY270" fmla="*/ 1196156 h 6857998"/>
              <a:gd name="connsiteX271" fmla="*/ 578678 w 4991099"/>
              <a:gd name="connsiteY271" fmla="*/ 1169766 h 6857998"/>
              <a:gd name="connsiteX272" fmla="*/ 465793 w 4991099"/>
              <a:gd name="connsiteY272" fmla="*/ 1169766 h 6857998"/>
              <a:gd name="connsiteX273" fmla="*/ 465793 w 4991099"/>
              <a:gd name="connsiteY273" fmla="*/ 1187360 h 6857998"/>
              <a:gd name="connsiteX274" fmla="*/ 478988 w 4991099"/>
              <a:gd name="connsiteY274" fmla="*/ 1232807 h 6857998"/>
              <a:gd name="connsiteX275" fmla="*/ 446735 w 4991099"/>
              <a:gd name="connsiteY275" fmla="*/ 1224009 h 6857998"/>
              <a:gd name="connsiteX276" fmla="*/ 465793 w 4991099"/>
              <a:gd name="connsiteY276" fmla="*/ 1169766 h 6857998"/>
              <a:gd name="connsiteX277" fmla="*/ 415950 w 4991099"/>
              <a:gd name="connsiteY277" fmla="*/ 1159504 h 6857998"/>
              <a:gd name="connsiteX278" fmla="*/ 435008 w 4991099"/>
              <a:gd name="connsiteY278" fmla="*/ 1213746 h 6857998"/>
              <a:gd name="connsiteX279" fmla="*/ 415950 w 4991099"/>
              <a:gd name="connsiteY279" fmla="*/ 1231340 h 6857998"/>
              <a:gd name="connsiteX280" fmla="*/ 415950 w 4991099"/>
              <a:gd name="connsiteY280" fmla="*/ 1294378 h 6857998"/>
              <a:gd name="connsiteX281" fmla="*/ 402753 w 4991099"/>
              <a:gd name="connsiteY281" fmla="*/ 1222545 h 6857998"/>
              <a:gd name="connsiteX282" fmla="*/ 402753 w 4991099"/>
              <a:gd name="connsiteY282" fmla="*/ 1196156 h 6857998"/>
              <a:gd name="connsiteX283" fmla="*/ 402753 w 4991099"/>
              <a:gd name="connsiteY283" fmla="*/ 1168299 h 6857998"/>
              <a:gd name="connsiteX284" fmla="*/ 415950 w 4991099"/>
              <a:gd name="connsiteY284" fmla="*/ 1159504 h 6857998"/>
              <a:gd name="connsiteX285" fmla="*/ 429144 w 4991099"/>
              <a:gd name="connsiteY285" fmla="*/ 1127251 h 6857998"/>
              <a:gd name="connsiteX286" fmla="*/ 448203 w 4991099"/>
              <a:gd name="connsiteY286" fmla="*/ 1127251 h 6857998"/>
              <a:gd name="connsiteX287" fmla="*/ 448203 w 4991099"/>
              <a:gd name="connsiteY287" fmla="*/ 1144845 h 6857998"/>
              <a:gd name="connsiteX288" fmla="*/ 429144 w 4991099"/>
              <a:gd name="connsiteY288" fmla="*/ 1127251 h 6857998"/>
              <a:gd name="connsiteX289" fmla="*/ 486319 w 4991099"/>
              <a:gd name="connsiteY289" fmla="*/ 1115524 h 6857998"/>
              <a:gd name="connsiteX290" fmla="*/ 492183 w 4991099"/>
              <a:gd name="connsiteY290" fmla="*/ 1160971 h 6857998"/>
              <a:gd name="connsiteX291" fmla="*/ 486319 w 4991099"/>
              <a:gd name="connsiteY291" fmla="*/ 1115524 h 6857998"/>
              <a:gd name="connsiteX292" fmla="*/ 502445 w 4991099"/>
              <a:gd name="connsiteY292" fmla="*/ 936667 h 6857998"/>
              <a:gd name="connsiteX293" fmla="*/ 496582 w 4991099"/>
              <a:gd name="connsiteY293" fmla="*/ 982114 h 6857998"/>
              <a:gd name="connsiteX294" fmla="*/ 502445 w 4991099"/>
              <a:gd name="connsiteY294" fmla="*/ 936667 h 6857998"/>
              <a:gd name="connsiteX295" fmla="*/ 346862 w 4991099"/>
              <a:gd name="connsiteY295" fmla="*/ 922008 h 6857998"/>
              <a:gd name="connsiteX296" fmla="*/ 351069 w 4991099"/>
              <a:gd name="connsiteY296" fmla="*/ 925354 h 6857998"/>
              <a:gd name="connsiteX297" fmla="*/ 349410 w 4991099"/>
              <a:gd name="connsiteY297" fmla="*/ 940795 h 6857998"/>
              <a:gd name="connsiteX298" fmla="*/ 348513 w 4991099"/>
              <a:gd name="connsiteY298" fmla="*/ 943998 h 6857998"/>
              <a:gd name="connsiteX299" fmla="*/ 346862 w 4991099"/>
              <a:gd name="connsiteY299" fmla="*/ 922008 h 6857998"/>
              <a:gd name="connsiteX300" fmla="*/ 348513 w 4991099"/>
              <a:gd name="connsiteY300" fmla="*/ 880959 h 6857998"/>
              <a:gd name="connsiteX301" fmla="*/ 354452 w 4991099"/>
              <a:gd name="connsiteY301" fmla="*/ 893889 h 6857998"/>
              <a:gd name="connsiteX302" fmla="*/ 354052 w 4991099"/>
              <a:gd name="connsiteY302" fmla="*/ 897616 h 6857998"/>
              <a:gd name="connsiteX303" fmla="*/ 349610 w 4991099"/>
              <a:gd name="connsiteY303" fmla="*/ 901852 h 6857998"/>
              <a:gd name="connsiteX304" fmla="*/ 348513 w 4991099"/>
              <a:gd name="connsiteY304" fmla="*/ 880959 h 6857998"/>
              <a:gd name="connsiteX305" fmla="*/ 470193 w 4991099"/>
              <a:gd name="connsiteY305" fmla="*/ 766608 h 6857998"/>
              <a:gd name="connsiteX306" fmla="*/ 470193 w 4991099"/>
              <a:gd name="connsiteY306" fmla="*/ 820850 h 6857998"/>
              <a:gd name="connsiteX307" fmla="*/ 470193 w 4991099"/>
              <a:gd name="connsiteY307" fmla="*/ 766608 h 6857998"/>
              <a:gd name="connsiteX308" fmla="*/ 364683 w 4991099"/>
              <a:gd name="connsiteY308" fmla="*/ 584637 h 6857998"/>
              <a:gd name="connsiteX309" fmla="*/ 367571 w 4991099"/>
              <a:gd name="connsiteY309" fmla="*/ 612675 h 6857998"/>
              <a:gd name="connsiteX310" fmla="*/ 373434 w 4991099"/>
              <a:gd name="connsiteY310" fmla="*/ 603880 h 6857998"/>
              <a:gd name="connsiteX311" fmla="*/ 373434 w 4991099"/>
              <a:gd name="connsiteY311" fmla="*/ 586286 h 6857998"/>
              <a:gd name="connsiteX312" fmla="*/ 364683 w 4991099"/>
              <a:gd name="connsiteY312" fmla="*/ 584637 h 6857998"/>
              <a:gd name="connsiteX313" fmla="*/ 480382 w 4991099"/>
              <a:gd name="connsiteY313" fmla="*/ 553616 h 6857998"/>
              <a:gd name="connsiteX314" fmla="*/ 483384 w 4991099"/>
              <a:gd name="connsiteY314" fmla="*/ 571624 h 6857998"/>
              <a:gd name="connsiteX315" fmla="*/ 477521 w 4991099"/>
              <a:gd name="connsiteY315" fmla="*/ 580422 h 6857998"/>
              <a:gd name="connsiteX316" fmla="*/ 483384 w 4991099"/>
              <a:gd name="connsiteY316" fmla="*/ 598013 h 6857998"/>
              <a:gd name="connsiteX317" fmla="*/ 473855 w 4991099"/>
              <a:gd name="connsiteY317" fmla="*/ 606809 h 6857998"/>
              <a:gd name="connsiteX318" fmla="*/ 466129 w 4991099"/>
              <a:gd name="connsiteY318" fmla="*/ 613942 h 6857998"/>
              <a:gd name="connsiteX319" fmla="*/ 464876 w 4991099"/>
              <a:gd name="connsiteY319" fmla="*/ 597280 h 6857998"/>
              <a:gd name="connsiteX320" fmla="*/ 463296 w 4991099"/>
              <a:gd name="connsiteY320" fmla="*/ 565303 h 6857998"/>
              <a:gd name="connsiteX321" fmla="*/ 367571 w 4991099"/>
              <a:gd name="connsiteY321" fmla="*/ 532043 h 6857998"/>
              <a:gd name="connsiteX322" fmla="*/ 367571 w 4991099"/>
              <a:gd name="connsiteY322" fmla="*/ 532043 h 6857998"/>
              <a:gd name="connsiteX323" fmla="*/ 637320 w 4991099"/>
              <a:gd name="connsiteY323" fmla="*/ 524712 h 6857998"/>
              <a:gd name="connsiteX324" fmla="*/ 649462 w 4991099"/>
              <a:gd name="connsiteY324" fmla="*/ 556943 h 6857998"/>
              <a:gd name="connsiteX325" fmla="*/ 650483 w 4991099"/>
              <a:gd name="connsiteY325" fmla="*/ 571342 h 6857998"/>
              <a:gd name="connsiteX326" fmla="*/ 637320 w 4991099"/>
              <a:gd name="connsiteY326" fmla="*/ 605344 h 6857998"/>
              <a:gd name="connsiteX327" fmla="*/ 637320 w 4991099"/>
              <a:gd name="connsiteY327" fmla="*/ 524712 h 6857998"/>
              <a:gd name="connsiteX328" fmla="*/ 479471 w 4991099"/>
              <a:gd name="connsiteY328" fmla="*/ 480715 h 6857998"/>
              <a:gd name="connsiteX329" fmla="*/ 483384 w 4991099"/>
              <a:gd name="connsiteY329" fmla="*/ 492460 h 6857998"/>
              <a:gd name="connsiteX330" fmla="*/ 483384 w 4991099"/>
              <a:gd name="connsiteY330" fmla="*/ 527644 h 6857998"/>
              <a:gd name="connsiteX331" fmla="*/ 481006 w 4991099"/>
              <a:gd name="connsiteY331" fmla="*/ 531214 h 6857998"/>
              <a:gd name="connsiteX332" fmla="*/ 479169 w 4991099"/>
              <a:gd name="connsiteY332" fmla="*/ 488427 h 6857998"/>
              <a:gd name="connsiteX333" fmla="*/ 559620 w 4991099"/>
              <a:gd name="connsiteY333" fmla="*/ 398633 h 6857998"/>
              <a:gd name="connsiteX334" fmla="*/ 553756 w 4991099"/>
              <a:gd name="connsiteY334" fmla="*/ 452876 h 6857998"/>
              <a:gd name="connsiteX335" fmla="*/ 547893 w 4991099"/>
              <a:gd name="connsiteY335" fmla="*/ 426490 h 6857998"/>
              <a:gd name="connsiteX336" fmla="*/ 515640 w 4991099"/>
              <a:gd name="connsiteY336" fmla="*/ 452876 h 6857998"/>
              <a:gd name="connsiteX337" fmla="*/ 521503 w 4991099"/>
              <a:gd name="connsiteY337" fmla="*/ 444081 h 6857998"/>
              <a:gd name="connsiteX338" fmla="*/ 559620 w 4991099"/>
              <a:gd name="connsiteY338" fmla="*/ 398633 h 6857998"/>
              <a:gd name="connsiteX339" fmla="*/ 481920 w 4991099"/>
              <a:gd name="connsiteY339" fmla="*/ 337060 h 6857998"/>
              <a:gd name="connsiteX340" fmla="*/ 456998 w 4991099"/>
              <a:gd name="connsiteY340" fmla="*/ 400098 h 6857998"/>
              <a:gd name="connsiteX341" fmla="*/ 481920 w 4991099"/>
              <a:gd name="connsiteY341" fmla="*/ 408896 h 6857998"/>
              <a:gd name="connsiteX342" fmla="*/ 481920 w 4991099"/>
              <a:gd name="connsiteY342" fmla="*/ 337060 h 6857998"/>
              <a:gd name="connsiteX343" fmla="*/ 376231 w 4991099"/>
              <a:gd name="connsiteY343" fmla="*/ 302538 h 6857998"/>
              <a:gd name="connsiteX344" fmla="*/ 378313 w 4991099"/>
              <a:gd name="connsiteY344" fmla="*/ 304280 h 6857998"/>
              <a:gd name="connsiteX345" fmla="*/ 378847 w 4991099"/>
              <a:gd name="connsiteY345" fmla="*/ 311035 h 6857998"/>
              <a:gd name="connsiteX346" fmla="*/ 376112 w 4991099"/>
              <a:gd name="connsiteY346" fmla="*/ 303181 h 6857998"/>
              <a:gd name="connsiteX347" fmla="*/ 392490 w 4991099"/>
              <a:gd name="connsiteY347" fmla="*/ 181660 h 6857998"/>
              <a:gd name="connsiteX348" fmla="*/ 386626 w 4991099"/>
              <a:gd name="connsiteY348" fmla="*/ 244698 h 6857998"/>
              <a:gd name="connsiteX349" fmla="*/ 398353 w 4991099"/>
              <a:gd name="connsiteY349" fmla="*/ 208049 h 6857998"/>
              <a:gd name="connsiteX350" fmla="*/ 392490 w 4991099"/>
              <a:gd name="connsiteY350" fmla="*/ 181660 h 6857998"/>
              <a:gd name="connsiteX351" fmla="*/ 412296 w 4991099"/>
              <a:gd name="connsiteY351" fmla="*/ 91309 h 6857998"/>
              <a:gd name="connsiteX352" fmla="*/ 399824 w 4991099"/>
              <a:gd name="connsiteY352" fmla="*/ 92233 h 6857998"/>
              <a:gd name="connsiteX353" fmla="*/ 407154 w 4991099"/>
              <a:gd name="connsiteY353" fmla="*/ 137680 h 6857998"/>
              <a:gd name="connsiteX354" fmla="*/ 400557 w 4991099"/>
              <a:gd name="connsiteY354" fmla="*/ 143729 h 6857998"/>
              <a:gd name="connsiteX355" fmla="*/ 394467 w 4991099"/>
              <a:gd name="connsiteY355" fmla="*/ 154386 h 6857998"/>
              <a:gd name="connsiteX356" fmla="*/ 394463 w 4991099"/>
              <a:gd name="connsiteY356" fmla="*/ 154380 h 6857998"/>
              <a:gd name="connsiteX357" fmla="*/ 393960 w 4991099"/>
              <a:gd name="connsiteY357" fmla="*/ 155274 h 6857998"/>
              <a:gd name="connsiteX358" fmla="*/ 394467 w 4991099"/>
              <a:gd name="connsiteY358" fmla="*/ 154386 h 6857998"/>
              <a:gd name="connsiteX359" fmla="*/ 396891 w 4991099"/>
              <a:gd name="connsiteY359" fmla="*/ 158023 h 6857998"/>
              <a:gd name="connsiteX360" fmla="*/ 399824 w 4991099"/>
              <a:gd name="connsiteY360" fmla="*/ 164069 h 6857998"/>
              <a:gd name="connsiteX361" fmla="*/ 413018 w 4991099"/>
              <a:gd name="connsiteY361" fmla="*/ 172864 h 6857998"/>
              <a:gd name="connsiteX362" fmla="*/ 412296 w 4991099"/>
              <a:gd name="connsiteY362" fmla="*/ 91309 h 6857998"/>
              <a:gd name="connsiteX363" fmla="*/ 588305 w 4991099"/>
              <a:gd name="connsiteY363" fmla="*/ 1 h 6857998"/>
              <a:gd name="connsiteX364" fmla="*/ 592787 w 4991099"/>
              <a:gd name="connsiteY364" fmla="*/ 9036 h 6857998"/>
              <a:gd name="connsiteX365" fmla="*/ 609463 w 4991099"/>
              <a:gd name="connsiteY365" fmla="*/ 23331 h 6857998"/>
              <a:gd name="connsiteX366" fmla="*/ 611718 w 4991099"/>
              <a:gd name="connsiteY366" fmla="*/ 1 h 6857998"/>
              <a:gd name="connsiteX367" fmla="*/ 515591 w 4991099"/>
              <a:gd name="connsiteY367" fmla="*/ 1 h 6857998"/>
              <a:gd name="connsiteX368" fmla="*/ 516181 w 4991099"/>
              <a:gd name="connsiteY368" fmla="*/ 2323 h 6857998"/>
              <a:gd name="connsiteX369" fmla="*/ 521503 w 4991099"/>
              <a:gd name="connsiteY369" fmla="*/ 5737 h 6857998"/>
              <a:gd name="connsiteX370" fmla="*/ 523931 w 4991099"/>
              <a:gd name="connsiteY370" fmla="*/ 1 h 6857998"/>
              <a:gd name="connsiteX371" fmla="*/ 412048 w 4991099"/>
              <a:gd name="connsiteY371" fmla="*/ 1 h 6857998"/>
              <a:gd name="connsiteX372" fmla="*/ 413015 w 4991099"/>
              <a:gd name="connsiteY372" fmla="*/ 29194 h 6857998"/>
              <a:gd name="connsiteX373" fmla="*/ 418882 w 4991099"/>
              <a:gd name="connsiteY373" fmla="*/ 74642 h 6857998"/>
              <a:gd name="connsiteX374" fmla="*/ 424745 w 4991099"/>
              <a:gd name="connsiteY374" fmla="*/ 11601 h 6857998"/>
              <a:gd name="connsiteX375" fmla="*/ 428196 w 4991099"/>
              <a:gd name="connsiteY375" fmla="*/ 1 h 6857998"/>
              <a:gd name="connsiteX376" fmla="*/ 0 w 4991099"/>
              <a:gd name="connsiteY376" fmla="*/ 0 h 6857998"/>
              <a:gd name="connsiteX377" fmla="*/ 4991099 w 4991099"/>
              <a:gd name="connsiteY377" fmla="*/ 0 h 6857998"/>
              <a:gd name="connsiteX378" fmla="*/ 4991099 w 4991099"/>
              <a:gd name="connsiteY378" fmla="*/ 6857998 h 6857998"/>
              <a:gd name="connsiteX379" fmla="*/ 754628 w 4991099"/>
              <a:gd name="connsiteY379" fmla="*/ 6857998 h 6857998"/>
              <a:gd name="connsiteX380" fmla="*/ 751671 w 4991099"/>
              <a:gd name="connsiteY380" fmla="*/ 6842579 h 6857998"/>
              <a:gd name="connsiteX381" fmla="*/ 737010 w 4991099"/>
              <a:gd name="connsiteY381" fmla="*/ 6789069 h 6857998"/>
              <a:gd name="connsiteX382" fmla="*/ 742873 w 4991099"/>
              <a:gd name="connsiteY382" fmla="*/ 6771475 h 6857998"/>
              <a:gd name="connsiteX383" fmla="*/ 737010 w 4991099"/>
              <a:gd name="connsiteY383" fmla="*/ 6717232 h 6857998"/>
              <a:gd name="connsiteX384" fmla="*/ 737010 w 4991099"/>
              <a:gd name="connsiteY384" fmla="*/ 6601416 h 6857998"/>
              <a:gd name="connsiteX385" fmla="*/ 731146 w 4991099"/>
              <a:gd name="connsiteY385" fmla="*/ 6583825 h 6857998"/>
              <a:gd name="connsiteX386" fmla="*/ 731146 w 4991099"/>
              <a:gd name="connsiteY386" fmla="*/ 6557436 h 6857998"/>
              <a:gd name="connsiteX387" fmla="*/ 731146 w 4991099"/>
              <a:gd name="connsiteY387" fmla="*/ 6522249 h 6857998"/>
              <a:gd name="connsiteX388" fmla="*/ 725280 w 4991099"/>
              <a:gd name="connsiteY388" fmla="*/ 6495862 h 6857998"/>
              <a:gd name="connsiteX389" fmla="*/ 725280 w 4991099"/>
              <a:gd name="connsiteY389" fmla="*/ 6450415 h 6857998"/>
              <a:gd name="connsiteX390" fmla="*/ 725280 w 4991099"/>
              <a:gd name="connsiteY390" fmla="*/ 6432821 h 6857998"/>
              <a:gd name="connsiteX391" fmla="*/ 719419 w 4991099"/>
              <a:gd name="connsiteY391" fmla="*/ 6369783 h 6857998"/>
              <a:gd name="connsiteX392" fmla="*/ 719419 w 4991099"/>
              <a:gd name="connsiteY392" fmla="*/ 6271558 h 6857998"/>
              <a:gd name="connsiteX393" fmla="*/ 713552 w 4991099"/>
              <a:gd name="connsiteY393" fmla="*/ 6253967 h 6857998"/>
              <a:gd name="connsiteX394" fmla="*/ 713552 w 4991099"/>
              <a:gd name="connsiteY394" fmla="*/ 6227578 h 6857998"/>
              <a:gd name="connsiteX395" fmla="*/ 713552 w 4991099"/>
              <a:gd name="connsiteY395" fmla="*/ 6182131 h 6857998"/>
              <a:gd name="connsiteX396" fmla="*/ 713552 w 4991099"/>
              <a:gd name="connsiteY396" fmla="*/ 6155742 h 6857998"/>
              <a:gd name="connsiteX397" fmla="*/ 707689 w 4991099"/>
              <a:gd name="connsiteY397" fmla="*/ 6129355 h 6857998"/>
              <a:gd name="connsiteX398" fmla="*/ 713552 w 4991099"/>
              <a:gd name="connsiteY398" fmla="*/ 6120557 h 6857998"/>
              <a:gd name="connsiteX399" fmla="*/ 707689 w 4991099"/>
              <a:gd name="connsiteY399" fmla="*/ 6094168 h 6857998"/>
              <a:gd name="connsiteX400" fmla="*/ 713552 w 4991099"/>
              <a:gd name="connsiteY400" fmla="*/ 6067779 h 6857998"/>
              <a:gd name="connsiteX401" fmla="*/ 713552 w 4991099"/>
              <a:gd name="connsiteY401" fmla="*/ 6041393 h 6857998"/>
              <a:gd name="connsiteX402" fmla="*/ 707689 w 4991099"/>
              <a:gd name="connsiteY402" fmla="*/ 5995945 h 6857998"/>
              <a:gd name="connsiteX403" fmla="*/ 713552 w 4991099"/>
              <a:gd name="connsiteY403" fmla="*/ 5987147 h 6857998"/>
              <a:gd name="connsiteX404" fmla="*/ 700358 w 4991099"/>
              <a:gd name="connsiteY404" fmla="*/ 5924109 h 6857998"/>
              <a:gd name="connsiteX405" fmla="*/ 713552 w 4991099"/>
              <a:gd name="connsiteY405" fmla="*/ 5878662 h 6857998"/>
              <a:gd name="connsiteX406" fmla="*/ 707689 w 4991099"/>
              <a:gd name="connsiteY406" fmla="*/ 5843477 h 6857998"/>
              <a:gd name="connsiteX407" fmla="*/ 694494 w 4991099"/>
              <a:gd name="connsiteY407" fmla="*/ 5762846 h 6857998"/>
              <a:gd name="connsiteX408" fmla="*/ 707689 w 4991099"/>
              <a:gd name="connsiteY408" fmla="*/ 5745252 h 6857998"/>
              <a:gd name="connsiteX409" fmla="*/ 701825 w 4991099"/>
              <a:gd name="connsiteY409" fmla="*/ 5727661 h 6857998"/>
              <a:gd name="connsiteX410" fmla="*/ 707689 w 4991099"/>
              <a:gd name="connsiteY410" fmla="*/ 5682214 h 6857998"/>
              <a:gd name="connsiteX411" fmla="*/ 701825 w 4991099"/>
              <a:gd name="connsiteY411" fmla="*/ 5673418 h 6857998"/>
              <a:gd name="connsiteX412" fmla="*/ 707689 w 4991099"/>
              <a:gd name="connsiteY412" fmla="*/ 5655825 h 6857998"/>
              <a:gd name="connsiteX413" fmla="*/ 694494 w 4991099"/>
              <a:gd name="connsiteY413" fmla="*/ 5629438 h 6857998"/>
              <a:gd name="connsiteX414" fmla="*/ 713552 w 4991099"/>
              <a:gd name="connsiteY414" fmla="*/ 5557602 h 6857998"/>
              <a:gd name="connsiteX415" fmla="*/ 694494 w 4991099"/>
              <a:gd name="connsiteY415" fmla="*/ 5531213 h 6857998"/>
              <a:gd name="connsiteX416" fmla="*/ 700358 w 4991099"/>
              <a:gd name="connsiteY416" fmla="*/ 5468175 h 6857998"/>
              <a:gd name="connsiteX417" fmla="*/ 700358 w 4991099"/>
              <a:gd name="connsiteY417" fmla="*/ 5459377 h 6857998"/>
              <a:gd name="connsiteX418" fmla="*/ 706221 w 4991099"/>
              <a:gd name="connsiteY418" fmla="*/ 5450581 h 6857998"/>
              <a:gd name="connsiteX419" fmla="*/ 700358 w 4991099"/>
              <a:gd name="connsiteY419" fmla="*/ 5396339 h 6857998"/>
              <a:gd name="connsiteX420" fmla="*/ 706221 w 4991099"/>
              <a:gd name="connsiteY420" fmla="*/ 5361154 h 6857998"/>
              <a:gd name="connsiteX421" fmla="*/ 700358 w 4991099"/>
              <a:gd name="connsiteY421" fmla="*/ 5334765 h 6857998"/>
              <a:gd name="connsiteX422" fmla="*/ 687163 w 4991099"/>
              <a:gd name="connsiteY422" fmla="*/ 5227744 h 6857998"/>
              <a:gd name="connsiteX423" fmla="*/ 690098 w 4991099"/>
              <a:gd name="connsiteY423" fmla="*/ 4988781 h 6857998"/>
              <a:gd name="connsiteX424" fmla="*/ 676903 w 4991099"/>
              <a:gd name="connsiteY424" fmla="*/ 4971190 h 6857998"/>
              <a:gd name="connsiteX425" fmla="*/ 676903 w 4991099"/>
              <a:gd name="connsiteY425" fmla="*/ 4890558 h 6857998"/>
              <a:gd name="connsiteX426" fmla="*/ 690098 w 4991099"/>
              <a:gd name="connsiteY426" fmla="*/ 4855371 h 6857998"/>
              <a:gd name="connsiteX427" fmla="*/ 676903 w 4991099"/>
              <a:gd name="connsiteY427" fmla="*/ 4809926 h 6857998"/>
              <a:gd name="connsiteX428" fmla="*/ 663709 w 4991099"/>
              <a:gd name="connsiteY428" fmla="*/ 4792333 h 6857998"/>
              <a:gd name="connsiteX429" fmla="*/ 669572 w 4991099"/>
              <a:gd name="connsiteY429" fmla="*/ 4746885 h 6857998"/>
              <a:gd name="connsiteX430" fmla="*/ 663709 w 4991099"/>
              <a:gd name="connsiteY430" fmla="*/ 4711701 h 6857998"/>
              <a:gd name="connsiteX431" fmla="*/ 669572 w 4991099"/>
              <a:gd name="connsiteY431" fmla="*/ 4702903 h 6857998"/>
              <a:gd name="connsiteX432" fmla="*/ 669572 w 4991099"/>
              <a:gd name="connsiteY432" fmla="*/ 4648663 h 6857998"/>
              <a:gd name="connsiteX433" fmla="*/ 675436 w 4991099"/>
              <a:gd name="connsiteY433" fmla="*/ 4513785 h 6857998"/>
              <a:gd name="connsiteX434" fmla="*/ 669572 w 4991099"/>
              <a:gd name="connsiteY434" fmla="*/ 4504990 h 6857998"/>
              <a:gd name="connsiteX435" fmla="*/ 675436 w 4991099"/>
              <a:gd name="connsiteY435" fmla="*/ 4496195 h 6857998"/>
              <a:gd name="connsiteX436" fmla="*/ 669572 w 4991099"/>
              <a:gd name="connsiteY436" fmla="*/ 4415563 h 6857998"/>
              <a:gd name="connsiteX437" fmla="*/ 675436 w 4991099"/>
              <a:gd name="connsiteY437" fmla="*/ 4370116 h 6857998"/>
              <a:gd name="connsiteX438" fmla="*/ 669572 w 4991099"/>
              <a:gd name="connsiteY438" fmla="*/ 4352522 h 6857998"/>
              <a:gd name="connsiteX439" fmla="*/ 675436 w 4991099"/>
              <a:gd name="connsiteY439" fmla="*/ 4326136 h 6857998"/>
              <a:gd name="connsiteX440" fmla="*/ 656378 w 4991099"/>
              <a:gd name="connsiteY440" fmla="*/ 4299744 h 6857998"/>
              <a:gd name="connsiteX441" fmla="*/ 669572 w 4991099"/>
              <a:gd name="connsiteY441" fmla="*/ 4254299 h 6857998"/>
              <a:gd name="connsiteX442" fmla="*/ 656378 w 4991099"/>
              <a:gd name="connsiteY442" fmla="*/ 4129685 h 6857998"/>
              <a:gd name="connsiteX443" fmla="*/ 643183 w 4991099"/>
              <a:gd name="connsiteY443" fmla="*/ 4103296 h 6857998"/>
              <a:gd name="connsiteX444" fmla="*/ 654911 w 4991099"/>
              <a:gd name="connsiteY444" fmla="*/ 4103296 h 6857998"/>
              <a:gd name="connsiteX445" fmla="*/ 641719 w 4991099"/>
              <a:gd name="connsiteY445" fmla="*/ 4022664 h 6857998"/>
              <a:gd name="connsiteX446" fmla="*/ 654911 w 4991099"/>
              <a:gd name="connsiteY446" fmla="*/ 3996278 h 6857998"/>
              <a:gd name="connsiteX447" fmla="*/ 649047 w 4991099"/>
              <a:gd name="connsiteY447" fmla="*/ 3969889 h 6857998"/>
              <a:gd name="connsiteX448" fmla="*/ 643183 w 4991099"/>
              <a:gd name="connsiteY448" fmla="*/ 3924441 h 6857998"/>
              <a:gd name="connsiteX449" fmla="*/ 629989 w 4991099"/>
              <a:gd name="connsiteY449" fmla="*/ 3889257 h 6857998"/>
              <a:gd name="connsiteX450" fmla="*/ 643183 w 4991099"/>
              <a:gd name="connsiteY450" fmla="*/ 3862868 h 6857998"/>
              <a:gd name="connsiteX451" fmla="*/ 624125 w 4991099"/>
              <a:gd name="connsiteY451" fmla="*/ 3854072 h 6857998"/>
              <a:gd name="connsiteX452" fmla="*/ 643183 w 4991099"/>
              <a:gd name="connsiteY452" fmla="*/ 3827683 h 6857998"/>
              <a:gd name="connsiteX453" fmla="*/ 643183 w 4991099"/>
              <a:gd name="connsiteY453" fmla="*/ 3801294 h 6857998"/>
              <a:gd name="connsiteX454" fmla="*/ 624125 w 4991099"/>
              <a:gd name="connsiteY454" fmla="*/ 3729458 h 6857998"/>
              <a:gd name="connsiteX455" fmla="*/ 649047 w 4991099"/>
              <a:gd name="connsiteY455" fmla="*/ 3720662 h 6857998"/>
              <a:gd name="connsiteX456" fmla="*/ 654911 w 4991099"/>
              <a:gd name="connsiteY456" fmla="*/ 3640031 h 6857998"/>
              <a:gd name="connsiteX457" fmla="*/ 635852 w 4991099"/>
              <a:gd name="connsiteY457" fmla="*/ 3604846 h 6857998"/>
              <a:gd name="connsiteX458" fmla="*/ 641719 w 4991099"/>
              <a:gd name="connsiteY458" fmla="*/ 3578457 h 6857998"/>
              <a:gd name="connsiteX459" fmla="*/ 616794 w 4991099"/>
              <a:gd name="connsiteY459" fmla="*/ 3569661 h 6857998"/>
              <a:gd name="connsiteX460" fmla="*/ 616794 w 4991099"/>
              <a:gd name="connsiteY460" fmla="*/ 3524214 h 6857998"/>
              <a:gd name="connsiteX461" fmla="*/ 622658 w 4991099"/>
              <a:gd name="connsiteY461" fmla="*/ 3497825 h 6857998"/>
              <a:gd name="connsiteX462" fmla="*/ 641719 w 4991099"/>
              <a:gd name="connsiteY462" fmla="*/ 3515419 h 6857998"/>
              <a:gd name="connsiteX463" fmla="*/ 616794 w 4991099"/>
              <a:gd name="connsiteY463" fmla="*/ 3399600 h 6857998"/>
              <a:gd name="connsiteX464" fmla="*/ 635852 w 4991099"/>
              <a:gd name="connsiteY464" fmla="*/ 3399600 h 6857998"/>
              <a:gd name="connsiteX465" fmla="*/ 616794 w 4991099"/>
              <a:gd name="connsiteY465" fmla="*/ 3373213 h 6857998"/>
              <a:gd name="connsiteX466" fmla="*/ 629989 w 4991099"/>
              <a:gd name="connsiteY466" fmla="*/ 3355620 h 6857998"/>
              <a:gd name="connsiteX467" fmla="*/ 643183 w 4991099"/>
              <a:gd name="connsiteY467" fmla="*/ 3329233 h 6857998"/>
              <a:gd name="connsiteX468" fmla="*/ 629989 w 4991099"/>
              <a:gd name="connsiteY468" fmla="*/ 3274988 h 6857998"/>
              <a:gd name="connsiteX469" fmla="*/ 654911 w 4991099"/>
              <a:gd name="connsiteY469" fmla="*/ 3266193 h 6857998"/>
              <a:gd name="connsiteX470" fmla="*/ 649047 w 4991099"/>
              <a:gd name="connsiteY470" fmla="*/ 3211950 h 6857998"/>
              <a:gd name="connsiteX471" fmla="*/ 629989 w 4991099"/>
              <a:gd name="connsiteY471" fmla="*/ 3194356 h 6857998"/>
              <a:gd name="connsiteX472" fmla="*/ 635852 w 4991099"/>
              <a:gd name="connsiteY472" fmla="*/ 3148909 h 6857998"/>
              <a:gd name="connsiteX473" fmla="*/ 622658 w 4991099"/>
              <a:gd name="connsiteY473" fmla="*/ 3131318 h 6857998"/>
              <a:gd name="connsiteX474" fmla="*/ 647582 w 4991099"/>
              <a:gd name="connsiteY474" fmla="*/ 3113724 h 6857998"/>
              <a:gd name="connsiteX475" fmla="*/ 622658 w 4991099"/>
              <a:gd name="connsiteY475" fmla="*/ 3078543 h 6857998"/>
              <a:gd name="connsiteX476" fmla="*/ 628524 w 4991099"/>
              <a:gd name="connsiteY476" fmla="*/ 3052151 h 6857998"/>
              <a:gd name="connsiteX477" fmla="*/ 622658 w 4991099"/>
              <a:gd name="connsiteY477" fmla="*/ 3043355 h 6857998"/>
              <a:gd name="connsiteX478" fmla="*/ 628524 w 4991099"/>
              <a:gd name="connsiteY478" fmla="*/ 3025762 h 6857998"/>
              <a:gd name="connsiteX479" fmla="*/ 622658 w 4991099"/>
              <a:gd name="connsiteY479" fmla="*/ 2999375 h 6857998"/>
              <a:gd name="connsiteX480" fmla="*/ 635852 w 4991099"/>
              <a:gd name="connsiteY480" fmla="*/ 2990580 h 6857998"/>
              <a:gd name="connsiteX481" fmla="*/ 635852 w 4991099"/>
              <a:gd name="connsiteY481" fmla="*/ 2955396 h 6857998"/>
              <a:gd name="connsiteX482" fmla="*/ 654911 w 4991099"/>
              <a:gd name="connsiteY482" fmla="*/ 2964191 h 6857998"/>
              <a:gd name="connsiteX483" fmla="*/ 654911 w 4991099"/>
              <a:gd name="connsiteY483" fmla="*/ 2848372 h 6857998"/>
              <a:gd name="connsiteX484" fmla="*/ 649047 w 4991099"/>
              <a:gd name="connsiteY484" fmla="*/ 2821985 h 6857998"/>
              <a:gd name="connsiteX485" fmla="*/ 629989 w 4991099"/>
              <a:gd name="connsiteY485" fmla="*/ 2795597 h 6857998"/>
              <a:gd name="connsiteX486" fmla="*/ 635852 w 4991099"/>
              <a:gd name="connsiteY486" fmla="*/ 2723760 h 6857998"/>
              <a:gd name="connsiteX487" fmla="*/ 649047 w 4991099"/>
              <a:gd name="connsiteY487" fmla="*/ 2688576 h 6857998"/>
              <a:gd name="connsiteX488" fmla="*/ 649047 w 4991099"/>
              <a:gd name="connsiteY488" fmla="*/ 2643129 h 6857998"/>
              <a:gd name="connsiteX489" fmla="*/ 635852 w 4991099"/>
              <a:gd name="connsiteY489" fmla="*/ 2616739 h 6857998"/>
              <a:gd name="connsiteX490" fmla="*/ 654911 w 4991099"/>
              <a:gd name="connsiteY490" fmla="*/ 2599149 h 6857998"/>
              <a:gd name="connsiteX491" fmla="*/ 635852 w 4991099"/>
              <a:gd name="connsiteY491" fmla="*/ 2563964 h 6857998"/>
              <a:gd name="connsiteX492" fmla="*/ 654911 w 4991099"/>
              <a:gd name="connsiteY492" fmla="*/ 2546370 h 6857998"/>
              <a:gd name="connsiteX493" fmla="*/ 668105 w 4991099"/>
              <a:gd name="connsiteY493" fmla="*/ 2519981 h 6857998"/>
              <a:gd name="connsiteX494" fmla="*/ 643183 w 4991099"/>
              <a:gd name="connsiteY494" fmla="*/ 2502390 h 6857998"/>
              <a:gd name="connsiteX495" fmla="*/ 637320 w 4991099"/>
              <a:gd name="connsiteY495" fmla="*/ 2476001 h 6857998"/>
              <a:gd name="connsiteX496" fmla="*/ 612398 w 4991099"/>
              <a:gd name="connsiteY496" fmla="*/ 2476001 h 6857998"/>
              <a:gd name="connsiteX497" fmla="*/ 618262 w 4991099"/>
              <a:gd name="connsiteY497" fmla="*/ 2440817 h 6857998"/>
              <a:gd name="connsiteX498" fmla="*/ 624125 w 4991099"/>
              <a:gd name="connsiteY498" fmla="*/ 2467206 h 6857998"/>
              <a:gd name="connsiteX499" fmla="*/ 662242 w 4991099"/>
              <a:gd name="connsiteY499" fmla="*/ 2449612 h 6857998"/>
              <a:gd name="connsiteX500" fmla="*/ 635852 w 4991099"/>
              <a:gd name="connsiteY500" fmla="*/ 2440817 h 6857998"/>
              <a:gd name="connsiteX501" fmla="*/ 681300 w 4991099"/>
              <a:gd name="connsiteY501" fmla="*/ 2377779 h 6857998"/>
              <a:gd name="connsiteX502" fmla="*/ 662242 w 4991099"/>
              <a:gd name="connsiteY502" fmla="*/ 2351390 h 6857998"/>
              <a:gd name="connsiteX503" fmla="*/ 656378 w 4991099"/>
              <a:gd name="connsiteY503" fmla="*/ 2325000 h 6857998"/>
              <a:gd name="connsiteX504" fmla="*/ 662242 w 4991099"/>
              <a:gd name="connsiteY504" fmla="*/ 2289816 h 6857998"/>
              <a:gd name="connsiteX505" fmla="*/ 662242 w 4991099"/>
              <a:gd name="connsiteY505" fmla="*/ 2244369 h 6857998"/>
              <a:gd name="connsiteX506" fmla="*/ 681300 w 4991099"/>
              <a:gd name="connsiteY506" fmla="*/ 2226775 h 6857998"/>
              <a:gd name="connsiteX507" fmla="*/ 662242 w 4991099"/>
              <a:gd name="connsiteY507" fmla="*/ 2217979 h 6857998"/>
              <a:gd name="connsiteX508" fmla="*/ 675436 w 4991099"/>
              <a:gd name="connsiteY508" fmla="*/ 2191591 h 6857998"/>
              <a:gd name="connsiteX509" fmla="*/ 674378 w 4991099"/>
              <a:gd name="connsiteY509" fmla="*/ 2190126 h 6857998"/>
              <a:gd name="connsiteX510" fmla="*/ 675436 w 4991099"/>
              <a:gd name="connsiteY510" fmla="*/ 2190126 h 6857998"/>
              <a:gd name="connsiteX511" fmla="*/ 675436 w 4991099"/>
              <a:gd name="connsiteY511" fmla="*/ 2169803 h 6857998"/>
              <a:gd name="connsiteX512" fmla="*/ 676994 w 4991099"/>
              <a:gd name="connsiteY512" fmla="*/ 2169120 h 6857998"/>
              <a:gd name="connsiteX513" fmla="*/ 681300 w 4991099"/>
              <a:gd name="connsiteY513" fmla="*/ 2156406 h 6857998"/>
              <a:gd name="connsiteX514" fmla="*/ 668105 w 4991099"/>
              <a:gd name="connsiteY514" fmla="*/ 2102163 h 6857998"/>
              <a:gd name="connsiteX515" fmla="*/ 654911 w 4991099"/>
              <a:gd name="connsiteY515" fmla="*/ 2102163 h 6857998"/>
              <a:gd name="connsiteX516" fmla="*/ 673969 w 4991099"/>
              <a:gd name="connsiteY516" fmla="*/ 2075774 h 6857998"/>
              <a:gd name="connsiteX517" fmla="*/ 668105 w 4991099"/>
              <a:gd name="connsiteY517" fmla="*/ 2040590 h 6857998"/>
              <a:gd name="connsiteX518" fmla="*/ 654911 w 4991099"/>
              <a:gd name="connsiteY518" fmla="*/ 2014200 h 6857998"/>
              <a:gd name="connsiteX519" fmla="*/ 679835 w 4991099"/>
              <a:gd name="connsiteY519" fmla="*/ 2005405 h 6857998"/>
              <a:gd name="connsiteX520" fmla="*/ 660777 w 4991099"/>
              <a:gd name="connsiteY520" fmla="*/ 1970221 h 6857998"/>
              <a:gd name="connsiteX521" fmla="*/ 647582 w 4991099"/>
              <a:gd name="connsiteY521" fmla="*/ 1915978 h 6857998"/>
              <a:gd name="connsiteX522" fmla="*/ 660777 w 4991099"/>
              <a:gd name="connsiteY522" fmla="*/ 1880791 h 6857998"/>
              <a:gd name="connsiteX523" fmla="*/ 673969 w 4991099"/>
              <a:gd name="connsiteY523" fmla="*/ 1898384 h 6857998"/>
              <a:gd name="connsiteX524" fmla="*/ 687163 w 4991099"/>
              <a:gd name="connsiteY524" fmla="*/ 1889589 h 6857998"/>
              <a:gd name="connsiteX525" fmla="*/ 700358 w 4991099"/>
              <a:gd name="connsiteY525" fmla="*/ 1863200 h 6857998"/>
              <a:gd name="connsiteX526" fmla="*/ 700358 w 4991099"/>
              <a:gd name="connsiteY526" fmla="*/ 1808957 h 6857998"/>
              <a:gd name="connsiteX527" fmla="*/ 687163 w 4991099"/>
              <a:gd name="connsiteY527" fmla="*/ 1773772 h 6857998"/>
              <a:gd name="connsiteX528" fmla="*/ 681037 w 4991099"/>
              <a:gd name="connsiteY528" fmla="*/ 1769689 h 6857998"/>
              <a:gd name="connsiteX529" fmla="*/ 678616 w 4991099"/>
              <a:gd name="connsiteY529" fmla="*/ 1759077 h 6857998"/>
              <a:gd name="connsiteX530" fmla="*/ 685515 w 4991099"/>
              <a:gd name="connsiteY530" fmla="*/ 1750318 h 6857998"/>
              <a:gd name="connsiteX531" fmla="*/ 687163 w 4991099"/>
              <a:gd name="connsiteY531" fmla="*/ 1684345 h 6857998"/>
              <a:gd name="connsiteX532" fmla="*/ 700358 w 4991099"/>
              <a:gd name="connsiteY532" fmla="*/ 1719527 h 6857998"/>
              <a:gd name="connsiteX533" fmla="*/ 681300 w 4991099"/>
              <a:gd name="connsiteY533" fmla="*/ 1647693 h 6857998"/>
              <a:gd name="connsiteX534" fmla="*/ 700358 w 4991099"/>
              <a:gd name="connsiteY534" fmla="*/ 1638895 h 6857998"/>
              <a:gd name="connsiteX535" fmla="*/ 700358 w 4991099"/>
              <a:gd name="connsiteY535" fmla="*/ 1603714 h 6857998"/>
              <a:gd name="connsiteX536" fmla="*/ 706221 w 4991099"/>
              <a:gd name="connsiteY536" fmla="*/ 1594915 h 6857998"/>
              <a:gd name="connsiteX537" fmla="*/ 700358 w 4991099"/>
              <a:gd name="connsiteY537" fmla="*/ 1540673 h 6857998"/>
              <a:gd name="connsiteX538" fmla="*/ 706221 w 4991099"/>
              <a:gd name="connsiteY538" fmla="*/ 1505488 h 6857998"/>
              <a:gd name="connsiteX539" fmla="*/ 700358 w 4991099"/>
              <a:gd name="connsiteY539" fmla="*/ 1442450 h 6857998"/>
              <a:gd name="connsiteX540" fmla="*/ 706221 w 4991099"/>
              <a:gd name="connsiteY540" fmla="*/ 1416061 h 6857998"/>
              <a:gd name="connsiteX541" fmla="*/ 706221 w 4991099"/>
              <a:gd name="connsiteY541" fmla="*/ 1353020 h 6857998"/>
              <a:gd name="connsiteX542" fmla="*/ 712088 w 4991099"/>
              <a:gd name="connsiteY542" fmla="*/ 1344225 h 6857998"/>
              <a:gd name="connsiteX543" fmla="*/ 706221 w 4991099"/>
              <a:gd name="connsiteY543" fmla="*/ 1289982 h 6857998"/>
              <a:gd name="connsiteX544" fmla="*/ 712088 w 4991099"/>
              <a:gd name="connsiteY544" fmla="*/ 1254797 h 6857998"/>
              <a:gd name="connsiteX545" fmla="*/ 706221 w 4991099"/>
              <a:gd name="connsiteY545" fmla="*/ 1219613 h 6857998"/>
              <a:gd name="connsiteX546" fmla="*/ 700358 w 4991099"/>
              <a:gd name="connsiteY546" fmla="*/ 1165367 h 6857998"/>
              <a:gd name="connsiteX547" fmla="*/ 694494 w 4991099"/>
              <a:gd name="connsiteY547" fmla="*/ 1210815 h 6857998"/>
              <a:gd name="connsiteX548" fmla="*/ 694494 w 4991099"/>
              <a:gd name="connsiteY548" fmla="*/ 1326631 h 6857998"/>
              <a:gd name="connsiteX549" fmla="*/ 675436 w 4991099"/>
              <a:gd name="connsiteY549" fmla="*/ 1344225 h 6857998"/>
              <a:gd name="connsiteX550" fmla="*/ 656378 w 4991099"/>
              <a:gd name="connsiteY550" fmla="*/ 1317835 h 6857998"/>
              <a:gd name="connsiteX551" fmla="*/ 662242 w 4991099"/>
              <a:gd name="connsiteY551" fmla="*/ 1309040 h 6857998"/>
              <a:gd name="connsiteX552" fmla="*/ 668105 w 4991099"/>
              <a:gd name="connsiteY552" fmla="*/ 1210815 h 6857998"/>
              <a:gd name="connsiteX553" fmla="*/ 622658 w 4991099"/>
              <a:gd name="connsiteY553" fmla="*/ 1202019 h 6857998"/>
              <a:gd name="connsiteX554" fmla="*/ 603600 w 4991099"/>
              <a:gd name="connsiteY554" fmla="*/ 1147777 h 6857998"/>
              <a:gd name="connsiteX555" fmla="*/ 590408 w 4991099"/>
              <a:gd name="connsiteY555" fmla="*/ 1210815 h 6857998"/>
              <a:gd name="connsiteX556" fmla="*/ 584542 w 4991099"/>
              <a:gd name="connsiteY556" fmla="*/ 1138981 h 6857998"/>
              <a:gd name="connsiteX557" fmla="*/ 590408 w 4991099"/>
              <a:gd name="connsiteY557" fmla="*/ 1103794 h 6857998"/>
              <a:gd name="connsiteX558" fmla="*/ 635852 w 4991099"/>
              <a:gd name="connsiteY558" fmla="*/ 1112592 h 6857998"/>
              <a:gd name="connsiteX559" fmla="*/ 641719 w 4991099"/>
              <a:gd name="connsiteY559" fmla="*/ 996776 h 6857998"/>
              <a:gd name="connsiteX560" fmla="*/ 635852 w 4991099"/>
              <a:gd name="connsiteY560" fmla="*/ 924939 h 6857998"/>
              <a:gd name="connsiteX561" fmla="*/ 641719 w 4991099"/>
              <a:gd name="connsiteY561" fmla="*/ 870697 h 6857998"/>
              <a:gd name="connsiteX562" fmla="*/ 635852 w 4991099"/>
              <a:gd name="connsiteY562" fmla="*/ 861898 h 6857998"/>
              <a:gd name="connsiteX563" fmla="*/ 641719 w 4991099"/>
              <a:gd name="connsiteY563" fmla="*/ 835512 h 6857998"/>
              <a:gd name="connsiteX564" fmla="*/ 635852 w 4991099"/>
              <a:gd name="connsiteY564" fmla="*/ 800328 h 6857998"/>
              <a:gd name="connsiteX565" fmla="*/ 622658 w 4991099"/>
              <a:gd name="connsiteY565" fmla="*/ 773939 h 6857998"/>
              <a:gd name="connsiteX566" fmla="*/ 603600 w 4991099"/>
              <a:gd name="connsiteY566" fmla="*/ 809123 h 6857998"/>
              <a:gd name="connsiteX567" fmla="*/ 590408 w 4991099"/>
              <a:gd name="connsiteY567" fmla="*/ 773939 h 6857998"/>
              <a:gd name="connsiteX568" fmla="*/ 571347 w 4991099"/>
              <a:gd name="connsiteY568" fmla="*/ 828181 h 6857998"/>
              <a:gd name="connsiteX569" fmla="*/ 590408 w 4991099"/>
              <a:gd name="connsiteY569" fmla="*/ 917608 h 6857998"/>
              <a:gd name="connsiteX570" fmla="*/ 628524 w 4991099"/>
              <a:gd name="connsiteY570" fmla="*/ 943998 h 6857998"/>
              <a:gd name="connsiteX571" fmla="*/ 603600 w 4991099"/>
              <a:gd name="connsiteY571" fmla="*/ 1007036 h 6857998"/>
              <a:gd name="connsiteX572" fmla="*/ 578678 w 4991099"/>
              <a:gd name="connsiteY572" fmla="*/ 971851 h 6857998"/>
              <a:gd name="connsiteX573" fmla="*/ 572814 w 4991099"/>
              <a:gd name="connsiteY573" fmla="*/ 1124319 h 6857998"/>
              <a:gd name="connsiteX574" fmla="*/ 547893 w 4991099"/>
              <a:gd name="connsiteY574" fmla="*/ 1078872 h 6857998"/>
              <a:gd name="connsiteX575" fmla="*/ 553756 w 4991099"/>
              <a:gd name="connsiteY575" fmla="*/ 1033425 h 6857998"/>
              <a:gd name="connsiteX576" fmla="*/ 553756 w 4991099"/>
              <a:gd name="connsiteY576" fmla="*/ 943998 h 6857998"/>
              <a:gd name="connsiteX577" fmla="*/ 547893 w 4991099"/>
              <a:gd name="connsiteY577" fmla="*/ 917608 h 6857998"/>
              <a:gd name="connsiteX578" fmla="*/ 553756 w 4991099"/>
              <a:gd name="connsiteY578" fmla="*/ 900018 h 6857998"/>
              <a:gd name="connsiteX579" fmla="*/ 566951 w 4991099"/>
              <a:gd name="connsiteY579" fmla="*/ 836977 h 6857998"/>
              <a:gd name="connsiteX580" fmla="*/ 553756 w 4991099"/>
              <a:gd name="connsiteY580" fmla="*/ 801792 h 6857998"/>
              <a:gd name="connsiteX581" fmla="*/ 559620 w 4991099"/>
              <a:gd name="connsiteY581" fmla="*/ 775403 h 6857998"/>
              <a:gd name="connsiteX582" fmla="*/ 546425 w 4991099"/>
              <a:gd name="connsiteY582" fmla="*/ 766608 h 6857998"/>
              <a:gd name="connsiteX583" fmla="*/ 635852 w 4991099"/>
              <a:gd name="connsiteY583" fmla="*/ 757812 h 6857998"/>
              <a:gd name="connsiteX584" fmla="*/ 662242 w 4991099"/>
              <a:gd name="connsiteY584" fmla="*/ 712365 h 6857998"/>
              <a:gd name="connsiteX585" fmla="*/ 662242 w 4991099"/>
              <a:gd name="connsiteY585" fmla="*/ 596549 h 6857998"/>
              <a:gd name="connsiteX586" fmla="*/ 650698 w 4991099"/>
              <a:gd name="connsiteY586" fmla="*/ 574372 h 6857998"/>
              <a:gd name="connsiteX587" fmla="*/ 650483 w 4991099"/>
              <a:gd name="connsiteY587" fmla="*/ 571342 h 6857998"/>
              <a:gd name="connsiteX588" fmla="*/ 652712 w 4991099"/>
              <a:gd name="connsiteY588" fmla="*/ 565577 h 6857998"/>
              <a:gd name="connsiteX589" fmla="*/ 649462 w 4991099"/>
              <a:gd name="connsiteY589" fmla="*/ 556943 h 6857998"/>
              <a:gd name="connsiteX590" fmla="*/ 649047 w 4991099"/>
              <a:gd name="connsiteY590" fmla="*/ 551101 h 6857998"/>
              <a:gd name="connsiteX591" fmla="*/ 668105 w 4991099"/>
              <a:gd name="connsiteY591" fmla="*/ 542306 h 6857998"/>
              <a:gd name="connsiteX592" fmla="*/ 649047 w 4991099"/>
              <a:gd name="connsiteY592" fmla="*/ 533508 h 6857998"/>
              <a:gd name="connsiteX593" fmla="*/ 668105 w 4991099"/>
              <a:gd name="connsiteY593" fmla="*/ 507121 h 6857998"/>
              <a:gd name="connsiteX594" fmla="*/ 654911 w 4991099"/>
              <a:gd name="connsiteY594" fmla="*/ 489528 h 6857998"/>
              <a:gd name="connsiteX595" fmla="*/ 673969 w 4991099"/>
              <a:gd name="connsiteY595" fmla="*/ 454343 h 6857998"/>
              <a:gd name="connsiteX596" fmla="*/ 679835 w 4991099"/>
              <a:gd name="connsiteY596" fmla="*/ 356118 h 6857998"/>
              <a:gd name="connsiteX597" fmla="*/ 673969 w 4991099"/>
              <a:gd name="connsiteY597" fmla="*/ 329729 h 6857998"/>
              <a:gd name="connsiteX598" fmla="*/ 673969 w 4991099"/>
              <a:gd name="connsiteY598" fmla="*/ 266691 h 6857998"/>
              <a:gd name="connsiteX599" fmla="*/ 641719 w 4991099"/>
              <a:gd name="connsiteY599" fmla="*/ 338527 h 6857998"/>
              <a:gd name="connsiteX600" fmla="*/ 647582 w 4991099"/>
              <a:gd name="connsiteY600" fmla="*/ 213915 h 6857998"/>
              <a:gd name="connsiteX601" fmla="*/ 672504 w 4991099"/>
              <a:gd name="connsiteY601" fmla="*/ 205117 h 6857998"/>
              <a:gd name="connsiteX602" fmla="*/ 653446 w 4991099"/>
              <a:gd name="connsiteY602" fmla="*/ 169932 h 6857998"/>
              <a:gd name="connsiteX603" fmla="*/ 647582 w 4991099"/>
              <a:gd name="connsiteY603" fmla="*/ 134748 h 6857998"/>
              <a:gd name="connsiteX604" fmla="*/ 653446 w 4991099"/>
              <a:gd name="connsiteY604" fmla="*/ 108359 h 6857998"/>
              <a:gd name="connsiteX605" fmla="*/ 634388 w 4991099"/>
              <a:gd name="connsiteY605" fmla="*/ 180195 h 6857998"/>
              <a:gd name="connsiteX606" fmla="*/ 621193 w 4991099"/>
              <a:gd name="connsiteY606" fmla="*/ 243233 h 6857998"/>
              <a:gd name="connsiteX607" fmla="*/ 627057 w 4991099"/>
              <a:gd name="connsiteY607" fmla="*/ 252032 h 6857998"/>
              <a:gd name="connsiteX608" fmla="*/ 613862 w 4991099"/>
              <a:gd name="connsiteY608" fmla="*/ 260827 h 6857998"/>
              <a:gd name="connsiteX609" fmla="*/ 607999 w 4991099"/>
              <a:gd name="connsiteY609" fmla="*/ 269623 h 6857998"/>
              <a:gd name="connsiteX610" fmla="*/ 607999 w 4991099"/>
              <a:gd name="connsiteY610" fmla="*/ 287216 h 6857998"/>
              <a:gd name="connsiteX611" fmla="*/ 627057 w 4991099"/>
              <a:gd name="connsiteY611" fmla="*/ 313605 h 6857998"/>
              <a:gd name="connsiteX612" fmla="*/ 607999 w 4991099"/>
              <a:gd name="connsiteY612" fmla="*/ 313605 h 6857998"/>
              <a:gd name="connsiteX613" fmla="*/ 602135 w 4991099"/>
              <a:gd name="connsiteY613" fmla="*/ 403032 h 6857998"/>
              <a:gd name="connsiteX614" fmla="*/ 607999 w 4991099"/>
              <a:gd name="connsiteY614" fmla="*/ 411828 h 6857998"/>
              <a:gd name="connsiteX615" fmla="*/ 607999 w 4991099"/>
              <a:gd name="connsiteY615" fmla="*/ 536442 h 6857998"/>
              <a:gd name="connsiteX616" fmla="*/ 602135 w 4991099"/>
              <a:gd name="connsiteY616" fmla="*/ 554033 h 6857998"/>
              <a:gd name="connsiteX617" fmla="*/ 602135 w 4991099"/>
              <a:gd name="connsiteY617" fmla="*/ 580422 h 6857998"/>
              <a:gd name="connsiteX618" fmla="*/ 602135 w 4991099"/>
              <a:gd name="connsiteY618" fmla="*/ 625870 h 6857998"/>
              <a:gd name="connsiteX619" fmla="*/ 596272 w 4991099"/>
              <a:gd name="connsiteY619" fmla="*/ 634665 h 6857998"/>
              <a:gd name="connsiteX620" fmla="*/ 590408 w 4991099"/>
              <a:gd name="connsiteY620" fmla="*/ 688908 h 6857998"/>
              <a:gd name="connsiteX621" fmla="*/ 577213 w 4991099"/>
              <a:gd name="connsiteY621" fmla="*/ 715297 h 6857998"/>
              <a:gd name="connsiteX622" fmla="*/ 564016 w 4991099"/>
              <a:gd name="connsiteY622" fmla="*/ 661054 h 6857998"/>
              <a:gd name="connsiteX623" fmla="*/ 544958 w 4991099"/>
              <a:gd name="connsiteY623" fmla="*/ 696239 h 6857998"/>
              <a:gd name="connsiteX624" fmla="*/ 558152 w 4991099"/>
              <a:gd name="connsiteY624" fmla="*/ 571624 h 6857998"/>
              <a:gd name="connsiteX625" fmla="*/ 564016 w 4991099"/>
              <a:gd name="connsiteY625" fmla="*/ 499791 h 6857998"/>
              <a:gd name="connsiteX626" fmla="*/ 564016 w 4991099"/>
              <a:gd name="connsiteY626" fmla="*/ 482197 h 6857998"/>
              <a:gd name="connsiteX627" fmla="*/ 569883 w 4991099"/>
              <a:gd name="connsiteY627" fmla="*/ 473401 h 6857998"/>
              <a:gd name="connsiteX628" fmla="*/ 564016 w 4991099"/>
              <a:gd name="connsiteY628" fmla="*/ 427954 h 6857998"/>
              <a:gd name="connsiteX629" fmla="*/ 569883 w 4991099"/>
              <a:gd name="connsiteY629" fmla="*/ 401565 h 6857998"/>
              <a:gd name="connsiteX630" fmla="*/ 569883 w 4991099"/>
              <a:gd name="connsiteY630" fmla="*/ 329729 h 6857998"/>
              <a:gd name="connsiteX631" fmla="*/ 575746 w 4991099"/>
              <a:gd name="connsiteY631" fmla="*/ 284284 h 6857998"/>
              <a:gd name="connsiteX632" fmla="*/ 581610 w 4991099"/>
              <a:gd name="connsiteY632" fmla="*/ 275486 h 6857998"/>
              <a:gd name="connsiteX633" fmla="*/ 575746 w 4991099"/>
              <a:gd name="connsiteY633" fmla="*/ 230039 h 6857998"/>
              <a:gd name="connsiteX634" fmla="*/ 581610 w 4991099"/>
              <a:gd name="connsiteY634" fmla="*/ 212448 h 6857998"/>
              <a:gd name="connsiteX635" fmla="*/ 568415 w 4991099"/>
              <a:gd name="connsiteY635" fmla="*/ 167001 h 6857998"/>
              <a:gd name="connsiteX636" fmla="*/ 555221 w 4991099"/>
              <a:gd name="connsiteY636" fmla="*/ 140612 h 6857998"/>
              <a:gd name="connsiteX637" fmla="*/ 549357 w 4991099"/>
              <a:gd name="connsiteY637" fmla="*/ 175796 h 6857998"/>
              <a:gd name="connsiteX638" fmla="*/ 543493 w 4991099"/>
              <a:gd name="connsiteY638" fmla="*/ 184594 h 6857998"/>
              <a:gd name="connsiteX639" fmla="*/ 549357 w 4991099"/>
              <a:gd name="connsiteY639" fmla="*/ 193390 h 6857998"/>
              <a:gd name="connsiteX640" fmla="*/ 543493 w 4991099"/>
              <a:gd name="connsiteY640" fmla="*/ 202185 h 6857998"/>
              <a:gd name="connsiteX641" fmla="*/ 543493 w 4991099"/>
              <a:gd name="connsiteY641" fmla="*/ 228574 h 6857998"/>
              <a:gd name="connsiteX642" fmla="*/ 543493 w 4991099"/>
              <a:gd name="connsiteY642" fmla="*/ 254963 h 6857998"/>
              <a:gd name="connsiteX643" fmla="*/ 524435 w 4991099"/>
              <a:gd name="connsiteY643" fmla="*/ 210981 h 6857998"/>
              <a:gd name="connsiteX644" fmla="*/ 537630 w 4991099"/>
              <a:gd name="connsiteY644" fmla="*/ 175796 h 6857998"/>
              <a:gd name="connsiteX645" fmla="*/ 543493 w 4991099"/>
              <a:gd name="connsiteY645" fmla="*/ 140612 h 6857998"/>
              <a:gd name="connsiteX646" fmla="*/ 537630 w 4991099"/>
              <a:gd name="connsiteY646" fmla="*/ 95164 h 6857998"/>
              <a:gd name="connsiteX647" fmla="*/ 575746 w 4991099"/>
              <a:gd name="connsiteY647" fmla="*/ 86369 h 6857998"/>
              <a:gd name="connsiteX648" fmla="*/ 581610 w 4991099"/>
              <a:gd name="connsiteY648" fmla="*/ 121554 h 6857998"/>
              <a:gd name="connsiteX649" fmla="*/ 581610 w 4991099"/>
              <a:gd name="connsiteY649" fmla="*/ 86369 h 6857998"/>
              <a:gd name="connsiteX650" fmla="*/ 587473 w 4991099"/>
              <a:gd name="connsiteY650" fmla="*/ 59980 h 6857998"/>
              <a:gd name="connsiteX651" fmla="*/ 593337 w 4991099"/>
              <a:gd name="connsiteY651" fmla="*/ 42389 h 6857998"/>
              <a:gd name="connsiteX652" fmla="*/ 574279 w 4991099"/>
              <a:gd name="connsiteY652" fmla="*/ 16000 h 6857998"/>
              <a:gd name="connsiteX653" fmla="*/ 528834 w 4991099"/>
              <a:gd name="connsiteY653" fmla="*/ 70243 h 6857998"/>
              <a:gd name="connsiteX654" fmla="*/ 503910 w 4991099"/>
              <a:gd name="connsiteY654" fmla="*/ 231506 h 6857998"/>
              <a:gd name="connsiteX655" fmla="*/ 490715 w 4991099"/>
              <a:gd name="connsiteY655" fmla="*/ 205117 h 6857998"/>
              <a:gd name="connsiteX656" fmla="*/ 490715 w 4991099"/>
              <a:gd name="connsiteY656" fmla="*/ 169932 h 6857998"/>
              <a:gd name="connsiteX657" fmla="*/ 496582 w 4991099"/>
              <a:gd name="connsiteY657" fmla="*/ 161137 h 6857998"/>
              <a:gd name="connsiteX658" fmla="*/ 490715 w 4991099"/>
              <a:gd name="connsiteY658" fmla="*/ 115690 h 6857998"/>
              <a:gd name="connsiteX659" fmla="*/ 477521 w 4991099"/>
              <a:gd name="connsiteY659" fmla="*/ 70243 h 6857998"/>
              <a:gd name="connsiteX660" fmla="*/ 471657 w 4991099"/>
              <a:gd name="connsiteY660" fmla="*/ 150874 h 6857998"/>
              <a:gd name="connsiteX661" fmla="*/ 465793 w 4991099"/>
              <a:gd name="connsiteY661" fmla="*/ 186059 h 6857998"/>
              <a:gd name="connsiteX662" fmla="*/ 478988 w 4991099"/>
              <a:gd name="connsiteY662" fmla="*/ 231506 h 6857998"/>
              <a:gd name="connsiteX663" fmla="*/ 459930 w 4991099"/>
              <a:gd name="connsiteY663" fmla="*/ 276953 h 6857998"/>
              <a:gd name="connsiteX664" fmla="*/ 465793 w 4991099"/>
              <a:gd name="connsiteY664" fmla="*/ 294547 h 6857998"/>
              <a:gd name="connsiteX665" fmla="*/ 503910 w 4991099"/>
              <a:gd name="connsiteY665" fmla="*/ 294547 h 6857998"/>
              <a:gd name="connsiteX666" fmla="*/ 484852 w 4991099"/>
              <a:gd name="connsiteY666" fmla="*/ 339992 h 6857998"/>
              <a:gd name="connsiteX667" fmla="*/ 490715 w 4991099"/>
              <a:gd name="connsiteY667" fmla="*/ 394237 h 6857998"/>
              <a:gd name="connsiteX668" fmla="*/ 484852 w 4991099"/>
              <a:gd name="connsiteY668" fmla="*/ 411828 h 6857998"/>
              <a:gd name="connsiteX669" fmla="*/ 490715 w 4991099"/>
              <a:gd name="connsiteY669" fmla="*/ 420623 h 6857998"/>
              <a:gd name="connsiteX670" fmla="*/ 486319 w 4991099"/>
              <a:gd name="connsiteY670" fmla="*/ 451595 h 6857998"/>
              <a:gd name="connsiteX671" fmla="*/ 479947 w 4991099"/>
              <a:gd name="connsiteY671" fmla="*/ 468452 h 6857998"/>
              <a:gd name="connsiteX672" fmla="*/ 481920 w 4991099"/>
              <a:gd name="connsiteY672" fmla="*/ 417692 h 6857998"/>
              <a:gd name="connsiteX673" fmla="*/ 462862 w 4991099"/>
              <a:gd name="connsiteY673" fmla="*/ 463139 h 6857998"/>
              <a:gd name="connsiteX674" fmla="*/ 456995 w 4991099"/>
              <a:gd name="connsiteY674" fmla="*/ 471934 h 6857998"/>
              <a:gd name="connsiteX675" fmla="*/ 451132 w 4991099"/>
              <a:gd name="connsiteY675" fmla="*/ 641993 h 6857998"/>
              <a:gd name="connsiteX676" fmla="*/ 464185 w 4991099"/>
              <a:gd name="connsiteY676" fmla="*/ 631699 h 6857998"/>
              <a:gd name="connsiteX677" fmla="*/ 464143 w 4991099"/>
              <a:gd name="connsiteY677" fmla="*/ 636496 h 6857998"/>
              <a:gd name="connsiteX678" fmla="*/ 458463 w 4991099"/>
              <a:gd name="connsiteY678" fmla="*/ 650791 h 6857998"/>
              <a:gd name="connsiteX679" fmla="*/ 439404 w 4991099"/>
              <a:gd name="connsiteY679" fmla="*/ 624402 h 6857998"/>
              <a:gd name="connsiteX680" fmla="*/ 433541 w 4991099"/>
              <a:gd name="connsiteY680" fmla="*/ 659587 h 6857998"/>
              <a:gd name="connsiteX681" fmla="*/ 420346 w 4991099"/>
              <a:gd name="connsiteY681" fmla="*/ 722628 h 6857998"/>
              <a:gd name="connsiteX682" fmla="*/ 414483 w 4991099"/>
              <a:gd name="connsiteY682" fmla="*/ 705034 h 6857998"/>
              <a:gd name="connsiteX683" fmla="*/ 433541 w 4991099"/>
              <a:gd name="connsiteY683" fmla="*/ 759277 h 6857998"/>
              <a:gd name="connsiteX684" fmla="*/ 398356 w 4991099"/>
              <a:gd name="connsiteY684" fmla="*/ 831113 h 6857998"/>
              <a:gd name="connsiteX685" fmla="*/ 429144 w 4991099"/>
              <a:gd name="connsiteY685" fmla="*/ 867765 h 6857998"/>
              <a:gd name="connsiteX686" fmla="*/ 404220 w 4991099"/>
              <a:gd name="connsiteY686" fmla="*/ 858969 h 6857998"/>
              <a:gd name="connsiteX687" fmla="*/ 392493 w 4991099"/>
              <a:gd name="connsiteY687" fmla="*/ 941066 h 6857998"/>
              <a:gd name="connsiteX688" fmla="*/ 386629 w 4991099"/>
              <a:gd name="connsiteY688" fmla="*/ 976250 h 6857998"/>
              <a:gd name="connsiteX689" fmla="*/ 392493 w 4991099"/>
              <a:gd name="connsiteY689" fmla="*/ 1021697 h 6857998"/>
              <a:gd name="connsiteX690" fmla="*/ 405687 w 4991099"/>
              <a:gd name="connsiteY690" fmla="*/ 958659 h 6857998"/>
              <a:gd name="connsiteX691" fmla="*/ 411551 w 4991099"/>
              <a:gd name="connsiteY691" fmla="*/ 878028 h 6857998"/>
              <a:gd name="connsiteX692" fmla="*/ 424745 w 4991099"/>
              <a:gd name="connsiteY692" fmla="*/ 932270 h 6857998"/>
              <a:gd name="connsiteX693" fmla="*/ 418882 w 4991099"/>
              <a:gd name="connsiteY693" fmla="*/ 977718 h 6857998"/>
              <a:gd name="connsiteX694" fmla="*/ 405687 w 4991099"/>
              <a:gd name="connsiteY694" fmla="*/ 1004104 h 6857998"/>
              <a:gd name="connsiteX695" fmla="*/ 418882 w 4991099"/>
              <a:gd name="connsiteY695" fmla="*/ 1021697 h 6857998"/>
              <a:gd name="connsiteX696" fmla="*/ 413015 w 4991099"/>
              <a:gd name="connsiteY696" fmla="*/ 1056882 h 6857998"/>
              <a:gd name="connsiteX697" fmla="*/ 393957 w 4991099"/>
              <a:gd name="connsiteY697" fmla="*/ 1039291 h 6857998"/>
              <a:gd name="connsiteX698" fmla="*/ 399824 w 4991099"/>
              <a:gd name="connsiteY698" fmla="*/ 1065677 h 6857998"/>
              <a:gd name="connsiteX699" fmla="*/ 380763 w 4991099"/>
              <a:gd name="connsiteY699" fmla="*/ 1100865 h 6857998"/>
              <a:gd name="connsiteX700" fmla="*/ 374899 w 4991099"/>
              <a:gd name="connsiteY700" fmla="*/ 1109660 h 6857998"/>
              <a:gd name="connsiteX701" fmla="*/ 379298 w 4991099"/>
              <a:gd name="connsiteY701" fmla="*/ 1138981 h 6857998"/>
              <a:gd name="connsiteX702" fmla="*/ 369035 w 4991099"/>
              <a:gd name="connsiteY702" fmla="*/ 1160971 h 6857998"/>
              <a:gd name="connsiteX703" fmla="*/ 376366 w 4991099"/>
              <a:gd name="connsiteY703" fmla="*/ 1181497 h 6857998"/>
              <a:gd name="connsiteX704" fmla="*/ 360240 w 4991099"/>
              <a:gd name="connsiteY704" fmla="*/ 1188825 h 6857998"/>
              <a:gd name="connsiteX705" fmla="*/ 347045 w 4991099"/>
              <a:gd name="connsiteY705" fmla="*/ 1224009 h 6857998"/>
              <a:gd name="connsiteX706" fmla="*/ 352909 w 4991099"/>
              <a:gd name="connsiteY706" fmla="*/ 1287050 h 6857998"/>
              <a:gd name="connsiteX707" fmla="*/ 366104 w 4991099"/>
              <a:gd name="connsiteY707" fmla="*/ 1322235 h 6857998"/>
              <a:gd name="connsiteX708" fmla="*/ 344114 w 4991099"/>
              <a:gd name="connsiteY708" fmla="*/ 1319303 h 6857998"/>
              <a:gd name="connsiteX709" fmla="*/ 320656 w 4991099"/>
              <a:gd name="connsiteY709" fmla="*/ 1464440 h 6857998"/>
              <a:gd name="connsiteX710" fmla="*/ 332383 w 4991099"/>
              <a:gd name="connsiteY710" fmla="*/ 1256262 h 6857998"/>
              <a:gd name="connsiteX711" fmla="*/ 330919 w 4991099"/>
              <a:gd name="connsiteY711" fmla="*/ 1207883 h 6857998"/>
              <a:gd name="connsiteX712" fmla="*/ 327987 w 4991099"/>
              <a:gd name="connsiteY712" fmla="*/ 1184426 h 6857998"/>
              <a:gd name="connsiteX713" fmla="*/ 333851 w 4991099"/>
              <a:gd name="connsiteY713" fmla="*/ 1163903 h 6857998"/>
              <a:gd name="connsiteX714" fmla="*/ 330919 w 4991099"/>
              <a:gd name="connsiteY714" fmla="*/ 1140446 h 6857998"/>
              <a:gd name="connsiteX715" fmla="*/ 330919 w 4991099"/>
              <a:gd name="connsiteY715" fmla="*/ 1122855 h 6857998"/>
              <a:gd name="connsiteX716" fmla="*/ 336783 w 4991099"/>
              <a:gd name="connsiteY716" fmla="*/ 1077407 h 6857998"/>
              <a:gd name="connsiteX717" fmla="*/ 330919 w 4991099"/>
              <a:gd name="connsiteY717" fmla="*/ 1068609 h 6857998"/>
              <a:gd name="connsiteX718" fmla="*/ 336783 w 4991099"/>
              <a:gd name="connsiteY718" fmla="*/ 1059814 h 6857998"/>
              <a:gd name="connsiteX719" fmla="*/ 323588 w 4991099"/>
              <a:gd name="connsiteY719" fmla="*/ 1024629 h 6857998"/>
              <a:gd name="connsiteX720" fmla="*/ 355841 w 4991099"/>
              <a:gd name="connsiteY720" fmla="*/ 1015834 h 6857998"/>
              <a:gd name="connsiteX721" fmla="*/ 349244 w 4991099"/>
              <a:gd name="connsiteY721" fmla="*/ 942350 h 6857998"/>
              <a:gd name="connsiteX722" fmla="*/ 349410 w 4991099"/>
              <a:gd name="connsiteY722" fmla="*/ 940795 h 6857998"/>
              <a:gd name="connsiteX723" fmla="*/ 353253 w 4991099"/>
              <a:gd name="connsiteY723" fmla="*/ 927092 h 6857998"/>
              <a:gd name="connsiteX724" fmla="*/ 351069 w 4991099"/>
              <a:gd name="connsiteY724" fmla="*/ 925354 h 6857998"/>
              <a:gd name="connsiteX725" fmla="*/ 354052 w 4991099"/>
              <a:gd name="connsiteY725" fmla="*/ 897616 h 6857998"/>
              <a:gd name="connsiteX726" fmla="*/ 355522 w 4991099"/>
              <a:gd name="connsiteY726" fmla="*/ 896214 h 6857998"/>
              <a:gd name="connsiteX727" fmla="*/ 354452 w 4991099"/>
              <a:gd name="connsiteY727" fmla="*/ 893889 h 6857998"/>
              <a:gd name="connsiteX728" fmla="*/ 355841 w 4991099"/>
              <a:gd name="connsiteY728" fmla="*/ 880959 h 6857998"/>
              <a:gd name="connsiteX729" fmla="*/ 349977 w 4991099"/>
              <a:gd name="connsiteY729" fmla="*/ 845772 h 6857998"/>
              <a:gd name="connsiteX730" fmla="*/ 363172 w 4991099"/>
              <a:gd name="connsiteY730" fmla="*/ 810588 h 6857998"/>
              <a:gd name="connsiteX731" fmla="*/ 330919 w 4991099"/>
              <a:gd name="connsiteY731" fmla="*/ 810588 h 6857998"/>
              <a:gd name="connsiteX732" fmla="*/ 344114 w 4991099"/>
              <a:gd name="connsiteY732" fmla="*/ 747550 h 6857998"/>
              <a:gd name="connsiteX733" fmla="*/ 363172 w 4991099"/>
              <a:gd name="connsiteY733" fmla="*/ 747550 h 6857998"/>
              <a:gd name="connsiteX734" fmla="*/ 344114 w 4991099"/>
              <a:gd name="connsiteY734" fmla="*/ 721160 h 6857998"/>
              <a:gd name="connsiteX735" fmla="*/ 348905 w 4991099"/>
              <a:gd name="connsiteY735" fmla="*/ 648071 h 6857998"/>
              <a:gd name="connsiteX736" fmla="*/ 362255 w 4991099"/>
              <a:gd name="connsiteY736" fmla="*/ 655191 h 6857998"/>
              <a:gd name="connsiteX737" fmla="*/ 374899 w 4991099"/>
              <a:gd name="connsiteY737" fmla="*/ 666918 h 6857998"/>
              <a:gd name="connsiteX738" fmla="*/ 380763 w 4991099"/>
              <a:gd name="connsiteY738" fmla="*/ 702102 h 6857998"/>
              <a:gd name="connsiteX739" fmla="*/ 380763 w 4991099"/>
              <a:gd name="connsiteY739" fmla="*/ 639064 h 6857998"/>
              <a:gd name="connsiteX740" fmla="*/ 386626 w 4991099"/>
              <a:gd name="connsiteY740" fmla="*/ 621471 h 6857998"/>
              <a:gd name="connsiteX741" fmla="*/ 373432 w 4991099"/>
              <a:gd name="connsiteY741" fmla="*/ 612675 h 6857998"/>
              <a:gd name="connsiteX742" fmla="*/ 366470 w 4991099"/>
              <a:gd name="connsiteY742" fmla="*/ 639612 h 6857998"/>
              <a:gd name="connsiteX743" fmla="*/ 348933 w 4991099"/>
              <a:gd name="connsiteY743" fmla="*/ 647665 h 6857998"/>
              <a:gd name="connsiteX744" fmla="*/ 349977 w 4991099"/>
              <a:gd name="connsiteY744" fmla="*/ 631733 h 6857998"/>
              <a:gd name="connsiteX745" fmla="*/ 317724 w 4991099"/>
              <a:gd name="connsiteY745" fmla="*/ 631733 h 6857998"/>
              <a:gd name="connsiteX746" fmla="*/ 317724 w 4991099"/>
              <a:gd name="connsiteY746" fmla="*/ 577490 h 6857998"/>
              <a:gd name="connsiteX747" fmla="*/ 323588 w 4991099"/>
              <a:gd name="connsiteY747" fmla="*/ 568692 h 6857998"/>
              <a:gd name="connsiteX748" fmla="*/ 323588 w 4991099"/>
              <a:gd name="connsiteY748" fmla="*/ 533508 h 6857998"/>
              <a:gd name="connsiteX749" fmla="*/ 342646 w 4991099"/>
              <a:gd name="connsiteY749" fmla="*/ 533508 h 6857998"/>
              <a:gd name="connsiteX750" fmla="*/ 336783 w 4991099"/>
              <a:gd name="connsiteY750" fmla="*/ 524712 h 6857998"/>
              <a:gd name="connsiteX751" fmla="*/ 330919 w 4991099"/>
              <a:gd name="connsiteY751" fmla="*/ 515917 h 6857998"/>
              <a:gd name="connsiteX752" fmla="*/ 336783 w 4991099"/>
              <a:gd name="connsiteY752" fmla="*/ 452876 h 6857998"/>
              <a:gd name="connsiteX753" fmla="*/ 349977 w 4991099"/>
              <a:gd name="connsiteY753" fmla="*/ 372244 h 6857998"/>
              <a:gd name="connsiteX754" fmla="*/ 355841 w 4991099"/>
              <a:gd name="connsiteY754" fmla="*/ 435285 h 6857998"/>
              <a:gd name="connsiteX755" fmla="*/ 342646 w 4991099"/>
              <a:gd name="connsiteY755" fmla="*/ 444081 h 6857998"/>
              <a:gd name="connsiteX756" fmla="*/ 374899 w 4991099"/>
              <a:gd name="connsiteY756" fmla="*/ 452876 h 6857998"/>
              <a:gd name="connsiteX757" fmla="*/ 388093 w 4991099"/>
              <a:gd name="connsiteY757" fmla="*/ 461674 h 6857998"/>
              <a:gd name="connsiteX758" fmla="*/ 393957 w 4991099"/>
              <a:gd name="connsiteY758" fmla="*/ 435285 h 6857998"/>
              <a:gd name="connsiteX759" fmla="*/ 374899 w 4991099"/>
              <a:gd name="connsiteY759" fmla="*/ 444081 h 6857998"/>
              <a:gd name="connsiteX760" fmla="*/ 361704 w 4991099"/>
              <a:gd name="connsiteY760" fmla="*/ 417692 h 6857998"/>
              <a:gd name="connsiteX761" fmla="*/ 361704 w 4991099"/>
              <a:gd name="connsiteY761" fmla="*/ 382507 h 6857998"/>
              <a:gd name="connsiteX762" fmla="*/ 388093 w 4991099"/>
              <a:gd name="connsiteY762" fmla="*/ 337060 h 6857998"/>
              <a:gd name="connsiteX763" fmla="*/ 382230 w 4991099"/>
              <a:gd name="connsiteY763" fmla="*/ 363449 h 6857998"/>
              <a:gd name="connsiteX764" fmla="*/ 379848 w 4991099"/>
              <a:gd name="connsiteY764" fmla="*/ 323682 h 6857998"/>
              <a:gd name="connsiteX765" fmla="*/ 378847 w 4991099"/>
              <a:gd name="connsiteY765" fmla="*/ 311035 h 6857998"/>
              <a:gd name="connsiteX766" fmla="*/ 380763 w 4991099"/>
              <a:gd name="connsiteY766" fmla="*/ 316537 h 6857998"/>
              <a:gd name="connsiteX767" fmla="*/ 399821 w 4991099"/>
              <a:gd name="connsiteY767" fmla="*/ 316537 h 6857998"/>
              <a:gd name="connsiteX768" fmla="*/ 386626 w 4991099"/>
              <a:gd name="connsiteY768" fmla="*/ 253496 h 6857998"/>
              <a:gd name="connsiteX769" fmla="*/ 378747 w 4991099"/>
              <a:gd name="connsiteY769" fmla="*/ 288864 h 6857998"/>
              <a:gd name="connsiteX770" fmla="*/ 376231 w 4991099"/>
              <a:gd name="connsiteY770" fmla="*/ 302538 h 6857998"/>
              <a:gd name="connsiteX771" fmla="*/ 363172 w 4991099"/>
              <a:gd name="connsiteY771" fmla="*/ 291613 h 6857998"/>
              <a:gd name="connsiteX772" fmla="*/ 344114 w 4991099"/>
              <a:gd name="connsiteY772" fmla="*/ 337060 h 6857998"/>
              <a:gd name="connsiteX773" fmla="*/ 338250 w 4991099"/>
              <a:gd name="connsiteY773" fmla="*/ 319469 h 6857998"/>
              <a:gd name="connsiteX774" fmla="*/ 344114 w 4991099"/>
              <a:gd name="connsiteY774" fmla="*/ 310671 h 6857998"/>
              <a:gd name="connsiteX775" fmla="*/ 363172 w 4991099"/>
              <a:gd name="connsiteY775" fmla="*/ 238837 h 6857998"/>
              <a:gd name="connsiteX776" fmla="*/ 363172 w 4991099"/>
              <a:gd name="connsiteY776" fmla="*/ 193390 h 6857998"/>
              <a:gd name="connsiteX777" fmla="*/ 357308 w 4991099"/>
              <a:gd name="connsiteY777" fmla="*/ 184594 h 6857998"/>
              <a:gd name="connsiteX778" fmla="*/ 363172 w 4991099"/>
              <a:gd name="connsiteY778" fmla="*/ 86369 h 6857998"/>
              <a:gd name="connsiteX779" fmla="*/ 382230 w 4991099"/>
              <a:gd name="connsiteY779" fmla="*/ 68775 h 6857998"/>
              <a:gd name="connsiteX780" fmla="*/ 382230 w 4991099"/>
              <a:gd name="connsiteY780" fmla="*/ 33591 h 6857998"/>
              <a:gd name="connsiteX781" fmla="*/ 381680 w 4991099"/>
              <a:gd name="connsiteY781" fmla="*/ 7020 h 6857998"/>
              <a:gd name="connsiteX782" fmla="*/ 381819 w 4991099"/>
              <a:gd name="connsiteY782" fmla="*/ 1 h 6857998"/>
              <a:gd name="connsiteX783" fmla="*/ 0 w 4991099"/>
              <a:gd name="connsiteY783"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Lst>
            <a:rect l="l" t="t" r="r" b="b"/>
            <a:pathLst>
              <a:path w="4991099" h="6857998">
                <a:moveTo>
                  <a:pt x="572814" y="4535775"/>
                </a:moveTo>
                <a:cubicBezTo>
                  <a:pt x="586009" y="4537243"/>
                  <a:pt x="574279" y="4575359"/>
                  <a:pt x="591872" y="4570960"/>
                </a:cubicBezTo>
                <a:cubicBezTo>
                  <a:pt x="590408" y="4584154"/>
                  <a:pt x="575746" y="4578291"/>
                  <a:pt x="566951" y="4581225"/>
                </a:cubicBezTo>
                <a:cubicBezTo>
                  <a:pt x="564016" y="4559233"/>
                  <a:pt x="578678" y="4560700"/>
                  <a:pt x="572814" y="4535775"/>
                </a:cubicBezTo>
                <a:close/>
                <a:moveTo>
                  <a:pt x="394050" y="3806517"/>
                </a:moveTo>
                <a:cubicBezTo>
                  <a:pt x="397074" y="3807066"/>
                  <a:pt x="399457" y="3808256"/>
                  <a:pt x="399824" y="3810089"/>
                </a:cubicBezTo>
                <a:cubicBezTo>
                  <a:pt x="399824" y="3815953"/>
                  <a:pt x="391025" y="3821820"/>
                  <a:pt x="386629" y="3818888"/>
                </a:cubicBezTo>
                <a:cubicBezTo>
                  <a:pt x="375633" y="3812290"/>
                  <a:pt x="378564" y="3808258"/>
                  <a:pt x="384428" y="3806794"/>
                </a:cubicBezTo>
                <a:cubicBezTo>
                  <a:pt x="387360" y="3806060"/>
                  <a:pt x="391026" y="3805967"/>
                  <a:pt x="394050" y="3806517"/>
                </a:cubicBezTo>
                <a:close/>
                <a:moveTo>
                  <a:pt x="559620" y="3766110"/>
                </a:moveTo>
                <a:cubicBezTo>
                  <a:pt x="568415" y="3769041"/>
                  <a:pt x="572814" y="3776372"/>
                  <a:pt x="572814" y="3792499"/>
                </a:cubicBezTo>
                <a:cubicBezTo>
                  <a:pt x="559620" y="3796898"/>
                  <a:pt x="561087" y="3779304"/>
                  <a:pt x="559620" y="3766110"/>
                </a:cubicBezTo>
                <a:close/>
                <a:moveTo>
                  <a:pt x="561705" y="3721303"/>
                </a:moveTo>
                <a:cubicBezTo>
                  <a:pt x="565668" y="3722127"/>
                  <a:pt x="569516" y="3724693"/>
                  <a:pt x="572814" y="3729458"/>
                </a:cubicBezTo>
                <a:cubicBezTo>
                  <a:pt x="578678" y="3764642"/>
                  <a:pt x="544958" y="3744120"/>
                  <a:pt x="553756" y="3783703"/>
                </a:cubicBezTo>
                <a:cubicBezTo>
                  <a:pt x="521503" y="3788099"/>
                  <a:pt x="550824" y="3757314"/>
                  <a:pt x="534698" y="3748519"/>
                </a:cubicBezTo>
                <a:cubicBezTo>
                  <a:pt x="536162" y="3737522"/>
                  <a:pt x="542393" y="3727993"/>
                  <a:pt x="549907" y="3723594"/>
                </a:cubicBezTo>
                <a:cubicBezTo>
                  <a:pt x="553665" y="3721394"/>
                  <a:pt x="557742" y="3720478"/>
                  <a:pt x="561705" y="3721303"/>
                </a:cubicBezTo>
                <a:close/>
                <a:moveTo>
                  <a:pt x="354376" y="3613644"/>
                </a:moveTo>
                <a:lnTo>
                  <a:pt x="367571" y="3613644"/>
                </a:lnTo>
                <a:lnTo>
                  <a:pt x="367571" y="3631235"/>
                </a:lnTo>
                <a:lnTo>
                  <a:pt x="354376" y="3631235"/>
                </a:lnTo>
                <a:close/>
                <a:moveTo>
                  <a:pt x="569515" y="3550969"/>
                </a:moveTo>
                <a:cubicBezTo>
                  <a:pt x="575563" y="3555643"/>
                  <a:pt x="571714" y="3575160"/>
                  <a:pt x="572814" y="3587255"/>
                </a:cubicBezTo>
                <a:cubicBezTo>
                  <a:pt x="561087" y="3584323"/>
                  <a:pt x="558152" y="3571129"/>
                  <a:pt x="559620" y="3552068"/>
                </a:cubicBezTo>
                <a:cubicBezTo>
                  <a:pt x="564384" y="3549503"/>
                  <a:pt x="567500" y="3549411"/>
                  <a:pt x="569515" y="3550969"/>
                </a:cubicBezTo>
                <a:close/>
                <a:moveTo>
                  <a:pt x="335318" y="3550603"/>
                </a:moveTo>
                <a:lnTo>
                  <a:pt x="354376" y="3550603"/>
                </a:lnTo>
                <a:lnTo>
                  <a:pt x="354376" y="3576992"/>
                </a:lnTo>
                <a:cubicBezTo>
                  <a:pt x="344114" y="3579924"/>
                  <a:pt x="344114" y="3569661"/>
                  <a:pt x="335318" y="3568194"/>
                </a:cubicBezTo>
                <a:close/>
                <a:moveTo>
                  <a:pt x="561087" y="3184096"/>
                </a:moveTo>
                <a:cubicBezTo>
                  <a:pt x="590408" y="3182629"/>
                  <a:pt x="558152" y="3209018"/>
                  <a:pt x="574279" y="3219281"/>
                </a:cubicBezTo>
                <a:cubicBezTo>
                  <a:pt x="583077" y="3217814"/>
                  <a:pt x="578678" y="3197291"/>
                  <a:pt x="580145" y="3184096"/>
                </a:cubicBezTo>
                <a:cubicBezTo>
                  <a:pt x="597736" y="3185561"/>
                  <a:pt x="609466" y="3195824"/>
                  <a:pt x="605067" y="3229541"/>
                </a:cubicBezTo>
                <a:cubicBezTo>
                  <a:pt x="593337" y="3244203"/>
                  <a:pt x="558152" y="3223677"/>
                  <a:pt x="559620" y="3255930"/>
                </a:cubicBezTo>
                <a:cubicBezTo>
                  <a:pt x="544958" y="3238336"/>
                  <a:pt x="544958" y="3201687"/>
                  <a:pt x="561087" y="3184096"/>
                </a:cubicBezTo>
                <a:close/>
                <a:moveTo>
                  <a:pt x="552800" y="3051568"/>
                </a:moveTo>
                <a:cubicBezTo>
                  <a:pt x="562941" y="3045234"/>
                  <a:pt x="564383" y="3095584"/>
                  <a:pt x="566951" y="3112260"/>
                </a:cubicBezTo>
                <a:cubicBezTo>
                  <a:pt x="555221" y="3113724"/>
                  <a:pt x="552289" y="3100533"/>
                  <a:pt x="542026" y="3103465"/>
                </a:cubicBezTo>
                <a:cubicBezTo>
                  <a:pt x="534698" y="3080007"/>
                  <a:pt x="568415" y="3071212"/>
                  <a:pt x="547893" y="3058017"/>
                </a:cubicBezTo>
                <a:cubicBezTo>
                  <a:pt x="549725" y="3054535"/>
                  <a:pt x="551351" y="3052473"/>
                  <a:pt x="552800" y="3051568"/>
                </a:cubicBezTo>
                <a:close/>
                <a:moveTo>
                  <a:pt x="610931" y="3015502"/>
                </a:moveTo>
                <a:cubicBezTo>
                  <a:pt x="628524" y="3008171"/>
                  <a:pt x="606532" y="3056550"/>
                  <a:pt x="624125" y="3050686"/>
                </a:cubicBezTo>
                <a:cubicBezTo>
                  <a:pt x="621193" y="3062414"/>
                  <a:pt x="612398" y="3063881"/>
                  <a:pt x="610931" y="3077073"/>
                </a:cubicBezTo>
                <a:cubicBezTo>
                  <a:pt x="599203" y="3075608"/>
                  <a:pt x="606532" y="3046287"/>
                  <a:pt x="591872" y="3050686"/>
                </a:cubicBezTo>
                <a:cubicBezTo>
                  <a:pt x="594804" y="3034560"/>
                  <a:pt x="616794" y="3044823"/>
                  <a:pt x="610931" y="3015502"/>
                </a:cubicBezTo>
                <a:close/>
                <a:moveTo>
                  <a:pt x="546425" y="2789733"/>
                </a:moveTo>
                <a:cubicBezTo>
                  <a:pt x="555221" y="2792665"/>
                  <a:pt x="559620" y="2801460"/>
                  <a:pt x="559620" y="2816122"/>
                </a:cubicBezTo>
                <a:cubicBezTo>
                  <a:pt x="546425" y="2820518"/>
                  <a:pt x="547893" y="2804392"/>
                  <a:pt x="546425" y="2789733"/>
                </a:cubicBezTo>
                <a:close/>
                <a:moveTo>
                  <a:pt x="553756" y="2754548"/>
                </a:moveTo>
                <a:cubicBezTo>
                  <a:pt x="571347" y="2757480"/>
                  <a:pt x="553756" y="2782402"/>
                  <a:pt x="540562" y="2772139"/>
                </a:cubicBezTo>
                <a:cubicBezTo>
                  <a:pt x="542026" y="2763344"/>
                  <a:pt x="553756" y="2766275"/>
                  <a:pt x="553756" y="2754548"/>
                </a:cubicBezTo>
                <a:close/>
                <a:moveTo>
                  <a:pt x="521503" y="2754548"/>
                </a:moveTo>
                <a:cubicBezTo>
                  <a:pt x="539094" y="2753081"/>
                  <a:pt x="520036" y="2820518"/>
                  <a:pt x="521503" y="2772139"/>
                </a:cubicBezTo>
                <a:close/>
                <a:moveTo>
                  <a:pt x="281073" y="2744286"/>
                </a:moveTo>
                <a:cubicBezTo>
                  <a:pt x="295734" y="2750149"/>
                  <a:pt x="285472" y="2833713"/>
                  <a:pt x="281073" y="2861569"/>
                </a:cubicBezTo>
                <a:lnTo>
                  <a:pt x="279400" y="2856794"/>
                </a:lnTo>
                <a:lnTo>
                  <a:pt x="279400" y="2756251"/>
                </a:lnTo>
                <a:lnTo>
                  <a:pt x="279676" y="2754273"/>
                </a:lnTo>
                <a:cubicBezTo>
                  <a:pt x="280249" y="2749784"/>
                  <a:pt x="280707" y="2746118"/>
                  <a:pt x="281073" y="2744286"/>
                </a:cubicBezTo>
                <a:close/>
                <a:moveTo>
                  <a:pt x="525123" y="2708276"/>
                </a:moveTo>
                <a:cubicBezTo>
                  <a:pt x="527460" y="2706077"/>
                  <a:pt x="530667" y="2705802"/>
                  <a:pt x="534698" y="2709101"/>
                </a:cubicBezTo>
                <a:lnTo>
                  <a:pt x="534698" y="2726692"/>
                </a:lnTo>
                <a:cubicBezTo>
                  <a:pt x="528834" y="2725228"/>
                  <a:pt x="528834" y="2731091"/>
                  <a:pt x="528834" y="2735490"/>
                </a:cubicBezTo>
                <a:cubicBezTo>
                  <a:pt x="518938" y="2738787"/>
                  <a:pt x="518114" y="2714873"/>
                  <a:pt x="525123" y="2708276"/>
                </a:cubicBezTo>
                <a:close/>
                <a:moveTo>
                  <a:pt x="584748" y="2693982"/>
                </a:moveTo>
                <a:cubicBezTo>
                  <a:pt x="590589" y="2697830"/>
                  <a:pt x="596637" y="2725594"/>
                  <a:pt x="610931" y="2717896"/>
                </a:cubicBezTo>
                <a:cubicBezTo>
                  <a:pt x="609466" y="2729624"/>
                  <a:pt x="596272" y="2725228"/>
                  <a:pt x="586009" y="2726692"/>
                </a:cubicBezTo>
                <a:cubicBezTo>
                  <a:pt x="586009" y="2714965"/>
                  <a:pt x="587473" y="2701770"/>
                  <a:pt x="578678" y="2700306"/>
                </a:cubicBezTo>
                <a:cubicBezTo>
                  <a:pt x="580877" y="2694075"/>
                  <a:pt x="582801" y="2692700"/>
                  <a:pt x="584748" y="2693982"/>
                </a:cubicBezTo>
                <a:close/>
                <a:moveTo>
                  <a:pt x="547893" y="2673917"/>
                </a:moveTo>
                <a:cubicBezTo>
                  <a:pt x="558152" y="2670985"/>
                  <a:pt x="558152" y="2723760"/>
                  <a:pt x="542026" y="2709101"/>
                </a:cubicBezTo>
                <a:cubicBezTo>
                  <a:pt x="540562" y="2692975"/>
                  <a:pt x="549357" y="2691508"/>
                  <a:pt x="547893" y="2673917"/>
                </a:cubicBezTo>
                <a:close/>
                <a:moveTo>
                  <a:pt x="474933" y="2609983"/>
                </a:moveTo>
                <a:cubicBezTo>
                  <a:pt x="476925" y="2608723"/>
                  <a:pt x="479629" y="2609136"/>
                  <a:pt x="482470" y="2610328"/>
                </a:cubicBezTo>
                <a:cubicBezTo>
                  <a:pt x="488150" y="2612710"/>
                  <a:pt x="494381" y="2618207"/>
                  <a:pt x="496582" y="2619674"/>
                </a:cubicBezTo>
                <a:cubicBezTo>
                  <a:pt x="495114" y="2641664"/>
                  <a:pt x="474589" y="2622606"/>
                  <a:pt x="471657" y="2619674"/>
                </a:cubicBezTo>
                <a:cubicBezTo>
                  <a:pt x="471657" y="2614176"/>
                  <a:pt x="472940" y="2611243"/>
                  <a:pt x="474933" y="2609983"/>
                </a:cubicBezTo>
                <a:close/>
                <a:moveTo>
                  <a:pt x="548303" y="2600087"/>
                </a:moveTo>
                <a:cubicBezTo>
                  <a:pt x="550915" y="2599148"/>
                  <a:pt x="554488" y="2599515"/>
                  <a:pt x="559620" y="2602080"/>
                </a:cubicBezTo>
                <a:cubicBezTo>
                  <a:pt x="555221" y="2609411"/>
                  <a:pt x="553756" y="2621139"/>
                  <a:pt x="553756" y="2637265"/>
                </a:cubicBezTo>
                <a:lnTo>
                  <a:pt x="521503" y="2637265"/>
                </a:lnTo>
                <a:lnTo>
                  <a:pt x="521503" y="2602080"/>
                </a:lnTo>
                <a:cubicBezTo>
                  <a:pt x="533231" y="2599149"/>
                  <a:pt x="533231" y="2609411"/>
                  <a:pt x="534698" y="2619674"/>
                </a:cubicBezTo>
                <a:cubicBezTo>
                  <a:pt x="541295" y="2617473"/>
                  <a:pt x="540469" y="2602904"/>
                  <a:pt x="548303" y="2600087"/>
                </a:cubicBezTo>
                <a:close/>
                <a:moveTo>
                  <a:pt x="289871" y="2597681"/>
                </a:moveTo>
                <a:cubicBezTo>
                  <a:pt x="292069" y="2614541"/>
                  <a:pt x="290602" y="2620039"/>
                  <a:pt x="286754" y="2622239"/>
                </a:cubicBezTo>
                <a:lnTo>
                  <a:pt x="279400" y="2624251"/>
                </a:lnTo>
                <a:lnTo>
                  <a:pt x="279400" y="2606611"/>
                </a:lnTo>
                <a:lnTo>
                  <a:pt x="279447" y="2606593"/>
                </a:lnTo>
                <a:cubicBezTo>
                  <a:pt x="281807" y="2605287"/>
                  <a:pt x="285106" y="2602813"/>
                  <a:pt x="289871" y="2597681"/>
                </a:cubicBezTo>
                <a:close/>
                <a:moveTo>
                  <a:pt x="553756" y="2495060"/>
                </a:moveTo>
                <a:cubicBezTo>
                  <a:pt x="556688" y="2527312"/>
                  <a:pt x="537630" y="2531711"/>
                  <a:pt x="521503" y="2540507"/>
                </a:cubicBezTo>
                <a:cubicBezTo>
                  <a:pt x="520036" y="2506787"/>
                  <a:pt x="537630" y="2502390"/>
                  <a:pt x="553756" y="2495060"/>
                </a:cubicBezTo>
                <a:close/>
                <a:moveTo>
                  <a:pt x="584542" y="2476001"/>
                </a:moveTo>
                <a:cubicBezTo>
                  <a:pt x="594804" y="2483332"/>
                  <a:pt x="591872" y="2524380"/>
                  <a:pt x="590408" y="2539042"/>
                </a:cubicBezTo>
                <a:cubicBezTo>
                  <a:pt x="590408" y="2537575"/>
                  <a:pt x="580145" y="2543438"/>
                  <a:pt x="584542" y="2547838"/>
                </a:cubicBezTo>
                <a:cubicBezTo>
                  <a:pt x="593337" y="2556633"/>
                  <a:pt x="587473" y="2553701"/>
                  <a:pt x="578678" y="2556633"/>
                </a:cubicBezTo>
                <a:cubicBezTo>
                  <a:pt x="569883" y="2530244"/>
                  <a:pt x="569883" y="2492128"/>
                  <a:pt x="584542" y="2476001"/>
                </a:cubicBezTo>
                <a:close/>
                <a:moveTo>
                  <a:pt x="624125" y="2298611"/>
                </a:moveTo>
                <a:cubicBezTo>
                  <a:pt x="629989" y="2310341"/>
                  <a:pt x="629989" y="2330864"/>
                  <a:pt x="643183" y="2333796"/>
                </a:cubicBezTo>
                <a:cubicBezTo>
                  <a:pt x="638787" y="2341127"/>
                  <a:pt x="631456" y="2346990"/>
                  <a:pt x="624125" y="2351390"/>
                </a:cubicBezTo>
                <a:cubicBezTo>
                  <a:pt x="622658" y="2374844"/>
                  <a:pt x="649047" y="2357253"/>
                  <a:pt x="643183" y="2386574"/>
                </a:cubicBezTo>
                <a:cubicBezTo>
                  <a:pt x="631456" y="2383642"/>
                  <a:pt x="629989" y="2393902"/>
                  <a:pt x="629989" y="2404165"/>
                </a:cubicBezTo>
                <a:cubicBezTo>
                  <a:pt x="618262" y="2402701"/>
                  <a:pt x="618262" y="2380710"/>
                  <a:pt x="605067" y="2377779"/>
                </a:cubicBezTo>
                <a:cubicBezTo>
                  <a:pt x="609466" y="2367516"/>
                  <a:pt x="612398" y="2354321"/>
                  <a:pt x="610931" y="2333796"/>
                </a:cubicBezTo>
                <a:lnTo>
                  <a:pt x="624125" y="2333796"/>
                </a:lnTo>
                <a:cubicBezTo>
                  <a:pt x="628524" y="2319137"/>
                  <a:pt x="610931" y="2294212"/>
                  <a:pt x="610931" y="2316205"/>
                </a:cubicBezTo>
                <a:cubicBezTo>
                  <a:pt x="596272" y="2316205"/>
                  <a:pt x="613862" y="2292748"/>
                  <a:pt x="624125" y="2298611"/>
                </a:cubicBezTo>
                <a:close/>
                <a:moveTo>
                  <a:pt x="586009" y="2279553"/>
                </a:moveTo>
                <a:cubicBezTo>
                  <a:pt x="593337" y="2281021"/>
                  <a:pt x="590408" y="2297147"/>
                  <a:pt x="599203" y="2297147"/>
                </a:cubicBezTo>
                <a:cubicBezTo>
                  <a:pt x="597736" y="2307407"/>
                  <a:pt x="587473" y="2304475"/>
                  <a:pt x="580145" y="2305942"/>
                </a:cubicBezTo>
                <a:cubicBezTo>
                  <a:pt x="583077" y="2298611"/>
                  <a:pt x="586009" y="2291280"/>
                  <a:pt x="586009" y="2279553"/>
                </a:cubicBezTo>
                <a:close/>
                <a:moveTo>
                  <a:pt x="367571" y="2216515"/>
                </a:moveTo>
                <a:cubicBezTo>
                  <a:pt x="388093" y="2238505"/>
                  <a:pt x="345578" y="2253164"/>
                  <a:pt x="367571" y="2216515"/>
                </a:cubicBezTo>
                <a:close/>
                <a:moveTo>
                  <a:pt x="662242" y="2173322"/>
                </a:moveTo>
                <a:lnTo>
                  <a:pt x="674378" y="2190126"/>
                </a:lnTo>
                <a:lnTo>
                  <a:pt x="662242" y="2190126"/>
                </a:lnTo>
                <a:close/>
                <a:moveTo>
                  <a:pt x="656378" y="2165201"/>
                </a:moveTo>
                <a:lnTo>
                  <a:pt x="662242" y="2167452"/>
                </a:lnTo>
                <a:lnTo>
                  <a:pt x="662242" y="2173322"/>
                </a:lnTo>
                <a:close/>
                <a:moveTo>
                  <a:pt x="662242" y="2163737"/>
                </a:moveTo>
                <a:lnTo>
                  <a:pt x="675436" y="2163737"/>
                </a:lnTo>
                <a:lnTo>
                  <a:pt x="675436" y="2169803"/>
                </a:lnTo>
                <a:lnTo>
                  <a:pt x="672138" y="2171250"/>
                </a:lnTo>
                <a:lnTo>
                  <a:pt x="662242" y="2167452"/>
                </a:lnTo>
                <a:close/>
                <a:moveTo>
                  <a:pt x="374899" y="2163737"/>
                </a:moveTo>
                <a:cubicBezTo>
                  <a:pt x="382230" y="2165201"/>
                  <a:pt x="377831" y="2172532"/>
                  <a:pt x="374899" y="2174000"/>
                </a:cubicBezTo>
                <a:cubicBezTo>
                  <a:pt x="382230" y="2184259"/>
                  <a:pt x="379298" y="2210649"/>
                  <a:pt x="361704" y="2209184"/>
                </a:cubicBezTo>
                <a:cubicBezTo>
                  <a:pt x="369035" y="2187194"/>
                  <a:pt x="360240" y="2184259"/>
                  <a:pt x="374899" y="2163737"/>
                </a:cubicBezTo>
                <a:close/>
                <a:moveTo>
                  <a:pt x="316257" y="2153474"/>
                </a:moveTo>
                <a:cubicBezTo>
                  <a:pt x="326520" y="2171068"/>
                  <a:pt x="311861" y="2289816"/>
                  <a:pt x="316257" y="2338195"/>
                </a:cubicBezTo>
                <a:cubicBezTo>
                  <a:pt x="307462" y="2354321"/>
                  <a:pt x="314793" y="2338195"/>
                  <a:pt x="291335" y="2351390"/>
                </a:cubicBezTo>
                <a:cubicBezTo>
                  <a:pt x="288404" y="2374844"/>
                  <a:pt x="300131" y="2380710"/>
                  <a:pt x="316257" y="2377779"/>
                </a:cubicBezTo>
                <a:cubicBezTo>
                  <a:pt x="314793" y="2402701"/>
                  <a:pt x="303063" y="2404165"/>
                  <a:pt x="291335" y="2401233"/>
                </a:cubicBezTo>
                <a:cubicBezTo>
                  <a:pt x="286939" y="2399769"/>
                  <a:pt x="292803" y="2476001"/>
                  <a:pt x="284004" y="2474534"/>
                </a:cubicBezTo>
                <a:cubicBezTo>
                  <a:pt x="278141" y="2470138"/>
                  <a:pt x="279608" y="2407097"/>
                  <a:pt x="282540" y="2380710"/>
                </a:cubicBezTo>
                <a:cubicBezTo>
                  <a:pt x="284004" y="2364581"/>
                  <a:pt x="285472" y="2335263"/>
                  <a:pt x="284004" y="2314738"/>
                </a:cubicBezTo>
                <a:cubicBezTo>
                  <a:pt x="289871" y="2310341"/>
                  <a:pt x="295734" y="2332331"/>
                  <a:pt x="297199" y="2332331"/>
                </a:cubicBezTo>
                <a:cubicBezTo>
                  <a:pt x="307462" y="2332331"/>
                  <a:pt x="298666" y="2269291"/>
                  <a:pt x="303063" y="2264891"/>
                </a:cubicBezTo>
                <a:cubicBezTo>
                  <a:pt x="314793" y="2254631"/>
                  <a:pt x="308929" y="2181328"/>
                  <a:pt x="316257" y="2153474"/>
                </a:cubicBezTo>
                <a:close/>
                <a:moveTo>
                  <a:pt x="629989" y="2137348"/>
                </a:moveTo>
                <a:lnTo>
                  <a:pt x="643183" y="2137348"/>
                </a:lnTo>
                <a:lnTo>
                  <a:pt x="643183" y="2154942"/>
                </a:lnTo>
                <a:lnTo>
                  <a:pt x="629989" y="2154942"/>
                </a:lnTo>
                <a:close/>
                <a:moveTo>
                  <a:pt x="605067" y="2127085"/>
                </a:moveTo>
                <a:cubicBezTo>
                  <a:pt x="637320" y="2125620"/>
                  <a:pt x="616794" y="2169600"/>
                  <a:pt x="610931" y="2190126"/>
                </a:cubicBezTo>
                <a:cubicBezTo>
                  <a:pt x="597736" y="2185727"/>
                  <a:pt x="609466" y="2146143"/>
                  <a:pt x="605067" y="2127085"/>
                </a:cubicBezTo>
                <a:close/>
                <a:moveTo>
                  <a:pt x="553756" y="1983415"/>
                </a:moveTo>
                <a:cubicBezTo>
                  <a:pt x="559620" y="2009804"/>
                  <a:pt x="544958" y="2006872"/>
                  <a:pt x="547893" y="2028862"/>
                </a:cubicBezTo>
                <a:cubicBezTo>
                  <a:pt x="527367" y="2027395"/>
                  <a:pt x="533231" y="1980483"/>
                  <a:pt x="553756" y="1983415"/>
                </a:cubicBezTo>
                <a:close/>
                <a:moveTo>
                  <a:pt x="371097" y="1983141"/>
                </a:moveTo>
                <a:cubicBezTo>
                  <a:pt x="372151" y="1982775"/>
                  <a:pt x="373433" y="1985248"/>
                  <a:pt x="374899" y="1992211"/>
                </a:cubicBezTo>
                <a:lnTo>
                  <a:pt x="374899" y="2037658"/>
                </a:lnTo>
                <a:cubicBezTo>
                  <a:pt x="379298" y="2071375"/>
                  <a:pt x="398356" y="2112426"/>
                  <a:pt x="374899" y="2134416"/>
                </a:cubicBezTo>
                <a:cubicBezTo>
                  <a:pt x="361704" y="2137348"/>
                  <a:pt x="382230" y="2115358"/>
                  <a:pt x="374899" y="2108027"/>
                </a:cubicBezTo>
                <a:cubicBezTo>
                  <a:pt x="370503" y="2103628"/>
                  <a:pt x="367571" y="2094832"/>
                  <a:pt x="369035" y="2081638"/>
                </a:cubicBezTo>
                <a:cubicBezTo>
                  <a:pt x="369035" y="2083105"/>
                  <a:pt x="379298" y="2077241"/>
                  <a:pt x="374899" y="2072842"/>
                </a:cubicBezTo>
                <a:cubicBezTo>
                  <a:pt x="371967" y="2068446"/>
                  <a:pt x="366104" y="2050852"/>
                  <a:pt x="369035" y="2018600"/>
                </a:cubicBezTo>
                <a:cubicBezTo>
                  <a:pt x="367571" y="2013470"/>
                  <a:pt x="367571" y="1999908"/>
                  <a:pt x="368669" y="1991113"/>
                </a:cubicBezTo>
                <a:cubicBezTo>
                  <a:pt x="369219" y="1986715"/>
                  <a:pt x="370044" y="1983508"/>
                  <a:pt x="371097" y="1983141"/>
                </a:cubicBezTo>
                <a:close/>
                <a:moveTo>
                  <a:pt x="304571" y="1970963"/>
                </a:moveTo>
                <a:lnTo>
                  <a:pt x="307096" y="1979566"/>
                </a:lnTo>
                <a:cubicBezTo>
                  <a:pt x="305997" y="1982681"/>
                  <a:pt x="302332" y="1984147"/>
                  <a:pt x="295734" y="1983415"/>
                </a:cubicBezTo>
                <a:close/>
                <a:moveTo>
                  <a:pt x="303063" y="1965821"/>
                </a:moveTo>
                <a:lnTo>
                  <a:pt x="307501" y="1966834"/>
                </a:lnTo>
                <a:lnTo>
                  <a:pt x="304571" y="1970963"/>
                </a:lnTo>
                <a:close/>
                <a:moveTo>
                  <a:pt x="327987" y="1937968"/>
                </a:moveTo>
                <a:cubicBezTo>
                  <a:pt x="339714" y="1955559"/>
                  <a:pt x="323588" y="1955559"/>
                  <a:pt x="327987" y="1983415"/>
                </a:cubicBezTo>
                <a:cubicBezTo>
                  <a:pt x="323588" y="1981951"/>
                  <a:pt x="322490" y="1974986"/>
                  <a:pt x="319923" y="1969670"/>
                </a:cubicBezTo>
                <a:lnTo>
                  <a:pt x="307501" y="1966834"/>
                </a:lnTo>
                <a:close/>
                <a:moveTo>
                  <a:pt x="597736" y="1932104"/>
                </a:moveTo>
                <a:cubicBezTo>
                  <a:pt x="615330" y="1932104"/>
                  <a:pt x="625590" y="1926241"/>
                  <a:pt x="629989" y="1949695"/>
                </a:cubicBezTo>
                <a:cubicBezTo>
                  <a:pt x="631456" y="1954094"/>
                  <a:pt x="628524" y="1964357"/>
                  <a:pt x="629989" y="1967289"/>
                </a:cubicBezTo>
                <a:cubicBezTo>
                  <a:pt x="632921" y="1971685"/>
                  <a:pt x="647582" y="1980483"/>
                  <a:pt x="649047" y="1984880"/>
                </a:cubicBezTo>
                <a:cubicBezTo>
                  <a:pt x="654911" y="2011269"/>
                  <a:pt x="641719" y="2034726"/>
                  <a:pt x="644648" y="2065511"/>
                </a:cubicBezTo>
                <a:cubicBezTo>
                  <a:pt x="632921" y="2068446"/>
                  <a:pt x="631456" y="2058183"/>
                  <a:pt x="631456" y="2047921"/>
                </a:cubicBezTo>
                <a:cubicBezTo>
                  <a:pt x="610931" y="2050852"/>
                  <a:pt x="619726" y="2093368"/>
                  <a:pt x="618262" y="2119757"/>
                </a:cubicBezTo>
                <a:cubicBezTo>
                  <a:pt x="597736" y="2118290"/>
                  <a:pt x="588941" y="2100696"/>
                  <a:pt x="572814" y="2093368"/>
                </a:cubicBezTo>
                <a:lnTo>
                  <a:pt x="572814" y="2012736"/>
                </a:lnTo>
                <a:cubicBezTo>
                  <a:pt x="594804" y="2005405"/>
                  <a:pt x="599203" y="1973152"/>
                  <a:pt x="597736" y="1932104"/>
                </a:cubicBezTo>
                <a:close/>
                <a:moveTo>
                  <a:pt x="588985" y="1857152"/>
                </a:moveTo>
                <a:cubicBezTo>
                  <a:pt x="582525" y="1863200"/>
                  <a:pt x="583075" y="1887389"/>
                  <a:pt x="591872" y="1885190"/>
                </a:cubicBezTo>
                <a:cubicBezTo>
                  <a:pt x="591872" y="1880793"/>
                  <a:pt x="593337" y="1874930"/>
                  <a:pt x="597736" y="1876394"/>
                </a:cubicBezTo>
                <a:lnTo>
                  <a:pt x="597736" y="1858801"/>
                </a:lnTo>
                <a:cubicBezTo>
                  <a:pt x="594071" y="1855136"/>
                  <a:pt x="591138" y="1855136"/>
                  <a:pt x="588985" y="1857152"/>
                </a:cubicBezTo>
                <a:close/>
                <a:moveTo>
                  <a:pt x="307829" y="1801076"/>
                </a:moveTo>
                <a:cubicBezTo>
                  <a:pt x="312592" y="1803093"/>
                  <a:pt x="319189" y="1808223"/>
                  <a:pt x="329452" y="1806025"/>
                </a:cubicBezTo>
                <a:cubicBezTo>
                  <a:pt x="329452" y="1828015"/>
                  <a:pt x="305997" y="1826551"/>
                  <a:pt x="297199" y="1814821"/>
                </a:cubicBezTo>
                <a:cubicBezTo>
                  <a:pt x="300131" y="1800162"/>
                  <a:pt x="303063" y="1799061"/>
                  <a:pt x="307829" y="1801076"/>
                </a:cubicBezTo>
                <a:close/>
                <a:moveTo>
                  <a:pt x="593510" y="1776251"/>
                </a:moveTo>
                <a:cubicBezTo>
                  <a:pt x="575472" y="1779477"/>
                  <a:pt x="592789" y="1832233"/>
                  <a:pt x="578678" y="1841210"/>
                </a:cubicBezTo>
                <a:cubicBezTo>
                  <a:pt x="594804" y="1842677"/>
                  <a:pt x="610931" y="1842677"/>
                  <a:pt x="609466" y="1823619"/>
                </a:cubicBezTo>
                <a:cubicBezTo>
                  <a:pt x="590408" y="1816288"/>
                  <a:pt x="602135" y="1798694"/>
                  <a:pt x="603600" y="1778172"/>
                </a:cubicBezTo>
                <a:cubicBezTo>
                  <a:pt x="599386" y="1776340"/>
                  <a:pt x="596087" y="1775790"/>
                  <a:pt x="593510" y="1776251"/>
                </a:cubicBezTo>
                <a:close/>
                <a:moveTo>
                  <a:pt x="656378" y="1706335"/>
                </a:moveTo>
                <a:cubicBezTo>
                  <a:pt x="668839" y="1704871"/>
                  <a:pt x="671404" y="1718065"/>
                  <a:pt x="672688" y="1733091"/>
                </a:cubicBezTo>
                <a:lnTo>
                  <a:pt x="678616" y="1759077"/>
                </a:lnTo>
                <a:lnTo>
                  <a:pt x="673969" y="1764977"/>
                </a:lnTo>
                <a:lnTo>
                  <a:pt x="681037" y="1769689"/>
                </a:lnTo>
                <a:lnTo>
                  <a:pt x="681300" y="1770841"/>
                </a:lnTo>
                <a:cubicBezTo>
                  <a:pt x="679835" y="1782568"/>
                  <a:pt x="666641" y="1778169"/>
                  <a:pt x="656378" y="1779636"/>
                </a:cubicBezTo>
                <a:cubicBezTo>
                  <a:pt x="653446" y="1795762"/>
                  <a:pt x="676903" y="1817752"/>
                  <a:pt x="650514" y="1814821"/>
                </a:cubicBezTo>
                <a:cubicBezTo>
                  <a:pt x="644648" y="1785500"/>
                  <a:pt x="654911" y="1767909"/>
                  <a:pt x="656378" y="1751783"/>
                </a:cubicBezTo>
                <a:cubicBezTo>
                  <a:pt x="657845" y="1734189"/>
                  <a:pt x="649047" y="1722462"/>
                  <a:pt x="656378" y="1706335"/>
                </a:cubicBezTo>
                <a:close/>
                <a:moveTo>
                  <a:pt x="616794" y="1672615"/>
                </a:moveTo>
                <a:cubicBezTo>
                  <a:pt x="624125" y="1669683"/>
                  <a:pt x="638787" y="1697537"/>
                  <a:pt x="622658" y="1699004"/>
                </a:cubicBezTo>
                <a:cubicBezTo>
                  <a:pt x="625590" y="1716598"/>
                  <a:pt x="637320" y="1722462"/>
                  <a:pt x="635852" y="1744452"/>
                </a:cubicBezTo>
                <a:cubicBezTo>
                  <a:pt x="624125" y="1741520"/>
                  <a:pt x="635852" y="1773772"/>
                  <a:pt x="629989" y="1779636"/>
                </a:cubicBezTo>
                <a:cubicBezTo>
                  <a:pt x="621193" y="1788432"/>
                  <a:pt x="629989" y="1782568"/>
                  <a:pt x="629989" y="1797230"/>
                </a:cubicBezTo>
                <a:cubicBezTo>
                  <a:pt x="629989" y="1810421"/>
                  <a:pt x="624125" y="1813353"/>
                  <a:pt x="624125" y="1823616"/>
                </a:cubicBezTo>
                <a:cubicBezTo>
                  <a:pt x="624125" y="1841210"/>
                  <a:pt x="641719" y="1866131"/>
                  <a:pt x="610931" y="1858801"/>
                </a:cubicBezTo>
                <a:cubicBezTo>
                  <a:pt x="609466" y="1882258"/>
                  <a:pt x="635852" y="1864667"/>
                  <a:pt x="629989" y="1893985"/>
                </a:cubicBezTo>
                <a:cubicBezTo>
                  <a:pt x="621193" y="1892521"/>
                  <a:pt x="594804" y="1907182"/>
                  <a:pt x="610931" y="1911579"/>
                </a:cubicBezTo>
                <a:cubicBezTo>
                  <a:pt x="605067" y="1937968"/>
                  <a:pt x="594804" y="1899852"/>
                  <a:pt x="578678" y="1911579"/>
                </a:cubicBezTo>
                <a:cubicBezTo>
                  <a:pt x="580145" y="1927705"/>
                  <a:pt x="600668" y="1984880"/>
                  <a:pt x="572814" y="1983415"/>
                </a:cubicBezTo>
                <a:cubicBezTo>
                  <a:pt x="565483" y="1973152"/>
                  <a:pt x="581610" y="1930637"/>
                  <a:pt x="572814" y="1920374"/>
                </a:cubicBezTo>
                <a:cubicBezTo>
                  <a:pt x="564016" y="1911579"/>
                  <a:pt x="575746" y="1913046"/>
                  <a:pt x="572814" y="1893985"/>
                </a:cubicBezTo>
                <a:cubicBezTo>
                  <a:pt x="572814" y="1891053"/>
                  <a:pt x="566951" y="1882258"/>
                  <a:pt x="566951" y="1885190"/>
                </a:cubicBezTo>
                <a:cubicBezTo>
                  <a:pt x="566951" y="1877862"/>
                  <a:pt x="574279" y="1876394"/>
                  <a:pt x="572814" y="1867599"/>
                </a:cubicBezTo>
                <a:cubicBezTo>
                  <a:pt x="571347" y="1847073"/>
                  <a:pt x="562552" y="1847073"/>
                  <a:pt x="572814" y="1832414"/>
                </a:cubicBezTo>
                <a:cubicBezTo>
                  <a:pt x="572814" y="1832414"/>
                  <a:pt x="572814" y="1825083"/>
                  <a:pt x="572814" y="1823616"/>
                </a:cubicBezTo>
                <a:cubicBezTo>
                  <a:pt x="571347" y="1795762"/>
                  <a:pt x="561087" y="1759111"/>
                  <a:pt x="572814" y="1726858"/>
                </a:cubicBezTo>
                <a:cubicBezTo>
                  <a:pt x="586009" y="1725393"/>
                  <a:pt x="593337" y="1734189"/>
                  <a:pt x="591872" y="1753247"/>
                </a:cubicBezTo>
                <a:cubicBezTo>
                  <a:pt x="599203" y="1751783"/>
                  <a:pt x="596272" y="1737121"/>
                  <a:pt x="597736" y="1726858"/>
                </a:cubicBezTo>
                <a:cubicBezTo>
                  <a:pt x="606532" y="1737121"/>
                  <a:pt x="607999" y="1729790"/>
                  <a:pt x="616794" y="1726858"/>
                </a:cubicBezTo>
                <a:close/>
                <a:moveTo>
                  <a:pt x="329452" y="1662353"/>
                </a:moveTo>
                <a:cubicBezTo>
                  <a:pt x="319192" y="1679946"/>
                  <a:pt x="329452" y="1672615"/>
                  <a:pt x="329452" y="1697537"/>
                </a:cubicBezTo>
                <a:cubicBezTo>
                  <a:pt x="310394" y="1712199"/>
                  <a:pt x="310394" y="1647693"/>
                  <a:pt x="329452" y="1662353"/>
                </a:cubicBezTo>
                <a:close/>
                <a:moveTo>
                  <a:pt x="663709" y="1634499"/>
                </a:moveTo>
                <a:cubicBezTo>
                  <a:pt x="676903" y="1647693"/>
                  <a:pt x="656378" y="1665287"/>
                  <a:pt x="669572" y="1688742"/>
                </a:cubicBezTo>
                <a:cubicBezTo>
                  <a:pt x="662242" y="1687277"/>
                  <a:pt x="657845" y="1690209"/>
                  <a:pt x="657845" y="1697537"/>
                </a:cubicBezTo>
                <a:cubicBezTo>
                  <a:pt x="644648" y="1690209"/>
                  <a:pt x="660777" y="1650625"/>
                  <a:pt x="663709" y="1634499"/>
                </a:cubicBezTo>
                <a:close/>
                <a:moveTo>
                  <a:pt x="660181" y="1557120"/>
                </a:moveTo>
                <a:cubicBezTo>
                  <a:pt x="664441" y="1554509"/>
                  <a:pt x="669938" y="1563030"/>
                  <a:pt x="675436" y="1564130"/>
                </a:cubicBezTo>
                <a:cubicBezTo>
                  <a:pt x="676903" y="1580256"/>
                  <a:pt x="668105" y="1581721"/>
                  <a:pt x="669572" y="1599314"/>
                </a:cubicBezTo>
                <a:cubicBezTo>
                  <a:pt x="651979" y="1605178"/>
                  <a:pt x="673969" y="1556799"/>
                  <a:pt x="656378" y="1564130"/>
                </a:cubicBezTo>
                <a:cubicBezTo>
                  <a:pt x="657478" y="1560098"/>
                  <a:pt x="658761" y="1557991"/>
                  <a:pt x="660181" y="1557120"/>
                </a:cubicBezTo>
                <a:close/>
                <a:moveTo>
                  <a:pt x="355841" y="1545072"/>
                </a:moveTo>
                <a:cubicBezTo>
                  <a:pt x="369035" y="1553867"/>
                  <a:pt x="377831" y="1567062"/>
                  <a:pt x="374899" y="1599314"/>
                </a:cubicBezTo>
                <a:cubicBezTo>
                  <a:pt x="354376" y="1599314"/>
                  <a:pt x="358773" y="1568526"/>
                  <a:pt x="355841" y="1545072"/>
                </a:cubicBezTo>
                <a:close/>
                <a:moveTo>
                  <a:pt x="572814" y="1446846"/>
                </a:moveTo>
                <a:cubicBezTo>
                  <a:pt x="590408" y="1445382"/>
                  <a:pt x="571347" y="1514284"/>
                  <a:pt x="572814" y="1464440"/>
                </a:cubicBezTo>
                <a:close/>
                <a:moveTo>
                  <a:pt x="626507" y="1446022"/>
                </a:moveTo>
                <a:cubicBezTo>
                  <a:pt x="628248" y="1443823"/>
                  <a:pt x="631455" y="1443548"/>
                  <a:pt x="637320" y="1446846"/>
                </a:cubicBezTo>
                <a:cubicBezTo>
                  <a:pt x="631456" y="1473235"/>
                  <a:pt x="646115" y="1470304"/>
                  <a:pt x="643183" y="1492294"/>
                </a:cubicBezTo>
                <a:lnTo>
                  <a:pt x="629989" y="1492294"/>
                </a:lnTo>
                <a:cubicBezTo>
                  <a:pt x="629989" y="1501089"/>
                  <a:pt x="638787" y="1499624"/>
                  <a:pt x="643183" y="1501089"/>
                </a:cubicBezTo>
                <a:cubicBezTo>
                  <a:pt x="627057" y="1531877"/>
                  <a:pt x="621193" y="1473235"/>
                  <a:pt x="599203" y="1482031"/>
                </a:cubicBezTo>
                <a:cubicBezTo>
                  <a:pt x="602135" y="1474703"/>
                  <a:pt x="605067" y="1467372"/>
                  <a:pt x="605067" y="1455642"/>
                </a:cubicBezTo>
                <a:cubicBezTo>
                  <a:pt x="616794" y="1452710"/>
                  <a:pt x="616794" y="1462973"/>
                  <a:pt x="618262" y="1473235"/>
                </a:cubicBezTo>
                <a:cubicBezTo>
                  <a:pt x="629256" y="1476533"/>
                  <a:pt x="621284" y="1452618"/>
                  <a:pt x="626507" y="1446022"/>
                </a:cubicBezTo>
                <a:close/>
                <a:moveTo>
                  <a:pt x="374899" y="1438051"/>
                </a:moveTo>
                <a:cubicBezTo>
                  <a:pt x="364636" y="1467372"/>
                  <a:pt x="376366" y="1473235"/>
                  <a:pt x="374899" y="1509887"/>
                </a:cubicBezTo>
                <a:cubicBezTo>
                  <a:pt x="363172" y="1506953"/>
                  <a:pt x="348513" y="1435119"/>
                  <a:pt x="374899" y="1438051"/>
                </a:cubicBezTo>
                <a:close/>
                <a:moveTo>
                  <a:pt x="361704" y="1394071"/>
                </a:moveTo>
                <a:lnTo>
                  <a:pt x="374899" y="1394071"/>
                </a:lnTo>
                <a:lnTo>
                  <a:pt x="374899" y="1411662"/>
                </a:lnTo>
                <a:lnTo>
                  <a:pt x="361704" y="1411662"/>
                </a:lnTo>
                <a:close/>
                <a:moveTo>
                  <a:pt x="687163" y="1392604"/>
                </a:moveTo>
                <a:cubicBezTo>
                  <a:pt x="675436" y="1420457"/>
                  <a:pt x="695962" y="1439515"/>
                  <a:pt x="681300" y="1464440"/>
                </a:cubicBezTo>
                <a:cubicBezTo>
                  <a:pt x="651979" y="1476167"/>
                  <a:pt x="671040" y="1420457"/>
                  <a:pt x="654911" y="1410194"/>
                </a:cubicBezTo>
                <a:cubicBezTo>
                  <a:pt x="660777" y="1397000"/>
                  <a:pt x="675436" y="1397000"/>
                  <a:pt x="687163" y="1392604"/>
                </a:cubicBezTo>
                <a:close/>
                <a:moveTo>
                  <a:pt x="618262" y="1310505"/>
                </a:moveTo>
                <a:cubicBezTo>
                  <a:pt x="622658" y="1333962"/>
                  <a:pt x="619726" y="1336894"/>
                  <a:pt x="615330" y="1366215"/>
                </a:cubicBezTo>
                <a:cubicBezTo>
                  <a:pt x="600668" y="1366215"/>
                  <a:pt x="600668" y="1370614"/>
                  <a:pt x="596272" y="1361818"/>
                </a:cubicBezTo>
                <a:cubicBezTo>
                  <a:pt x="596272" y="1338361"/>
                  <a:pt x="600668" y="1350088"/>
                  <a:pt x="600668" y="1326631"/>
                </a:cubicBezTo>
                <a:cubicBezTo>
                  <a:pt x="610931" y="1322235"/>
                  <a:pt x="603600" y="1307573"/>
                  <a:pt x="618262" y="1310505"/>
                </a:cubicBezTo>
                <a:close/>
                <a:moveTo>
                  <a:pt x="578678" y="1169766"/>
                </a:moveTo>
                <a:cubicBezTo>
                  <a:pt x="571347" y="1209350"/>
                  <a:pt x="591872" y="1238671"/>
                  <a:pt x="578678" y="1259194"/>
                </a:cubicBezTo>
                <a:cubicBezTo>
                  <a:pt x="552289" y="1257729"/>
                  <a:pt x="584542" y="1174166"/>
                  <a:pt x="540562" y="1196156"/>
                </a:cubicBezTo>
                <a:cubicBezTo>
                  <a:pt x="543493" y="1175630"/>
                  <a:pt x="564016" y="1177097"/>
                  <a:pt x="578678" y="1169766"/>
                </a:cubicBezTo>
                <a:close/>
                <a:moveTo>
                  <a:pt x="465793" y="1169766"/>
                </a:moveTo>
                <a:cubicBezTo>
                  <a:pt x="478988" y="1169766"/>
                  <a:pt x="465793" y="1188825"/>
                  <a:pt x="465793" y="1187360"/>
                </a:cubicBezTo>
                <a:cubicBezTo>
                  <a:pt x="468725" y="1204951"/>
                  <a:pt x="487783" y="1197620"/>
                  <a:pt x="478988" y="1232807"/>
                </a:cubicBezTo>
                <a:cubicBezTo>
                  <a:pt x="462862" y="1235736"/>
                  <a:pt x="465793" y="1216678"/>
                  <a:pt x="446735" y="1224009"/>
                </a:cubicBezTo>
                <a:cubicBezTo>
                  <a:pt x="452599" y="1204951"/>
                  <a:pt x="456998" y="1182961"/>
                  <a:pt x="465793" y="1169766"/>
                </a:cubicBezTo>
                <a:close/>
                <a:moveTo>
                  <a:pt x="415950" y="1159504"/>
                </a:moveTo>
                <a:cubicBezTo>
                  <a:pt x="442336" y="1165367"/>
                  <a:pt x="424745" y="1200555"/>
                  <a:pt x="435008" y="1213746"/>
                </a:cubicBezTo>
                <a:cubicBezTo>
                  <a:pt x="430609" y="1221077"/>
                  <a:pt x="423278" y="1226941"/>
                  <a:pt x="415950" y="1231340"/>
                </a:cubicBezTo>
                <a:cubicBezTo>
                  <a:pt x="430609" y="1251866"/>
                  <a:pt x="413015" y="1266525"/>
                  <a:pt x="415950" y="1294378"/>
                </a:cubicBezTo>
                <a:cubicBezTo>
                  <a:pt x="402753" y="1300245"/>
                  <a:pt x="393957" y="1235736"/>
                  <a:pt x="402753" y="1222545"/>
                </a:cubicBezTo>
                <a:cubicBezTo>
                  <a:pt x="408619" y="1215214"/>
                  <a:pt x="404220" y="1213746"/>
                  <a:pt x="402753" y="1196156"/>
                </a:cubicBezTo>
                <a:cubicBezTo>
                  <a:pt x="401288" y="1187360"/>
                  <a:pt x="402753" y="1178562"/>
                  <a:pt x="402753" y="1168299"/>
                </a:cubicBezTo>
                <a:cubicBezTo>
                  <a:pt x="410083" y="1169766"/>
                  <a:pt x="414483" y="1166835"/>
                  <a:pt x="415950" y="1159504"/>
                </a:cubicBezTo>
                <a:close/>
                <a:moveTo>
                  <a:pt x="429144" y="1127251"/>
                </a:moveTo>
                <a:lnTo>
                  <a:pt x="448203" y="1127251"/>
                </a:lnTo>
                <a:cubicBezTo>
                  <a:pt x="443803" y="1134582"/>
                  <a:pt x="440872" y="1143377"/>
                  <a:pt x="448203" y="1144845"/>
                </a:cubicBezTo>
                <a:cubicBezTo>
                  <a:pt x="451134" y="1160971"/>
                  <a:pt x="423278" y="1144845"/>
                  <a:pt x="429144" y="1127251"/>
                </a:cubicBezTo>
                <a:close/>
                <a:moveTo>
                  <a:pt x="486319" y="1115524"/>
                </a:moveTo>
                <a:cubicBezTo>
                  <a:pt x="499513" y="1114056"/>
                  <a:pt x="489251" y="1147777"/>
                  <a:pt x="492183" y="1160971"/>
                </a:cubicBezTo>
                <a:cubicBezTo>
                  <a:pt x="480455" y="1152176"/>
                  <a:pt x="474589" y="1130183"/>
                  <a:pt x="486319" y="1115524"/>
                </a:cubicBezTo>
                <a:close/>
                <a:moveTo>
                  <a:pt x="502445" y="936667"/>
                </a:moveTo>
                <a:cubicBezTo>
                  <a:pt x="508309" y="961591"/>
                  <a:pt x="493647" y="960124"/>
                  <a:pt x="496582" y="982114"/>
                </a:cubicBezTo>
                <a:cubicBezTo>
                  <a:pt x="484852" y="983581"/>
                  <a:pt x="483384" y="923472"/>
                  <a:pt x="502445" y="936667"/>
                </a:cubicBezTo>
                <a:close/>
                <a:moveTo>
                  <a:pt x="346862" y="922008"/>
                </a:moveTo>
                <a:lnTo>
                  <a:pt x="351069" y="925354"/>
                </a:lnTo>
                <a:lnTo>
                  <a:pt x="349410" y="940795"/>
                </a:lnTo>
                <a:lnTo>
                  <a:pt x="348513" y="943998"/>
                </a:lnTo>
                <a:cubicBezTo>
                  <a:pt x="336783" y="930072"/>
                  <a:pt x="341549" y="922374"/>
                  <a:pt x="346862" y="922008"/>
                </a:cubicBezTo>
                <a:close/>
                <a:moveTo>
                  <a:pt x="348513" y="880959"/>
                </a:moveTo>
                <a:lnTo>
                  <a:pt x="354452" y="893889"/>
                </a:lnTo>
                <a:lnTo>
                  <a:pt x="354052" y="897616"/>
                </a:lnTo>
                <a:lnTo>
                  <a:pt x="349610" y="901852"/>
                </a:lnTo>
                <a:cubicBezTo>
                  <a:pt x="344114" y="902219"/>
                  <a:pt x="338250" y="895621"/>
                  <a:pt x="348513" y="880959"/>
                </a:cubicBezTo>
                <a:close/>
                <a:moveTo>
                  <a:pt x="470193" y="766608"/>
                </a:moveTo>
                <a:cubicBezTo>
                  <a:pt x="492183" y="772471"/>
                  <a:pt x="474589" y="801792"/>
                  <a:pt x="470193" y="820850"/>
                </a:cubicBezTo>
                <a:cubicBezTo>
                  <a:pt x="455531" y="816454"/>
                  <a:pt x="465793" y="772471"/>
                  <a:pt x="470193" y="766608"/>
                </a:cubicBezTo>
                <a:close/>
                <a:moveTo>
                  <a:pt x="364683" y="584637"/>
                </a:moveTo>
                <a:cubicBezTo>
                  <a:pt x="358223" y="590685"/>
                  <a:pt x="358773" y="614874"/>
                  <a:pt x="367571" y="612675"/>
                </a:cubicBezTo>
                <a:cubicBezTo>
                  <a:pt x="367571" y="606811"/>
                  <a:pt x="367571" y="600948"/>
                  <a:pt x="373434" y="603880"/>
                </a:cubicBezTo>
                <a:lnTo>
                  <a:pt x="373434" y="586286"/>
                </a:lnTo>
                <a:cubicBezTo>
                  <a:pt x="369769" y="582621"/>
                  <a:pt x="366837" y="582621"/>
                  <a:pt x="364683" y="584637"/>
                </a:cubicBezTo>
                <a:close/>
                <a:moveTo>
                  <a:pt x="480382" y="553616"/>
                </a:moveTo>
                <a:lnTo>
                  <a:pt x="483384" y="571624"/>
                </a:lnTo>
                <a:cubicBezTo>
                  <a:pt x="483384" y="568692"/>
                  <a:pt x="477521" y="576023"/>
                  <a:pt x="477521" y="580422"/>
                </a:cubicBezTo>
                <a:cubicBezTo>
                  <a:pt x="476056" y="587753"/>
                  <a:pt x="484852" y="592150"/>
                  <a:pt x="483384" y="598013"/>
                </a:cubicBezTo>
                <a:cubicBezTo>
                  <a:pt x="482651" y="600945"/>
                  <a:pt x="478254" y="603877"/>
                  <a:pt x="473855" y="606809"/>
                </a:cubicBezTo>
                <a:lnTo>
                  <a:pt x="466129" y="613942"/>
                </a:lnTo>
                <a:lnTo>
                  <a:pt x="464876" y="597280"/>
                </a:lnTo>
                <a:cubicBezTo>
                  <a:pt x="463135" y="585552"/>
                  <a:pt x="461533" y="573825"/>
                  <a:pt x="463296" y="565303"/>
                </a:cubicBezTo>
                <a:close/>
                <a:moveTo>
                  <a:pt x="367571" y="532043"/>
                </a:moveTo>
                <a:cubicBezTo>
                  <a:pt x="349977" y="574559"/>
                  <a:pt x="388093" y="552569"/>
                  <a:pt x="367571" y="532043"/>
                </a:cubicBezTo>
                <a:close/>
                <a:moveTo>
                  <a:pt x="637320" y="524712"/>
                </a:moveTo>
                <a:lnTo>
                  <a:pt x="649462" y="556943"/>
                </a:lnTo>
                <a:lnTo>
                  <a:pt x="650483" y="571342"/>
                </a:lnTo>
                <a:lnTo>
                  <a:pt x="637320" y="605344"/>
                </a:lnTo>
                <a:cubicBezTo>
                  <a:pt x="647582" y="590682"/>
                  <a:pt x="631456" y="559897"/>
                  <a:pt x="637320" y="524712"/>
                </a:cubicBezTo>
                <a:close/>
                <a:moveTo>
                  <a:pt x="479471" y="480715"/>
                </a:moveTo>
                <a:lnTo>
                  <a:pt x="483384" y="492460"/>
                </a:lnTo>
                <a:cubicBezTo>
                  <a:pt x="484852" y="502722"/>
                  <a:pt x="483384" y="515917"/>
                  <a:pt x="483384" y="527644"/>
                </a:cubicBezTo>
                <a:lnTo>
                  <a:pt x="481006" y="531214"/>
                </a:lnTo>
                <a:lnTo>
                  <a:pt x="479169" y="488427"/>
                </a:lnTo>
                <a:close/>
                <a:moveTo>
                  <a:pt x="559620" y="398633"/>
                </a:moveTo>
                <a:cubicBezTo>
                  <a:pt x="566951" y="408896"/>
                  <a:pt x="562552" y="439681"/>
                  <a:pt x="553756" y="452876"/>
                </a:cubicBezTo>
                <a:cubicBezTo>
                  <a:pt x="530299" y="454343"/>
                  <a:pt x="552289" y="445548"/>
                  <a:pt x="547893" y="426490"/>
                </a:cubicBezTo>
                <a:cubicBezTo>
                  <a:pt x="536162" y="435285"/>
                  <a:pt x="539094" y="463139"/>
                  <a:pt x="515640" y="452876"/>
                </a:cubicBezTo>
                <a:cubicBezTo>
                  <a:pt x="514173" y="445548"/>
                  <a:pt x="517104" y="444081"/>
                  <a:pt x="521503" y="444081"/>
                </a:cubicBezTo>
                <a:cubicBezTo>
                  <a:pt x="540562" y="438217"/>
                  <a:pt x="537630" y="401565"/>
                  <a:pt x="559620" y="398633"/>
                </a:cubicBezTo>
                <a:close/>
                <a:moveTo>
                  <a:pt x="481920" y="337060"/>
                </a:moveTo>
                <a:cubicBezTo>
                  <a:pt x="459930" y="338527"/>
                  <a:pt x="471657" y="388371"/>
                  <a:pt x="456998" y="400098"/>
                </a:cubicBezTo>
                <a:cubicBezTo>
                  <a:pt x="465793" y="403032"/>
                  <a:pt x="470193" y="413292"/>
                  <a:pt x="481920" y="408896"/>
                </a:cubicBezTo>
                <a:cubicBezTo>
                  <a:pt x="487786" y="373712"/>
                  <a:pt x="467261" y="356118"/>
                  <a:pt x="481920" y="337060"/>
                </a:cubicBezTo>
                <a:close/>
                <a:moveTo>
                  <a:pt x="376231" y="302538"/>
                </a:moveTo>
                <a:lnTo>
                  <a:pt x="378313" y="304280"/>
                </a:lnTo>
                <a:lnTo>
                  <a:pt x="378847" y="311035"/>
                </a:lnTo>
                <a:lnTo>
                  <a:pt x="376112" y="303181"/>
                </a:lnTo>
                <a:close/>
                <a:moveTo>
                  <a:pt x="392490" y="181660"/>
                </a:moveTo>
                <a:cubicBezTo>
                  <a:pt x="398353" y="212445"/>
                  <a:pt x="383694" y="216844"/>
                  <a:pt x="386626" y="244698"/>
                </a:cubicBezTo>
                <a:cubicBezTo>
                  <a:pt x="404220" y="254961"/>
                  <a:pt x="398353" y="222708"/>
                  <a:pt x="398353" y="208049"/>
                </a:cubicBezTo>
                <a:cubicBezTo>
                  <a:pt x="399821" y="196319"/>
                  <a:pt x="407152" y="178728"/>
                  <a:pt x="392490" y="181660"/>
                </a:cubicBezTo>
                <a:close/>
                <a:moveTo>
                  <a:pt x="412296" y="91309"/>
                </a:moveTo>
                <a:cubicBezTo>
                  <a:pt x="408894" y="90378"/>
                  <a:pt x="404771" y="90584"/>
                  <a:pt x="399824" y="92233"/>
                </a:cubicBezTo>
                <a:cubicBezTo>
                  <a:pt x="395424" y="111294"/>
                  <a:pt x="405687" y="120089"/>
                  <a:pt x="407154" y="137680"/>
                </a:cubicBezTo>
                <a:cubicBezTo>
                  <a:pt x="407154" y="138414"/>
                  <a:pt x="403856" y="140613"/>
                  <a:pt x="400557" y="143729"/>
                </a:cubicBezTo>
                <a:lnTo>
                  <a:pt x="394467" y="154386"/>
                </a:lnTo>
                <a:lnTo>
                  <a:pt x="394463" y="154380"/>
                </a:lnTo>
                <a:cubicBezTo>
                  <a:pt x="393868" y="153716"/>
                  <a:pt x="393593" y="153808"/>
                  <a:pt x="393960" y="155274"/>
                </a:cubicBezTo>
                <a:lnTo>
                  <a:pt x="394467" y="154386"/>
                </a:lnTo>
                <a:lnTo>
                  <a:pt x="396891" y="158023"/>
                </a:lnTo>
                <a:cubicBezTo>
                  <a:pt x="398723" y="161138"/>
                  <a:pt x="400556" y="164803"/>
                  <a:pt x="399824" y="164069"/>
                </a:cubicBezTo>
                <a:cubicBezTo>
                  <a:pt x="402755" y="168468"/>
                  <a:pt x="404223" y="175796"/>
                  <a:pt x="413018" y="172864"/>
                </a:cubicBezTo>
                <a:cubicBezTo>
                  <a:pt x="424563" y="160038"/>
                  <a:pt x="436106" y="97824"/>
                  <a:pt x="412296" y="91309"/>
                </a:cubicBezTo>
                <a:close/>
                <a:moveTo>
                  <a:pt x="588305" y="1"/>
                </a:moveTo>
                <a:lnTo>
                  <a:pt x="592787" y="9036"/>
                </a:lnTo>
                <a:cubicBezTo>
                  <a:pt x="595536" y="18199"/>
                  <a:pt x="597735" y="27729"/>
                  <a:pt x="609463" y="23331"/>
                </a:cubicBezTo>
                <a:lnTo>
                  <a:pt x="611718" y="1"/>
                </a:lnTo>
                <a:close/>
                <a:moveTo>
                  <a:pt x="515591" y="1"/>
                </a:moveTo>
                <a:lnTo>
                  <a:pt x="516181" y="2323"/>
                </a:lnTo>
                <a:cubicBezTo>
                  <a:pt x="517517" y="4878"/>
                  <a:pt x="519304" y="6287"/>
                  <a:pt x="521503" y="5737"/>
                </a:cubicBezTo>
                <a:lnTo>
                  <a:pt x="523931" y="1"/>
                </a:lnTo>
                <a:close/>
                <a:moveTo>
                  <a:pt x="412048" y="1"/>
                </a:moveTo>
                <a:lnTo>
                  <a:pt x="413015" y="29194"/>
                </a:lnTo>
                <a:cubicBezTo>
                  <a:pt x="411551" y="46788"/>
                  <a:pt x="396889" y="74642"/>
                  <a:pt x="418882" y="74642"/>
                </a:cubicBezTo>
                <a:cubicBezTo>
                  <a:pt x="429142" y="59983"/>
                  <a:pt x="421814" y="30662"/>
                  <a:pt x="424745" y="11601"/>
                </a:cubicBezTo>
                <a:lnTo>
                  <a:pt x="428196" y="1"/>
                </a:lnTo>
                <a:close/>
                <a:moveTo>
                  <a:pt x="0" y="0"/>
                </a:moveTo>
                <a:lnTo>
                  <a:pt x="4991099" y="0"/>
                </a:lnTo>
                <a:lnTo>
                  <a:pt x="4991099" y="6857998"/>
                </a:lnTo>
                <a:lnTo>
                  <a:pt x="754628" y="6857998"/>
                </a:lnTo>
                <a:lnTo>
                  <a:pt x="751671" y="6842579"/>
                </a:lnTo>
                <a:cubicBezTo>
                  <a:pt x="745807" y="6824987"/>
                  <a:pt x="739210" y="6807395"/>
                  <a:pt x="737010" y="6789069"/>
                </a:cubicBezTo>
                <a:cubicBezTo>
                  <a:pt x="735542" y="6781738"/>
                  <a:pt x="741409" y="6777339"/>
                  <a:pt x="742873" y="6771475"/>
                </a:cubicBezTo>
                <a:cubicBezTo>
                  <a:pt x="748737" y="6739222"/>
                  <a:pt x="737010" y="6736290"/>
                  <a:pt x="737010" y="6717232"/>
                </a:cubicBezTo>
                <a:cubicBezTo>
                  <a:pt x="735542" y="6679116"/>
                  <a:pt x="741409" y="6641000"/>
                  <a:pt x="737010" y="6601416"/>
                </a:cubicBezTo>
                <a:cubicBezTo>
                  <a:pt x="737010" y="6592621"/>
                  <a:pt x="731146" y="6591153"/>
                  <a:pt x="731146" y="6583825"/>
                </a:cubicBezTo>
                <a:cubicBezTo>
                  <a:pt x="729679" y="6567699"/>
                  <a:pt x="741409" y="6572095"/>
                  <a:pt x="731146" y="6557436"/>
                </a:cubicBezTo>
                <a:cubicBezTo>
                  <a:pt x="728214" y="6553037"/>
                  <a:pt x="732611" y="6529580"/>
                  <a:pt x="731146" y="6522249"/>
                </a:cubicBezTo>
                <a:cubicBezTo>
                  <a:pt x="729679" y="6510521"/>
                  <a:pt x="726747" y="6510521"/>
                  <a:pt x="725280" y="6495862"/>
                </a:cubicBezTo>
                <a:cubicBezTo>
                  <a:pt x="723815" y="6460678"/>
                  <a:pt x="734078" y="6460678"/>
                  <a:pt x="725280" y="6450415"/>
                </a:cubicBezTo>
                <a:cubicBezTo>
                  <a:pt x="723815" y="6448948"/>
                  <a:pt x="725280" y="6435756"/>
                  <a:pt x="725280" y="6432821"/>
                </a:cubicBezTo>
                <a:cubicBezTo>
                  <a:pt x="722351" y="6400569"/>
                  <a:pt x="720883" y="6388842"/>
                  <a:pt x="719419" y="6369783"/>
                </a:cubicBezTo>
                <a:cubicBezTo>
                  <a:pt x="717952" y="6338995"/>
                  <a:pt x="723815" y="6305278"/>
                  <a:pt x="719419" y="6271558"/>
                </a:cubicBezTo>
                <a:cubicBezTo>
                  <a:pt x="719419" y="6264227"/>
                  <a:pt x="713552" y="6261298"/>
                  <a:pt x="713552" y="6253967"/>
                </a:cubicBezTo>
                <a:cubicBezTo>
                  <a:pt x="713552" y="6239305"/>
                  <a:pt x="725280" y="6240773"/>
                  <a:pt x="713552" y="6227578"/>
                </a:cubicBezTo>
                <a:cubicBezTo>
                  <a:pt x="710621" y="6223182"/>
                  <a:pt x="713552" y="6189462"/>
                  <a:pt x="713552" y="6182131"/>
                </a:cubicBezTo>
                <a:cubicBezTo>
                  <a:pt x="712088" y="6164540"/>
                  <a:pt x="707689" y="6163073"/>
                  <a:pt x="713552" y="6155742"/>
                </a:cubicBezTo>
                <a:cubicBezTo>
                  <a:pt x="719419" y="6149878"/>
                  <a:pt x="707689" y="6127888"/>
                  <a:pt x="707689" y="6129355"/>
                </a:cubicBezTo>
                <a:cubicBezTo>
                  <a:pt x="706221" y="6123489"/>
                  <a:pt x="713552" y="6119090"/>
                  <a:pt x="713552" y="6120557"/>
                </a:cubicBezTo>
                <a:cubicBezTo>
                  <a:pt x="713552" y="6110294"/>
                  <a:pt x="707689" y="6100034"/>
                  <a:pt x="707689" y="6094168"/>
                </a:cubicBezTo>
                <a:cubicBezTo>
                  <a:pt x="707689" y="6082441"/>
                  <a:pt x="713552" y="6082441"/>
                  <a:pt x="713552" y="6067779"/>
                </a:cubicBezTo>
                <a:cubicBezTo>
                  <a:pt x="713552" y="6053120"/>
                  <a:pt x="703290" y="6053120"/>
                  <a:pt x="713552" y="6041393"/>
                </a:cubicBezTo>
                <a:cubicBezTo>
                  <a:pt x="722351" y="6031130"/>
                  <a:pt x="707689" y="6003276"/>
                  <a:pt x="707689" y="5995945"/>
                </a:cubicBezTo>
                <a:cubicBezTo>
                  <a:pt x="707689" y="5998877"/>
                  <a:pt x="713552" y="5990082"/>
                  <a:pt x="713552" y="5987147"/>
                </a:cubicBezTo>
                <a:cubicBezTo>
                  <a:pt x="720883" y="5953430"/>
                  <a:pt x="701825" y="5940235"/>
                  <a:pt x="700358" y="5924109"/>
                </a:cubicBezTo>
                <a:cubicBezTo>
                  <a:pt x="703290" y="5906515"/>
                  <a:pt x="715020" y="5900655"/>
                  <a:pt x="713552" y="5878662"/>
                </a:cubicBezTo>
                <a:cubicBezTo>
                  <a:pt x="691562" y="5880129"/>
                  <a:pt x="706221" y="5858139"/>
                  <a:pt x="707689" y="5843477"/>
                </a:cubicBezTo>
                <a:cubicBezTo>
                  <a:pt x="712088" y="5800962"/>
                  <a:pt x="701825" y="5780436"/>
                  <a:pt x="694494" y="5762846"/>
                </a:cubicBezTo>
                <a:cubicBezTo>
                  <a:pt x="691562" y="5752583"/>
                  <a:pt x="707689" y="5749651"/>
                  <a:pt x="707689" y="5745252"/>
                </a:cubicBezTo>
                <a:cubicBezTo>
                  <a:pt x="709156" y="5734992"/>
                  <a:pt x="704757" y="5733525"/>
                  <a:pt x="701825" y="5727661"/>
                </a:cubicBezTo>
                <a:cubicBezTo>
                  <a:pt x="688631" y="5699805"/>
                  <a:pt x="709156" y="5715931"/>
                  <a:pt x="707689" y="5682214"/>
                </a:cubicBezTo>
                <a:cubicBezTo>
                  <a:pt x="707689" y="5673418"/>
                  <a:pt x="703290" y="5676350"/>
                  <a:pt x="701825" y="5673418"/>
                </a:cubicBezTo>
                <a:cubicBezTo>
                  <a:pt x="698893" y="5667555"/>
                  <a:pt x="707689" y="5654360"/>
                  <a:pt x="707689" y="5655825"/>
                </a:cubicBezTo>
                <a:cubicBezTo>
                  <a:pt x="704757" y="5644097"/>
                  <a:pt x="697426" y="5641166"/>
                  <a:pt x="694494" y="5629438"/>
                </a:cubicBezTo>
                <a:cubicBezTo>
                  <a:pt x="715020" y="5607446"/>
                  <a:pt x="693030" y="5579592"/>
                  <a:pt x="713552" y="5557602"/>
                </a:cubicBezTo>
                <a:cubicBezTo>
                  <a:pt x="707689" y="5548807"/>
                  <a:pt x="690098" y="5554667"/>
                  <a:pt x="694494" y="5531213"/>
                </a:cubicBezTo>
                <a:cubicBezTo>
                  <a:pt x="716484" y="5532677"/>
                  <a:pt x="697426" y="5496028"/>
                  <a:pt x="700358" y="5468175"/>
                </a:cubicBezTo>
                <a:cubicBezTo>
                  <a:pt x="700358" y="5465240"/>
                  <a:pt x="700358" y="5462308"/>
                  <a:pt x="700358" y="5459377"/>
                </a:cubicBezTo>
                <a:cubicBezTo>
                  <a:pt x="700358" y="5454980"/>
                  <a:pt x="706221" y="5447649"/>
                  <a:pt x="706221" y="5450581"/>
                </a:cubicBezTo>
                <a:cubicBezTo>
                  <a:pt x="706221" y="5430056"/>
                  <a:pt x="698893" y="5418329"/>
                  <a:pt x="700358" y="5396339"/>
                </a:cubicBezTo>
                <a:cubicBezTo>
                  <a:pt x="700358" y="5380212"/>
                  <a:pt x="706221" y="5377278"/>
                  <a:pt x="706221" y="5361154"/>
                </a:cubicBezTo>
                <a:cubicBezTo>
                  <a:pt x="706221" y="5350891"/>
                  <a:pt x="701825" y="5347959"/>
                  <a:pt x="700358" y="5334765"/>
                </a:cubicBezTo>
                <a:cubicBezTo>
                  <a:pt x="694494" y="5284919"/>
                  <a:pt x="704757" y="5243870"/>
                  <a:pt x="687163" y="5227744"/>
                </a:cubicBezTo>
                <a:cubicBezTo>
                  <a:pt x="701825" y="5202819"/>
                  <a:pt x="676903" y="5016634"/>
                  <a:pt x="690098" y="4988781"/>
                </a:cubicBezTo>
                <a:cubicBezTo>
                  <a:pt x="690098" y="4977053"/>
                  <a:pt x="678368" y="4981450"/>
                  <a:pt x="676903" y="4971190"/>
                </a:cubicBezTo>
                <a:cubicBezTo>
                  <a:pt x="700358" y="4963859"/>
                  <a:pt x="690098" y="4900818"/>
                  <a:pt x="676903" y="4890558"/>
                </a:cubicBezTo>
                <a:cubicBezTo>
                  <a:pt x="676903" y="4872964"/>
                  <a:pt x="694494" y="4880292"/>
                  <a:pt x="690098" y="4855371"/>
                </a:cubicBezTo>
                <a:cubicBezTo>
                  <a:pt x="669572" y="4855371"/>
                  <a:pt x="682767" y="4824585"/>
                  <a:pt x="676903" y="4809926"/>
                </a:cubicBezTo>
                <a:cubicBezTo>
                  <a:pt x="673969" y="4805527"/>
                  <a:pt x="656378" y="4811391"/>
                  <a:pt x="663709" y="4792333"/>
                </a:cubicBezTo>
                <a:cubicBezTo>
                  <a:pt x="666641" y="4771810"/>
                  <a:pt x="668105" y="4763012"/>
                  <a:pt x="669572" y="4746885"/>
                </a:cubicBezTo>
                <a:cubicBezTo>
                  <a:pt x="671040" y="4730759"/>
                  <a:pt x="663709" y="4720496"/>
                  <a:pt x="663709" y="4711701"/>
                </a:cubicBezTo>
                <a:cubicBezTo>
                  <a:pt x="663709" y="4714633"/>
                  <a:pt x="669572" y="4705837"/>
                  <a:pt x="669572" y="4702903"/>
                </a:cubicBezTo>
                <a:cubicBezTo>
                  <a:pt x="673969" y="4680913"/>
                  <a:pt x="666641" y="4664786"/>
                  <a:pt x="669572" y="4648663"/>
                </a:cubicBezTo>
                <a:cubicBezTo>
                  <a:pt x="641719" y="4609076"/>
                  <a:pt x="654911" y="4551905"/>
                  <a:pt x="675436" y="4513785"/>
                </a:cubicBezTo>
                <a:cubicBezTo>
                  <a:pt x="671040" y="4513785"/>
                  <a:pt x="669572" y="4512321"/>
                  <a:pt x="669572" y="4504990"/>
                </a:cubicBezTo>
                <a:cubicBezTo>
                  <a:pt x="669572" y="4497659"/>
                  <a:pt x="675436" y="4496195"/>
                  <a:pt x="675436" y="4496195"/>
                </a:cubicBezTo>
                <a:cubicBezTo>
                  <a:pt x="679835" y="4458078"/>
                  <a:pt x="669572" y="4440485"/>
                  <a:pt x="669572" y="4415563"/>
                </a:cubicBezTo>
                <a:cubicBezTo>
                  <a:pt x="669572" y="4396502"/>
                  <a:pt x="673969" y="4386242"/>
                  <a:pt x="675436" y="4370116"/>
                </a:cubicBezTo>
                <a:cubicBezTo>
                  <a:pt x="676903" y="4361320"/>
                  <a:pt x="669572" y="4359853"/>
                  <a:pt x="669572" y="4352522"/>
                </a:cubicBezTo>
                <a:cubicBezTo>
                  <a:pt x="668105" y="4342259"/>
                  <a:pt x="678368" y="4340795"/>
                  <a:pt x="675436" y="4326136"/>
                </a:cubicBezTo>
                <a:cubicBezTo>
                  <a:pt x="669572" y="4317337"/>
                  <a:pt x="651979" y="4323201"/>
                  <a:pt x="656378" y="4299744"/>
                </a:cubicBezTo>
                <a:cubicBezTo>
                  <a:pt x="659310" y="4282153"/>
                  <a:pt x="671040" y="4276289"/>
                  <a:pt x="669572" y="4254299"/>
                </a:cubicBezTo>
                <a:cubicBezTo>
                  <a:pt x="653446" y="4229377"/>
                  <a:pt x="643183" y="4170736"/>
                  <a:pt x="656378" y="4129685"/>
                </a:cubicBezTo>
                <a:cubicBezTo>
                  <a:pt x="654911" y="4116490"/>
                  <a:pt x="640252" y="4123821"/>
                  <a:pt x="643183" y="4103296"/>
                </a:cubicBezTo>
                <a:lnTo>
                  <a:pt x="654911" y="4103296"/>
                </a:lnTo>
                <a:cubicBezTo>
                  <a:pt x="650514" y="4075442"/>
                  <a:pt x="649047" y="4044654"/>
                  <a:pt x="641719" y="4022664"/>
                </a:cubicBezTo>
                <a:cubicBezTo>
                  <a:pt x="650514" y="4019732"/>
                  <a:pt x="654911" y="4010937"/>
                  <a:pt x="654911" y="3996278"/>
                </a:cubicBezTo>
                <a:cubicBezTo>
                  <a:pt x="649047" y="3974288"/>
                  <a:pt x="640252" y="3981616"/>
                  <a:pt x="649047" y="3969889"/>
                </a:cubicBezTo>
                <a:cubicBezTo>
                  <a:pt x="657845" y="3956694"/>
                  <a:pt x="643183" y="3925906"/>
                  <a:pt x="643183" y="3924441"/>
                </a:cubicBezTo>
                <a:cubicBezTo>
                  <a:pt x="638787" y="3899519"/>
                  <a:pt x="635852" y="3905383"/>
                  <a:pt x="629989" y="3889257"/>
                </a:cubicBezTo>
                <a:cubicBezTo>
                  <a:pt x="638787" y="3886325"/>
                  <a:pt x="643183" y="3877530"/>
                  <a:pt x="643183" y="3862868"/>
                </a:cubicBezTo>
                <a:cubicBezTo>
                  <a:pt x="635852" y="3861400"/>
                  <a:pt x="625590" y="3864335"/>
                  <a:pt x="624125" y="3854072"/>
                </a:cubicBezTo>
                <a:cubicBezTo>
                  <a:pt x="621193" y="3833547"/>
                  <a:pt x="653446" y="3859936"/>
                  <a:pt x="643183" y="3827683"/>
                </a:cubicBezTo>
                <a:cubicBezTo>
                  <a:pt x="638787" y="3821820"/>
                  <a:pt x="616794" y="3799830"/>
                  <a:pt x="643183" y="3801294"/>
                </a:cubicBezTo>
                <a:cubicBezTo>
                  <a:pt x="640252" y="3773440"/>
                  <a:pt x="624125" y="3761713"/>
                  <a:pt x="624125" y="3729458"/>
                </a:cubicBezTo>
                <a:cubicBezTo>
                  <a:pt x="634388" y="3730925"/>
                  <a:pt x="643183" y="3727993"/>
                  <a:pt x="649047" y="3720662"/>
                </a:cubicBezTo>
                <a:cubicBezTo>
                  <a:pt x="646115" y="3682546"/>
                  <a:pt x="656378" y="3667887"/>
                  <a:pt x="654911" y="3640031"/>
                </a:cubicBezTo>
                <a:cubicBezTo>
                  <a:pt x="653446" y="3626836"/>
                  <a:pt x="637320" y="3628303"/>
                  <a:pt x="635852" y="3604846"/>
                </a:cubicBezTo>
                <a:cubicBezTo>
                  <a:pt x="635852" y="3604846"/>
                  <a:pt x="647582" y="3590184"/>
                  <a:pt x="641719" y="3578457"/>
                </a:cubicBezTo>
                <a:cubicBezTo>
                  <a:pt x="632921" y="3576992"/>
                  <a:pt x="618262" y="3581389"/>
                  <a:pt x="616794" y="3569661"/>
                </a:cubicBezTo>
                <a:lnTo>
                  <a:pt x="616794" y="3524214"/>
                </a:lnTo>
                <a:cubicBezTo>
                  <a:pt x="638787" y="3524214"/>
                  <a:pt x="602135" y="3494893"/>
                  <a:pt x="622658" y="3497825"/>
                </a:cubicBezTo>
                <a:cubicBezTo>
                  <a:pt x="631456" y="3499292"/>
                  <a:pt x="632921" y="3512487"/>
                  <a:pt x="641719" y="3515419"/>
                </a:cubicBezTo>
                <a:cubicBezTo>
                  <a:pt x="651979" y="3452381"/>
                  <a:pt x="624125" y="3440651"/>
                  <a:pt x="616794" y="3399600"/>
                </a:cubicBezTo>
                <a:lnTo>
                  <a:pt x="635852" y="3399600"/>
                </a:lnTo>
                <a:cubicBezTo>
                  <a:pt x="640252" y="3361483"/>
                  <a:pt x="613862" y="3408398"/>
                  <a:pt x="616794" y="3373213"/>
                </a:cubicBezTo>
                <a:cubicBezTo>
                  <a:pt x="616794" y="3377610"/>
                  <a:pt x="629989" y="3355620"/>
                  <a:pt x="629989" y="3355620"/>
                </a:cubicBezTo>
                <a:cubicBezTo>
                  <a:pt x="637320" y="3345360"/>
                  <a:pt x="641719" y="3349756"/>
                  <a:pt x="643183" y="3329233"/>
                </a:cubicBezTo>
                <a:cubicBezTo>
                  <a:pt x="644648" y="3301377"/>
                  <a:pt x="637320" y="3311640"/>
                  <a:pt x="629989" y="3274988"/>
                </a:cubicBezTo>
                <a:cubicBezTo>
                  <a:pt x="638787" y="3273523"/>
                  <a:pt x="653446" y="3277923"/>
                  <a:pt x="654911" y="3266193"/>
                </a:cubicBezTo>
                <a:cubicBezTo>
                  <a:pt x="627057" y="3257397"/>
                  <a:pt x="646115" y="3242735"/>
                  <a:pt x="649047" y="3211950"/>
                </a:cubicBezTo>
                <a:cubicBezTo>
                  <a:pt x="641719" y="3207551"/>
                  <a:pt x="634388" y="3203154"/>
                  <a:pt x="629989" y="3194356"/>
                </a:cubicBezTo>
                <a:cubicBezTo>
                  <a:pt x="615330" y="3163571"/>
                  <a:pt x="638787" y="3165035"/>
                  <a:pt x="635852" y="3148909"/>
                </a:cubicBezTo>
                <a:cubicBezTo>
                  <a:pt x="634388" y="3145977"/>
                  <a:pt x="615330" y="3148909"/>
                  <a:pt x="622658" y="3131318"/>
                </a:cubicBezTo>
                <a:cubicBezTo>
                  <a:pt x="632921" y="3129854"/>
                  <a:pt x="653446" y="3140114"/>
                  <a:pt x="647582" y="3113724"/>
                </a:cubicBezTo>
                <a:cubicBezTo>
                  <a:pt x="653446" y="3084404"/>
                  <a:pt x="624125" y="3099065"/>
                  <a:pt x="622658" y="3078543"/>
                </a:cubicBezTo>
                <a:cubicBezTo>
                  <a:pt x="629989" y="3077073"/>
                  <a:pt x="628524" y="3065345"/>
                  <a:pt x="628524" y="3052151"/>
                </a:cubicBezTo>
                <a:cubicBezTo>
                  <a:pt x="628524" y="3047755"/>
                  <a:pt x="622658" y="3041891"/>
                  <a:pt x="622658" y="3043355"/>
                </a:cubicBezTo>
                <a:cubicBezTo>
                  <a:pt x="622658" y="3034560"/>
                  <a:pt x="628524" y="3033093"/>
                  <a:pt x="628524" y="3025762"/>
                </a:cubicBezTo>
                <a:cubicBezTo>
                  <a:pt x="629989" y="3014035"/>
                  <a:pt x="622658" y="3006706"/>
                  <a:pt x="622658" y="2999375"/>
                </a:cubicBezTo>
                <a:cubicBezTo>
                  <a:pt x="622658" y="2999375"/>
                  <a:pt x="635852" y="2992045"/>
                  <a:pt x="635852" y="2990580"/>
                </a:cubicBezTo>
                <a:cubicBezTo>
                  <a:pt x="640252" y="2978850"/>
                  <a:pt x="627057" y="2958325"/>
                  <a:pt x="635852" y="2955396"/>
                </a:cubicBezTo>
                <a:cubicBezTo>
                  <a:pt x="644648" y="2955396"/>
                  <a:pt x="649047" y="2959792"/>
                  <a:pt x="654911" y="2964191"/>
                </a:cubicBezTo>
                <a:cubicBezTo>
                  <a:pt x="656378" y="2909948"/>
                  <a:pt x="659310" y="2901150"/>
                  <a:pt x="654911" y="2848372"/>
                </a:cubicBezTo>
                <a:cubicBezTo>
                  <a:pt x="629989" y="2852771"/>
                  <a:pt x="650514" y="2827849"/>
                  <a:pt x="649047" y="2821985"/>
                </a:cubicBezTo>
                <a:cubicBezTo>
                  <a:pt x="647582" y="2811723"/>
                  <a:pt x="624125" y="2808791"/>
                  <a:pt x="629989" y="2795597"/>
                </a:cubicBezTo>
                <a:cubicBezTo>
                  <a:pt x="646115" y="2772139"/>
                  <a:pt x="629989" y="2751616"/>
                  <a:pt x="635852" y="2723760"/>
                </a:cubicBezTo>
                <a:cubicBezTo>
                  <a:pt x="643183" y="2695906"/>
                  <a:pt x="660777" y="2704702"/>
                  <a:pt x="649047" y="2688576"/>
                </a:cubicBezTo>
                <a:cubicBezTo>
                  <a:pt x="632921" y="2665118"/>
                  <a:pt x="653446" y="2663654"/>
                  <a:pt x="649047" y="2643129"/>
                </a:cubicBezTo>
                <a:cubicBezTo>
                  <a:pt x="646115" y="2629934"/>
                  <a:pt x="634388" y="2635797"/>
                  <a:pt x="635852" y="2616739"/>
                </a:cubicBezTo>
                <a:cubicBezTo>
                  <a:pt x="646115" y="2616739"/>
                  <a:pt x="657845" y="2618207"/>
                  <a:pt x="654911" y="2599149"/>
                </a:cubicBezTo>
                <a:cubicBezTo>
                  <a:pt x="651979" y="2583022"/>
                  <a:pt x="625590" y="2599149"/>
                  <a:pt x="635852" y="2563964"/>
                </a:cubicBezTo>
                <a:cubicBezTo>
                  <a:pt x="635852" y="2549302"/>
                  <a:pt x="653446" y="2559565"/>
                  <a:pt x="654911" y="2546370"/>
                </a:cubicBezTo>
                <a:cubicBezTo>
                  <a:pt x="663709" y="2544906"/>
                  <a:pt x="662242" y="2527312"/>
                  <a:pt x="668105" y="2519981"/>
                </a:cubicBezTo>
                <a:cubicBezTo>
                  <a:pt x="659310" y="2511186"/>
                  <a:pt x="649047" y="2514118"/>
                  <a:pt x="643183" y="2502390"/>
                </a:cubicBezTo>
                <a:cubicBezTo>
                  <a:pt x="640252" y="2495060"/>
                  <a:pt x="644648" y="2480400"/>
                  <a:pt x="637320" y="2476001"/>
                </a:cubicBezTo>
                <a:cubicBezTo>
                  <a:pt x="624125" y="2464274"/>
                  <a:pt x="613862" y="2499458"/>
                  <a:pt x="612398" y="2476001"/>
                </a:cubicBezTo>
                <a:cubicBezTo>
                  <a:pt x="612398" y="2462807"/>
                  <a:pt x="609466" y="2443749"/>
                  <a:pt x="618262" y="2440817"/>
                </a:cubicBezTo>
                <a:cubicBezTo>
                  <a:pt x="631456" y="2445213"/>
                  <a:pt x="609466" y="2454011"/>
                  <a:pt x="624125" y="2467206"/>
                </a:cubicBezTo>
                <a:cubicBezTo>
                  <a:pt x="638787" y="2445213"/>
                  <a:pt x="660777" y="2486264"/>
                  <a:pt x="662242" y="2449612"/>
                </a:cubicBezTo>
                <a:cubicBezTo>
                  <a:pt x="659310" y="2418827"/>
                  <a:pt x="637320" y="2471605"/>
                  <a:pt x="635852" y="2440817"/>
                </a:cubicBezTo>
                <a:cubicBezTo>
                  <a:pt x="656378" y="2426155"/>
                  <a:pt x="676903" y="2412963"/>
                  <a:pt x="681300" y="2377779"/>
                </a:cubicBezTo>
                <a:cubicBezTo>
                  <a:pt x="681300" y="2361652"/>
                  <a:pt x="660777" y="2371912"/>
                  <a:pt x="662242" y="2351390"/>
                </a:cubicBezTo>
                <a:cubicBezTo>
                  <a:pt x="663709" y="2339660"/>
                  <a:pt x="659310" y="2332331"/>
                  <a:pt x="656378" y="2325000"/>
                </a:cubicBezTo>
                <a:cubicBezTo>
                  <a:pt x="662242" y="2304475"/>
                  <a:pt x="654911" y="2304475"/>
                  <a:pt x="662242" y="2289816"/>
                </a:cubicBezTo>
                <a:cubicBezTo>
                  <a:pt x="672504" y="2267826"/>
                  <a:pt x="663709" y="2266359"/>
                  <a:pt x="662242" y="2244369"/>
                </a:cubicBezTo>
                <a:cubicBezTo>
                  <a:pt x="672504" y="2244369"/>
                  <a:pt x="684231" y="2245833"/>
                  <a:pt x="681300" y="2226775"/>
                </a:cubicBezTo>
                <a:cubicBezTo>
                  <a:pt x="673969" y="2225311"/>
                  <a:pt x="663709" y="2228242"/>
                  <a:pt x="662242" y="2217979"/>
                </a:cubicBezTo>
                <a:cubicBezTo>
                  <a:pt x="671040" y="2215048"/>
                  <a:pt x="675436" y="2206252"/>
                  <a:pt x="675436" y="2191591"/>
                </a:cubicBezTo>
                <a:lnTo>
                  <a:pt x="674378" y="2190126"/>
                </a:lnTo>
                <a:lnTo>
                  <a:pt x="675436" y="2190126"/>
                </a:lnTo>
                <a:lnTo>
                  <a:pt x="675436" y="2169803"/>
                </a:lnTo>
                <a:lnTo>
                  <a:pt x="676994" y="2169120"/>
                </a:lnTo>
                <a:cubicBezTo>
                  <a:pt x="678460" y="2166943"/>
                  <a:pt x="679834" y="2163003"/>
                  <a:pt x="681300" y="2156406"/>
                </a:cubicBezTo>
                <a:cubicBezTo>
                  <a:pt x="662242" y="2157873"/>
                  <a:pt x="685699" y="2100696"/>
                  <a:pt x="668105" y="2102163"/>
                </a:cubicBezTo>
                <a:cubicBezTo>
                  <a:pt x="668105" y="2110959"/>
                  <a:pt x="656378" y="2113890"/>
                  <a:pt x="654911" y="2102163"/>
                </a:cubicBezTo>
                <a:cubicBezTo>
                  <a:pt x="651979" y="2081638"/>
                  <a:pt x="684231" y="2108027"/>
                  <a:pt x="673969" y="2075774"/>
                </a:cubicBezTo>
                <a:cubicBezTo>
                  <a:pt x="675436" y="2061115"/>
                  <a:pt x="672504" y="2047921"/>
                  <a:pt x="668105" y="2040590"/>
                </a:cubicBezTo>
                <a:cubicBezTo>
                  <a:pt x="666641" y="2027395"/>
                  <a:pt x="651979" y="2034726"/>
                  <a:pt x="654911" y="2014200"/>
                </a:cubicBezTo>
                <a:cubicBezTo>
                  <a:pt x="675436" y="2021531"/>
                  <a:pt x="668105" y="2021531"/>
                  <a:pt x="679835" y="2005405"/>
                </a:cubicBezTo>
                <a:cubicBezTo>
                  <a:pt x="685699" y="1977551"/>
                  <a:pt x="663709" y="1987814"/>
                  <a:pt x="660777" y="1970221"/>
                </a:cubicBezTo>
                <a:cubicBezTo>
                  <a:pt x="665173" y="1939432"/>
                  <a:pt x="653446" y="1932104"/>
                  <a:pt x="647582" y="1915978"/>
                </a:cubicBezTo>
                <a:cubicBezTo>
                  <a:pt x="665173" y="1923306"/>
                  <a:pt x="643183" y="1874927"/>
                  <a:pt x="660777" y="1880791"/>
                </a:cubicBezTo>
                <a:cubicBezTo>
                  <a:pt x="662242" y="1891053"/>
                  <a:pt x="663709" y="1901316"/>
                  <a:pt x="673969" y="1898384"/>
                </a:cubicBezTo>
                <a:cubicBezTo>
                  <a:pt x="675436" y="1891053"/>
                  <a:pt x="679835" y="1888121"/>
                  <a:pt x="687163" y="1889589"/>
                </a:cubicBezTo>
                <a:cubicBezTo>
                  <a:pt x="690098" y="1879326"/>
                  <a:pt x="694494" y="1869063"/>
                  <a:pt x="700358" y="1863200"/>
                </a:cubicBezTo>
                <a:lnTo>
                  <a:pt x="700358" y="1808957"/>
                </a:lnTo>
                <a:cubicBezTo>
                  <a:pt x="687163" y="1804558"/>
                  <a:pt x="693030" y="1785500"/>
                  <a:pt x="687163" y="1773772"/>
                </a:cubicBezTo>
                <a:lnTo>
                  <a:pt x="681037" y="1769689"/>
                </a:lnTo>
                <a:lnTo>
                  <a:pt x="678616" y="1759077"/>
                </a:lnTo>
                <a:lnTo>
                  <a:pt x="685515" y="1750318"/>
                </a:lnTo>
                <a:cubicBezTo>
                  <a:pt x="685242" y="1729976"/>
                  <a:pt x="658576" y="1696439"/>
                  <a:pt x="687163" y="1684345"/>
                </a:cubicBezTo>
                <a:cubicBezTo>
                  <a:pt x="688631" y="1699004"/>
                  <a:pt x="681300" y="1728325"/>
                  <a:pt x="700358" y="1719527"/>
                </a:cubicBezTo>
                <a:cubicBezTo>
                  <a:pt x="695962" y="1678479"/>
                  <a:pt x="701825" y="1671151"/>
                  <a:pt x="681300" y="1647693"/>
                </a:cubicBezTo>
                <a:cubicBezTo>
                  <a:pt x="690098" y="1647693"/>
                  <a:pt x="694494" y="1643294"/>
                  <a:pt x="700358" y="1638895"/>
                </a:cubicBezTo>
                <a:cubicBezTo>
                  <a:pt x="700358" y="1627168"/>
                  <a:pt x="700358" y="1615441"/>
                  <a:pt x="700358" y="1603714"/>
                </a:cubicBezTo>
                <a:cubicBezTo>
                  <a:pt x="700358" y="1599314"/>
                  <a:pt x="706221" y="1593451"/>
                  <a:pt x="706221" y="1594915"/>
                </a:cubicBezTo>
                <a:cubicBezTo>
                  <a:pt x="707689" y="1574393"/>
                  <a:pt x="698893" y="1559731"/>
                  <a:pt x="700358" y="1540673"/>
                </a:cubicBezTo>
                <a:cubicBezTo>
                  <a:pt x="700358" y="1524546"/>
                  <a:pt x="706221" y="1521614"/>
                  <a:pt x="706221" y="1505488"/>
                </a:cubicBezTo>
                <a:cubicBezTo>
                  <a:pt x="707689" y="1484963"/>
                  <a:pt x="700358" y="1464440"/>
                  <a:pt x="700358" y="1442450"/>
                </a:cubicBezTo>
                <a:cubicBezTo>
                  <a:pt x="700358" y="1432187"/>
                  <a:pt x="704757" y="1429255"/>
                  <a:pt x="706221" y="1416061"/>
                </a:cubicBezTo>
                <a:cubicBezTo>
                  <a:pt x="707689" y="1395535"/>
                  <a:pt x="706221" y="1360351"/>
                  <a:pt x="706221" y="1353020"/>
                </a:cubicBezTo>
                <a:cubicBezTo>
                  <a:pt x="706221" y="1348624"/>
                  <a:pt x="712088" y="1341293"/>
                  <a:pt x="712088" y="1344225"/>
                </a:cubicBezTo>
                <a:cubicBezTo>
                  <a:pt x="712088" y="1325166"/>
                  <a:pt x="706221" y="1307573"/>
                  <a:pt x="706221" y="1289982"/>
                </a:cubicBezTo>
                <a:cubicBezTo>
                  <a:pt x="706221" y="1273856"/>
                  <a:pt x="712088" y="1270924"/>
                  <a:pt x="712088" y="1254797"/>
                </a:cubicBezTo>
                <a:cubicBezTo>
                  <a:pt x="712088" y="1238671"/>
                  <a:pt x="707689" y="1235736"/>
                  <a:pt x="706221" y="1219613"/>
                </a:cubicBezTo>
                <a:cubicBezTo>
                  <a:pt x="706221" y="1204951"/>
                  <a:pt x="720883" y="1163903"/>
                  <a:pt x="700358" y="1165367"/>
                </a:cubicBezTo>
                <a:cubicBezTo>
                  <a:pt x="690098" y="1181497"/>
                  <a:pt x="706221" y="1194688"/>
                  <a:pt x="694494" y="1210815"/>
                </a:cubicBezTo>
                <a:cubicBezTo>
                  <a:pt x="675436" y="1238671"/>
                  <a:pt x="700358" y="1284118"/>
                  <a:pt x="694494" y="1326631"/>
                </a:cubicBezTo>
                <a:cubicBezTo>
                  <a:pt x="685699" y="1328098"/>
                  <a:pt x="684231" y="1341293"/>
                  <a:pt x="675436" y="1344225"/>
                </a:cubicBezTo>
                <a:cubicBezTo>
                  <a:pt x="685699" y="1313439"/>
                  <a:pt x="653446" y="1339825"/>
                  <a:pt x="656378" y="1317835"/>
                </a:cubicBezTo>
                <a:cubicBezTo>
                  <a:pt x="653446" y="1309040"/>
                  <a:pt x="659310" y="1311972"/>
                  <a:pt x="662242" y="1309040"/>
                </a:cubicBezTo>
                <a:cubicBezTo>
                  <a:pt x="676903" y="1291446"/>
                  <a:pt x="663709" y="1240136"/>
                  <a:pt x="668105" y="1210815"/>
                </a:cubicBezTo>
                <a:cubicBezTo>
                  <a:pt x="659310" y="1199087"/>
                  <a:pt x="640252" y="1202019"/>
                  <a:pt x="622658" y="1202019"/>
                </a:cubicBezTo>
                <a:cubicBezTo>
                  <a:pt x="612398" y="1190292"/>
                  <a:pt x="622658" y="1147777"/>
                  <a:pt x="603600" y="1147777"/>
                </a:cubicBezTo>
                <a:cubicBezTo>
                  <a:pt x="591872" y="1168299"/>
                  <a:pt x="597736" y="1207883"/>
                  <a:pt x="590408" y="1210815"/>
                </a:cubicBezTo>
                <a:cubicBezTo>
                  <a:pt x="580145" y="1206418"/>
                  <a:pt x="584542" y="1140446"/>
                  <a:pt x="584542" y="1138981"/>
                </a:cubicBezTo>
                <a:cubicBezTo>
                  <a:pt x="594804" y="1122855"/>
                  <a:pt x="580145" y="1108193"/>
                  <a:pt x="590408" y="1103794"/>
                </a:cubicBezTo>
                <a:cubicBezTo>
                  <a:pt x="619726" y="1093534"/>
                  <a:pt x="612398" y="1103794"/>
                  <a:pt x="635852" y="1112592"/>
                </a:cubicBezTo>
                <a:cubicBezTo>
                  <a:pt x="631456" y="1067145"/>
                  <a:pt x="638787" y="1018766"/>
                  <a:pt x="641719" y="996776"/>
                </a:cubicBezTo>
                <a:cubicBezTo>
                  <a:pt x="646115" y="960124"/>
                  <a:pt x="635852" y="943998"/>
                  <a:pt x="635852" y="924939"/>
                </a:cubicBezTo>
                <a:cubicBezTo>
                  <a:pt x="635852" y="902949"/>
                  <a:pt x="644648" y="889755"/>
                  <a:pt x="641719" y="870697"/>
                </a:cubicBezTo>
                <a:cubicBezTo>
                  <a:pt x="641719" y="869229"/>
                  <a:pt x="635852" y="857502"/>
                  <a:pt x="635852" y="861898"/>
                </a:cubicBezTo>
                <a:cubicBezTo>
                  <a:pt x="635852" y="850171"/>
                  <a:pt x="643183" y="850171"/>
                  <a:pt x="641719" y="835512"/>
                </a:cubicBezTo>
                <a:cubicBezTo>
                  <a:pt x="641719" y="826714"/>
                  <a:pt x="638787" y="814987"/>
                  <a:pt x="635852" y="800328"/>
                </a:cubicBezTo>
                <a:cubicBezTo>
                  <a:pt x="632921" y="787133"/>
                  <a:pt x="637320" y="769539"/>
                  <a:pt x="622658" y="773939"/>
                </a:cubicBezTo>
                <a:cubicBezTo>
                  <a:pt x="609466" y="775403"/>
                  <a:pt x="621193" y="813519"/>
                  <a:pt x="603600" y="809123"/>
                </a:cubicBezTo>
                <a:cubicBezTo>
                  <a:pt x="602135" y="794461"/>
                  <a:pt x="609466" y="765140"/>
                  <a:pt x="590408" y="773939"/>
                </a:cubicBezTo>
                <a:cubicBezTo>
                  <a:pt x="580145" y="787133"/>
                  <a:pt x="583077" y="819386"/>
                  <a:pt x="571347" y="828181"/>
                </a:cubicBezTo>
                <a:cubicBezTo>
                  <a:pt x="594804" y="832578"/>
                  <a:pt x="603600" y="889755"/>
                  <a:pt x="590408" y="917608"/>
                </a:cubicBezTo>
                <a:cubicBezTo>
                  <a:pt x="600668" y="930803"/>
                  <a:pt x="619726" y="929338"/>
                  <a:pt x="628524" y="943998"/>
                </a:cubicBezTo>
                <a:cubicBezTo>
                  <a:pt x="607999" y="946929"/>
                  <a:pt x="622658" y="1001172"/>
                  <a:pt x="603600" y="1007036"/>
                </a:cubicBezTo>
                <a:cubicBezTo>
                  <a:pt x="593337" y="999708"/>
                  <a:pt x="593337" y="974783"/>
                  <a:pt x="578678" y="971851"/>
                </a:cubicBezTo>
                <a:cubicBezTo>
                  <a:pt x="561087" y="1012902"/>
                  <a:pt x="571347" y="1055415"/>
                  <a:pt x="572814" y="1124319"/>
                </a:cubicBezTo>
                <a:cubicBezTo>
                  <a:pt x="562552" y="1112592"/>
                  <a:pt x="547893" y="1105261"/>
                  <a:pt x="547893" y="1078872"/>
                </a:cubicBezTo>
                <a:cubicBezTo>
                  <a:pt x="552289" y="1058349"/>
                  <a:pt x="547893" y="1040756"/>
                  <a:pt x="553756" y="1033425"/>
                </a:cubicBezTo>
                <a:cubicBezTo>
                  <a:pt x="559620" y="1027561"/>
                  <a:pt x="555221" y="952793"/>
                  <a:pt x="553756" y="943998"/>
                </a:cubicBezTo>
                <a:cubicBezTo>
                  <a:pt x="552289" y="933735"/>
                  <a:pt x="546425" y="932270"/>
                  <a:pt x="547893" y="917608"/>
                </a:cubicBezTo>
                <a:cubicBezTo>
                  <a:pt x="547893" y="908813"/>
                  <a:pt x="552289" y="907346"/>
                  <a:pt x="553756" y="900018"/>
                </a:cubicBezTo>
                <a:cubicBezTo>
                  <a:pt x="559620" y="869229"/>
                  <a:pt x="550824" y="842840"/>
                  <a:pt x="566951" y="836977"/>
                </a:cubicBezTo>
                <a:cubicBezTo>
                  <a:pt x="568415" y="817919"/>
                  <a:pt x="555221" y="803259"/>
                  <a:pt x="553756" y="801792"/>
                </a:cubicBezTo>
                <a:cubicBezTo>
                  <a:pt x="549357" y="797396"/>
                  <a:pt x="562552" y="785666"/>
                  <a:pt x="559620" y="775403"/>
                </a:cubicBezTo>
                <a:cubicBezTo>
                  <a:pt x="558152" y="771007"/>
                  <a:pt x="543493" y="776870"/>
                  <a:pt x="546425" y="766608"/>
                </a:cubicBezTo>
                <a:cubicBezTo>
                  <a:pt x="553756" y="702102"/>
                  <a:pt x="610931" y="743150"/>
                  <a:pt x="635852" y="757812"/>
                </a:cubicBezTo>
                <a:cubicBezTo>
                  <a:pt x="640252" y="735822"/>
                  <a:pt x="653446" y="725560"/>
                  <a:pt x="662242" y="712365"/>
                </a:cubicBezTo>
                <a:cubicBezTo>
                  <a:pt x="656378" y="672781"/>
                  <a:pt x="659310" y="652256"/>
                  <a:pt x="662242" y="596549"/>
                </a:cubicBezTo>
                <a:cubicBezTo>
                  <a:pt x="660043" y="589218"/>
                  <a:pt x="654547" y="581887"/>
                  <a:pt x="650698" y="574372"/>
                </a:cubicBezTo>
                <a:lnTo>
                  <a:pt x="650483" y="571342"/>
                </a:lnTo>
                <a:lnTo>
                  <a:pt x="652712" y="565577"/>
                </a:lnTo>
                <a:lnTo>
                  <a:pt x="649462" y="556943"/>
                </a:lnTo>
                <a:lnTo>
                  <a:pt x="649047" y="551101"/>
                </a:lnTo>
                <a:cubicBezTo>
                  <a:pt x="651979" y="545238"/>
                  <a:pt x="671040" y="556965"/>
                  <a:pt x="668105" y="542306"/>
                </a:cubicBezTo>
                <a:cubicBezTo>
                  <a:pt x="660777" y="540839"/>
                  <a:pt x="650514" y="543771"/>
                  <a:pt x="649047" y="533508"/>
                </a:cubicBezTo>
                <a:cubicBezTo>
                  <a:pt x="650514" y="518849"/>
                  <a:pt x="671040" y="545238"/>
                  <a:pt x="668105" y="507121"/>
                </a:cubicBezTo>
                <a:cubicBezTo>
                  <a:pt x="668105" y="495391"/>
                  <a:pt x="656378" y="499791"/>
                  <a:pt x="654911" y="489528"/>
                </a:cubicBezTo>
                <a:cubicBezTo>
                  <a:pt x="656378" y="471934"/>
                  <a:pt x="672504" y="471934"/>
                  <a:pt x="673969" y="454343"/>
                </a:cubicBezTo>
                <a:cubicBezTo>
                  <a:pt x="654911" y="425022"/>
                  <a:pt x="676903" y="386906"/>
                  <a:pt x="679835" y="356118"/>
                </a:cubicBezTo>
                <a:cubicBezTo>
                  <a:pt x="681300" y="345858"/>
                  <a:pt x="672504" y="344391"/>
                  <a:pt x="673969" y="329729"/>
                </a:cubicBezTo>
                <a:cubicBezTo>
                  <a:pt x="675436" y="309206"/>
                  <a:pt x="698893" y="266691"/>
                  <a:pt x="673969" y="266691"/>
                </a:cubicBezTo>
                <a:cubicBezTo>
                  <a:pt x="654911" y="279885"/>
                  <a:pt x="676903" y="347322"/>
                  <a:pt x="641719" y="338527"/>
                </a:cubicBezTo>
                <a:cubicBezTo>
                  <a:pt x="649047" y="287216"/>
                  <a:pt x="653446" y="269623"/>
                  <a:pt x="647582" y="213915"/>
                </a:cubicBezTo>
                <a:cubicBezTo>
                  <a:pt x="657845" y="215380"/>
                  <a:pt x="666641" y="212448"/>
                  <a:pt x="672504" y="205117"/>
                </a:cubicBezTo>
                <a:cubicBezTo>
                  <a:pt x="678368" y="177264"/>
                  <a:pt x="656378" y="187523"/>
                  <a:pt x="653446" y="169932"/>
                </a:cubicBezTo>
                <a:cubicBezTo>
                  <a:pt x="666641" y="153806"/>
                  <a:pt x="647582" y="150874"/>
                  <a:pt x="647582" y="134748"/>
                </a:cubicBezTo>
                <a:cubicBezTo>
                  <a:pt x="646115" y="124485"/>
                  <a:pt x="656378" y="123021"/>
                  <a:pt x="653446" y="108359"/>
                </a:cubicBezTo>
                <a:cubicBezTo>
                  <a:pt x="624125" y="103963"/>
                  <a:pt x="638787" y="152342"/>
                  <a:pt x="634388" y="180195"/>
                </a:cubicBezTo>
                <a:cubicBezTo>
                  <a:pt x="631456" y="203653"/>
                  <a:pt x="621193" y="238837"/>
                  <a:pt x="621193" y="243233"/>
                </a:cubicBezTo>
                <a:cubicBezTo>
                  <a:pt x="621193" y="246165"/>
                  <a:pt x="629989" y="241769"/>
                  <a:pt x="627057" y="252032"/>
                </a:cubicBezTo>
                <a:cubicBezTo>
                  <a:pt x="625590" y="254963"/>
                  <a:pt x="613862" y="256428"/>
                  <a:pt x="613862" y="260827"/>
                </a:cubicBezTo>
                <a:cubicBezTo>
                  <a:pt x="613862" y="250564"/>
                  <a:pt x="606532" y="253496"/>
                  <a:pt x="607999" y="269623"/>
                </a:cubicBezTo>
                <a:lnTo>
                  <a:pt x="607999" y="287216"/>
                </a:lnTo>
                <a:cubicBezTo>
                  <a:pt x="609466" y="301875"/>
                  <a:pt x="629989" y="275486"/>
                  <a:pt x="627057" y="313605"/>
                </a:cubicBezTo>
                <a:cubicBezTo>
                  <a:pt x="618262" y="310671"/>
                  <a:pt x="616794" y="303343"/>
                  <a:pt x="607999" y="313605"/>
                </a:cubicBezTo>
                <a:cubicBezTo>
                  <a:pt x="615330" y="345858"/>
                  <a:pt x="602135" y="375179"/>
                  <a:pt x="602135" y="403032"/>
                </a:cubicBezTo>
                <a:cubicBezTo>
                  <a:pt x="602135" y="400101"/>
                  <a:pt x="607999" y="408896"/>
                  <a:pt x="607999" y="411828"/>
                </a:cubicBezTo>
                <a:cubicBezTo>
                  <a:pt x="613862" y="448480"/>
                  <a:pt x="610931" y="507121"/>
                  <a:pt x="607999" y="536442"/>
                </a:cubicBezTo>
                <a:cubicBezTo>
                  <a:pt x="607999" y="543771"/>
                  <a:pt x="602135" y="546702"/>
                  <a:pt x="602135" y="554033"/>
                </a:cubicBezTo>
                <a:cubicBezTo>
                  <a:pt x="602135" y="567228"/>
                  <a:pt x="610931" y="567228"/>
                  <a:pt x="602135" y="580422"/>
                </a:cubicBezTo>
                <a:cubicBezTo>
                  <a:pt x="588941" y="600945"/>
                  <a:pt x="602135" y="605344"/>
                  <a:pt x="602135" y="625870"/>
                </a:cubicBezTo>
                <a:cubicBezTo>
                  <a:pt x="602135" y="622938"/>
                  <a:pt x="596272" y="630266"/>
                  <a:pt x="596272" y="634665"/>
                </a:cubicBezTo>
                <a:cubicBezTo>
                  <a:pt x="591872" y="663986"/>
                  <a:pt x="602135" y="672781"/>
                  <a:pt x="590408" y="688908"/>
                </a:cubicBezTo>
                <a:cubicBezTo>
                  <a:pt x="584542" y="696239"/>
                  <a:pt x="588941" y="716764"/>
                  <a:pt x="577213" y="715297"/>
                </a:cubicBezTo>
                <a:cubicBezTo>
                  <a:pt x="571347" y="699170"/>
                  <a:pt x="574279" y="669849"/>
                  <a:pt x="564016" y="661054"/>
                </a:cubicBezTo>
                <a:cubicBezTo>
                  <a:pt x="565483" y="684509"/>
                  <a:pt x="566951" y="705034"/>
                  <a:pt x="544958" y="696239"/>
                </a:cubicBezTo>
                <a:cubicBezTo>
                  <a:pt x="552289" y="655191"/>
                  <a:pt x="555221" y="596549"/>
                  <a:pt x="558152" y="571624"/>
                </a:cubicBezTo>
                <a:cubicBezTo>
                  <a:pt x="561087" y="536442"/>
                  <a:pt x="561087" y="520313"/>
                  <a:pt x="564016" y="499791"/>
                </a:cubicBezTo>
                <a:cubicBezTo>
                  <a:pt x="565483" y="493927"/>
                  <a:pt x="562552" y="488061"/>
                  <a:pt x="564016" y="482197"/>
                </a:cubicBezTo>
                <a:cubicBezTo>
                  <a:pt x="564016" y="479265"/>
                  <a:pt x="569883" y="470470"/>
                  <a:pt x="569883" y="473401"/>
                </a:cubicBezTo>
                <a:cubicBezTo>
                  <a:pt x="571347" y="458740"/>
                  <a:pt x="562552" y="442613"/>
                  <a:pt x="564016" y="427954"/>
                </a:cubicBezTo>
                <a:cubicBezTo>
                  <a:pt x="564016" y="417692"/>
                  <a:pt x="568415" y="414760"/>
                  <a:pt x="569883" y="401565"/>
                </a:cubicBezTo>
                <a:cubicBezTo>
                  <a:pt x="574279" y="363449"/>
                  <a:pt x="571347" y="338527"/>
                  <a:pt x="569883" y="329729"/>
                </a:cubicBezTo>
                <a:cubicBezTo>
                  <a:pt x="564016" y="303343"/>
                  <a:pt x="575746" y="293080"/>
                  <a:pt x="575746" y="284284"/>
                </a:cubicBezTo>
                <a:cubicBezTo>
                  <a:pt x="575746" y="278418"/>
                  <a:pt x="581610" y="275486"/>
                  <a:pt x="581610" y="275486"/>
                </a:cubicBezTo>
                <a:cubicBezTo>
                  <a:pt x="583077" y="265226"/>
                  <a:pt x="575746" y="247633"/>
                  <a:pt x="575746" y="230039"/>
                </a:cubicBezTo>
                <a:cubicBezTo>
                  <a:pt x="575746" y="221243"/>
                  <a:pt x="580145" y="219779"/>
                  <a:pt x="581610" y="212448"/>
                </a:cubicBezTo>
                <a:cubicBezTo>
                  <a:pt x="586009" y="177264"/>
                  <a:pt x="572814" y="177264"/>
                  <a:pt x="568415" y="167001"/>
                </a:cubicBezTo>
                <a:cubicBezTo>
                  <a:pt x="564016" y="156738"/>
                  <a:pt x="571347" y="133283"/>
                  <a:pt x="555221" y="140612"/>
                </a:cubicBezTo>
                <a:cubicBezTo>
                  <a:pt x="537630" y="136212"/>
                  <a:pt x="549357" y="169932"/>
                  <a:pt x="549357" y="175796"/>
                </a:cubicBezTo>
                <a:cubicBezTo>
                  <a:pt x="549357" y="183127"/>
                  <a:pt x="543493" y="183127"/>
                  <a:pt x="543493" y="184594"/>
                </a:cubicBezTo>
                <a:cubicBezTo>
                  <a:pt x="542026" y="193390"/>
                  <a:pt x="549357" y="191922"/>
                  <a:pt x="549357" y="193390"/>
                </a:cubicBezTo>
                <a:cubicBezTo>
                  <a:pt x="550824" y="200718"/>
                  <a:pt x="543493" y="202185"/>
                  <a:pt x="543493" y="202185"/>
                </a:cubicBezTo>
                <a:cubicBezTo>
                  <a:pt x="543493" y="216844"/>
                  <a:pt x="550824" y="224175"/>
                  <a:pt x="543493" y="228574"/>
                </a:cubicBezTo>
                <a:cubicBezTo>
                  <a:pt x="540562" y="243233"/>
                  <a:pt x="552289" y="250564"/>
                  <a:pt x="543493" y="254963"/>
                </a:cubicBezTo>
                <a:cubicBezTo>
                  <a:pt x="520036" y="263759"/>
                  <a:pt x="537630" y="216844"/>
                  <a:pt x="524435" y="210981"/>
                </a:cubicBezTo>
                <a:cubicBezTo>
                  <a:pt x="524435" y="193390"/>
                  <a:pt x="542026" y="200718"/>
                  <a:pt x="537630" y="175796"/>
                </a:cubicBezTo>
                <a:cubicBezTo>
                  <a:pt x="536162" y="161137"/>
                  <a:pt x="539094" y="147943"/>
                  <a:pt x="543493" y="140612"/>
                </a:cubicBezTo>
                <a:cubicBezTo>
                  <a:pt x="522968" y="131816"/>
                  <a:pt x="540562" y="123021"/>
                  <a:pt x="537630" y="95164"/>
                </a:cubicBezTo>
                <a:cubicBezTo>
                  <a:pt x="559620" y="111291"/>
                  <a:pt x="553756" y="89301"/>
                  <a:pt x="575746" y="86369"/>
                </a:cubicBezTo>
                <a:cubicBezTo>
                  <a:pt x="578678" y="102495"/>
                  <a:pt x="555221" y="124485"/>
                  <a:pt x="581610" y="121554"/>
                </a:cubicBezTo>
                <a:cubicBezTo>
                  <a:pt x="600668" y="115690"/>
                  <a:pt x="575746" y="102495"/>
                  <a:pt x="581610" y="86369"/>
                </a:cubicBezTo>
                <a:cubicBezTo>
                  <a:pt x="607999" y="95164"/>
                  <a:pt x="586009" y="54116"/>
                  <a:pt x="587473" y="59980"/>
                </a:cubicBezTo>
                <a:cubicBezTo>
                  <a:pt x="584542" y="52652"/>
                  <a:pt x="593337" y="40922"/>
                  <a:pt x="593337" y="42389"/>
                </a:cubicBezTo>
                <a:cubicBezTo>
                  <a:pt x="590408" y="21864"/>
                  <a:pt x="587473" y="11601"/>
                  <a:pt x="574279" y="16000"/>
                </a:cubicBezTo>
                <a:cubicBezTo>
                  <a:pt x="583077" y="83437"/>
                  <a:pt x="550824" y="62912"/>
                  <a:pt x="528834" y="70243"/>
                </a:cubicBezTo>
                <a:cubicBezTo>
                  <a:pt x="508309" y="117154"/>
                  <a:pt x="534698" y="188991"/>
                  <a:pt x="503910" y="231506"/>
                </a:cubicBezTo>
                <a:cubicBezTo>
                  <a:pt x="495114" y="228574"/>
                  <a:pt x="490715" y="219779"/>
                  <a:pt x="490715" y="205117"/>
                </a:cubicBezTo>
                <a:cubicBezTo>
                  <a:pt x="490715" y="193390"/>
                  <a:pt x="490715" y="181660"/>
                  <a:pt x="490715" y="169932"/>
                </a:cubicBezTo>
                <a:cubicBezTo>
                  <a:pt x="490715" y="164069"/>
                  <a:pt x="496582" y="161137"/>
                  <a:pt x="496582" y="161137"/>
                </a:cubicBezTo>
                <a:cubicBezTo>
                  <a:pt x="498046" y="147943"/>
                  <a:pt x="490715" y="125953"/>
                  <a:pt x="490715" y="115690"/>
                </a:cubicBezTo>
                <a:cubicBezTo>
                  <a:pt x="489251" y="95164"/>
                  <a:pt x="503910" y="59980"/>
                  <a:pt x="477521" y="70243"/>
                </a:cubicBezTo>
                <a:cubicBezTo>
                  <a:pt x="481920" y="108359"/>
                  <a:pt x="474589" y="131816"/>
                  <a:pt x="471657" y="150874"/>
                </a:cubicBezTo>
                <a:cubicBezTo>
                  <a:pt x="470193" y="164069"/>
                  <a:pt x="474589" y="183127"/>
                  <a:pt x="465793" y="186059"/>
                </a:cubicBezTo>
                <a:cubicBezTo>
                  <a:pt x="461394" y="213915"/>
                  <a:pt x="483384" y="203653"/>
                  <a:pt x="478988" y="231506"/>
                </a:cubicBezTo>
                <a:cubicBezTo>
                  <a:pt x="467261" y="240302"/>
                  <a:pt x="456998" y="249097"/>
                  <a:pt x="459930" y="276953"/>
                </a:cubicBezTo>
                <a:cubicBezTo>
                  <a:pt x="464326" y="278418"/>
                  <a:pt x="467261" y="284284"/>
                  <a:pt x="465793" y="294547"/>
                </a:cubicBezTo>
                <a:cubicBezTo>
                  <a:pt x="489251" y="296012"/>
                  <a:pt x="483384" y="304807"/>
                  <a:pt x="503910" y="294547"/>
                </a:cubicBezTo>
                <a:cubicBezTo>
                  <a:pt x="502445" y="316537"/>
                  <a:pt x="481920" y="312138"/>
                  <a:pt x="484852" y="339992"/>
                </a:cubicBezTo>
                <a:cubicBezTo>
                  <a:pt x="478988" y="359050"/>
                  <a:pt x="489251" y="375179"/>
                  <a:pt x="490715" y="394237"/>
                </a:cubicBezTo>
                <a:cubicBezTo>
                  <a:pt x="492183" y="403032"/>
                  <a:pt x="484852" y="404497"/>
                  <a:pt x="484852" y="411828"/>
                </a:cubicBezTo>
                <a:cubicBezTo>
                  <a:pt x="484852" y="408896"/>
                  <a:pt x="490715" y="417692"/>
                  <a:pt x="490715" y="420623"/>
                </a:cubicBezTo>
                <a:cubicBezTo>
                  <a:pt x="492916" y="435282"/>
                  <a:pt x="489984" y="444081"/>
                  <a:pt x="486319" y="451595"/>
                </a:cubicBezTo>
                <a:lnTo>
                  <a:pt x="479947" y="468452"/>
                </a:lnTo>
                <a:lnTo>
                  <a:pt x="481920" y="417692"/>
                </a:lnTo>
                <a:cubicBezTo>
                  <a:pt x="458463" y="408896"/>
                  <a:pt x="467258" y="447012"/>
                  <a:pt x="462862" y="463139"/>
                </a:cubicBezTo>
                <a:cubicBezTo>
                  <a:pt x="462862" y="466071"/>
                  <a:pt x="458463" y="464603"/>
                  <a:pt x="456995" y="471934"/>
                </a:cubicBezTo>
                <a:cubicBezTo>
                  <a:pt x="448200" y="523245"/>
                  <a:pt x="451132" y="581887"/>
                  <a:pt x="451132" y="641993"/>
                </a:cubicBezTo>
                <a:lnTo>
                  <a:pt x="464185" y="631699"/>
                </a:lnTo>
                <a:lnTo>
                  <a:pt x="464143" y="636496"/>
                </a:lnTo>
                <a:cubicBezTo>
                  <a:pt x="464326" y="643827"/>
                  <a:pt x="463595" y="650058"/>
                  <a:pt x="458463" y="650791"/>
                </a:cubicBezTo>
                <a:cubicBezTo>
                  <a:pt x="436473" y="665450"/>
                  <a:pt x="454066" y="621471"/>
                  <a:pt x="439404" y="624402"/>
                </a:cubicBezTo>
                <a:cubicBezTo>
                  <a:pt x="440872" y="640529"/>
                  <a:pt x="432073" y="643460"/>
                  <a:pt x="433541" y="659587"/>
                </a:cubicBezTo>
                <a:cubicBezTo>
                  <a:pt x="421814" y="671314"/>
                  <a:pt x="440872" y="707966"/>
                  <a:pt x="420346" y="722628"/>
                </a:cubicBezTo>
                <a:cubicBezTo>
                  <a:pt x="418882" y="715297"/>
                  <a:pt x="420346" y="705034"/>
                  <a:pt x="414483" y="705034"/>
                </a:cubicBezTo>
                <a:cubicBezTo>
                  <a:pt x="405687" y="744618"/>
                  <a:pt x="439404" y="724092"/>
                  <a:pt x="433541" y="759277"/>
                </a:cubicBezTo>
                <a:cubicBezTo>
                  <a:pt x="423278" y="787133"/>
                  <a:pt x="401288" y="794461"/>
                  <a:pt x="398356" y="831113"/>
                </a:cubicBezTo>
                <a:cubicBezTo>
                  <a:pt x="407152" y="848707"/>
                  <a:pt x="429144" y="836977"/>
                  <a:pt x="429144" y="867765"/>
                </a:cubicBezTo>
                <a:cubicBezTo>
                  <a:pt x="417414" y="869229"/>
                  <a:pt x="415950" y="857502"/>
                  <a:pt x="404220" y="858969"/>
                </a:cubicBezTo>
                <a:cubicBezTo>
                  <a:pt x="404220" y="902949"/>
                  <a:pt x="386629" y="904414"/>
                  <a:pt x="392493" y="941066"/>
                </a:cubicBezTo>
                <a:cubicBezTo>
                  <a:pt x="380763" y="961591"/>
                  <a:pt x="383694" y="960124"/>
                  <a:pt x="386629" y="976250"/>
                </a:cubicBezTo>
                <a:cubicBezTo>
                  <a:pt x="389561" y="995308"/>
                  <a:pt x="379298" y="1023162"/>
                  <a:pt x="392493" y="1021697"/>
                </a:cubicBezTo>
                <a:cubicBezTo>
                  <a:pt x="398356" y="1004104"/>
                  <a:pt x="402753" y="985046"/>
                  <a:pt x="405687" y="958659"/>
                </a:cubicBezTo>
                <a:cubicBezTo>
                  <a:pt x="407152" y="930803"/>
                  <a:pt x="398356" y="895618"/>
                  <a:pt x="411551" y="878028"/>
                </a:cubicBezTo>
                <a:cubicBezTo>
                  <a:pt x="426210" y="882424"/>
                  <a:pt x="411551" y="926404"/>
                  <a:pt x="424745" y="932270"/>
                </a:cubicBezTo>
                <a:cubicBezTo>
                  <a:pt x="401288" y="938134"/>
                  <a:pt x="421814" y="960124"/>
                  <a:pt x="418882" y="977718"/>
                </a:cubicBezTo>
                <a:cubicBezTo>
                  <a:pt x="415950" y="989445"/>
                  <a:pt x="408619" y="992377"/>
                  <a:pt x="405687" y="1004104"/>
                </a:cubicBezTo>
                <a:cubicBezTo>
                  <a:pt x="414483" y="1004104"/>
                  <a:pt x="421814" y="1007036"/>
                  <a:pt x="418882" y="1021697"/>
                </a:cubicBezTo>
                <a:cubicBezTo>
                  <a:pt x="418882" y="1034892"/>
                  <a:pt x="421814" y="1053950"/>
                  <a:pt x="413015" y="1056882"/>
                </a:cubicBezTo>
                <a:cubicBezTo>
                  <a:pt x="404220" y="1055415"/>
                  <a:pt x="402753" y="1042223"/>
                  <a:pt x="393957" y="1039291"/>
                </a:cubicBezTo>
                <a:cubicBezTo>
                  <a:pt x="392493" y="1051018"/>
                  <a:pt x="396889" y="1058349"/>
                  <a:pt x="399824" y="1065677"/>
                </a:cubicBezTo>
                <a:cubicBezTo>
                  <a:pt x="383694" y="1070077"/>
                  <a:pt x="371967" y="1090602"/>
                  <a:pt x="380763" y="1100865"/>
                </a:cubicBezTo>
                <a:cubicBezTo>
                  <a:pt x="386629" y="1105261"/>
                  <a:pt x="374899" y="1109660"/>
                  <a:pt x="374899" y="1109660"/>
                </a:cubicBezTo>
                <a:cubicBezTo>
                  <a:pt x="369035" y="1124319"/>
                  <a:pt x="376366" y="1124319"/>
                  <a:pt x="379298" y="1138981"/>
                </a:cubicBezTo>
                <a:cubicBezTo>
                  <a:pt x="380763" y="1152176"/>
                  <a:pt x="369035" y="1153640"/>
                  <a:pt x="369035" y="1160971"/>
                </a:cubicBezTo>
                <a:cubicBezTo>
                  <a:pt x="367571" y="1169766"/>
                  <a:pt x="376366" y="1174166"/>
                  <a:pt x="376366" y="1181497"/>
                </a:cubicBezTo>
                <a:cubicBezTo>
                  <a:pt x="367571" y="1184426"/>
                  <a:pt x="373434" y="1193224"/>
                  <a:pt x="360240" y="1188825"/>
                </a:cubicBezTo>
                <a:cubicBezTo>
                  <a:pt x="358773" y="1203487"/>
                  <a:pt x="366104" y="1232807"/>
                  <a:pt x="347045" y="1224009"/>
                </a:cubicBezTo>
                <a:cubicBezTo>
                  <a:pt x="354376" y="1243067"/>
                  <a:pt x="348513" y="1266525"/>
                  <a:pt x="352909" y="1287050"/>
                </a:cubicBezTo>
                <a:cubicBezTo>
                  <a:pt x="355841" y="1300245"/>
                  <a:pt x="370503" y="1306108"/>
                  <a:pt x="366104" y="1322235"/>
                </a:cubicBezTo>
                <a:cubicBezTo>
                  <a:pt x="349977" y="1326631"/>
                  <a:pt x="351442" y="1309040"/>
                  <a:pt x="344114" y="1319303"/>
                </a:cubicBezTo>
                <a:cubicBezTo>
                  <a:pt x="319192" y="1354487"/>
                  <a:pt x="333851" y="1468836"/>
                  <a:pt x="320656" y="1464440"/>
                </a:cubicBezTo>
                <a:cubicBezTo>
                  <a:pt x="310394" y="1464440"/>
                  <a:pt x="330919" y="1260661"/>
                  <a:pt x="332383" y="1256262"/>
                </a:cubicBezTo>
                <a:cubicBezTo>
                  <a:pt x="335318" y="1247466"/>
                  <a:pt x="332383" y="1222545"/>
                  <a:pt x="330919" y="1207883"/>
                </a:cubicBezTo>
                <a:cubicBezTo>
                  <a:pt x="329452" y="1204951"/>
                  <a:pt x="327987" y="1187360"/>
                  <a:pt x="327987" y="1184426"/>
                </a:cubicBezTo>
                <a:cubicBezTo>
                  <a:pt x="325055" y="1152176"/>
                  <a:pt x="333851" y="1178562"/>
                  <a:pt x="333851" y="1163903"/>
                </a:cubicBezTo>
                <a:cubicBezTo>
                  <a:pt x="335318" y="1146309"/>
                  <a:pt x="323588" y="1149241"/>
                  <a:pt x="330919" y="1140446"/>
                </a:cubicBezTo>
                <a:cubicBezTo>
                  <a:pt x="332383" y="1138981"/>
                  <a:pt x="330919" y="1125787"/>
                  <a:pt x="330919" y="1122855"/>
                </a:cubicBezTo>
                <a:cubicBezTo>
                  <a:pt x="332383" y="1096466"/>
                  <a:pt x="336783" y="1086203"/>
                  <a:pt x="336783" y="1077407"/>
                </a:cubicBezTo>
                <a:cubicBezTo>
                  <a:pt x="336783" y="1078872"/>
                  <a:pt x="330919" y="1075940"/>
                  <a:pt x="330919" y="1068609"/>
                </a:cubicBezTo>
                <a:cubicBezTo>
                  <a:pt x="330919" y="1064213"/>
                  <a:pt x="336783" y="1056882"/>
                  <a:pt x="336783" y="1059814"/>
                </a:cubicBezTo>
                <a:cubicBezTo>
                  <a:pt x="335318" y="1042223"/>
                  <a:pt x="327987" y="1036357"/>
                  <a:pt x="323588" y="1024629"/>
                </a:cubicBezTo>
                <a:cubicBezTo>
                  <a:pt x="338250" y="1027561"/>
                  <a:pt x="348513" y="1023162"/>
                  <a:pt x="355841" y="1015834"/>
                </a:cubicBezTo>
                <a:cubicBezTo>
                  <a:pt x="347779" y="994578"/>
                  <a:pt x="347412" y="967455"/>
                  <a:pt x="349244" y="942350"/>
                </a:cubicBezTo>
                <a:lnTo>
                  <a:pt x="349410" y="940795"/>
                </a:lnTo>
                <a:lnTo>
                  <a:pt x="353253" y="927092"/>
                </a:lnTo>
                <a:lnTo>
                  <a:pt x="351069" y="925354"/>
                </a:lnTo>
                <a:lnTo>
                  <a:pt x="354052" y="897616"/>
                </a:lnTo>
                <a:lnTo>
                  <a:pt x="355522" y="896214"/>
                </a:lnTo>
                <a:lnTo>
                  <a:pt x="354452" y="893889"/>
                </a:lnTo>
                <a:lnTo>
                  <a:pt x="355841" y="880959"/>
                </a:lnTo>
                <a:cubicBezTo>
                  <a:pt x="357308" y="864833"/>
                  <a:pt x="348513" y="860434"/>
                  <a:pt x="349977" y="845772"/>
                </a:cubicBezTo>
                <a:cubicBezTo>
                  <a:pt x="352909" y="831113"/>
                  <a:pt x="369035" y="825249"/>
                  <a:pt x="363172" y="810588"/>
                </a:cubicBezTo>
                <a:cubicBezTo>
                  <a:pt x="347045" y="798860"/>
                  <a:pt x="336783" y="836977"/>
                  <a:pt x="330919" y="810588"/>
                </a:cubicBezTo>
                <a:cubicBezTo>
                  <a:pt x="338250" y="776870"/>
                  <a:pt x="339714" y="769539"/>
                  <a:pt x="344114" y="747550"/>
                </a:cubicBezTo>
                <a:lnTo>
                  <a:pt x="363172" y="747550"/>
                </a:lnTo>
                <a:cubicBezTo>
                  <a:pt x="373434" y="716764"/>
                  <a:pt x="341182" y="743150"/>
                  <a:pt x="344114" y="721160"/>
                </a:cubicBezTo>
                <a:lnTo>
                  <a:pt x="348905" y="648071"/>
                </a:lnTo>
                <a:lnTo>
                  <a:pt x="362255" y="655191"/>
                </a:lnTo>
                <a:cubicBezTo>
                  <a:pt x="368302" y="656291"/>
                  <a:pt x="374165" y="658122"/>
                  <a:pt x="374899" y="666918"/>
                </a:cubicBezTo>
                <a:cubicBezTo>
                  <a:pt x="374899" y="680112"/>
                  <a:pt x="371967" y="699170"/>
                  <a:pt x="380763" y="702102"/>
                </a:cubicBezTo>
                <a:cubicBezTo>
                  <a:pt x="395422" y="683044"/>
                  <a:pt x="383694" y="658122"/>
                  <a:pt x="380763" y="639064"/>
                </a:cubicBezTo>
                <a:cubicBezTo>
                  <a:pt x="379295" y="637597"/>
                  <a:pt x="389558" y="633200"/>
                  <a:pt x="386626" y="621471"/>
                </a:cubicBezTo>
                <a:cubicBezTo>
                  <a:pt x="385162" y="618539"/>
                  <a:pt x="373432" y="617074"/>
                  <a:pt x="373432" y="612675"/>
                </a:cubicBezTo>
                <a:cubicBezTo>
                  <a:pt x="377097" y="646392"/>
                  <a:pt x="372701" y="644561"/>
                  <a:pt x="366470" y="639612"/>
                </a:cubicBezTo>
                <a:lnTo>
                  <a:pt x="348933" y="647665"/>
                </a:lnTo>
                <a:lnTo>
                  <a:pt x="349977" y="631733"/>
                </a:lnTo>
                <a:cubicBezTo>
                  <a:pt x="333851" y="620003"/>
                  <a:pt x="319192" y="652256"/>
                  <a:pt x="317724" y="631733"/>
                </a:cubicBezTo>
                <a:cubicBezTo>
                  <a:pt x="319192" y="609743"/>
                  <a:pt x="316257" y="587753"/>
                  <a:pt x="317724" y="577490"/>
                </a:cubicBezTo>
                <a:cubicBezTo>
                  <a:pt x="317724" y="574559"/>
                  <a:pt x="323588" y="565760"/>
                  <a:pt x="323588" y="568692"/>
                </a:cubicBezTo>
                <a:cubicBezTo>
                  <a:pt x="323588" y="559897"/>
                  <a:pt x="310394" y="534975"/>
                  <a:pt x="323588" y="533508"/>
                </a:cubicBezTo>
                <a:cubicBezTo>
                  <a:pt x="330919" y="534975"/>
                  <a:pt x="338250" y="549634"/>
                  <a:pt x="342646" y="533508"/>
                </a:cubicBezTo>
                <a:cubicBezTo>
                  <a:pt x="335318" y="530576"/>
                  <a:pt x="329452" y="533508"/>
                  <a:pt x="336783" y="524712"/>
                </a:cubicBezTo>
                <a:cubicBezTo>
                  <a:pt x="341182" y="520313"/>
                  <a:pt x="330919" y="514450"/>
                  <a:pt x="330919" y="515917"/>
                </a:cubicBezTo>
                <a:cubicBezTo>
                  <a:pt x="326520" y="482197"/>
                  <a:pt x="335318" y="473401"/>
                  <a:pt x="336783" y="452876"/>
                </a:cubicBezTo>
                <a:cubicBezTo>
                  <a:pt x="339714" y="422091"/>
                  <a:pt x="329452" y="373712"/>
                  <a:pt x="349977" y="372244"/>
                </a:cubicBezTo>
                <a:cubicBezTo>
                  <a:pt x="354376" y="394237"/>
                  <a:pt x="352909" y="395702"/>
                  <a:pt x="355841" y="435285"/>
                </a:cubicBezTo>
                <a:cubicBezTo>
                  <a:pt x="347045" y="433818"/>
                  <a:pt x="342646" y="420623"/>
                  <a:pt x="342646" y="444081"/>
                </a:cubicBezTo>
                <a:cubicBezTo>
                  <a:pt x="342646" y="460207"/>
                  <a:pt x="367571" y="452876"/>
                  <a:pt x="374899" y="452876"/>
                </a:cubicBezTo>
                <a:cubicBezTo>
                  <a:pt x="380763" y="452876"/>
                  <a:pt x="385162" y="463139"/>
                  <a:pt x="388093" y="461674"/>
                </a:cubicBezTo>
                <a:cubicBezTo>
                  <a:pt x="389561" y="461674"/>
                  <a:pt x="393957" y="441149"/>
                  <a:pt x="393957" y="435285"/>
                </a:cubicBezTo>
                <a:cubicBezTo>
                  <a:pt x="379298" y="417692"/>
                  <a:pt x="386629" y="436750"/>
                  <a:pt x="374899" y="444081"/>
                </a:cubicBezTo>
                <a:cubicBezTo>
                  <a:pt x="373434" y="432353"/>
                  <a:pt x="364636" y="429419"/>
                  <a:pt x="361704" y="417692"/>
                </a:cubicBezTo>
                <a:cubicBezTo>
                  <a:pt x="361704" y="394237"/>
                  <a:pt x="371967" y="400101"/>
                  <a:pt x="361704" y="382507"/>
                </a:cubicBezTo>
                <a:cubicBezTo>
                  <a:pt x="379298" y="383974"/>
                  <a:pt x="410083" y="360517"/>
                  <a:pt x="388093" y="337060"/>
                </a:cubicBezTo>
                <a:cubicBezTo>
                  <a:pt x="388093" y="347322"/>
                  <a:pt x="389561" y="361982"/>
                  <a:pt x="382230" y="363449"/>
                </a:cubicBezTo>
                <a:cubicBezTo>
                  <a:pt x="374901" y="353186"/>
                  <a:pt x="378565" y="337793"/>
                  <a:pt x="379848" y="323682"/>
                </a:cubicBezTo>
                <a:lnTo>
                  <a:pt x="378847" y="311035"/>
                </a:lnTo>
                <a:lnTo>
                  <a:pt x="380763" y="316537"/>
                </a:lnTo>
                <a:lnTo>
                  <a:pt x="399821" y="316537"/>
                </a:lnTo>
                <a:cubicBezTo>
                  <a:pt x="391025" y="300411"/>
                  <a:pt x="398353" y="263759"/>
                  <a:pt x="386626" y="253496"/>
                </a:cubicBezTo>
                <a:cubicBezTo>
                  <a:pt x="386626" y="267423"/>
                  <a:pt x="381862" y="278785"/>
                  <a:pt x="378747" y="288864"/>
                </a:cubicBezTo>
                <a:lnTo>
                  <a:pt x="376231" y="302538"/>
                </a:lnTo>
                <a:lnTo>
                  <a:pt x="363172" y="291613"/>
                </a:lnTo>
                <a:cubicBezTo>
                  <a:pt x="364636" y="318002"/>
                  <a:pt x="364636" y="341459"/>
                  <a:pt x="344114" y="337060"/>
                </a:cubicBezTo>
                <a:cubicBezTo>
                  <a:pt x="344114" y="328264"/>
                  <a:pt x="339714" y="326797"/>
                  <a:pt x="338250" y="319469"/>
                </a:cubicBezTo>
                <a:cubicBezTo>
                  <a:pt x="335318" y="310671"/>
                  <a:pt x="341182" y="313605"/>
                  <a:pt x="344114" y="310671"/>
                </a:cubicBezTo>
                <a:cubicBezTo>
                  <a:pt x="357308" y="294547"/>
                  <a:pt x="351442" y="253496"/>
                  <a:pt x="363172" y="238837"/>
                </a:cubicBezTo>
                <a:cubicBezTo>
                  <a:pt x="344114" y="237370"/>
                  <a:pt x="364636" y="183127"/>
                  <a:pt x="363172" y="193390"/>
                </a:cubicBezTo>
                <a:cubicBezTo>
                  <a:pt x="364636" y="187523"/>
                  <a:pt x="357308" y="181660"/>
                  <a:pt x="357308" y="184594"/>
                </a:cubicBezTo>
                <a:cubicBezTo>
                  <a:pt x="361704" y="150874"/>
                  <a:pt x="370503" y="121554"/>
                  <a:pt x="363172" y="86369"/>
                </a:cubicBezTo>
                <a:cubicBezTo>
                  <a:pt x="373434" y="87833"/>
                  <a:pt x="379298" y="79038"/>
                  <a:pt x="382230" y="68775"/>
                </a:cubicBezTo>
                <a:cubicBezTo>
                  <a:pt x="369035" y="64379"/>
                  <a:pt x="382230" y="45321"/>
                  <a:pt x="382230" y="33591"/>
                </a:cubicBezTo>
                <a:cubicBezTo>
                  <a:pt x="382962" y="25528"/>
                  <a:pt x="382229" y="16366"/>
                  <a:pt x="381680" y="7020"/>
                </a:cubicBezTo>
                <a:lnTo>
                  <a:pt x="381819" y="1"/>
                </a:lnTo>
                <a:lnTo>
                  <a:pt x="0" y="1"/>
                </a:ln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a:xfrm>
            <a:off x="515938" y="512763"/>
            <a:ext cx="6824662" cy="1296243"/>
          </a:xfrm>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a:xfrm>
            <a:off x="515937" y="2060575"/>
            <a:ext cx="6824663" cy="4284661"/>
          </a:xfrm>
        </p:spPr>
        <p:txBody>
          <a:bodyPr numCol="1"/>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GB"/>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Cadent Gas Ltd ©</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lvl1pPr>
              <a:defRPr>
                <a:solidFill>
                  <a:schemeClr val="bg1"/>
                </a:solidFill>
              </a:defRPr>
            </a:lvl1pPr>
          </a:lstStyle>
          <a:p>
            <a:fld id="{A8B7E462-AA7B-4427-9DF0-5AABDADAA92F}" type="slidenum">
              <a:rPr lang="en-GB" smtClean="0"/>
              <a:pPr/>
              <a:t>‹#›</a:t>
            </a:fld>
            <a:endParaRPr lang="en-GB"/>
          </a:p>
        </p:txBody>
      </p:sp>
    </p:spTree>
    <p:extLst>
      <p:ext uri="{BB962C8B-B14F-4D97-AF65-F5344CB8AC3E}">
        <p14:creationId xmlns:p14="http://schemas.microsoft.com/office/powerpoint/2010/main" val="3873092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ran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E01662-D38D-4B2F-9481-086DE5E5E275}"/>
              </a:ext>
            </a:extLst>
          </p:cNvPr>
          <p:cNvGraphicFramePr>
            <a:graphicFrameLocks noChangeAspect="1"/>
          </p:cNvGraphicFramePr>
          <p:nvPr userDrawn="1">
            <p:custDataLst>
              <p:tags r:id="rId1"/>
            </p:custDataLst>
            <p:extLst>
              <p:ext uri="{D42A27DB-BD31-4B8C-83A1-F6EECF244321}">
                <p14:modId xmlns:p14="http://schemas.microsoft.com/office/powerpoint/2010/main" val="4006421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A8E01662-D38D-4B2F-9481-086DE5E5E2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44B05E4-95FF-4C70-9A0F-D7F233E7F011}"/>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endParaRPr lang="en-GB"/>
          </a:p>
        </p:txBody>
      </p:sp>
      <p:pic>
        <p:nvPicPr>
          <p:cNvPr id="35" name="Graphic 34">
            <a:extLst>
              <a:ext uri="{FF2B5EF4-FFF2-40B4-BE49-F238E27FC236}">
                <a16:creationId xmlns:a16="http://schemas.microsoft.com/office/drawing/2014/main" id="{03A2F144-BB6E-45AD-9977-56E13084D865}"/>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sp>
        <p:nvSpPr>
          <p:cNvPr id="2" name="Title 1">
            <a:extLst>
              <a:ext uri="{FF2B5EF4-FFF2-40B4-BE49-F238E27FC236}">
                <a16:creationId xmlns:a16="http://schemas.microsoft.com/office/drawing/2014/main" id="{251BA626-BF6D-4627-BECB-E2DC0EA20DBF}"/>
              </a:ext>
            </a:extLst>
          </p:cNvPr>
          <p:cNvSpPr>
            <a:spLocks noGrp="1"/>
          </p:cNvSpPr>
          <p:nvPr>
            <p:ph type="ctrTitle"/>
          </p:nvPr>
        </p:nvSpPr>
        <p:spPr>
          <a:xfrm>
            <a:off x="515937" y="2060574"/>
            <a:ext cx="5220000" cy="2090511"/>
          </a:xfrm>
        </p:spPr>
        <p:txBody>
          <a:bodyPr vert="horz" anchor="b">
            <a:normAutofit/>
          </a:bodyPr>
          <a:lstStyle>
            <a:lvl1pPr algn="l">
              <a:lnSpc>
                <a:spcPct val="90000"/>
              </a:lnSpc>
              <a:defRPr sz="4000" spc="-150">
                <a:solidFill>
                  <a:schemeClr val="bg1"/>
                </a:solidFill>
                <a:latin typeface="+mj-lt"/>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07D63AD2-493A-40BC-942E-22F1C2128045}"/>
              </a:ext>
            </a:extLst>
          </p:cNvPr>
          <p:cNvSpPr>
            <a:spLocks noGrp="1"/>
          </p:cNvSpPr>
          <p:nvPr>
            <p:ph type="ftr" sz="quarter" idx="11"/>
          </p:nvPr>
        </p:nvSpPr>
        <p:spPr>
          <a:xfrm>
            <a:off x="515937" y="6498430"/>
            <a:ext cx="5220000" cy="108000"/>
          </a:xfrm>
        </p:spPr>
        <p:txBody>
          <a:bodyPr/>
          <a:lstStyle>
            <a:lvl1pPr>
              <a:defRPr>
                <a:solidFill>
                  <a:schemeClr val="bg1"/>
                </a:solidFill>
                <a:latin typeface="+mj-lt"/>
              </a:defRPr>
            </a:lvl1pPr>
          </a:lstStyle>
          <a:p>
            <a:r>
              <a:rPr lang="en-US"/>
              <a:t>To change the footer go to menu "Insert" &gt; "Header and Footer" &gt; "Apply to All"</a:t>
            </a:r>
            <a:endParaRPr lang="en-GB"/>
          </a:p>
        </p:txBody>
      </p:sp>
      <p:sp>
        <p:nvSpPr>
          <p:cNvPr id="22" name="Text Placeholder 21">
            <a:extLst>
              <a:ext uri="{FF2B5EF4-FFF2-40B4-BE49-F238E27FC236}">
                <a16:creationId xmlns:a16="http://schemas.microsoft.com/office/drawing/2014/main" id="{9C58B583-4DDF-431F-8E2D-57430F7F465A}"/>
              </a:ext>
            </a:extLst>
          </p:cNvPr>
          <p:cNvSpPr>
            <a:spLocks noGrp="1"/>
          </p:cNvSpPr>
          <p:nvPr>
            <p:ph type="body" sz="quarter" idx="12"/>
          </p:nvPr>
        </p:nvSpPr>
        <p:spPr>
          <a:xfrm>
            <a:off x="515937" y="4911726"/>
            <a:ext cx="5220000" cy="1477962"/>
          </a:xfrm>
        </p:spPr>
        <p:txBody>
          <a:bodyPr>
            <a:norm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spcBef>
                <a:spcPts val="0"/>
              </a:spcBef>
              <a:buNone/>
              <a:defRPr sz="1600" b="1">
                <a:solidFill>
                  <a:schemeClr val="bg1">
                    <a:alpha val="50000"/>
                  </a:schemeClr>
                </a:solidFill>
                <a:latin typeface="+mj-lt"/>
              </a:defRPr>
            </a:lvl2pPr>
            <a:lvl3pPr marL="0" indent="0">
              <a:lnSpc>
                <a:spcPct val="90000"/>
              </a:lnSpc>
              <a:spcBef>
                <a:spcPts val="0"/>
              </a:spcBef>
              <a:buNone/>
              <a:defRPr sz="1600" b="1">
                <a:solidFill>
                  <a:schemeClr val="bg1">
                    <a:alpha val="50000"/>
                  </a:schemeClr>
                </a:solidFill>
                <a:latin typeface="+mj-lt"/>
              </a:defRPr>
            </a:lvl3pPr>
            <a:lvl4pPr marL="0" indent="0">
              <a:lnSpc>
                <a:spcPct val="90000"/>
              </a:lnSpc>
              <a:spcBef>
                <a:spcPts val="0"/>
              </a:spcBef>
              <a:buNone/>
              <a:defRPr sz="1600" b="1">
                <a:solidFill>
                  <a:schemeClr val="bg1">
                    <a:alpha val="50000"/>
                  </a:schemeClr>
                </a:solidFill>
                <a:latin typeface="+mj-lt"/>
              </a:defRPr>
            </a:lvl4pPr>
            <a:lvl5pPr marL="0" indent="0">
              <a:lnSpc>
                <a:spcPct val="90000"/>
              </a:lnSpc>
              <a:spcBef>
                <a:spcPts val="0"/>
              </a:spcBef>
              <a:buNone/>
              <a:defRPr sz="1600" b="1">
                <a:solidFill>
                  <a:schemeClr val="bg1">
                    <a:alpha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Graphic 10">
            <a:extLst>
              <a:ext uri="{FF2B5EF4-FFF2-40B4-BE49-F238E27FC236}">
                <a16:creationId xmlns:a16="http://schemas.microsoft.com/office/drawing/2014/main" id="{7DDE59CB-BB50-2D38-EFDD-FF9AA4E4D69E}"/>
              </a:ext>
            </a:extLst>
          </p:cNvPr>
          <p:cNvPicPr>
            <a:picLocks noChangeAspect="1"/>
          </p:cNvPicPr>
          <p:nvPr userDrawn="1"/>
        </p:nvPicPr>
        <p:blipFill>
          <a:blip r:embed="rId7"/>
          <a:srcRect/>
          <a:stretch/>
        </p:blipFill>
        <p:spPr>
          <a:xfrm>
            <a:off x="450102" y="417512"/>
            <a:ext cx="2118750" cy="1365250"/>
          </a:xfrm>
          <a:prstGeom prst="rect">
            <a:avLst/>
          </a:prstGeom>
        </p:spPr>
      </p:pic>
    </p:spTree>
    <p:extLst>
      <p:ext uri="{BB962C8B-B14F-4D97-AF65-F5344CB8AC3E}">
        <p14:creationId xmlns:p14="http://schemas.microsoft.com/office/powerpoint/2010/main" val="31615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E01662-D38D-4B2F-9481-086DE5E5E275}"/>
              </a:ext>
            </a:extLst>
          </p:cNvPr>
          <p:cNvGraphicFramePr>
            <a:graphicFrameLocks noChangeAspect="1"/>
          </p:cNvGraphicFramePr>
          <p:nvPr userDrawn="1">
            <p:custDataLst>
              <p:tags r:id="rId1"/>
            </p:custDataLst>
            <p:extLst>
              <p:ext uri="{D42A27DB-BD31-4B8C-83A1-F6EECF244321}">
                <p14:modId xmlns:p14="http://schemas.microsoft.com/office/powerpoint/2010/main" val="2015790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A8E01662-D38D-4B2F-9481-086DE5E5E2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44B05E4-95FF-4C70-9A0F-D7F233E7F011}"/>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endParaRPr lang="en-GB"/>
          </a:p>
        </p:txBody>
      </p:sp>
      <p:pic>
        <p:nvPicPr>
          <p:cNvPr id="35" name="Graphic 34">
            <a:extLst>
              <a:ext uri="{FF2B5EF4-FFF2-40B4-BE49-F238E27FC236}">
                <a16:creationId xmlns:a16="http://schemas.microsoft.com/office/drawing/2014/main" id="{03A2F144-BB6E-45AD-9977-56E13084D865}"/>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sp>
        <p:nvSpPr>
          <p:cNvPr id="2" name="Title 1">
            <a:extLst>
              <a:ext uri="{FF2B5EF4-FFF2-40B4-BE49-F238E27FC236}">
                <a16:creationId xmlns:a16="http://schemas.microsoft.com/office/drawing/2014/main" id="{251BA626-BF6D-4627-BECB-E2DC0EA20DBF}"/>
              </a:ext>
            </a:extLst>
          </p:cNvPr>
          <p:cNvSpPr>
            <a:spLocks noGrp="1"/>
          </p:cNvSpPr>
          <p:nvPr>
            <p:ph type="ctrTitle"/>
          </p:nvPr>
        </p:nvSpPr>
        <p:spPr>
          <a:xfrm>
            <a:off x="515937" y="2060574"/>
            <a:ext cx="5220000" cy="2090511"/>
          </a:xfrm>
        </p:spPr>
        <p:txBody>
          <a:bodyPr vert="horz" anchor="b">
            <a:normAutofit/>
          </a:bodyPr>
          <a:lstStyle>
            <a:lvl1pPr algn="l">
              <a:lnSpc>
                <a:spcPct val="90000"/>
              </a:lnSpc>
              <a:defRPr sz="4000" spc="-150">
                <a:solidFill>
                  <a:schemeClr val="tx1"/>
                </a:solidFill>
                <a:latin typeface="+mj-lt"/>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07D63AD2-493A-40BC-942E-22F1C2128045}"/>
              </a:ext>
            </a:extLst>
          </p:cNvPr>
          <p:cNvSpPr>
            <a:spLocks noGrp="1"/>
          </p:cNvSpPr>
          <p:nvPr>
            <p:ph type="ftr" sz="quarter" idx="11"/>
          </p:nvPr>
        </p:nvSpPr>
        <p:spPr>
          <a:xfrm>
            <a:off x="515937" y="6498430"/>
            <a:ext cx="5220000" cy="108000"/>
          </a:xfrm>
        </p:spPr>
        <p:txBody>
          <a:bodyPr/>
          <a:lstStyle>
            <a:lvl1pPr>
              <a:defRPr>
                <a:solidFill>
                  <a:schemeClr val="tx1"/>
                </a:solidFill>
                <a:latin typeface="+mj-lt"/>
              </a:defRPr>
            </a:lvl1pPr>
          </a:lstStyle>
          <a:p>
            <a:r>
              <a:rPr lang="en-US"/>
              <a:t>To change the footer go to menu "Insert" &gt; "Header and Footer" &gt; "Apply to All"</a:t>
            </a:r>
            <a:endParaRPr lang="en-GB"/>
          </a:p>
        </p:txBody>
      </p:sp>
      <p:sp>
        <p:nvSpPr>
          <p:cNvPr id="22" name="Text Placeholder 21">
            <a:extLst>
              <a:ext uri="{FF2B5EF4-FFF2-40B4-BE49-F238E27FC236}">
                <a16:creationId xmlns:a16="http://schemas.microsoft.com/office/drawing/2014/main" id="{9C58B583-4DDF-431F-8E2D-57430F7F465A}"/>
              </a:ext>
            </a:extLst>
          </p:cNvPr>
          <p:cNvSpPr>
            <a:spLocks noGrp="1"/>
          </p:cNvSpPr>
          <p:nvPr>
            <p:ph type="body" sz="quarter" idx="12"/>
          </p:nvPr>
        </p:nvSpPr>
        <p:spPr>
          <a:xfrm>
            <a:off x="515937" y="4911726"/>
            <a:ext cx="5220000" cy="1477962"/>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Graphic 10">
            <a:extLst>
              <a:ext uri="{FF2B5EF4-FFF2-40B4-BE49-F238E27FC236}">
                <a16:creationId xmlns:a16="http://schemas.microsoft.com/office/drawing/2014/main" id="{3E0CDFFA-B777-9129-B709-567AD2236FBB}"/>
              </a:ext>
            </a:extLst>
          </p:cNvPr>
          <p:cNvPicPr>
            <a:picLocks noChangeAspect="1"/>
          </p:cNvPicPr>
          <p:nvPr userDrawn="1"/>
        </p:nvPicPr>
        <p:blipFill>
          <a:blip r:embed="rId7"/>
          <a:srcRect/>
          <a:stretch/>
        </p:blipFill>
        <p:spPr>
          <a:xfrm>
            <a:off x="450102" y="417511"/>
            <a:ext cx="2118750" cy="1365252"/>
          </a:xfrm>
          <a:prstGeom prst="rect">
            <a:avLst/>
          </a:prstGeom>
        </p:spPr>
      </p:pic>
    </p:spTree>
    <p:extLst>
      <p:ext uri="{BB962C8B-B14F-4D97-AF65-F5344CB8AC3E}">
        <p14:creationId xmlns:p14="http://schemas.microsoft.com/office/powerpoint/2010/main" val="368756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0C79BCC-E0EA-4791-A12C-52CA39DE2E42}"/>
              </a:ext>
            </a:extLst>
          </p:cNvPr>
          <p:cNvGraphicFramePr>
            <a:graphicFrameLocks noChangeAspect="1"/>
          </p:cNvGraphicFramePr>
          <p:nvPr userDrawn="1">
            <p:custDataLst>
              <p:tags r:id="rId1"/>
            </p:custDataLst>
            <p:extLst>
              <p:ext uri="{D42A27DB-BD31-4B8C-83A1-F6EECF244321}">
                <p14:modId xmlns:p14="http://schemas.microsoft.com/office/powerpoint/2010/main" val="2424550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10C79BCC-E0EA-4791-A12C-52CA39DE2E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C25AA08D-1ABB-49B1-B0DB-DAFABB5F3D46}"/>
              </a:ext>
            </a:extLst>
          </p:cNvPr>
          <p:cNvSpPr>
            <a:spLocks noGrp="1"/>
          </p:cNvSpPr>
          <p:nvPr>
            <p:ph type="title"/>
          </p:nvPr>
        </p:nvSpPr>
        <p:spPr/>
        <p:txBody>
          <a:bodyPr vert="horz"/>
          <a:lstStyle>
            <a:lvl1pPr>
              <a:defRPr>
                <a:solidFill>
                  <a:schemeClr val="accent1"/>
                </a:solidFill>
              </a:defRPr>
            </a:lvl1pPr>
          </a:lstStyle>
          <a:p>
            <a:r>
              <a:rPr lang="en-US"/>
              <a:t>Click to edit Master title style</a:t>
            </a:r>
            <a:endParaRPr lang="en-GB"/>
          </a:p>
        </p:txBody>
      </p:sp>
      <p:sp>
        <p:nvSpPr>
          <p:cNvPr id="10" name="Freeform: Shape 9">
            <a:extLst>
              <a:ext uri="{FF2B5EF4-FFF2-40B4-BE49-F238E27FC236}">
                <a16:creationId xmlns:a16="http://schemas.microsoft.com/office/drawing/2014/main" id="{0DFEDEDF-715D-485C-AF9E-616FAAF831C3}"/>
              </a:ext>
            </a:extLst>
          </p:cNvPr>
          <p:cNvSpPr/>
          <p:nvPr userDrawn="1"/>
        </p:nvSpPr>
        <p:spPr>
          <a:xfrm rot="5400000" flipH="1">
            <a:off x="3454397" y="-2044701"/>
            <a:ext cx="4838702" cy="11747497"/>
          </a:xfrm>
          <a:custGeom>
            <a:avLst/>
            <a:gdLst>
              <a:gd name="connsiteX0" fmla="*/ 19499 w 4838702"/>
              <a:gd name="connsiteY0" fmla="*/ 279879 h 11747497"/>
              <a:gd name="connsiteX1" fmla="*/ 15051 w 4838702"/>
              <a:gd name="connsiteY1" fmla="*/ 265258 h 11747497"/>
              <a:gd name="connsiteX2" fmla="*/ 16654 w 4838702"/>
              <a:gd name="connsiteY2" fmla="*/ 306841 h 11747497"/>
              <a:gd name="connsiteX3" fmla="*/ 19499 w 4838702"/>
              <a:gd name="connsiteY3" fmla="*/ 279879 h 11747497"/>
              <a:gd name="connsiteX4" fmla="*/ 31653 w 4838702"/>
              <a:gd name="connsiteY4" fmla="*/ 6254243 h 11747497"/>
              <a:gd name="connsiteX5" fmla="*/ 31135 w 4838702"/>
              <a:gd name="connsiteY5" fmla="*/ 6252848 h 11747497"/>
              <a:gd name="connsiteX6" fmla="*/ 31135 w 4838702"/>
              <a:gd name="connsiteY6" fmla="*/ 6323448 h 11747497"/>
              <a:gd name="connsiteX7" fmla="*/ 31239 w 4838702"/>
              <a:gd name="connsiteY7" fmla="*/ 6323549 h 11747497"/>
              <a:gd name="connsiteX8" fmla="*/ 32894 w 4838702"/>
              <a:gd name="connsiteY8" fmla="*/ 6670175 h 11747497"/>
              <a:gd name="connsiteX9" fmla="*/ 32170 w 4838702"/>
              <a:gd name="connsiteY9" fmla="*/ 6476120 h 11747497"/>
              <a:gd name="connsiteX10" fmla="*/ 31135 w 4838702"/>
              <a:gd name="connsiteY10" fmla="*/ 6435435 h 11747497"/>
              <a:gd name="connsiteX11" fmla="*/ 31135 w 4838702"/>
              <a:gd name="connsiteY11" fmla="*/ 6679249 h 11747497"/>
              <a:gd name="connsiteX12" fmla="*/ 32894 w 4838702"/>
              <a:gd name="connsiteY12" fmla="*/ 6670175 h 11747497"/>
              <a:gd name="connsiteX13" fmla="*/ 33308 w 4838702"/>
              <a:gd name="connsiteY13" fmla="*/ 6919775 h 11747497"/>
              <a:gd name="connsiteX14" fmla="*/ 31188 w 4838702"/>
              <a:gd name="connsiteY14" fmla="*/ 6919675 h 11747497"/>
              <a:gd name="connsiteX15" fmla="*/ 31188 w 4838702"/>
              <a:gd name="connsiteY15" fmla="*/ 6975019 h 11747497"/>
              <a:gd name="connsiteX16" fmla="*/ 33308 w 4838702"/>
              <a:gd name="connsiteY16" fmla="*/ 6919775 h 11747497"/>
              <a:gd name="connsiteX17" fmla="*/ 37342 w 4838702"/>
              <a:gd name="connsiteY17" fmla="*/ 4937539 h 11747497"/>
              <a:gd name="connsiteX18" fmla="*/ 32067 w 4838702"/>
              <a:gd name="connsiteY18" fmla="*/ 4909718 h 11747497"/>
              <a:gd name="connsiteX19" fmla="*/ 31135 w 4838702"/>
              <a:gd name="connsiteY19" fmla="*/ 4917097 h 11747497"/>
              <a:gd name="connsiteX20" fmla="*/ 31135 w 4838702"/>
              <a:gd name="connsiteY20" fmla="*/ 5039354 h 11747497"/>
              <a:gd name="connsiteX21" fmla="*/ 31291 w 4838702"/>
              <a:gd name="connsiteY21" fmla="*/ 5048329 h 11747497"/>
              <a:gd name="connsiteX22" fmla="*/ 31135 w 4838702"/>
              <a:gd name="connsiteY22" fmla="*/ 5087020 h 11747497"/>
              <a:gd name="connsiteX23" fmla="*/ 31135 w 4838702"/>
              <a:gd name="connsiteY23" fmla="*/ 5189533 h 11747497"/>
              <a:gd name="connsiteX24" fmla="*/ 35739 w 4838702"/>
              <a:gd name="connsiteY24" fmla="*/ 5214762 h 11747497"/>
              <a:gd name="connsiteX25" fmla="*/ 34342 w 4838702"/>
              <a:gd name="connsiteY25" fmla="*/ 5145456 h 11747497"/>
              <a:gd name="connsiteX26" fmla="*/ 37187 w 4838702"/>
              <a:gd name="connsiteY26" fmla="*/ 4965262 h 11747497"/>
              <a:gd name="connsiteX27" fmla="*/ 37342 w 4838702"/>
              <a:gd name="connsiteY27" fmla="*/ 4937539 h 11747497"/>
              <a:gd name="connsiteX28" fmla="*/ 37704 w 4838702"/>
              <a:gd name="connsiteY28" fmla="*/ 5838610 h 11747497"/>
              <a:gd name="connsiteX29" fmla="*/ 36411 w 4838702"/>
              <a:gd name="connsiteY29" fmla="*/ 5741483 h 11747497"/>
              <a:gd name="connsiteX30" fmla="*/ 31188 w 4838702"/>
              <a:gd name="connsiteY30" fmla="*/ 5728220 h 11747497"/>
              <a:gd name="connsiteX31" fmla="*/ 31188 w 4838702"/>
              <a:gd name="connsiteY31" fmla="*/ 5863739 h 11747497"/>
              <a:gd name="connsiteX32" fmla="*/ 37704 w 4838702"/>
              <a:gd name="connsiteY32" fmla="*/ 5838610 h 11747497"/>
              <a:gd name="connsiteX33" fmla="*/ 39463 w 4838702"/>
              <a:gd name="connsiteY33" fmla="*/ 5519806 h 11747497"/>
              <a:gd name="connsiteX34" fmla="*/ 32377 w 4838702"/>
              <a:gd name="connsiteY34" fmla="*/ 5491883 h 11747497"/>
              <a:gd name="connsiteX35" fmla="*/ 32118 w 4838702"/>
              <a:gd name="connsiteY35" fmla="*/ 5533367 h 11747497"/>
              <a:gd name="connsiteX36" fmla="*/ 39463 w 4838702"/>
              <a:gd name="connsiteY36" fmla="*/ 5519806 h 11747497"/>
              <a:gd name="connsiteX37" fmla="*/ 41169 w 4838702"/>
              <a:gd name="connsiteY37" fmla="*/ 3634597 h 11747497"/>
              <a:gd name="connsiteX38" fmla="*/ 31135 w 4838702"/>
              <a:gd name="connsiteY38" fmla="*/ 3635994 h 11747497"/>
              <a:gd name="connsiteX39" fmla="*/ 31135 w 4838702"/>
              <a:gd name="connsiteY39" fmla="*/ 3728135 h 11747497"/>
              <a:gd name="connsiteX40" fmla="*/ 41169 w 4838702"/>
              <a:gd name="connsiteY40" fmla="*/ 3634597 h 11747497"/>
              <a:gd name="connsiteX41" fmla="*/ 44085 w 4838702"/>
              <a:gd name="connsiteY41" fmla="*/ 6411589 h 11747497"/>
              <a:gd name="connsiteX42" fmla="*/ 43652 w 4838702"/>
              <a:gd name="connsiteY42" fmla="*/ 6379392 h 11747497"/>
              <a:gd name="connsiteX43" fmla="*/ 35894 w 4838702"/>
              <a:gd name="connsiteY43" fmla="*/ 6462360 h 11747497"/>
              <a:gd name="connsiteX44" fmla="*/ 39670 w 4838702"/>
              <a:gd name="connsiteY44" fmla="*/ 6434737 h 11747497"/>
              <a:gd name="connsiteX45" fmla="*/ 44085 w 4838702"/>
              <a:gd name="connsiteY45" fmla="*/ 6411589 h 11747497"/>
              <a:gd name="connsiteX46" fmla="*/ 45772 w 4838702"/>
              <a:gd name="connsiteY46" fmla="*/ 4185838 h 11747497"/>
              <a:gd name="connsiteX47" fmla="*/ 45462 w 4838702"/>
              <a:gd name="connsiteY47" fmla="*/ 4147359 h 11747497"/>
              <a:gd name="connsiteX48" fmla="*/ 41997 w 4838702"/>
              <a:gd name="connsiteY48" fmla="*/ 4119536 h 11747497"/>
              <a:gd name="connsiteX49" fmla="*/ 38583 w 4838702"/>
              <a:gd name="connsiteY49" fmla="*/ 4077954 h 11747497"/>
              <a:gd name="connsiteX50" fmla="*/ 38118 w 4838702"/>
              <a:gd name="connsiteY50" fmla="*/ 4161119 h 11747497"/>
              <a:gd name="connsiteX51" fmla="*/ 41583 w 4838702"/>
              <a:gd name="connsiteY51" fmla="*/ 4188941 h 11747497"/>
              <a:gd name="connsiteX52" fmla="*/ 37704 w 4838702"/>
              <a:gd name="connsiteY52" fmla="*/ 4230425 h 11747497"/>
              <a:gd name="connsiteX53" fmla="*/ 31135 w 4838702"/>
              <a:gd name="connsiteY53" fmla="*/ 4218259 h 11747497"/>
              <a:gd name="connsiteX54" fmla="*/ 31135 w 4838702"/>
              <a:gd name="connsiteY54" fmla="*/ 4258247 h 11747497"/>
              <a:gd name="connsiteX55" fmla="*/ 37652 w 4838702"/>
              <a:gd name="connsiteY55" fmla="*/ 4244386 h 11747497"/>
              <a:gd name="connsiteX56" fmla="*/ 40807 w 4838702"/>
              <a:gd name="connsiteY56" fmla="*/ 4327653 h 11747497"/>
              <a:gd name="connsiteX57" fmla="*/ 38997 w 4838702"/>
              <a:gd name="connsiteY57" fmla="*/ 4327553 h 11747497"/>
              <a:gd name="connsiteX58" fmla="*/ 36928 w 4838702"/>
              <a:gd name="connsiteY58" fmla="*/ 4369036 h 11747497"/>
              <a:gd name="connsiteX59" fmla="*/ 35997 w 4838702"/>
              <a:gd name="connsiteY59" fmla="*/ 4535369 h 11747497"/>
              <a:gd name="connsiteX60" fmla="*/ 35687 w 4838702"/>
              <a:gd name="connsiteY60" fmla="*/ 4590814 h 11747497"/>
              <a:gd name="connsiteX61" fmla="*/ 31135 w 4838702"/>
              <a:gd name="connsiteY61" fmla="*/ 4600387 h 11747497"/>
              <a:gd name="connsiteX62" fmla="*/ 31135 w 4838702"/>
              <a:gd name="connsiteY62" fmla="*/ 4799228 h 11747497"/>
              <a:gd name="connsiteX63" fmla="*/ 36307 w 4838702"/>
              <a:gd name="connsiteY63" fmla="*/ 4798829 h 11747497"/>
              <a:gd name="connsiteX64" fmla="*/ 38583 w 4838702"/>
              <a:gd name="connsiteY64" fmla="*/ 4715662 h 11747497"/>
              <a:gd name="connsiteX65" fmla="*/ 39049 w 4838702"/>
              <a:gd name="connsiteY65" fmla="*/ 4632497 h 11747497"/>
              <a:gd name="connsiteX66" fmla="*/ 39204 w 4838702"/>
              <a:gd name="connsiteY66" fmla="*/ 4604774 h 11747497"/>
              <a:gd name="connsiteX67" fmla="*/ 39514 w 4838702"/>
              <a:gd name="connsiteY67" fmla="*/ 4549329 h 11747497"/>
              <a:gd name="connsiteX68" fmla="*/ 39773 w 4838702"/>
              <a:gd name="connsiteY68" fmla="*/ 4507746 h 11747497"/>
              <a:gd name="connsiteX69" fmla="*/ 41894 w 4838702"/>
              <a:gd name="connsiteY69" fmla="*/ 4452302 h 11747497"/>
              <a:gd name="connsiteX70" fmla="*/ 43807 w 4838702"/>
              <a:gd name="connsiteY70" fmla="*/ 4438441 h 11747497"/>
              <a:gd name="connsiteX71" fmla="*/ 42307 w 4838702"/>
              <a:gd name="connsiteY71" fmla="*/ 4382897 h 11747497"/>
              <a:gd name="connsiteX72" fmla="*/ 44376 w 4838702"/>
              <a:gd name="connsiteY72" fmla="*/ 4341413 h 11747497"/>
              <a:gd name="connsiteX73" fmla="*/ 44686 w 4838702"/>
              <a:gd name="connsiteY73" fmla="*/ 4285970 h 11747497"/>
              <a:gd name="connsiteX74" fmla="*/ 44997 w 4838702"/>
              <a:gd name="connsiteY74" fmla="*/ 4230525 h 11747497"/>
              <a:gd name="connsiteX75" fmla="*/ 45772 w 4838702"/>
              <a:gd name="connsiteY75" fmla="*/ 4185838 h 11747497"/>
              <a:gd name="connsiteX76" fmla="*/ 46820 w 4838702"/>
              <a:gd name="connsiteY76" fmla="*/ 969580 h 11747497"/>
              <a:gd name="connsiteX77" fmla="*/ 44790 w 4838702"/>
              <a:gd name="connsiteY77" fmla="*/ 1097820 h 11747497"/>
              <a:gd name="connsiteX78" fmla="*/ 35635 w 4838702"/>
              <a:gd name="connsiteY78" fmla="*/ 1111382 h 11747497"/>
              <a:gd name="connsiteX79" fmla="*/ 39100 w 4838702"/>
              <a:gd name="connsiteY79" fmla="*/ 1139204 h 11747497"/>
              <a:gd name="connsiteX80" fmla="*/ 38325 w 4838702"/>
              <a:gd name="connsiteY80" fmla="*/ 1277814 h 11747497"/>
              <a:gd name="connsiteX81" fmla="*/ 32739 w 4838702"/>
              <a:gd name="connsiteY81" fmla="*/ 1305437 h 11747497"/>
              <a:gd name="connsiteX82" fmla="*/ 26895 w 4838702"/>
              <a:gd name="connsiteY82" fmla="*/ 1374543 h 11747497"/>
              <a:gd name="connsiteX83" fmla="*/ 25240 w 4838702"/>
              <a:gd name="connsiteY83" fmla="*/ 1346821 h 11747497"/>
              <a:gd name="connsiteX84" fmla="*/ 17895 w 4838702"/>
              <a:gd name="connsiteY84" fmla="*/ 1360482 h 11747497"/>
              <a:gd name="connsiteX85" fmla="*/ 14741 w 4838702"/>
              <a:gd name="connsiteY85" fmla="*/ 1277217 h 11747497"/>
              <a:gd name="connsiteX86" fmla="*/ 20482 w 4838702"/>
              <a:gd name="connsiteY86" fmla="*/ 1221871 h 11747497"/>
              <a:gd name="connsiteX87" fmla="*/ 22550 w 4838702"/>
              <a:gd name="connsiteY87" fmla="*/ 1180389 h 11747497"/>
              <a:gd name="connsiteX88" fmla="*/ 28136 w 4838702"/>
              <a:gd name="connsiteY88" fmla="*/ 1152865 h 11747497"/>
              <a:gd name="connsiteX89" fmla="*/ 27412 w 4838702"/>
              <a:gd name="connsiteY89" fmla="*/ 958710 h 11747497"/>
              <a:gd name="connsiteX90" fmla="*/ 40238 w 4838702"/>
              <a:gd name="connsiteY90" fmla="*/ 945248 h 11747497"/>
              <a:gd name="connsiteX91" fmla="*/ 40549 w 4838702"/>
              <a:gd name="connsiteY91" fmla="*/ 889803 h 11747497"/>
              <a:gd name="connsiteX92" fmla="*/ 46820 w 4838702"/>
              <a:gd name="connsiteY92" fmla="*/ 969580 h 11747497"/>
              <a:gd name="connsiteX93" fmla="*/ 48307 w 4838702"/>
              <a:gd name="connsiteY93" fmla="*/ 3967364 h 11747497"/>
              <a:gd name="connsiteX94" fmla="*/ 45100 w 4838702"/>
              <a:gd name="connsiteY94" fmla="*/ 3898058 h 11747497"/>
              <a:gd name="connsiteX95" fmla="*/ 31135 w 4838702"/>
              <a:gd name="connsiteY95" fmla="*/ 3891576 h 11747497"/>
              <a:gd name="connsiteX96" fmla="*/ 31135 w 4838702"/>
              <a:gd name="connsiteY96" fmla="*/ 3922988 h 11747497"/>
              <a:gd name="connsiteX97" fmla="*/ 37601 w 4838702"/>
              <a:gd name="connsiteY97" fmla="*/ 3939342 h 11747497"/>
              <a:gd name="connsiteX98" fmla="*/ 39566 w 4838702"/>
              <a:gd name="connsiteY98" fmla="*/ 3911720 h 11747497"/>
              <a:gd name="connsiteX99" fmla="*/ 41169 w 4838702"/>
              <a:gd name="connsiteY99" fmla="*/ 3953403 h 11747497"/>
              <a:gd name="connsiteX100" fmla="*/ 32067 w 4838702"/>
              <a:gd name="connsiteY100" fmla="*/ 3953104 h 11747497"/>
              <a:gd name="connsiteX101" fmla="*/ 33308 w 4838702"/>
              <a:gd name="connsiteY101" fmla="*/ 4050231 h 11747497"/>
              <a:gd name="connsiteX102" fmla="*/ 42462 w 4838702"/>
              <a:gd name="connsiteY102" fmla="*/ 4036569 h 11747497"/>
              <a:gd name="connsiteX103" fmla="*/ 48307 w 4838702"/>
              <a:gd name="connsiteY103" fmla="*/ 3967364 h 11747497"/>
              <a:gd name="connsiteX104" fmla="*/ 48617 w 4838702"/>
              <a:gd name="connsiteY104" fmla="*/ 5506143 h 11747497"/>
              <a:gd name="connsiteX105" fmla="*/ 46341 w 4838702"/>
              <a:gd name="connsiteY105" fmla="*/ 5589310 h 11747497"/>
              <a:gd name="connsiteX106" fmla="*/ 48617 w 4838702"/>
              <a:gd name="connsiteY106" fmla="*/ 5506143 h 11747497"/>
              <a:gd name="connsiteX107" fmla="*/ 49703 w 4838702"/>
              <a:gd name="connsiteY107" fmla="*/ 557237 h 11747497"/>
              <a:gd name="connsiteX108" fmla="*/ 49289 w 4838702"/>
              <a:gd name="connsiteY108" fmla="*/ 626543 h 11747497"/>
              <a:gd name="connsiteX109" fmla="*/ 44272 w 4838702"/>
              <a:gd name="connsiteY109" fmla="*/ 557038 h 11747497"/>
              <a:gd name="connsiteX110" fmla="*/ 49910 w 4838702"/>
              <a:gd name="connsiteY110" fmla="*/ 1791073 h 11747497"/>
              <a:gd name="connsiteX111" fmla="*/ 42669 w 4838702"/>
              <a:gd name="connsiteY111" fmla="*/ 1790874 h 11747497"/>
              <a:gd name="connsiteX112" fmla="*/ 48668 w 4838702"/>
              <a:gd name="connsiteY112" fmla="*/ 1694046 h 11747497"/>
              <a:gd name="connsiteX113" fmla="*/ 49910 w 4838702"/>
              <a:gd name="connsiteY113" fmla="*/ 1791073 h 11747497"/>
              <a:gd name="connsiteX114" fmla="*/ 50220 w 4838702"/>
              <a:gd name="connsiteY114" fmla="*/ 779014 h 11747497"/>
              <a:gd name="connsiteX115" fmla="*/ 44324 w 4838702"/>
              <a:gd name="connsiteY115" fmla="*/ 862082 h 11747497"/>
              <a:gd name="connsiteX116" fmla="*/ 44583 w 4838702"/>
              <a:gd name="connsiteY116" fmla="*/ 820499 h 11747497"/>
              <a:gd name="connsiteX117" fmla="*/ 37601 w 4838702"/>
              <a:gd name="connsiteY117" fmla="*/ 764754 h 11747497"/>
              <a:gd name="connsiteX118" fmla="*/ 46755 w 4838702"/>
              <a:gd name="connsiteY118" fmla="*/ 751193 h 11747497"/>
              <a:gd name="connsiteX119" fmla="*/ 43342 w 4838702"/>
              <a:gd name="connsiteY119" fmla="*/ 709510 h 11747497"/>
              <a:gd name="connsiteX120" fmla="*/ 47220 w 4838702"/>
              <a:gd name="connsiteY120" fmla="*/ 668027 h 11747497"/>
              <a:gd name="connsiteX121" fmla="*/ 48461 w 4838702"/>
              <a:gd name="connsiteY121" fmla="*/ 765054 h 11747497"/>
              <a:gd name="connsiteX122" fmla="*/ 50220 w 4838702"/>
              <a:gd name="connsiteY122" fmla="*/ 779014 h 11747497"/>
              <a:gd name="connsiteX123" fmla="*/ 52600 w 4838702"/>
              <a:gd name="connsiteY123" fmla="*/ 1638701 h 11747497"/>
              <a:gd name="connsiteX124" fmla="*/ 45151 w 4838702"/>
              <a:gd name="connsiteY124" fmla="*/ 1666224 h 11747497"/>
              <a:gd name="connsiteX125" fmla="*/ 45411 w 4838702"/>
              <a:gd name="connsiteY125" fmla="*/ 1624641 h 11747497"/>
              <a:gd name="connsiteX126" fmla="*/ 52600 w 4838702"/>
              <a:gd name="connsiteY126" fmla="*/ 1638701 h 11747497"/>
              <a:gd name="connsiteX127" fmla="*/ 53498 w 4838702"/>
              <a:gd name="connsiteY127" fmla="*/ 424460 h 11747497"/>
              <a:gd name="connsiteX128" fmla="*/ 50323 w 4838702"/>
              <a:gd name="connsiteY128" fmla="*/ 446448 h 11747497"/>
              <a:gd name="connsiteX129" fmla="*/ 50582 w 4838702"/>
              <a:gd name="connsiteY129" fmla="*/ 404866 h 11747497"/>
              <a:gd name="connsiteX130" fmla="*/ 53498 w 4838702"/>
              <a:gd name="connsiteY130" fmla="*/ 424460 h 11747497"/>
              <a:gd name="connsiteX131" fmla="*/ 57719 w 4838702"/>
              <a:gd name="connsiteY131" fmla="*/ 2955803 h 11747497"/>
              <a:gd name="connsiteX132" fmla="*/ 55134 w 4838702"/>
              <a:gd name="connsiteY132" fmla="*/ 3094315 h 11747497"/>
              <a:gd name="connsiteX133" fmla="*/ 40704 w 4838702"/>
              <a:gd name="connsiteY133" fmla="*/ 3080054 h 11747497"/>
              <a:gd name="connsiteX134" fmla="*/ 44428 w 4838702"/>
              <a:gd name="connsiteY134" fmla="*/ 3052532 h 11747497"/>
              <a:gd name="connsiteX135" fmla="*/ 43031 w 4838702"/>
              <a:gd name="connsiteY135" fmla="*/ 2983127 h 11747497"/>
              <a:gd name="connsiteX136" fmla="*/ 47376 w 4838702"/>
              <a:gd name="connsiteY136" fmla="*/ 2858477 h 11747497"/>
              <a:gd name="connsiteX137" fmla="*/ 50789 w 4838702"/>
              <a:gd name="connsiteY137" fmla="*/ 2900160 h 11747497"/>
              <a:gd name="connsiteX138" fmla="*/ 57719 w 4838702"/>
              <a:gd name="connsiteY138" fmla="*/ 2955803 h 11747497"/>
              <a:gd name="connsiteX139" fmla="*/ 58429 w 4838702"/>
              <a:gd name="connsiteY139" fmla="*/ 1481566 h 11747497"/>
              <a:gd name="connsiteX140" fmla="*/ 49548 w 4838702"/>
              <a:gd name="connsiteY140" fmla="*/ 1541374 h 11747497"/>
              <a:gd name="connsiteX141" fmla="*/ 51668 w 4838702"/>
              <a:gd name="connsiteY141" fmla="*/ 1486030 h 11747497"/>
              <a:gd name="connsiteX142" fmla="*/ 57254 w 4838702"/>
              <a:gd name="connsiteY142" fmla="*/ 1458507 h 11747497"/>
              <a:gd name="connsiteX143" fmla="*/ 58429 w 4838702"/>
              <a:gd name="connsiteY143" fmla="*/ 1481566 h 11747497"/>
              <a:gd name="connsiteX144" fmla="*/ 59685 w 4838702"/>
              <a:gd name="connsiteY144" fmla="*/ 3260748 h 11747497"/>
              <a:gd name="connsiteX145" fmla="*/ 53996 w 4838702"/>
              <a:gd name="connsiteY145" fmla="*/ 3288370 h 11747497"/>
              <a:gd name="connsiteX146" fmla="*/ 51720 w 4838702"/>
              <a:gd name="connsiteY146" fmla="*/ 3371436 h 11747497"/>
              <a:gd name="connsiteX147" fmla="*/ 33722 w 4838702"/>
              <a:gd name="connsiteY147" fmla="*/ 3343215 h 11747497"/>
              <a:gd name="connsiteX148" fmla="*/ 37911 w 4838702"/>
              <a:gd name="connsiteY148" fmla="*/ 3246288 h 11747497"/>
              <a:gd name="connsiteX149" fmla="*/ 48824 w 4838702"/>
              <a:gd name="connsiteY149" fmla="*/ 3246587 h 11747497"/>
              <a:gd name="connsiteX150" fmla="*/ 41738 w 4838702"/>
              <a:gd name="connsiteY150" fmla="*/ 3218665 h 11747497"/>
              <a:gd name="connsiteX151" fmla="*/ 45617 w 4838702"/>
              <a:gd name="connsiteY151" fmla="*/ 3177182 h 11747497"/>
              <a:gd name="connsiteX152" fmla="*/ 42152 w 4838702"/>
              <a:gd name="connsiteY152" fmla="*/ 3149360 h 11747497"/>
              <a:gd name="connsiteX153" fmla="*/ 45721 w 4838702"/>
              <a:gd name="connsiteY153" fmla="*/ 3163321 h 11747497"/>
              <a:gd name="connsiteX154" fmla="*/ 54875 w 4838702"/>
              <a:gd name="connsiteY154" fmla="*/ 3149660 h 11747497"/>
              <a:gd name="connsiteX155" fmla="*/ 54306 w 4838702"/>
              <a:gd name="connsiteY155" fmla="*/ 3246687 h 11747497"/>
              <a:gd name="connsiteX156" fmla="*/ 59685 w 4838702"/>
              <a:gd name="connsiteY156" fmla="*/ 3260748 h 11747497"/>
              <a:gd name="connsiteX157" fmla="*/ 64288 w 4838702"/>
              <a:gd name="connsiteY157" fmla="*/ 5950197 h 11747497"/>
              <a:gd name="connsiteX158" fmla="*/ 63978 w 4838702"/>
              <a:gd name="connsiteY158" fmla="*/ 6005642 h 11747497"/>
              <a:gd name="connsiteX159" fmla="*/ 60357 w 4838702"/>
              <a:gd name="connsiteY159" fmla="*/ 6005541 h 11747497"/>
              <a:gd name="connsiteX160" fmla="*/ 60668 w 4838702"/>
              <a:gd name="connsiteY160" fmla="*/ 5950097 h 11747497"/>
              <a:gd name="connsiteX161" fmla="*/ 65271 w 4838702"/>
              <a:gd name="connsiteY161" fmla="*/ 2914321 h 11747497"/>
              <a:gd name="connsiteX162" fmla="*/ 61858 w 4838702"/>
              <a:gd name="connsiteY162" fmla="*/ 2872636 h 11747497"/>
              <a:gd name="connsiteX163" fmla="*/ 65271 w 4838702"/>
              <a:gd name="connsiteY163" fmla="*/ 2914321 h 11747497"/>
              <a:gd name="connsiteX164" fmla="*/ 65322 w 4838702"/>
              <a:gd name="connsiteY164" fmla="*/ 6407713 h 11747497"/>
              <a:gd name="connsiteX165" fmla="*/ 61754 w 4838702"/>
              <a:gd name="connsiteY165" fmla="*/ 6393752 h 11747497"/>
              <a:gd name="connsiteX166" fmla="*/ 61909 w 4838702"/>
              <a:gd name="connsiteY166" fmla="*/ 6366030 h 11747497"/>
              <a:gd name="connsiteX167" fmla="*/ 56478 w 4838702"/>
              <a:gd name="connsiteY167" fmla="*/ 6365830 h 11747497"/>
              <a:gd name="connsiteX168" fmla="*/ 56220 w 4838702"/>
              <a:gd name="connsiteY168" fmla="*/ 6407413 h 11747497"/>
              <a:gd name="connsiteX169" fmla="*/ 65168 w 4838702"/>
              <a:gd name="connsiteY169" fmla="*/ 6435435 h 11747497"/>
              <a:gd name="connsiteX170" fmla="*/ 65322 w 4838702"/>
              <a:gd name="connsiteY170" fmla="*/ 6407713 h 11747497"/>
              <a:gd name="connsiteX171" fmla="*/ 66616 w 4838702"/>
              <a:gd name="connsiteY171" fmla="*/ 3954101 h 11747497"/>
              <a:gd name="connsiteX172" fmla="*/ 60512 w 4838702"/>
              <a:gd name="connsiteY172" fmla="*/ 4064789 h 11747497"/>
              <a:gd name="connsiteX173" fmla="*/ 66616 w 4838702"/>
              <a:gd name="connsiteY173" fmla="*/ 3954101 h 11747497"/>
              <a:gd name="connsiteX174" fmla="*/ 67120 w 4838702"/>
              <a:gd name="connsiteY174" fmla="*/ 2695011 h 11747497"/>
              <a:gd name="connsiteX175" fmla="*/ 66357 w 4838702"/>
              <a:gd name="connsiteY175" fmla="*/ 2720265 h 11747497"/>
              <a:gd name="connsiteX176" fmla="*/ 55392 w 4838702"/>
              <a:gd name="connsiteY176" fmla="*/ 2733827 h 11747497"/>
              <a:gd name="connsiteX177" fmla="*/ 66150 w 4838702"/>
              <a:gd name="connsiteY177" fmla="*/ 2761847 h 11747497"/>
              <a:gd name="connsiteX178" fmla="*/ 47686 w 4838702"/>
              <a:gd name="connsiteY178" fmla="*/ 2802933 h 11747497"/>
              <a:gd name="connsiteX179" fmla="*/ 48410 w 4838702"/>
              <a:gd name="connsiteY179" fmla="*/ 2678183 h 11747497"/>
              <a:gd name="connsiteX180" fmla="*/ 53789 w 4838702"/>
              <a:gd name="connsiteY180" fmla="*/ 2692243 h 11747497"/>
              <a:gd name="connsiteX181" fmla="*/ 57978 w 4838702"/>
              <a:gd name="connsiteY181" fmla="*/ 2595316 h 11747497"/>
              <a:gd name="connsiteX182" fmla="*/ 65219 w 4838702"/>
              <a:gd name="connsiteY182" fmla="*/ 2595515 h 11747497"/>
              <a:gd name="connsiteX183" fmla="*/ 66823 w 4838702"/>
              <a:gd name="connsiteY183" fmla="*/ 2637098 h 11747497"/>
              <a:gd name="connsiteX184" fmla="*/ 64857 w 4838702"/>
              <a:gd name="connsiteY184" fmla="*/ 2664821 h 11747497"/>
              <a:gd name="connsiteX185" fmla="*/ 67120 w 4838702"/>
              <a:gd name="connsiteY185" fmla="*/ 2695011 h 11747497"/>
              <a:gd name="connsiteX186" fmla="*/ 67857 w 4838702"/>
              <a:gd name="connsiteY186" fmla="*/ 3413519 h 11747497"/>
              <a:gd name="connsiteX187" fmla="*/ 64133 w 4838702"/>
              <a:gd name="connsiteY187" fmla="*/ 3427280 h 11747497"/>
              <a:gd name="connsiteX188" fmla="*/ 67857 w 4838702"/>
              <a:gd name="connsiteY188" fmla="*/ 3413519 h 11747497"/>
              <a:gd name="connsiteX189" fmla="*/ 68484 w 4838702"/>
              <a:gd name="connsiteY189" fmla="*/ 3869314 h 11747497"/>
              <a:gd name="connsiteX190" fmla="*/ 65012 w 4838702"/>
              <a:gd name="connsiteY190" fmla="*/ 3912419 h 11747497"/>
              <a:gd name="connsiteX191" fmla="*/ 63616 w 4838702"/>
              <a:gd name="connsiteY191" fmla="*/ 3843113 h 11747497"/>
              <a:gd name="connsiteX192" fmla="*/ 68484 w 4838702"/>
              <a:gd name="connsiteY192" fmla="*/ 3869314 h 11747497"/>
              <a:gd name="connsiteX193" fmla="*/ 71425 w 4838702"/>
              <a:gd name="connsiteY193" fmla="*/ 5978118 h 11747497"/>
              <a:gd name="connsiteX194" fmla="*/ 68425 w 4838702"/>
              <a:gd name="connsiteY194" fmla="*/ 5867130 h 11747497"/>
              <a:gd name="connsiteX195" fmla="*/ 63047 w 4838702"/>
              <a:gd name="connsiteY195" fmla="*/ 5853069 h 11747497"/>
              <a:gd name="connsiteX196" fmla="*/ 63822 w 4838702"/>
              <a:gd name="connsiteY196" fmla="*/ 5714459 h 11747497"/>
              <a:gd name="connsiteX197" fmla="*/ 60719 w 4838702"/>
              <a:gd name="connsiteY197" fmla="*/ 5617331 h 11747497"/>
              <a:gd name="connsiteX198" fmla="*/ 60616 w 4838702"/>
              <a:gd name="connsiteY198" fmla="*/ 5631192 h 11747497"/>
              <a:gd name="connsiteX199" fmla="*/ 55392 w 4838702"/>
              <a:gd name="connsiteY199" fmla="*/ 5908314 h 11747497"/>
              <a:gd name="connsiteX200" fmla="*/ 58702 w 4838702"/>
              <a:gd name="connsiteY200" fmla="*/ 5963858 h 11747497"/>
              <a:gd name="connsiteX201" fmla="*/ 54513 w 4838702"/>
              <a:gd name="connsiteY201" fmla="*/ 6060787 h 11747497"/>
              <a:gd name="connsiteX202" fmla="*/ 67081 w 4838702"/>
              <a:gd name="connsiteY202" fmla="*/ 6088908 h 11747497"/>
              <a:gd name="connsiteX203" fmla="*/ 71425 w 4838702"/>
              <a:gd name="connsiteY203" fmla="*/ 5978118 h 11747497"/>
              <a:gd name="connsiteX204" fmla="*/ 73475 w 4838702"/>
              <a:gd name="connsiteY204" fmla="*/ 7032496 h 11747497"/>
              <a:gd name="connsiteX205" fmla="*/ 72770 w 4838702"/>
              <a:gd name="connsiteY205" fmla="*/ 7017799 h 11747497"/>
              <a:gd name="connsiteX206" fmla="*/ 72925 w 4838702"/>
              <a:gd name="connsiteY206" fmla="*/ 6990077 h 11747497"/>
              <a:gd name="connsiteX207" fmla="*/ 71322 w 4838702"/>
              <a:gd name="connsiteY207" fmla="*/ 6948394 h 11747497"/>
              <a:gd name="connsiteX208" fmla="*/ 68012 w 4838702"/>
              <a:gd name="connsiteY208" fmla="*/ 6892850 h 11747497"/>
              <a:gd name="connsiteX209" fmla="*/ 60409 w 4838702"/>
              <a:gd name="connsiteY209" fmla="*/ 6948095 h 11747497"/>
              <a:gd name="connsiteX210" fmla="*/ 59323 w 4838702"/>
              <a:gd name="connsiteY210" fmla="*/ 7142151 h 11747497"/>
              <a:gd name="connsiteX211" fmla="*/ 55910 w 4838702"/>
              <a:gd name="connsiteY211" fmla="*/ 7100468 h 11747497"/>
              <a:gd name="connsiteX212" fmla="*/ 53116 w 4838702"/>
              <a:gd name="connsiteY212" fmla="*/ 7266901 h 11747497"/>
              <a:gd name="connsiteX213" fmla="*/ 58857 w 4838702"/>
              <a:gd name="connsiteY213" fmla="*/ 7211555 h 11747497"/>
              <a:gd name="connsiteX214" fmla="*/ 64236 w 4838702"/>
              <a:gd name="connsiteY214" fmla="*/ 7225616 h 11747497"/>
              <a:gd name="connsiteX215" fmla="*/ 71270 w 4838702"/>
              <a:gd name="connsiteY215" fmla="*/ 7267398 h 11747497"/>
              <a:gd name="connsiteX216" fmla="*/ 70029 w 4838702"/>
              <a:gd name="connsiteY216" fmla="*/ 7170271 h 11747497"/>
              <a:gd name="connsiteX217" fmla="*/ 71943 w 4838702"/>
              <a:gd name="connsiteY217" fmla="*/ 7156410 h 11747497"/>
              <a:gd name="connsiteX218" fmla="*/ 70443 w 4838702"/>
              <a:gd name="connsiteY218" fmla="*/ 7100967 h 11747497"/>
              <a:gd name="connsiteX219" fmla="*/ 72357 w 4838702"/>
              <a:gd name="connsiteY219" fmla="*/ 7087105 h 11747497"/>
              <a:gd name="connsiteX220" fmla="*/ 72511 w 4838702"/>
              <a:gd name="connsiteY220" fmla="*/ 7059383 h 11747497"/>
              <a:gd name="connsiteX221" fmla="*/ 73475 w 4838702"/>
              <a:gd name="connsiteY221" fmla="*/ 7032496 h 11747497"/>
              <a:gd name="connsiteX222" fmla="*/ 75046 w 4838702"/>
              <a:gd name="connsiteY222" fmla="*/ 900673 h 11747497"/>
              <a:gd name="connsiteX223" fmla="*/ 72046 w 4838702"/>
              <a:gd name="connsiteY223" fmla="*/ 969180 h 11747497"/>
              <a:gd name="connsiteX224" fmla="*/ 72098 w 4838702"/>
              <a:gd name="connsiteY224" fmla="*/ 1043173 h 11747497"/>
              <a:gd name="connsiteX225" fmla="*/ 73598 w 4838702"/>
              <a:gd name="connsiteY225" fmla="*/ 1070297 h 11747497"/>
              <a:gd name="connsiteX226" fmla="*/ 72718 w 4838702"/>
              <a:gd name="connsiteY226" fmla="*/ 1138904 h 11747497"/>
              <a:gd name="connsiteX227" fmla="*/ 69563 w 4838702"/>
              <a:gd name="connsiteY227" fmla="*/ 1149674 h 11747497"/>
              <a:gd name="connsiteX228" fmla="*/ 69667 w 4838702"/>
              <a:gd name="connsiteY228" fmla="*/ 1195345 h 11747497"/>
              <a:gd name="connsiteX229" fmla="*/ 67702 w 4838702"/>
              <a:gd name="connsiteY229" fmla="*/ 1223068 h 11747497"/>
              <a:gd name="connsiteX230" fmla="*/ 65788 w 4838702"/>
              <a:gd name="connsiteY230" fmla="*/ 1236929 h 11747497"/>
              <a:gd name="connsiteX231" fmla="*/ 65478 w 4838702"/>
              <a:gd name="connsiteY231" fmla="*/ 1292374 h 11747497"/>
              <a:gd name="connsiteX232" fmla="*/ 59167 w 4838702"/>
              <a:gd name="connsiteY232" fmla="*/ 1444746 h 11747497"/>
              <a:gd name="connsiteX233" fmla="*/ 51979 w 4838702"/>
              <a:gd name="connsiteY233" fmla="*/ 1430685 h 11747497"/>
              <a:gd name="connsiteX234" fmla="*/ 54823 w 4838702"/>
              <a:gd name="connsiteY234" fmla="*/ 1250591 h 11747497"/>
              <a:gd name="connsiteX235" fmla="*/ 58702 w 4838702"/>
              <a:gd name="connsiteY235" fmla="*/ 1222669 h 11747497"/>
              <a:gd name="connsiteX236" fmla="*/ 60512 w 4838702"/>
              <a:gd name="connsiteY236" fmla="*/ 1222768 h 11747497"/>
              <a:gd name="connsiteX237" fmla="*/ 65012 w 4838702"/>
              <a:gd name="connsiteY237" fmla="*/ 961802 h 11747497"/>
              <a:gd name="connsiteX238" fmla="*/ 73701 w 4838702"/>
              <a:gd name="connsiteY238" fmla="*/ 850115 h 11747497"/>
              <a:gd name="connsiteX239" fmla="*/ 75046 w 4838702"/>
              <a:gd name="connsiteY239" fmla="*/ 900673 h 11747497"/>
              <a:gd name="connsiteX240" fmla="*/ 75356 w 4838702"/>
              <a:gd name="connsiteY240" fmla="*/ 6241679 h 11747497"/>
              <a:gd name="connsiteX241" fmla="*/ 68736 w 4838702"/>
              <a:gd name="connsiteY241" fmla="*/ 6130591 h 11747497"/>
              <a:gd name="connsiteX242" fmla="*/ 57823 w 4838702"/>
              <a:gd name="connsiteY242" fmla="*/ 6130291 h 11747497"/>
              <a:gd name="connsiteX243" fmla="*/ 55754 w 4838702"/>
              <a:gd name="connsiteY243" fmla="*/ 6171776 h 11747497"/>
              <a:gd name="connsiteX244" fmla="*/ 48617 w 4838702"/>
              <a:gd name="connsiteY244" fmla="*/ 6143853 h 11747497"/>
              <a:gd name="connsiteX245" fmla="*/ 46393 w 4838702"/>
              <a:gd name="connsiteY245" fmla="*/ 6531964 h 11747497"/>
              <a:gd name="connsiteX246" fmla="*/ 53427 w 4838702"/>
              <a:gd name="connsiteY246" fmla="*/ 6573746 h 11747497"/>
              <a:gd name="connsiteX247" fmla="*/ 52341 w 4838702"/>
              <a:gd name="connsiteY247" fmla="*/ 6448997 h 11747497"/>
              <a:gd name="connsiteX248" fmla="*/ 54565 w 4838702"/>
              <a:gd name="connsiteY248" fmla="*/ 6379691 h 11747497"/>
              <a:gd name="connsiteX249" fmla="*/ 56944 w 4838702"/>
              <a:gd name="connsiteY249" fmla="*/ 6282664 h 11747497"/>
              <a:gd name="connsiteX250" fmla="*/ 58392 w 4838702"/>
              <a:gd name="connsiteY250" fmla="*/ 6352069 h 11747497"/>
              <a:gd name="connsiteX251" fmla="*/ 72925 w 4838702"/>
              <a:gd name="connsiteY251" fmla="*/ 6352468 h 11747497"/>
              <a:gd name="connsiteX252" fmla="*/ 75356 w 4838702"/>
              <a:gd name="connsiteY252" fmla="*/ 6241679 h 11747497"/>
              <a:gd name="connsiteX253" fmla="*/ 78356 w 4838702"/>
              <a:gd name="connsiteY253" fmla="*/ 2207703 h 11747497"/>
              <a:gd name="connsiteX254" fmla="*/ 76287 w 4838702"/>
              <a:gd name="connsiteY254" fmla="*/ 2249287 h 11747497"/>
              <a:gd name="connsiteX255" fmla="*/ 72667 w 4838702"/>
              <a:gd name="connsiteY255" fmla="*/ 2249188 h 11747497"/>
              <a:gd name="connsiteX256" fmla="*/ 70546 w 4838702"/>
              <a:gd name="connsiteY256" fmla="*/ 2304532 h 11747497"/>
              <a:gd name="connsiteX257" fmla="*/ 77787 w 4838702"/>
              <a:gd name="connsiteY257" fmla="*/ 2304732 h 11747497"/>
              <a:gd name="connsiteX258" fmla="*/ 70287 w 4838702"/>
              <a:gd name="connsiteY258" fmla="*/ 2346115 h 11747497"/>
              <a:gd name="connsiteX259" fmla="*/ 68064 w 4838702"/>
              <a:gd name="connsiteY259" fmla="*/ 2415421 h 11747497"/>
              <a:gd name="connsiteX260" fmla="*/ 60822 w 4838702"/>
              <a:gd name="connsiteY260" fmla="*/ 2415221 h 11747497"/>
              <a:gd name="connsiteX261" fmla="*/ 57668 w 4838702"/>
              <a:gd name="connsiteY261" fmla="*/ 2331955 h 11747497"/>
              <a:gd name="connsiteX262" fmla="*/ 53582 w 4838702"/>
              <a:gd name="connsiteY262" fmla="*/ 2415023 h 11747497"/>
              <a:gd name="connsiteX263" fmla="*/ 62478 w 4838702"/>
              <a:gd name="connsiteY263" fmla="*/ 2442943 h 11747497"/>
              <a:gd name="connsiteX264" fmla="*/ 60409 w 4838702"/>
              <a:gd name="connsiteY264" fmla="*/ 2484527 h 11747497"/>
              <a:gd name="connsiteX265" fmla="*/ 69357 w 4838702"/>
              <a:gd name="connsiteY265" fmla="*/ 2512547 h 11747497"/>
              <a:gd name="connsiteX266" fmla="*/ 56582 w 4838702"/>
              <a:gd name="connsiteY266" fmla="*/ 2526010 h 11747497"/>
              <a:gd name="connsiteX267" fmla="*/ 48927 w 4838702"/>
              <a:gd name="connsiteY267" fmla="*/ 2595116 h 11747497"/>
              <a:gd name="connsiteX268" fmla="*/ 49600 w 4838702"/>
              <a:gd name="connsiteY268" fmla="*/ 2470267 h 11747497"/>
              <a:gd name="connsiteX269" fmla="*/ 49755 w 4838702"/>
              <a:gd name="connsiteY269" fmla="*/ 2442545 h 11747497"/>
              <a:gd name="connsiteX270" fmla="*/ 51720 w 4838702"/>
              <a:gd name="connsiteY270" fmla="*/ 2415719 h 11747497"/>
              <a:gd name="connsiteX271" fmla="*/ 50323 w 4838702"/>
              <a:gd name="connsiteY271" fmla="*/ 2345516 h 11747497"/>
              <a:gd name="connsiteX272" fmla="*/ 49237 w 4838702"/>
              <a:gd name="connsiteY272" fmla="*/ 2220767 h 11747497"/>
              <a:gd name="connsiteX273" fmla="*/ 51203 w 4838702"/>
              <a:gd name="connsiteY273" fmla="*/ 2193045 h 11747497"/>
              <a:gd name="connsiteX274" fmla="*/ 60461 w 4838702"/>
              <a:gd name="connsiteY274" fmla="*/ 2165523 h 11747497"/>
              <a:gd name="connsiteX275" fmla="*/ 64805 w 4838702"/>
              <a:gd name="connsiteY275" fmla="*/ 2040873 h 11747497"/>
              <a:gd name="connsiteX276" fmla="*/ 61961 w 4838702"/>
              <a:gd name="connsiteY276" fmla="*/ 2221067 h 11747497"/>
              <a:gd name="connsiteX277" fmla="*/ 67391 w 4838702"/>
              <a:gd name="connsiteY277" fmla="*/ 2221265 h 11747497"/>
              <a:gd name="connsiteX278" fmla="*/ 67805 w 4838702"/>
              <a:gd name="connsiteY278" fmla="*/ 2151961 h 11747497"/>
              <a:gd name="connsiteX279" fmla="*/ 76959 w 4838702"/>
              <a:gd name="connsiteY279" fmla="*/ 2138399 h 11747497"/>
              <a:gd name="connsiteX280" fmla="*/ 78356 w 4838702"/>
              <a:gd name="connsiteY280" fmla="*/ 2207703 h 11747497"/>
              <a:gd name="connsiteX281" fmla="*/ 78459 w 4838702"/>
              <a:gd name="connsiteY281" fmla="*/ 3150357 h 11747497"/>
              <a:gd name="connsiteX282" fmla="*/ 78045 w 4838702"/>
              <a:gd name="connsiteY282" fmla="*/ 3219663 h 11747497"/>
              <a:gd name="connsiteX283" fmla="*/ 68891 w 4838702"/>
              <a:gd name="connsiteY283" fmla="*/ 3233324 h 11747497"/>
              <a:gd name="connsiteX284" fmla="*/ 64961 w 4838702"/>
              <a:gd name="connsiteY284" fmla="*/ 3288669 h 11747497"/>
              <a:gd name="connsiteX285" fmla="*/ 67236 w 4838702"/>
              <a:gd name="connsiteY285" fmla="*/ 3205603 h 11747497"/>
              <a:gd name="connsiteX286" fmla="*/ 76390 w 4838702"/>
              <a:gd name="connsiteY286" fmla="*/ 3191940 h 11747497"/>
              <a:gd name="connsiteX287" fmla="*/ 78459 w 4838702"/>
              <a:gd name="connsiteY287" fmla="*/ 3150357 h 11747497"/>
              <a:gd name="connsiteX288" fmla="*/ 78718 w 4838702"/>
              <a:gd name="connsiteY288" fmla="*/ 8506881 h 11747497"/>
              <a:gd name="connsiteX289" fmla="*/ 77218 w 4838702"/>
              <a:gd name="connsiteY289" fmla="*/ 8445889 h 11747497"/>
              <a:gd name="connsiteX290" fmla="*/ 66253 w 4838702"/>
              <a:gd name="connsiteY290" fmla="*/ 8459352 h 11747497"/>
              <a:gd name="connsiteX291" fmla="*/ 70908 w 4838702"/>
              <a:gd name="connsiteY291" fmla="*/ 8598162 h 11747497"/>
              <a:gd name="connsiteX292" fmla="*/ 76494 w 4838702"/>
              <a:gd name="connsiteY292" fmla="*/ 8570640 h 11747497"/>
              <a:gd name="connsiteX293" fmla="*/ 78718 w 4838702"/>
              <a:gd name="connsiteY293" fmla="*/ 8506881 h 11747497"/>
              <a:gd name="connsiteX294" fmla="*/ 79545 w 4838702"/>
              <a:gd name="connsiteY294" fmla="*/ 3594012 h 11747497"/>
              <a:gd name="connsiteX295" fmla="*/ 79390 w 4838702"/>
              <a:gd name="connsiteY295" fmla="*/ 3621734 h 11747497"/>
              <a:gd name="connsiteX296" fmla="*/ 77476 w 4838702"/>
              <a:gd name="connsiteY296" fmla="*/ 3635595 h 11747497"/>
              <a:gd name="connsiteX297" fmla="*/ 79545 w 4838702"/>
              <a:gd name="connsiteY297" fmla="*/ 3594012 h 11747497"/>
              <a:gd name="connsiteX298" fmla="*/ 80786 w 4838702"/>
              <a:gd name="connsiteY298" fmla="*/ 4966458 h 11747497"/>
              <a:gd name="connsiteX299" fmla="*/ 80011 w 4838702"/>
              <a:gd name="connsiteY299" fmla="*/ 4786264 h 11747497"/>
              <a:gd name="connsiteX300" fmla="*/ 75098 w 4838702"/>
              <a:gd name="connsiteY300" fmla="*/ 4689138 h 11747497"/>
              <a:gd name="connsiteX301" fmla="*/ 69822 w 4838702"/>
              <a:gd name="connsiteY301" fmla="*/ 4661215 h 11747497"/>
              <a:gd name="connsiteX302" fmla="*/ 73753 w 4838702"/>
              <a:gd name="connsiteY302" fmla="*/ 4605871 h 11747497"/>
              <a:gd name="connsiteX303" fmla="*/ 72201 w 4838702"/>
              <a:gd name="connsiteY303" fmla="*/ 4564188 h 11747497"/>
              <a:gd name="connsiteX304" fmla="*/ 67081 w 4838702"/>
              <a:gd name="connsiteY304" fmla="*/ 4508644 h 11747497"/>
              <a:gd name="connsiteX305" fmla="*/ 61961 w 4838702"/>
              <a:gd name="connsiteY305" fmla="*/ 4453001 h 11747497"/>
              <a:gd name="connsiteX306" fmla="*/ 61236 w 4838702"/>
              <a:gd name="connsiteY306" fmla="*/ 4577750 h 11747497"/>
              <a:gd name="connsiteX307" fmla="*/ 66616 w 4838702"/>
              <a:gd name="connsiteY307" fmla="*/ 4591810 h 11747497"/>
              <a:gd name="connsiteX308" fmla="*/ 64340 w 4838702"/>
              <a:gd name="connsiteY308" fmla="*/ 4674977 h 11747497"/>
              <a:gd name="connsiteX309" fmla="*/ 61909 w 4838702"/>
              <a:gd name="connsiteY309" fmla="*/ 4785766 h 11747497"/>
              <a:gd name="connsiteX310" fmla="*/ 61340 w 4838702"/>
              <a:gd name="connsiteY310" fmla="*/ 4882794 h 11747497"/>
              <a:gd name="connsiteX311" fmla="*/ 59427 w 4838702"/>
              <a:gd name="connsiteY311" fmla="*/ 4896555 h 11747497"/>
              <a:gd name="connsiteX312" fmla="*/ 61029 w 4838702"/>
              <a:gd name="connsiteY312" fmla="*/ 4938138 h 11747497"/>
              <a:gd name="connsiteX313" fmla="*/ 58909 w 4838702"/>
              <a:gd name="connsiteY313" fmla="*/ 4993583 h 11747497"/>
              <a:gd name="connsiteX314" fmla="*/ 60306 w 4838702"/>
              <a:gd name="connsiteY314" fmla="*/ 5062888 h 11747497"/>
              <a:gd name="connsiteX315" fmla="*/ 58185 w 4838702"/>
              <a:gd name="connsiteY315" fmla="*/ 5118233 h 11747497"/>
              <a:gd name="connsiteX316" fmla="*/ 59530 w 4838702"/>
              <a:gd name="connsiteY316" fmla="*/ 5201399 h 11747497"/>
              <a:gd name="connsiteX317" fmla="*/ 57512 w 4838702"/>
              <a:gd name="connsiteY317" fmla="*/ 5229220 h 11747497"/>
              <a:gd name="connsiteX318" fmla="*/ 53737 w 4838702"/>
              <a:gd name="connsiteY318" fmla="*/ 5256843 h 11747497"/>
              <a:gd name="connsiteX319" fmla="*/ 57202 w 4838702"/>
              <a:gd name="connsiteY319" fmla="*/ 5284665 h 11747497"/>
              <a:gd name="connsiteX320" fmla="*/ 54772 w 4838702"/>
              <a:gd name="connsiteY320" fmla="*/ 5395454 h 11747497"/>
              <a:gd name="connsiteX321" fmla="*/ 63771 w 4838702"/>
              <a:gd name="connsiteY321" fmla="*/ 5409615 h 11747497"/>
              <a:gd name="connsiteX322" fmla="*/ 69667 w 4838702"/>
              <a:gd name="connsiteY322" fmla="*/ 5326548 h 11747497"/>
              <a:gd name="connsiteX323" fmla="*/ 72098 w 4838702"/>
              <a:gd name="connsiteY323" fmla="*/ 5215759 h 11747497"/>
              <a:gd name="connsiteX324" fmla="*/ 66874 w 4838702"/>
              <a:gd name="connsiteY324" fmla="*/ 5174077 h 11747497"/>
              <a:gd name="connsiteX325" fmla="*/ 65322 w 4838702"/>
              <a:gd name="connsiteY325" fmla="*/ 5132392 h 11747497"/>
              <a:gd name="connsiteX326" fmla="*/ 64288 w 4838702"/>
              <a:gd name="connsiteY326" fmla="*/ 4993782 h 11747497"/>
              <a:gd name="connsiteX327" fmla="*/ 66202 w 4838702"/>
              <a:gd name="connsiteY327" fmla="*/ 4979921 h 11747497"/>
              <a:gd name="connsiteX328" fmla="*/ 68943 w 4838702"/>
              <a:gd name="connsiteY328" fmla="*/ 4813588 h 11747497"/>
              <a:gd name="connsiteX329" fmla="*/ 72408 w 4838702"/>
              <a:gd name="connsiteY329" fmla="*/ 4841409 h 11747497"/>
              <a:gd name="connsiteX330" fmla="*/ 76028 w 4838702"/>
              <a:gd name="connsiteY330" fmla="*/ 4841509 h 11747497"/>
              <a:gd name="connsiteX331" fmla="*/ 75098 w 4838702"/>
              <a:gd name="connsiteY331" fmla="*/ 5007843 h 11747497"/>
              <a:gd name="connsiteX332" fmla="*/ 80786 w 4838702"/>
              <a:gd name="connsiteY332" fmla="*/ 4966458 h 11747497"/>
              <a:gd name="connsiteX333" fmla="*/ 81614 w 4838702"/>
              <a:gd name="connsiteY333" fmla="*/ 696746 h 11747497"/>
              <a:gd name="connsiteX334" fmla="*/ 81045 w 4838702"/>
              <a:gd name="connsiteY334" fmla="*/ 793774 h 11747497"/>
              <a:gd name="connsiteX335" fmla="*/ 68425 w 4838702"/>
              <a:gd name="connsiteY335" fmla="*/ 779613 h 11747497"/>
              <a:gd name="connsiteX336" fmla="*/ 74270 w 4838702"/>
              <a:gd name="connsiteY336" fmla="*/ 710407 h 11747497"/>
              <a:gd name="connsiteX337" fmla="*/ 81614 w 4838702"/>
              <a:gd name="connsiteY337" fmla="*/ 696746 h 11747497"/>
              <a:gd name="connsiteX338" fmla="*/ 81976 w 4838702"/>
              <a:gd name="connsiteY338" fmla="*/ 1902860 h 11747497"/>
              <a:gd name="connsiteX339" fmla="*/ 81511 w 4838702"/>
              <a:gd name="connsiteY339" fmla="*/ 1986027 h 11747497"/>
              <a:gd name="connsiteX340" fmla="*/ 79597 w 4838702"/>
              <a:gd name="connsiteY340" fmla="*/ 1999787 h 11747497"/>
              <a:gd name="connsiteX341" fmla="*/ 79494 w 4838702"/>
              <a:gd name="connsiteY341" fmla="*/ 2013648 h 11747497"/>
              <a:gd name="connsiteX342" fmla="*/ 77269 w 4838702"/>
              <a:gd name="connsiteY342" fmla="*/ 2082855 h 11747497"/>
              <a:gd name="connsiteX343" fmla="*/ 71684 w 4838702"/>
              <a:gd name="connsiteY343" fmla="*/ 2110477 h 11747497"/>
              <a:gd name="connsiteX344" fmla="*/ 71788 w 4838702"/>
              <a:gd name="connsiteY344" fmla="*/ 2096615 h 11747497"/>
              <a:gd name="connsiteX345" fmla="*/ 70443 w 4838702"/>
              <a:gd name="connsiteY345" fmla="*/ 2013450 h 11747497"/>
              <a:gd name="connsiteX346" fmla="*/ 75977 w 4838702"/>
              <a:gd name="connsiteY346" fmla="*/ 1999787 h 11747497"/>
              <a:gd name="connsiteX347" fmla="*/ 81976 w 4838702"/>
              <a:gd name="connsiteY347" fmla="*/ 1902860 h 11747497"/>
              <a:gd name="connsiteX348" fmla="*/ 82623 w 4838702"/>
              <a:gd name="connsiteY348" fmla="*/ 6824068 h 11747497"/>
              <a:gd name="connsiteX349" fmla="*/ 75874 w 4838702"/>
              <a:gd name="connsiteY349" fmla="*/ 6782261 h 11747497"/>
              <a:gd name="connsiteX350" fmla="*/ 75408 w 4838702"/>
              <a:gd name="connsiteY350" fmla="*/ 6865427 h 11747497"/>
              <a:gd name="connsiteX351" fmla="*/ 82623 w 4838702"/>
              <a:gd name="connsiteY351" fmla="*/ 6824068 h 11747497"/>
              <a:gd name="connsiteX352" fmla="*/ 83631 w 4838702"/>
              <a:gd name="connsiteY352" fmla="*/ 4162516 h 11747497"/>
              <a:gd name="connsiteX353" fmla="*/ 74735 w 4838702"/>
              <a:gd name="connsiteY353" fmla="*/ 4134494 h 11747497"/>
              <a:gd name="connsiteX354" fmla="*/ 75770 w 4838702"/>
              <a:gd name="connsiteY354" fmla="*/ 3954300 h 11747497"/>
              <a:gd name="connsiteX355" fmla="*/ 72511 w 4838702"/>
              <a:gd name="connsiteY355" fmla="*/ 4203700 h 11747497"/>
              <a:gd name="connsiteX356" fmla="*/ 70443 w 4838702"/>
              <a:gd name="connsiteY356" fmla="*/ 4245283 h 11747497"/>
              <a:gd name="connsiteX357" fmla="*/ 69873 w 4838702"/>
              <a:gd name="connsiteY357" fmla="*/ 4342311 h 11747497"/>
              <a:gd name="connsiteX358" fmla="*/ 76804 w 4838702"/>
              <a:gd name="connsiteY358" fmla="*/ 4397955 h 11747497"/>
              <a:gd name="connsiteX359" fmla="*/ 71218 w 4838702"/>
              <a:gd name="connsiteY359" fmla="*/ 4425477 h 11747497"/>
              <a:gd name="connsiteX360" fmla="*/ 82028 w 4838702"/>
              <a:gd name="connsiteY360" fmla="*/ 4439638 h 11747497"/>
              <a:gd name="connsiteX361" fmla="*/ 83321 w 4838702"/>
              <a:gd name="connsiteY361" fmla="*/ 4217860 h 11747497"/>
              <a:gd name="connsiteX362" fmla="*/ 78201 w 4838702"/>
              <a:gd name="connsiteY362" fmla="*/ 4162316 h 11747497"/>
              <a:gd name="connsiteX363" fmla="*/ 83631 w 4838702"/>
              <a:gd name="connsiteY363" fmla="*/ 4162516 h 11747497"/>
              <a:gd name="connsiteX364" fmla="*/ 84918 w 4838702"/>
              <a:gd name="connsiteY364" fmla="*/ 3329192 h 11747497"/>
              <a:gd name="connsiteX365" fmla="*/ 84355 w 4838702"/>
              <a:gd name="connsiteY365" fmla="*/ 3386196 h 11747497"/>
              <a:gd name="connsiteX366" fmla="*/ 83114 w 4838702"/>
              <a:gd name="connsiteY366" fmla="*/ 3289167 h 11747497"/>
              <a:gd name="connsiteX367" fmla="*/ 84918 w 4838702"/>
              <a:gd name="connsiteY367" fmla="*/ 3329192 h 11747497"/>
              <a:gd name="connsiteX368" fmla="*/ 86218 w 4838702"/>
              <a:gd name="connsiteY368" fmla="*/ 571261 h 11747497"/>
              <a:gd name="connsiteX369" fmla="*/ 82235 w 4838702"/>
              <a:gd name="connsiteY369" fmla="*/ 585957 h 11747497"/>
              <a:gd name="connsiteX370" fmla="*/ 84304 w 4838702"/>
              <a:gd name="connsiteY370" fmla="*/ 544373 h 11747497"/>
              <a:gd name="connsiteX371" fmla="*/ 86218 w 4838702"/>
              <a:gd name="connsiteY371" fmla="*/ 571261 h 11747497"/>
              <a:gd name="connsiteX372" fmla="*/ 87096 w 4838702"/>
              <a:gd name="connsiteY372" fmla="*/ 1639599 h 11747497"/>
              <a:gd name="connsiteX373" fmla="*/ 75925 w 4838702"/>
              <a:gd name="connsiteY373" fmla="*/ 1680983 h 11747497"/>
              <a:gd name="connsiteX374" fmla="*/ 73391 w 4838702"/>
              <a:gd name="connsiteY374" fmla="*/ 1805633 h 11747497"/>
              <a:gd name="connsiteX375" fmla="*/ 72925 w 4838702"/>
              <a:gd name="connsiteY375" fmla="*/ 1888800 h 11747497"/>
              <a:gd name="connsiteX376" fmla="*/ 69150 w 4838702"/>
              <a:gd name="connsiteY376" fmla="*/ 1916421 h 11747497"/>
              <a:gd name="connsiteX377" fmla="*/ 65426 w 4838702"/>
              <a:gd name="connsiteY377" fmla="*/ 1930183 h 11747497"/>
              <a:gd name="connsiteX378" fmla="*/ 67029 w 4838702"/>
              <a:gd name="connsiteY378" fmla="*/ 1971866 h 11747497"/>
              <a:gd name="connsiteX379" fmla="*/ 65115 w 4838702"/>
              <a:gd name="connsiteY379" fmla="*/ 1985628 h 11747497"/>
              <a:gd name="connsiteX380" fmla="*/ 64961 w 4838702"/>
              <a:gd name="connsiteY380" fmla="*/ 2013349 h 11747497"/>
              <a:gd name="connsiteX381" fmla="*/ 63719 w 4838702"/>
              <a:gd name="connsiteY381" fmla="*/ 1916322 h 11747497"/>
              <a:gd name="connsiteX382" fmla="*/ 65788 w 4838702"/>
              <a:gd name="connsiteY382" fmla="*/ 1874738 h 11747497"/>
              <a:gd name="connsiteX383" fmla="*/ 66253 w 4838702"/>
              <a:gd name="connsiteY383" fmla="*/ 1791573 h 11747497"/>
              <a:gd name="connsiteX384" fmla="*/ 68322 w 4838702"/>
              <a:gd name="connsiteY384" fmla="*/ 1749989 h 11747497"/>
              <a:gd name="connsiteX385" fmla="*/ 68943 w 4838702"/>
              <a:gd name="connsiteY385" fmla="*/ 1639101 h 11747497"/>
              <a:gd name="connsiteX386" fmla="*/ 74787 w 4838702"/>
              <a:gd name="connsiteY386" fmla="*/ 1569994 h 11747497"/>
              <a:gd name="connsiteX387" fmla="*/ 85700 w 4838702"/>
              <a:gd name="connsiteY387" fmla="*/ 1570293 h 11747497"/>
              <a:gd name="connsiteX388" fmla="*/ 87096 w 4838702"/>
              <a:gd name="connsiteY388" fmla="*/ 1639599 h 11747497"/>
              <a:gd name="connsiteX389" fmla="*/ 87096 w 4838702"/>
              <a:gd name="connsiteY389" fmla="*/ 5451796 h 11747497"/>
              <a:gd name="connsiteX390" fmla="*/ 81355 w 4838702"/>
              <a:gd name="connsiteY390" fmla="*/ 5507040 h 11747497"/>
              <a:gd name="connsiteX391" fmla="*/ 77425 w 4838702"/>
              <a:gd name="connsiteY391" fmla="*/ 5562386 h 11747497"/>
              <a:gd name="connsiteX392" fmla="*/ 77269 w 4838702"/>
              <a:gd name="connsiteY392" fmla="*/ 5590108 h 11747497"/>
              <a:gd name="connsiteX393" fmla="*/ 84511 w 4838702"/>
              <a:gd name="connsiteY393" fmla="*/ 5590307 h 11747497"/>
              <a:gd name="connsiteX394" fmla="*/ 87096 w 4838702"/>
              <a:gd name="connsiteY394" fmla="*/ 5451796 h 11747497"/>
              <a:gd name="connsiteX395" fmla="*/ 88286 w 4838702"/>
              <a:gd name="connsiteY395" fmla="*/ 2388197 h 11747497"/>
              <a:gd name="connsiteX396" fmla="*/ 86217 w 4838702"/>
              <a:gd name="connsiteY396" fmla="*/ 2443541 h 11747497"/>
              <a:gd name="connsiteX397" fmla="*/ 85959 w 4838702"/>
              <a:gd name="connsiteY397" fmla="*/ 2485125 h 11747497"/>
              <a:gd name="connsiteX398" fmla="*/ 87614 w 4838702"/>
              <a:gd name="connsiteY398" fmla="*/ 2512947 h 11747497"/>
              <a:gd name="connsiteX399" fmla="*/ 85545 w 4838702"/>
              <a:gd name="connsiteY399" fmla="*/ 2554431 h 11747497"/>
              <a:gd name="connsiteX400" fmla="*/ 83166 w 4838702"/>
              <a:gd name="connsiteY400" fmla="*/ 2651457 h 11747497"/>
              <a:gd name="connsiteX401" fmla="*/ 82907 w 4838702"/>
              <a:gd name="connsiteY401" fmla="*/ 2693041 h 11747497"/>
              <a:gd name="connsiteX402" fmla="*/ 80786 w 4838702"/>
              <a:gd name="connsiteY402" fmla="*/ 2748385 h 11747497"/>
              <a:gd name="connsiteX403" fmla="*/ 86166 w 4838702"/>
              <a:gd name="connsiteY403" fmla="*/ 2762347 h 11747497"/>
              <a:gd name="connsiteX404" fmla="*/ 82390 w 4838702"/>
              <a:gd name="connsiteY404" fmla="*/ 2789969 h 11747497"/>
              <a:gd name="connsiteX405" fmla="*/ 80269 w 4838702"/>
              <a:gd name="connsiteY405" fmla="*/ 2845413 h 11747497"/>
              <a:gd name="connsiteX406" fmla="*/ 81459 w 4838702"/>
              <a:gd name="connsiteY406" fmla="*/ 2956402 h 11747497"/>
              <a:gd name="connsiteX407" fmla="*/ 76235 w 4838702"/>
              <a:gd name="connsiteY407" fmla="*/ 2914619 h 11747497"/>
              <a:gd name="connsiteX408" fmla="*/ 74115 w 4838702"/>
              <a:gd name="connsiteY408" fmla="*/ 2969964 h 11747497"/>
              <a:gd name="connsiteX409" fmla="*/ 72150 w 4838702"/>
              <a:gd name="connsiteY409" fmla="*/ 2997686 h 11747497"/>
              <a:gd name="connsiteX410" fmla="*/ 73908 w 4838702"/>
              <a:gd name="connsiteY410" fmla="*/ 3011647 h 11747497"/>
              <a:gd name="connsiteX411" fmla="*/ 70133 w 4838702"/>
              <a:gd name="connsiteY411" fmla="*/ 3039270 h 11747497"/>
              <a:gd name="connsiteX412" fmla="*/ 71528 w 4838702"/>
              <a:gd name="connsiteY412" fmla="*/ 3108575 h 11747497"/>
              <a:gd name="connsiteX413" fmla="*/ 69615 w 4838702"/>
              <a:gd name="connsiteY413" fmla="*/ 3122436 h 11747497"/>
              <a:gd name="connsiteX414" fmla="*/ 68271 w 4838702"/>
              <a:gd name="connsiteY414" fmla="*/ 3039270 h 11747497"/>
              <a:gd name="connsiteX415" fmla="*/ 70494 w 4838702"/>
              <a:gd name="connsiteY415" fmla="*/ 2969964 h 11747497"/>
              <a:gd name="connsiteX416" fmla="*/ 70960 w 4838702"/>
              <a:gd name="connsiteY416" fmla="*/ 2886797 h 11747497"/>
              <a:gd name="connsiteX417" fmla="*/ 69357 w 4838702"/>
              <a:gd name="connsiteY417" fmla="*/ 2845114 h 11747497"/>
              <a:gd name="connsiteX418" fmla="*/ 69667 w 4838702"/>
              <a:gd name="connsiteY418" fmla="*/ 2789671 h 11747497"/>
              <a:gd name="connsiteX419" fmla="*/ 69822 w 4838702"/>
              <a:gd name="connsiteY419" fmla="*/ 2761948 h 11747497"/>
              <a:gd name="connsiteX420" fmla="*/ 70287 w 4838702"/>
              <a:gd name="connsiteY420" fmla="*/ 2678781 h 11747497"/>
              <a:gd name="connsiteX421" fmla="*/ 76080 w 4838702"/>
              <a:gd name="connsiteY421" fmla="*/ 2623437 h 11747497"/>
              <a:gd name="connsiteX422" fmla="*/ 76804 w 4838702"/>
              <a:gd name="connsiteY422" fmla="*/ 2498686 h 11747497"/>
              <a:gd name="connsiteX423" fmla="*/ 82235 w 4838702"/>
              <a:gd name="connsiteY423" fmla="*/ 2498887 h 11747497"/>
              <a:gd name="connsiteX424" fmla="*/ 85079 w 4838702"/>
              <a:gd name="connsiteY424" fmla="*/ 2318792 h 11747497"/>
              <a:gd name="connsiteX425" fmla="*/ 86631 w 4838702"/>
              <a:gd name="connsiteY425" fmla="*/ 2360375 h 11747497"/>
              <a:gd name="connsiteX426" fmla="*/ 88286 w 4838702"/>
              <a:gd name="connsiteY426" fmla="*/ 2388197 h 11747497"/>
              <a:gd name="connsiteX427" fmla="*/ 92010 w 4838702"/>
              <a:gd name="connsiteY427" fmla="*/ 5230119 h 11747497"/>
              <a:gd name="connsiteX428" fmla="*/ 88700 w 4838702"/>
              <a:gd name="connsiteY428" fmla="*/ 5174575 h 11747497"/>
              <a:gd name="connsiteX429" fmla="*/ 83579 w 4838702"/>
              <a:gd name="connsiteY429" fmla="*/ 5119031 h 11747497"/>
              <a:gd name="connsiteX430" fmla="*/ 90044 w 4838702"/>
              <a:gd name="connsiteY430" fmla="*/ 5257840 h 11747497"/>
              <a:gd name="connsiteX431" fmla="*/ 92010 w 4838702"/>
              <a:gd name="connsiteY431" fmla="*/ 5230119 h 11747497"/>
              <a:gd name="connsiteX432" fmla="*/ 92682 w 4838702"/>
              <a:gd name="connsiteY432" fmla="*/ 2249686 h 11747497"/>
              <a:gd name="connsiteX433" fmla="*/ 85234 w 4838702"/>
              <a:gd name="connsiteY433" fmla="*/ 2277208 h 11747497"/>
              <a:gd name="connsiteX434" fmla="*/ 92682 w 4838702"/>
              <a:gd name="connsiteY434" fmla="*/ 2249686 h 11747497"/>
              <a:gd name="connsiteX435" fmla="*/ 94234 w 4838702"/>
              <a:gd name="connsiteY435" fmla="*/ 3247883 h 11747497"/>
              <a:gd name="connsiteX436" fmla="*/ 92993 w 4838702"/>
              <a:gd name="connsiteY436" fmla="*/ 3150857 h 11747497"/>
              <a:gd name="connsiteX437" fmla="*/ 94234 w 4838702"/>
              <a:gd name="connsiteY437" fmla="*/ 3247883 h 11747497"/>
              <a:gd name="connsiteX438" fmla="*/ 94699 w 4838702"/>
              <a:gd name="connsiteY438" fmla="*/ 1903259 h 11747497"/>
              <a:gd name="connsiteX439" fmla="*/ 91389 w 4838702"/>
              <a:gd name="connsiteY439" fmla="*/ 1847714 h 11747497"/>
              <a:gd name="connsiteX440" fmla="*/ 94699 w 4838702"/>
              <a:gd name="connsiteY440" fmla="*/ 1903259 h 11747497"/>
              <a:gd name="connsiteX441" fmla="*/ 97389 w 4838702"/>
              <a:gd name="connsiteY441" fmla="*/ 1750787 h 11747497"/>
              <a:gd name="connsiteX442" fmla="*/ 97130 w 4838702"/>
              <a:gd name="connsiteY442" fmla="*/ 1792370 h 11747497"/>
              <a:gd name="connsiteX443" fmla="*/ 93510 w 4838702"/>
              <a:gd name="connsiteY443" fmla="*/ 1792270 h 11747497"/>
              <a:gd name="connsiteX444" fmla="*/ 93769 w 4838702"/>
              <a:gd name="connsiteY444" fmla="*/ 1750687 h 11747497"/>
              <a:gd name="connsiteX445" fmla="*/ 97970 w 4838702"/>
              <a:gd name="connsiteY445" fmla="*/ 1965571 h 11747497"/>
              <a:gd name="connsiteX446" fmla="*/ 97595 w 4838702"/>
              <a:gd name="connsiteY446" fmla="*/ 2028008 h 11747497"/>
              <a:gd name="connsiteX447" fmla="*/ 87821 w 4838702"/>
              <a:gd name="connsiteY447" fmla="*/ 2152459 h 11747497"/>
              <a:gd name="connsiteX448" fmla="*/ 86320 w 4838702"/>
              <a:gd name="connsiteY448" fmla="*/ 2097014 h 11747497"/>
              <a:gd name="connsiteX449" fmla="*/ 90924 w 4838702"/>
              <a:gd name="connsiteY449" fmla="*/ 1930781 h 11747497"/>
              <a:gd name="connsiteX450" fmla="*/ 94544 w 4838702"/>
              <a:gd name="connsiteY450" fmla="*/ 1930881 h 11747497"/>
              <a:gd name="connsiteX451" fmla="*/ 97970 w 4838702"/>
              <a:gd name="connsiteY451" fmla="*/ 1965571 h 11747497"/>
              <a:gd name="connsiteX452" fmla="*/ 98009 w 4838702"/>
              <a:gd name="connsiteY452" fmla="*/ 1002288 h 11747497"/>
              <a:gd name="connsiteX453" fmla="*/ 90769 w 4838702"/>
              <a:gd name="connsiteY453" fmla="*/ 1002088 h 11747497"/>
              <a:gd name="connsiteX454" fmla="*/ 92114 w 4838702"/>
              <a:gd name="connsiteY454" fmla="*/ 1085255 h 11747497"/>
              <a:gd name="connsiteX455" fmla="*/ 98009 w 4838702"/>
              <a:gd name="connsiteY455" fmla="*/ 1002288 h 11747497"/>
              <a:gd name="connsiteX456" fmla="*/ 100492 w 4838702"/>
              <a:gd name="connsiteY456" fmla="*/ 4689736 h 11747497"/>
              <a:gd name="connsiteX457" fmla="*/ 89114 w 4838702"/>
              <a:gd name="connsiteY457" fmla="*/ 4772603 h 11747497"/>
              <a:gd name="connsiteX458" fmla="*/ 85648 w 4838702"/>
              <a:gd name="connsiteY458" fmla="*/ 4809001 h 11747497"/>
              <a:gd name="connsiteX459" fmla="*/ 85474 w 4838702"/>
              <a:gd name="connsiteY459" fmla="*/ 4868066 h 11747497"/>
              <a:gd name="connsiteX460" fmla="*/ 85135 w 4838702"/>
              <a:gd name="connsiteY460" fmla="*/ 4884490 h 11747497"/>
              <a:gd name="connsiteX461" fmla="*/ 85131 w 4838702"/>
              <a:gd name="connsiteY461" fmla="*/ 4884688 h 11747497"/>
              <a:gd name="connsiteX462" fmla="*/ 88441 w 4838702"/>
              <a:gd name="connsiteY462" fmla="*/ 4897352 h 11747497"/>
              <a:gd name="connsiteX463" fmla="*/ 90406 w 4838702"/>
              <a:gd name="connsiteY463" fmla="*/ 4869731 h 11747497"/>
              <a:gd name="connsiteX464" fmla="*/ 91182 w 4838702"/>
              <a:gd name="connsiteY464" fmla="*/ 5049925 h 11747497"/>
              <a:gd name="connsiteX465" fmla="*/ 99251 w 4838702"/>
              <a:gd name="connsiteY465" fmla="*/ 4911513 h 11747497"/>
              <a:gd name="connsiteX466" fmla="*/ 95682 w 4838702"/>
              <a:gd name="connsiteY466" fmla="*/ 4897553 h 11747497"/>
              <a:gd name="connsiteX467" fmla="*/ 97958 w 4838702"/>
              <a:gd name="connsiteY467" fmla="*/ 4814385 h 11747497"/>
              <a:gd name="connsiteX468" fmla="*/ 100492 w 4838702"/>
              <a:gd name="connsiteY468" fmla="*/ 4689736 h 11747497"/>
              <a:gd name="connsiteX469" fmla="*/ 101203 w 4838702"/>
              <a:gd name="connsiteY469" fmla="*/ 4154787 h 11747497"/>
              <a:gd name="connsiteX470" fmla="*/ 98268 w 4838702"/>
              <a:gd name="connsiteY470" fmla="*/ 4135193 h 11747497"/>
              <a:gd name="connsiteX471" fmla="*/ 98009 w 4838702"/>
              <a:gd name="connsiteY471" fmla="*/ 4176776 h 11747497"/>
              <a:gd name="connsiteX472" fmla="*/ 101203 w 4838702"/>
              <a:gd name="connsiteY472" fmla="*/ 4154787 h 11747497"/>
              <a:gd name="connsiteX473" fmla="*/ 101319 w 4838702"/>
              <a:gd name="connsiteY473" fmla="*/ 4232320 h 11747497"/>
              <a:gd name="connsiteX474" fmla="*/ 94234 w 4838702"/>
              <a:gd name="connsiteY474" fmla="*/ 4204398 h 11747497"/>
              <a:gd name="connsiteX475" fmla="*/ 91285 w 4838702"/>
              <a:gd name="connsiteY475" fmla="*/ 4398453 h 11747497"/>
              <a:gd name="connsiteX476" fmla="*/ 87665 w 4838702"/>
              <a:gd name="connsiteY476" fmla="*/ 4398354 h 11747497"/>
              <a:gd name="connsiteX477" fmla="*/ 90975 w 4838702"/>
              <a:gd name="connsiteY477" fmla="*/ 4453898 h 11747497"/>
              <a:gd name="connsiteX478" fmla="*/ 90820 w 4838702"/>
              <a:gd name="connsiteY478" fmla="*/ 4481620 h 11747497"/>
              <a:gd name="connsiteX479" fmla="*/ 90562 w 4838702"/>
              <a:gd name="connsiteY479" fmla="*/ 4523204 h 11747497"/>
              <a:gd name="connsiteX480" fmla="*/ 86889 w 4838702"/>
              <a:gd name="connsiteY480" fmla="*/ 4536865 h 11747497"/>
              <a:gd name="connsiteX481" fmla="*/ 91699 w 4838702"/>
              <a:gd name="connsiteY481" fmla="*/ 4647953 h 11747497"/>
              <a:gd name="connsiteX482" fmla="*/ 93769 w 4838702"/>
              <a:gd name="connsiteY482" fmla="*/ 4606370 h 11747497"/>
              <a:gd name="connsiteX483" fmla="*/ 99613 w 4838702"/>
              <a:gd name="connsiteY483" fmla="*/ 4537264 h 11747497"/>
              <a:gd name="connsiteX484" fmla="*/ 97958 w 4838702"/>
              <a:gd name="connsiteY484" fmla="*/ 4509541 h 11747497"/>
              <a:gd name="connsiteX485" fmla="*/ 99923 w 4838702"/>
              <a:gd name="connsiteY485" fmla="*/ 4481819 h 11747497"/>
              <a:gd name="connsiteX486" fmla="*/ 98165 w 4838702"/>
              <a:gd name="connsiteY486" fmla="*/ 4467859 h 11747497"/>
              <a:gd name="connsiteX487" fmla="*/ 98578 w 4838702"/>
              <a:gd name="connsiteY487" fmla="*/ 4398553 h 11747497"/>
              <a:gd name="connsiteX488" fmla="*/ 98734 w 4838702"/>
              <a:gd name="connsiteY488" fmla="*/ 4370832 h 11747497"/>
              <a:gd name="connsiteX489" fmla="*/ 101112 w 4838702"/>
              <a:gd name="connsiteY489" fmla="*/ 4273903 h 11747497"/>
              <a:gd name="connsiteX490" fmla="*/ 99354 w 4838702"/>
              <a:gd name="connsiteY490" fmla="*/ 4259942 h 11747497"/>
              <a:gd name="connsiteX491" fmla="*/ 101319 w 4838702"/>
              <a:gd name="connsiteY491" fmla="*/ 4232320 h 11747497"/>
              <a:gd name="connsiteX492" fmla="*/ 104371 w 4838702"/>
              <a:gd name="connsiteY492" fmla="*/ 1649172 h 11747497"/>
              <a:gd name="connsiteX493" fmla="*/ 104216 w 4838702"/>
              <a:gd name="connsiteY493" fmla="*/ 1676895 h 11747497"/>
              <a:gd name="connsiteX494" fmla="*/ 100596 w 4838702"/>
              <a:gd name="connsiteY494" fmla="*/ 1676794 h 11747497"/>
              <a:gd name="connsiteX495" fmla="*/ 100750 w 4838702"/>
              <a:gd name="connsiteY495" fmla="*/ 1649073 h 11747497"/>
              <a:gd name="connsiteX496" fmla="*/ 106957 w 4838702"/>
              <a:gd name="connsiteY496" fmla="*/ 640104 h 11747497"/>
              <a:gd name="connsiteX497" fmla="*/ 101216 w 4838702"/>
              <a:gd name="connsiteY497" fmla="*/ 695349 h 11747497"/>
              <a:gd name="connsiteX498" fmla="*/ 106957 w 4838702"/>
              <a:gd name="connsiteY498" fmla="*/ 640104 h 11747497"/>
              <a:gd name="connsiteX499" fmla="*/ 107086 w 4838702"/>
              <a:gd name="connsiteY499" fmla="*/ 772271 h 11747497"/>
              <a:gd name="connsiteX500" fmla="*/ 105974 w 4838702"/>
              <a:gd name="connsiteY500" fmla="*/ 831368 h 11747497"/>
              <a:gd name="connsiteX501" fmla="*/ 99199 w 4838702"/>
              <a:gd name="connsiteY501" fmla="*/ 808134 h 11747497"/>
              <a:gd name="connsiteX502" fmla="*/ 96923 w 4838702"/>
              <a:gd name="connsiteY502" fmla="*/ 891299 h 11747497"/>
              <a:gd name="connsiteX503" fmla="*/ 104009 w 4838702"/>
              <a:gd name="connsiteY503" fmla="*/ 919222 h 11747497"/>
              <a:gd name="connsiteX504" fmla="*/ 103699 w 4838702"/>
              <a:gd name="connsiteY504" fmla="*/ 974665 h 11747497"/>
              <a:gd name="connsiteX505" fmla="*/ 99923 w 4838702"/>
              <a:gd name="connsiteY505" fmla="*/ 1002288 h 11747497"/>
              <a:gd name="connsiteX506" fmla="*/ 101319 w 4838702"/>
              <a:gd name="connsiteY506" fmla="*/ 1071693 h 11747497"/>
              <a:gd name="connsiteX507" fmla="*/ 102974 w 4838702"/>
              <a:gd name="connsiteY507" fmla="*/ 1099515 h 11747497"/>
              <a:gd name="connsiteX508" fmla="*/ 101061 w 4838702"/>
              <a:gd name="connsiteY508" fmla="*/ 1113277 h 11747497"/>
              <a:gd name="connsiteX509" fmla="*/ 104216 w 4838702"/>
              <a:gd name="connsiteY509" fmla="*/ 1149475 h 11747497"/>
              <a:gd name="connsiteX510" fmla="*/ 101164 w 4838702"/>
              <a:gd name="connsiteY510" fmla="*/ 1174305 h 11747497"/>
              <a:gd name="connsiteX511" fmla="*/ 101371 w 4838702"/>
              <a:gd name="connsiteY511" fmla="*/ 1221274 h 11747497"/>
              <a:gd name="connsiteX512" fmla="*/ 102044 w 4838702"/>
              <a:gd name="connsiteY512" fmla="*/ 1271831 h 11747497"/>
              <a:gd name="connsiteX513" fmla="*/ 101371 w 4838702"/>
              <a:gd name="connsiteY513" fmla="*/ 1292374 h 11747497"/>
              <a:gd name="connsiteX514" fmla="*/ 100130 w 4838702"/>
              <a:gd name="connsiteY514" fmla="*/ 1279709 h 11747497"/>
              <a:gd name="connsiteX515" fmla="*/ 94441 w 4838702"/>
              <a:gd name="connsiteY515" fmla="*/ 1321093 h 11747497"/>
              <a:gd name="connsiteX516" fmla="*/ 85338 w 4838702"/>
              <a:gd name="connsiteY516" fmla="*/ 1320793 h 11747497"/>
              <a:gd name="connsiteX517" fmla="*/ 88751 w 4838702"/>
              <a:gd name="connsiteY517" fmla="*/ 1362476 h 11747497"/>
              <a:gd name="connsiteX518" fmla="*/ 92217 w 4838702"/>
              <a:gd name="connsiteY518" fmla="*/ 1390298 h 11747497"/>
              <a:gd name="connsiteX519" fmla="*/ 85804 w 4838702"/>
              <a:gd name="connsiteY519" fmla="*/ 1556432 h 11747497"/>
              <a:gd name="connsiteX520" fmla="*/ 82545 w 4838702"/>
              <a:gd name="connsiteY520" fmla="*/ 1487027 h 11747497"/>
              <a:gd name="connsiteX521" fmla="*/ 75201 w 4838702"/>
              <a:gd name="connsiteY521" fmla="*/ 1500689 h 11747497"/>
              <a:gd name="connsiteX522" fmla="*/ 77890 w 4838702"/>
              <a:gd name="connsiteY522" fmla="*/ 1348216 h 11747497"/>
              <a:gd name="connsiteX523" fmla="*/ 83321 w 4838702"/>
              <a:gd name="connsiteY523" fmla="*/ 1348416 h 11747497"/>
              <a:gd name="connsiteX524" fmla="*/ 78045 w 4838702"/>
              <a:gd name="connsiteY524" fmla="*/ 1320495 h 11747497"/>
              <a:gd name="connsiteX525" fmla="*/ 78770 w 4838702"/>
              <a:gd name="connsiteY525" fmla="*/ 1195744 h 11747497"/>
              <a:gd name="connsiteX526" fmla="*/ 75563 w 4838702"/>
              <a:gd name="connsiteY526" fmla="*/ 1164233 h 11747497"/>
              <a:gd name="connsiteX527" fmla="*/ 77839 w 4838702"/>
              <a:gd name="connsiteY527" fmla="*/ 1105000 h 11747497"/>
              <a:gd name="connsiteX528" fmla="*/ 77373 w 4838702"/>
              <a:gd name="connsiteY528" fmla="*/ 1018343 h 11747497"/>
              <a:gd name="connsiteX529" fmla="*/ 81924 w 4838702"/>
              <a:gd name="connsiteY529" fmla="*/ 964295 h 11747497"/>
              <a:gd name="connsiteX530" fmla="*/ 81614 w 4838702"/>
              <a:gd name="connsiteY530" fmla="*/ 958212 h 11747497"/>
              <a:gd name="connsiteX531" fmla="*/ 85441 w 4838702"/>
              <a:gd name="connsiteY531" fmla="*/ 974167 h 11747497"/>
              <a:gd name="connsiteX532" fmla="*/ 89579 w 4838702"/>
              <a:gd name="connsiteY532" fmla="*/ 891101 h 11747497"/>
              <a:gd name="connsiteX533" fmla="*/ 91492 w 4838702"/>
              <a:gd name="connsiteY533" fmla="*/ 877239 h 11747497"/>
              <a:gd name="connsiteX534" fmla="*/ 92217 w 4838702"/>
              <a:gd name="connsiteY534" fmla="*/ 752489 h 11747497"/>
              <a:gd name="connsiteX535" fmla="*/ 102767 w 4838702"/>
              <a:gd name="connsiteY535" fmla="*/ 726562 h 11747497"/>
              <a:gd name="connsiteX536" fmla="*/ 107086 w 4838702"/>
              <a:gd name="connsiteY536" fmla="*/ 772271 h 11747497"/>
              <a:gd name="connsiteX537" fmla="*/ 109139 w 4838702"/>
              <a:gd name="connsiteY537" fmla="*/ 1229499 h 11747497"/>
              <a:gd name="connsiteX538" fmla="*/ 106957 w 4838702"/>
              <a:gd name="connsiteY538" fmla="*/ 1243311 h 11747497"/>
              <a:gd name="connsiteX539" fmla="*/ 107112 w 4838702"/>
              <a:gd name="connsiteY539" fmla="*/ 1215589 h 11747497"/>
              <a:gd name="connsiteX540" fmla="*/ 109139 w 4838702"/>
              <a:gd name="connsiteY540" fmla="*/ 1229499 h 11747497"/>
              <a:gd name="connsiteX541" fmla="*/ 111489 w 4838702"/>
              <a:gd name="connsiteY541" fmla="*/ 4601982 h 11747497"/>
              <a:gd name="connsiteX542" fmla="*/ 101423 w 4838702"/>
              <a:gd name="connsiteY542" fmla="*/ 4537264 h 11747497"/>
              <a:gd name="connsiteX543" fmla="*/ 100802 w 4838702"/>
              <a:gd name="connsiteY543" fmla="*/ 4648152 h 11747497"/>
              <a:gd name="connsiteX544" fmla="*/ 111489 w 4838702"/>
              <a:gd name="connsiteY544" fmla="*/ 4601982 h 11747497"/>
              <a:gd name="connsiteX545" fmla="*/ 111715 w 4838702"/>
              <a:gd name="connsiteY545" fmla="*/ 6228815 h 11747497"/>
              <a:gd name="connsiteX546" fmla="*/ 107939 w 4838702"/>
              <a:gd name="connsiteY546" fmla="*/ 6256438 h 11747497"/>
              <a:gd name="connsiteX547" fmla="*/ 111715 w 4838702"/>
              <a:gd name="connsiteY547" fmla="*/ 6228815 h 11747497"/>
              <a:gd name="connsiteX548" fmla="*/ 111974 w 4838702"/>
              <a:gd name="connsiteY548" fmla="*/ 1152067 h 11747497"/>
              <a:gd name="connsiteX549" fmla="*/ 111974 w 4838702"/>
              <a:gd name="connsiteY549" fmla="*/ 1152067 h 11747497"/>
              <a:gd name="connsiteX550" fmla="*/ 112885 w 4838702"/>
              <a:gd name="connsiteY550" fmla="*/ 2248801 h 11747497"/>
              <a:gd name="connsiteX551" fmla="*/ 112439 w 4838702"/>
              <a:gd name="connsiteY551" fmla="*/ 2291867 h 11747497"/>
              <a:gd name="connsiteX552" fmla="*/ 101526 w 4838702"/>
              <a:gd name="connsiteY552" fmla="*/ 2291568 h 11747497"/>
              <a:gd name="connsiteX553" fmla="*/ 101681 w 4838702"/>
              <a:gd name="connsiteY553" fmla="*/ 2263847 h 11747497"/>
              <a:gd name="connsiteX554" fmla="*/ 103595 w 4838702"/>
              <a:gd name="connsiteY554" fmla="*/ 2250085 h 11747497"/>
              <a:gd name="connsiteX555" fmla="*/ 108974 w 4838702"/>
              <a:gd name="connsiteY555" fmla="*/ 2264045 h 11747497"/>
              <a:gd name="connsiteX556" fmla="*/ 111042 w 4838702"/>
              <a:gd name="connsiteY556" fmla="*/ 2222563 h 11747497"/>
              <a:gd name="connsiteX557" fmla="*/ 112885 w 4838702"/>
              <a:gd name="connsiteY557" fmla="*/ 2248801 h 11747497"/>
              <a:gd name="connsiteX558" fmla="*/ 113526 w 4838702"/>
              <a:gd name="connsiteY558" fmla="*/ 2124537 h 11747497"/>
              <a:gd name="connsiteX559" fmla="*/ 112905 w 4838702"/>
              <a:gd name="connsiteY559" fmla="*/ 2208701 h 11747497"/>
              <a:gd name="connsiteX560" fmla="*/ 102095 w 4838702"/>
              <a:gd name="connsiteY560" fmla="*/ 2194541 h 11747497"/>
              <a:gd name="connsiteX561" fmla="*/ 102871 w 4838702"/>
              <a:gd name="connsiteY561" fmla="*/ 2055930 h 11747497"/>
              <a:gd name="connsiteX562" fmla="*/ 111974 w 4838702"/>
              <a:gd name="connsiteY562" fmla="*/ 2056228 h 11747497"/>
              <a:gd name="connsiteX563" fmla="*/ 113526 w 4838702"/>
              <a:gd name="connsiteY563" fmla="*/ 2124537 h 11747497"/>
              <a:gd name="connsiteX564" fmla="*/ 113887 w 4838702"/>
              <a:gd name="connsiteY564" fmla="*/ 1359485 h 11747497"/>
              <a:gd name="connsiteX565" fmla="*/ 113060 w 4838702"/>
              <a:gd name="connsiteY565" fmla="*/ 1397080 h 11747497"/>
              <a:gd name="connsiteX566" fmla="*/ 112181 w 4838702"/>
              <a:gd name="connsiteY566" fmla="*/ 1437965 h 11747497"/>
              <a:gd name="connsiteX567" fmla="*/ 109853 w 4838702"/>
              <a:gd name="connsiteY567" fmla="*/ 1485233 h 11747497"/>
              <a:gd name="connsiteX568" fmla="*/ 109543 w 4838702"/>
              <a:gd name="connsiteY568" fmla="*/ 1485032 h 11747497"/>
              <a:gd name="connsiteX569" fmla="*/ 101578 w 4838702"/>
              <a:gd name="connsiteY569" fmla="*/ 1609583 h 11747497"/>
              <a:gd name="connsiteX570" fmla="*/ 94389 w 4838702"/>
              <a:gd name="connsiteY570" fmla="*/ 1595523 h 11747497"/>
              <a:gd name="connsiteX571" fmla="*/ 102198 w 4838702"/>
              <a:gd name="connsiteY571" fmla="*/ 1498695 h 11747497"/>
              <a:gd name="connsiteX572" fmla="*/ 100802 w 4838702"/>
              <a:gd name="connsiteY572" fmla="*/ 1464690 h 11747497"/>
              <a:gd name="connsiteX573" fmla="*/ 100543 w 4838702"/>
              <a:gd name="connsiteY573" fmla="*/ 1373446 h 11747497"/>
              <a:gd name="connsiteX574" fmla="*/ 102613 w 4838702"/>
              <a:gd name="connsiteY574" fmla="*/ 1316207 h 11747497"/>
              <a:gd name="connsiteX575" fmla="*/ 112387 w 4838702"/>
              <a:gd name="connsiteY575" fmla="*/ 1304838 h 11747497"/>
              <a:gd name="connsiteX576" fmla="*/ 113887 w 4838702"/>
              <a:gd name="connsiteY576" fmla="*/ 1359485 h 11747497"/>
              <a:gd name="connsiteX577" fmla="*/ 117456 w 4838702"/>
              <a:gd name="connsiteY577" fmla="*/ 1099815 h 11747497"/>
              <a:gd name="connsiteX578" fmla="*/ 110370 w 4838702"/>
              <a:gd name="connsiteY578" fmla="*/ 1071892 h 11747497"/>
              <a:gd name="connsiteX579" fmla="*/ 117456 w 4838702"/>
              <a:gd name="connsiteY579" fmla="*/ 1099815 h 11747497"/>
              <a:gd name="connsiteX580" fmla="*/ 118542 w 4838702"/>
              <a:gd name="connsiteY580" fmla="*/ 826482 h 11747497"/>
              <a:gd name="connsiteX581" fmla="*/ 118387 w 4838702"/>
              <a:gd name="connsiteY581" fmla="*/ 854204 h 11747497"/>
              <a:gd name="connsiteX582" fmla="*/ 114767 w 4838702"/>
              <a:gd name="connsiteY582" fmla="*/ 854103 h 11747497"/>
              <a:gd name="connsiteX583" fmla="*/ 114922 w 4838702"/>
              <a:gd name="connsiteY583" fmla="*/ 826382 h 11747497"/>
              <a:gd name="connsiteX584" fmla="*/ 120353 w 4838702"/>
              <a:gd name="connsiteY584" fmla="*/ 4399152 h 11747497"/>
              <a:gd name="connsiteX585" fmla="*/ 115232 w 4838702"/>
              <a:gd name="connsiteY585" fmla="*/ 4343607 h 11747497"/>
              <a:gd name="connsiteX586" fmla="*/ 113112 w 4838702"/>
              <a:gd name="connsiteY586" fmla="*/ 4398951 h 11747497"/>
              <a:gd name="connsiteX587" fmla="*/ 112853 w 4838702"/>
              <a:gd name="connsiteY587" fmla="*/ 4440535 h 11747497"/>
              <a:gd name="connsiteX588" fmla="*/ 120353 w 4838702"/>
              <a:gd name="connsiteY588" fmla="*/ 4399152 h 11747497"/>
              <a:gd name="connsiteX589" fmla="*/ 120611 w 4838702"/>
              <a:gd name="connsiteY589" fmla="*/ 4676473 h 11747497"/>
              <a:gd name="connsiteX590" fmla="*/ 111612 w 4838702"/>
              <a:gd name="connsiteY590" fmla="*/ 4662313 h 11747497"/>
              <a:gd name="connsiteX591" fmla="*/ 109543 w 4838702"/>
              <a:gd name="connsiteY591" fmla="*/ 4703896 h 11747497"/>
              <a:gd name="connsiteX592" fmla="*/ 120611 w 4838702"/>
              <a:gd name="connsiteY592" fmla="*/ 4676473 h 11747497"/>
              <a:gd name="connsiteX593" fmla="*/ 121361 w 4838702"/>
              <a:gd name="connsiteY593" fmla="*/ 1453907 h 11747497"/>
              <a:gd name="connsiteX594" fmla="*/ 117043 w 4838702"/>
              <a:gd name="connsiteY594" fmla="*/ 1487925 h 11747497"/>
              <a:gd name="connsiteX595" fmla="*/ 119318 w 4838702"/>
              <a:gd name="connsiteY595" fmla="*/ 1404857 h 11747497"/>
              <a:gd name="connsiteX596" fmla="*/ 121361 w 4838702"/>
              <a:gd name="connsiteY596" fmla="*/ 1453907 h 11747497"/>
              <a:gd name="connsiteX597" fmla="*/ 121665 w 4838702"/>
              <a:gd name="connsiteY597" fmla="*/ 4617563 h 11747497"/>
              <a:gd name="connsiteX598" fmla="*/ 117301 w 4838702"/>
              <a:gd name="connsiteY598" fmla="*/ 4620929 h 11747497"/>
              <a:gd name="connsiteX599" fmla="*/ 121665 w 4838702"/>
              <a:gd name="connsiteY599" fmla="*/ 4617563 h 11747497"/>
              <a:gd name="connsiteX600" fmla="*/ 122162 w 4838702"/>
              <a:gd name="connsiteY600" fmla="*/ 905958 h 11747497"/>
              <a:gd name="connsiteX601" fmla="*/ 119783 w 4838702"/>
              <a:gd name="connsiteY601" fmla="*/ 1002886 h 11747497"/>
              <a:gd name="connsiteX602" fmla="*/ 112543 w 4838702"/>
              <a:gd name="connsiteY602" fmla="*/ 1002687 h 11747497"/>
              <a:gd name="connsiteX603" fmla="*/ 112853 w 4838702"/>
              <a:gd name="connsiteY603" fmla="*/ 947242 h 11747497"/>
              <a:gd name="connsiteX604" fmla="*/ 116473 w 4838702"/>
              <a:gd name="connsiteY604" fmla="*/ 947342 h 11747497"/>
              <a:gd name="connsiteX605" fmla="*/ 114715 w 4838702"/>
              <a:gd name="connsiteY605" fmla="*/ 933481 h 11747497"/>
              <a:gd name="connsiteX606" fmla="*/ 122162 w 4838702"/>
              <a:gd name="connsiteY606" fmla="*/ 905958 h 11747497"/>
              <a:gd name="connsiteX607" fmla="*/ 126507 w 4838702"/>
              <a:gd name="connsiteY607" fmla="*/ 781209 h 11747497"/>
              <a:gd name="connsiteX608" fmla="*/ 119163 w 4838702"/>
              <a:gd name="connsiteY608" fmla="*/ 794870 h 11747497"/>
              <a:gd name="connsiteX609" fmla="*/ 121594 w 4838702"/>
              <a:gd name="connsiteY609" fmla="*/ 684081 h 11747497"/>
              <a:gd name="connsiteX610" fmla="*/ 126507 w 4838702"/>
              <a:gd name="connsiteY610" fmla="*/ 781209 h 11747497"/>
              <a:gd name="connsiteX611" fmla="*/ 129920 w 4838702"/>
              <a:gd name="connsiteY611" fmla="*/ 504087 h 11747497"/>
              <a:gd name="connsiteX612" fmla="*/ 129455 w 4838702"/>
              <a:gd name="connsiteY612" fmla="*/ 587253 h 11747497"/>
              <a:gd name="connsiteX613" fmla="*/ 125680 w 4838702"/>
              <a:gd name="connsiteY613" fmla="*/ 614876 h 11747497"/>
              <a:gd name="connsiteX614" fmla="*/ 129920 w 4838702"/>
              <a:gd name="connsiteY614" fmla="*/ 504087 h 11747497"/>
              <a:gd name="connsiteX615" fmla="*/ 132028 w 4838702"/>
              <a:gd name="connsiteY615" fmla="*/ 2042281 h 11747497"/>
              <a:gd name="connsiteX616" fmla="*/ 128265 w 4838702"/>
              <a:gd name="connsiteY616" fmla="*/ 2070489 h 11747497"/>
              <a:gd name="connsiteX617" fmla="*/ 130231 w 4838702"/>
              <a:gd name="connsiteY617" fmla="*/ 2042767 h 11747497"/>
              <a:gd name="connsiteX618" fmla="*/ 128576 w 4838702"/>
              <a:gd name="connsiteY618" fmla="*/ 2015045 h 11747497"/>
              <a:gd name="connsiteX619" fmla="*/ 132028 w 4838702"/>
              <a:gd name="connsiteY619" fmla="*/ 2042281 h 11747497"/>
              <a:gd name="connsiteX620" fmla="*/ 133024 w 4838702"/>
              <a:gd name="connsiteY620" fmla="*/ 1182981 h 11747497"/>
              <a:gd name="connsiteX621" fmla="*/ 127800 w 4838702"/>
              <a:gd name="connsiteY621" fmla="*/ 1183379 h 11747497"/>
              <a:gd name="connsiteX622" fmla="*/ 131213 w 4838702"/>
              <a:gd name="connsiteY622" fmla="*/ 1225062 h 11747497"/>
              <a:gd name="connsiteX623" fmla="*/ 130748 w 4838702"/>
              <a:gd name="connsiteY623" fmla="*/ 1308229 h 11747497"/>
              <a:gd name="connsiteX624" fmla="*/ 125318 w 4838702"/>
              <a:gd name="connsiteY624" fmla="*/ 1308029 h 11747497"/>
              <a:gd name="connsiteX625" fmla="*/ 121852 w 4838702"/>
              <a:gd name="connsiteY625" fmla="*/ 1321591 h 11747497"/>
              <a:gd name="connsiteX626" fmla="*/ 121542 w 4838702"/>
              <a:gd name="connsiteY626" fmla="*/ 1298756 h 11747497"/>
              <a:gd name="connsiteX627" fmla="*/ 122576 w 4838702"/>
              <a:gd name="connsiteY627" fmla="*/ 1224066 h 11747497"/>
              <a:gd name="connsiteX628" fmla="*/ 123404 w 4838702"/>
              <a:gd name="connsiteY628" fmla="*/ 1192754 h 11747497"/>
              <a:gd name="connsiteX629" fmla="*/ 126094 w 4838702"/>
              <a:gd name="connsiteY629" fmla="*/ 1169319 h 11747497"/>
              <a:gd name="connsiteX630" fmla="*/ 128369 w 4838702"/>
              <a:gd name="connsiteY630" fmla="*/ 1086252 h 11747497"/>
              <a:gd name="connsiteX631" fmla="*/ 132300 w 4838702"/>
              <a:gd name="connsiteY631" fmla="*/ 1086751 h 11747497"/>
              <a:gd name="connsiteX632" fmla="*/ 132300 w 4838702"/>
              <a:gd name="connsiteY632" fmla="*/ 1088446 h 11747497"/>
              <a:gd name="connsiteX633" fmla="*/ 132454 w 4838702"/>
              <a:gd name="connsiteY633" fmla="*/ 1139004 h 11747497"/>
              <a:gd name="connsiteX634" fmla="*/ 133024 w 4838702"/>
              <a:gd name="connsiteY634" fmla="*/ 1182981 h 11747497"/>
              <a:gd name="connsiteX635" fmla="*/ 134162 w 4838702"/>
              <a:gd name="connsiteY635" fmla="*/ 1507968 h 11747497"/>
              <a:gd name="connsiteX636" fmla="*/ 134006 w 4838702"/>
              <a:gd name="connsiteY636" fmla="*/ 1535691 h 11747497"/>
              <a:gd name="connsiteX637" fmla="*/ 130386 w 4838702"/>
              <a:gd name="connsiteY637" fmla="*/ 1535591 h 11747497"/>
              <a:gd name="connsiteX638" fmla="*/ 130541 w 4838702"/>
              <a:gd name="connsiteY638" fmla="*/ 1507869 h 11747497"/>
              <a:gd name="connsiteX639" fmla="*/ 134524 w 4838702"/>
              <a:gd name="connsiteY639" fmla="*/ 975564 h 11747497"/>
              <a:gd name="connsiteX640" fmla="*/ 128834 w 4838702"/>
              <a:gd name="connsiteY640" fmla="*/ 1016947 h 11747497"/>
              <a:gd name="connsiteX641" fmla="*/ 134524 w 4838702"/>
              <a:gd name="connsiteY641" fmla="*/ 975564 h 11747497"/>
              <a:gd name="connsiteX642" fmla="*/ 134938 w 4838702"/>
              <a:gd name="connsiteY642" fmla="*/ 1835050 h 11747497"/>
              <a:gd name="connsiteX643" fmla="*/ 130438 w 4838702"/>
              <a:gd name="connsiteY643" fmla="*/ 1987422 h 11747497"/>
              <a:gd name="connsiteX644" fmla="*/ 121852 w 4838702"/>
              <a:gd name="connsiteY644" fmla="*/ 1903957 h 11747497"/>
              <a:gd name="connsiteX645" fmla="*/ 110888 w 4838702"/>
              <a:gd name="connsiteY645" fmla="*/ 1917519 h 11747497"/>
              <a:gd name="connsiteX646" fmla="*/ 112232 w 4838702"/>
              <a:gd name="connsiteY646" fmla="*/ 2000686 h 11747497"/>
              <a:gd name="connsiteX647" fmla="*/ 108922 w 4838702"/>
              <a:gd name="connsiteY647" fmla="*/ 1945141 h 11747497"/>
              <a:gd name="connsiteX648" fmla="*/ 111302 w 4838702"/>
              <a:gd name="connsiteY648" fmla="*/ 1848213 h 11747497"/>
              <a:gd name="connsiteX649" fmla="*/ 111560 w 4838702"/>
              <a:gd name="connsiteY649" fmla="*/ 1806630 h 11747497"/>
              <a:gd name="connsiteX650" fmla="*/ 113526 w 4838702"/>
              <a:gd name="connsiteY650" fmla="*/ 1779007 h 11747497"/>
              <a:gd name="connsiteX651" fmla="*/ 114146 w 4838702"/>
              <a:gd name="connsiteY651" fmla="*/ 1668119 h 11747497"/>
              <a:gd name="connsiteX652" fmla="*/ 115956 w 4838702"/>
              <a:gd name="connsiteY652" fmla="*/ 1668219 h 11747497"/>
              <a:gd name="connsiteX653" fmla="*/ 114301 w 4838702"/>
              <a:gd name="connsiteY653" fmla="*/ 1640397 h 11747497"/>
              <a:gd name="connsiteX654" fmla="*/ 116215 w 4838702"/>
              <a:gd name="connsiteY654" fmla="*/ 1626635 h 11747497"/>
              <a:gd name="connsiteX655" fmla="*/ 116473 w 4838702"/>
              <a:gd name="connsiteY655" fmla="*/ 1585051 h 11747497"/>
              <a:gd name="connsiteX656" fmla="*/ 118128 w 4838702"/>
              <a:gd name="connsiteY656" fmla="*/ 1612774 h 11747497"/>
              <a:gd name="connsiteX657" fmla="*/ 117715 w 4838702"/>
              <a:gd name="connsiteY657" fmla="*/ 1682080 h 11747497"/>
              <a:gd name="connsiteX658" fmla="*/ 116939 w 4838702"/>
              <a:gd name="connsiteY658" fmla="*/ 1820690 h 11747497"/>
              <a:gd name="connsiteX659" fmla="*/ 124128 w 4838702"/>
              <a:gd name="connsiteY659" fmla="*/ 1834750 h 11747497"/>
              <a:gd name="connsiteX660" fmla="*/ 125628 w 4838702"/>
              <a:gd name="connsiteY660" fmla="*/ 1890195 h 11747497"/>
              <a:gd name="connsiteX661" fmla="*/ 129558 w 4838702"/>
              <a:gd name="connsiteY661" fmla="*/ 1834851 h 11747497"/>
              <a:gd name="connsiteX662" fmla="*/ 129817 w 4838702"/>
              <a:gd name="connsiteY662" fmla="*/ 1793267 h 11747497"/>
              <a:gd name="connsiteX663" fmla="*/ 134938 w 4838702"/>
              <a:gd name="connsiteY663" fmla="*/ 1835050 h 11747497"/>
              <a:gd name="connsiteX664" fmla="*/ 139550 w 4838702"/>
              <a:gd name="connsiteY664" fmla="*/ 252514 h 11747497"/>
              <a:gd name="connsiteX665" fmla="*/ 134989 w 4838702"/>
              <a:gd name="connsiteY665" fmla="*/ 254687 h 11747497"/>
              <a:gd name="connsiteX666" fmla="*/ 139550 w 4838702"/>
              <a:gd name="connsiteY666" fmla="*/ 252514 h 11747497"/>
              <a:gd name="connsiteX667" fmla="*/ 139844 w 4838702"/>
              <a:gd name="connsiteY667" fmla="*/ 2977418 h 11747497"/>
              <a:gd name="connsiteX668" fmla="*/ 139592 w 4838702"/>
              <a:gd name="connsiteY668" fmla="*/ 2944137 h 11747497"/>
              <a:gd name="connsiteX669" fmla="*/ 139844 w 4838702"/>
              <a:gd name="connsiteY669" fmla="*/ 2977418 h 11747497"/>
              <a:gd name="connsiteX670" fmla="*/ 139850 w 4838702"/>
              <a:gd name="connsiteY670" fmla="*/ 1627234 h 11747497"/>
              <a:gd name="connsiteX671" fmla="*/ 128265 w 4838702"/>
              <a:gd name="connsiteY671" fmla="*/ 1751684 h 11747497"/>
              <a:gd name="connsiteX672" fmla="*/ 128886 w 4838702"/>
              <a:gd name="connsiteY672" fmla="*/ 1640796 h 11747497"/>
              <a:gd name="connsiteX673" fmla="*/ 139850 w 4838702"/>
              <a:gd name="connsiteY673" fmla="*/ 1627234 h 11747497"/>
              <a:gd name="connsiteX674" fmla="*/ 140161 w 4838702"/>
              <a:gd name="connsiteY674" fmla="*/ 310330 h 11747497"/>
              <a:gd name="connsiteX675" fmla="*/ 136437 w 4838702"/>
              <a:gd name="connsiteY675" fmla="*/ 324092 h 11747497"/>
              <a:gd name="connsiteX676" fmla="*/ 134938 w 4838702"/>
              <a:gd name="connsiteY676" fmla="*/ 391802 h 11747497"/>
              <a:gd name="connsiteX677" fmla="*/ 137679 w 4838702"/>
              <a:gd name="connsiteY677" fmla="*/ 406261 h 11747497"/>
              <a:gd name="connsiteX678" fmla="*/ 135299 w 4838702"/>
              <a:gd name="connsiteY678" fmla="*/ 445950 h 11747497"/>
              <a:gd name="connsiteX679" fmla="*/ 133437 w 4838702"/>
              <a:gd name="connsiteY679" fmla="*/ 485140 h 11747497"/>
              <a:gd name="connsiteX680" fmla="*/ 126455 w 4838702"/>
              <a:gd name="connsiteY680" fmla="*/ 476264 h 11747497"/>
              <a:gd name="connsiteX681" fmla="*/ 131162 w 4838702"/>
              <a:gd name="connsiteY681" fmla="*/ 296270 h 11747497"/>
              <a:gd name="connsiteX682" fmla="*/ 140161 w 4838702"/>
              <a:gd name="connsiteY682" fmla="*/ 310330 h 11747497"/>
              <a:gd name="connsiteX683" fmla="*/ 140782 w 4838702"/>
              <a:gd name="connsiteY683" fmla="*/ 1460900 h 11747497"/>
              <a:gd name="connsiteX684" fmla="*/ 140782 w 4838702"/>
              <a:gd name="connsiteY684" fmla="*/ 1460900 h 11747497"/>
              <a:gd name="connsiteX685" fmla="*/ 140821 w 4838702"/>
              <a:gd name="connsiteY685" fmla="*/ 2140142 h 11747497"/>
              <a:gd name="connsiteX686" fmla="*/ 138661 w 4838702"/>
              <a:gd name="connsiteY686" fmla="*/ 2153955 h 11747497"/>
              <a:gd name="connsiteX687" fmla="*/ 138816 w 4838702"/>
              <a:gd name="connsiteY687" fmla="*/ 2126233 h 11747497"/>
              <a:gd name="connsiteX688" fmla="*/ 140821 w 4838702"/>
              <a:gd name="connsiteY688" fmla="*/ 2140142 h 11747497"/>
              <a:gd name="connsiteX689" fmla="*/ 142850 w 4838702"/>
              <a:gd name="connsiteY689" fmla="*/ 2057026 h 11747497"/>
              <a:gd name="connsiteX690" fmla="*/ 142592 w 4838702"/>
              <a:gd name="connsiteY690" fmla="*/ 2098610 h 11747497"/>
              <a:gd name="connsiteX691" fmla="*/ 137161 w 4838702"/>
              <a:gd name="connsiteY691" fmla="*/ 2098411 h 11747497"/>
              <a:gd name="connsiteX692" fmla="*/ 137420 w 4838702"/>
              <a:gd name="connsiteY692" fmla="*/ 2056827 h 11747497"/>
              <a:gd name="connsiteX693" fmla="*/ 142954 w 4838702"/>
              <a:gd name="connsiteY693" fmla="*/ 767846 h 11747497"/>
              <a:gd name="connsiteX694" fmla="*/ 135713 w 4838702"/>
              <a:gd name="connsiteY694" fmla="*/ 767647 h 11747497"/>
              <a:gd name="connsiteX695" fmla="*/ 146212 w 4838702"/>
              <a:gd name="connsiteY695" fmla="*/ 593835 h 11747497"/>
              <a:gd name="connsiteX696" fmla="*/ 137834 w 4838702"/>
              <a:gd name="connsiteY696" fmla="*/ 664437 h 11747497"/>
              <a:gd name="connsiteX697" fmla="*/ 139230 w 4838702"/>
              <a:gd name="connsiteY697" fmla="*/ 547265 h 11747497"/>
              <a:gd name="connsiteX698" fmla="*/ 144402 w 4838702"/>
              <a:gd name="connsiteY698" fmla="*/ 547366 h 11747497"/>
              <a:gd name="connsiteX699" fmla="*/ 146212 w 4838702"/>
              <a:gd name="connsiteY699" fmla="*/ 593835 h 11747497"/>
              <a:gd name="connsiteX700" fmla="*/ 146212 w 4838702"/>
              <a:gd name="connsiteY700" fmla="*/ 3374129 h 11747497"/>
              <a:gd name="connsiteX701" fmla="*/ 128214 w 4838702"/>
              <a:gd name="connsiteY701" fmla="*/ 3345908 h 11747497"/>
              <a:gd name="connsiteX702" fmla="*/ 128524 w 4838702"/>
              <a:gd name="connsiteY702" fmla="*/ 3290463 h 11747497"/>
              <a:gd name="connsiteX703" fmla="*/ 140989 w 4838702"/>
              <a:gd name="connsiteY703" fmla="*/ 3332347 h 11747497"/>
              <a:gd name="connsiteX704" fmla="*/ 144868 w 4838702"/>
              <a:gd name="connsiteY704" fmla="*/ 3290862 h 11747497"/>
              <a:gd name="connsiteX705" fmla="*/ 146212 w 4838702"/>
              <a:gd name="connsiteY705" fmla="*/ 3374129 h 11747497"/>
              <a:gd name="connsiteX706" fmla="*/ 148333 w 4838702"/>
              <a:gd name="connsiteY706" fmla="*/ 2680975 h 11747497"/>
              <a:gd name="connsiteX707" fmla="*/ 148178 w 4838702"/>
              <a:gd name="connsiteY707" fmla="*/ 2708697 h 11747497"/>
              <a:gd name="connsiteX708" fmla="*/ 144557 w 4838702"/>
              <a:gd name="connsiteY708" fmla="*/ 2708597 h 11747497"/>
              <a:gd name="connsiteX709" fmla="*/ 144712 w 4838702"/>
              <a:gd name="connsiteY709" fmla="*/ 2680875 h 11747497"/>
              <a:gd name="connsiteX710" fmla="*/ 149212 w 4838702"/>
              <a:gd name="connsiteY710" fmla="*/ 310530 h 11747497"/>
              <a:gd name="connsiteX711" fmla="*/ 145333 w 4838702"/>
              <a:gd name="connsiteY711" fmla="*/ 352013 h 11747497"/>
              <a:gd name="connsiteX712" fmla="*/ 141868 w 4838702"/>
              <a:gd name="connsiteY712" fmla="*/ 324191 h 11747497"/>
              <a:gd name="connsiteX713" fmla="*/ 149212 w 4838702"/>
              <a:gd name="connsiteY713" fmla="*/ 310530 h 11747497"/>
              <a:gd name="connsiteX714" fmla="*/ 150816 w 4838702"/>
              <a:gd name="connsiteY714" fmla="*/ 377741 h 11747497"/>
              <a:gd name="connsiteX715" fmla="*/ 149108 w 4838702"/>
              <a:gd name="connsiteY715" fmla="*/ 428199 h 11747497"/>
              <a:gd name="connsiteX716" fmla="*/ 149264 w 4838702"/>
              <a:gd name="connsiteY716" fmla="*/ 484142 h 11747497"/>
              <a:gd name="connsiteX717" fmla="*/ 147195 w 4838702"/>
              <a:gd name="connsiteY717" fmla="*/ 519544 h 11747497"/>
              <a:gd name="connsiteX718" fmla="*/ 142799 w 4838702"/>
              <a:gd name="connsiteY718" fmla="*/ 476663 h 11747497"/>
              <a:gd name="connsiteX719" fmla="*/ 137627 w 4838702"/>
              <a:gd name="connsiteY719" fmla="*/ 483844 h 11747497"/>
              <a:gd name="connsiteX720" fmla="*/ 139799 w 4838702"/>
              <a:gd name="connsiteY720" fmla="*/ 442459 h 11747497"/>
              <a:gd name="connsiteX721" fmla="*/ 140316 w 4838702"/>
              <a:gd name="connsiteY721" fmla="*/ 402572 h 11747497"/>
              <a:gd name="connsiteX722" fmla="*/ 143420 w 4838702"/>
              <a:gd name="connsiteY722" fmla="*/ 365775 h 11747497"/>
              <a:gd name="connsiteX723" fmla="*/ 150816 w 4838702"/>
              <a:gd name="connsiteY723" fmla="*/ 377741 h 11747497"/>
              <a:gd name="connsiteX724" fmla="*/ 150919 w 4838702"/>
              <a:gd name="connsiteY724" fmla="*/ 1918715 h 11747497"/>
              <a:gd name="connsiteX725" fmla="*/ 141816 w 4838702"/>
              <a:gd name="connsiteY725" fmla="*/ 1918416 h 11747497"/>
              <a:gd name="connsiteX726" fmla="*/ 150919 w 4838702"/>
              <a:gd name="connsiteY726" fmla="*/ 1918715 h 11747497"/>
              <a:gd name="connsiteX727" fmla="*/ 150970 w 4838702"/>
              <a:gd name="connsiteY727" fmla="*/ 2542465 h 11747497"/>
              <a:gd name="connsiteX728" fmla="*/ 147557 w 4838702"/>
              <a:gd name="connsiteY728" fmla="*/ 2500781 h 11747497"/>
              <a:gd name="connsiteX729" fmla="*/ 150970 w 4838702"/>
              <a:gd name="connsiteY729" fmla="*/ 2542465 h 11747497"/>
              <a:gd name="connsiteX730" fmla="*/ 153091 w 4838702"/>
              <a:gd name="connsiteY730" fmla="*/ 2805923 h 11747497"/>
              <a:gd name="connsiteX731" fmla="*/ 147660 w 4838702"/>
              <a:gd name="connsiteY731" fmla="*/ 2805725 h 11747497"/>
              <a:gd name="connsiteX732" fmla="*/ 140471 w 4838702"/>
              <a:gd name="connsiteY732" fmla="*/ 2791663 h 11747497"/>
              <a:gd name="connsiteX733" fmla="*/ 144247 w 4838702"/>
              <a:gd name="connsiteY733" fmla="*/ 2764042 h 11747497"/>
              <a:gd name="connsiteX734" fmla="*/ 153091 w 4838702"/>
              <a:gd name="connsiteY734" fmla="*/ 2805923 h 11747497"/>
              <a:gd name="connsiteX735" fmla="*/ 155211 w 4838702"/>
              <a:gd name="connsiteY735" fmla="*/ 2431575 h 11747497"/>
              <a:gd name="connsiteX736" fmla="*/ 153091 w 4838702"/>
              <a:gd name="connsiteY736" fmla="*/ 2487020 h 11747497"/>
              <a:gd name="connsiteX737" fmla="*/ 153194 w 4838702"/>
              <a:gd name="connsiteY737" fmla="*/ 2473159 h 11747497"/>
              <a:gd name="connsiteX738" fmla="*/ 149522 w 4838702"/>
              <a:gd name="connsiteY738" fmla="*/ 2473059 h 11747497"/>
              <a:gd name="connsiteX739" fmla="*/ 145902 w 4838702"/>
              <a:gd name="connsiteY739" fmla="*/ 2472960 h 11747497"/>
              <a:gd name="connsiteX740" fmla="*/ 155211 w 4838702"/>
              <a:gd name="connsiteY740" fmla="*/ 2431575 h 11747497"/>
              <a:gd name="connsiteX741" fmla="*/ 157384 w 4838702"/>
              <a:gd name="connsiteY741" fmla="*/ 2695135 h 11747497"/>
              <a:gd name="connsiteX742" fmla="*/ 157229 w 4838702"/>
              <a:gd name="connsiteY742" fmla="*/ 2722857 h 11747497"/>
              <a:gd name="connsiteX743" fmla="*/ 153608 w 4838702"/>
              <a:gd name="connsiteY743" fmla="*/ 2722758 h 11747497"/>
              <a:gd name="connsiteX744" fmla="*/ 153763 w 4838702"/>
              <a:gd name="connsiteY744" fmla="*/ 2695035 h 11747497"/>
              <a:gd name="connsiteX745" fmla="*/ 157849 w 4838702"/>
              <a:gd name="connsiteY745" fmla="*/ 807435 h 11747497"/>
              <a:gd name="connsiteX746" fmla="*/ 155056 w 4838702"/>
              <a:gd name="connsiteY746" fmla="*/ 878934 h 11747497"/>
              <a:gd name="connsiteX747" fmla="*/ 154746 w 4838702"/>
              <a:gd name="connsiteY747" fmla="*/ 934379 h 11747497"/>
              <a:gd name="connsiteX748" fmla="*/ 152057 w 4838702"/>
              <a:gd name="connsiteY748" fmla="*/ 1056037 h 11747497"/>
              <a:gd name="connsiteX749" fmla="*/ 145075 w 4838702"/>
              <a:gd name="connsiteY749" fmla="*/ 1388303 h 11747497"/>
              <a:gd name="connsiteX750" fmla="*/ 139178 w 4838702"/>
              <a:gd name="connsiteY750" fmla="*/ 1402265 h 11747497"/>
              <a:gd name="connsiteX751" fmla="*/ 141765 w 4838702"/>
              <a:gd name="connsiteY751" fmla="*/ 1263754 h 11747497"/>
              <a:gd name="connsiteX752" fmla="*/ 138868 w 4838702"/>
              <a:gd name="connsiteY752" fmla="*/ 1247998 h 11747497"/>
              <a:gd name="connsiteX753" fmla="*/ 139592 w 4838702"/>
              <a:gd name="connsiteY753" fmla="*/ 1218083 h 11747497"/>
              <a:gd name="connsiteX754" fmla="*/ 139178 w 4838702"/>
              <a:gd name="connsiteY754" fmla="*/ 1165730 h 11747497"/>
              <a:gd name="connsiteX755" fmla="*/ 139075 w 4838702"/>
              <a:gd name="connsiteY755" fmla="*/ 1145985 h 11747497"/>
              <a:gd name="connsiteX756" fmla="*/ 140678 w 4838702"/>
              <a:gd name="connsiteY756" fmla="*/ 1139004 h 11747497"/>
              <a:gd name="connsiteX757" fmla="*/ 143368 w 4838702"/>
              <a:gd name="connsiteY757" fmla="*/ 986631 h 11747497"/>
              <a:gd name="connsiteX758" fmla="*/ 151591 w 4838702"/>
              <a:gd name="connsiteY758" fmla="*/ 851212 h 11747497"/>
              <a:gd name="connsiteX759" fmla="*/ 150246 w 4838702"/>
              <a:gd name="connsiteY759" fmla="*/ 768046 h 11747497"/>
              <a:gd name="connsiteX760" fmla="*/ 154642 w 4838702"/>
              <a:gd name="connsiteY760" fmla="*/ 751393 h 11747497"/>
              <a:gd name="connsiteX761" fmla="*/ 157694 w 4838702"/>
              <a:gd name="connsiteY761" fmla="*/ 755082 h 11747497"/>
              <a:gd name="connsiteX762" fmla="*/ 157849 w 4838702"/>
              <a:gd name="connsiteY762" fmla="*/ 807435 h 11747497"/>
              <a:gd name="connsiteX763" fmla="*/ 158366 w 4838702"/>
              <a:gd name="connsiteY763" fmla="*/ 2279452 h 11747497"/>
              <a:gd name="connsiteX764" fmla="*/ 152418 w 4838702"/>
              <a:gd name="connsiteY764" fmla="*/ 2292965 h 11747497"/>
              <a:gd name="connsiteX765" fmla="*/ 158108 w 4838702"/>
              <a:gd name="connsiteY765" fmla="*/ 2251581 h 11747497"/>
              <a:gd name="connsiteX766" fmla="*/ 158366 w 4838702"/>
              <a:gd name="connsiteY766" fmla="*/ 2279452 h 11747497"/>
              <a:gd name="connsiteX767" fmla="*/ 161780 w 4838702"/>
              <a:gd name="connsiteY767" fmla="*/ 1918915 h 11747497"/>
              <a:gd name="connsiteX768" fmla="*/ 154591 w 4838702"/>
              <a:gd name="connsiteY768" fmla="*/ 1904854 h 11747497"/>
              <a:gd name="connsiteX769" fmla="*/ 158625 w 4838702"/>
              <a:gd name="connsiteY769" fmla="*/ 1835649 h 11747497"/>
              <a:gd name="connsiteX770" fmla="*/ 161780 w 4838702"/>
              <a:gd name="connsiteY770" fmla="*/ 1918915 h 11747497"/>
              <a:gd name="connsiteX771" fmla="*/ 162273 w 4838702"/>
              <a:gd name="connsiteY771" fmla="*/ 1654241 h 11747497"/>
              <a:gd name="connsiteX772" fmla="*/ 161262 w 4838702"/>
              <a:gd name="connsiteY772" fmla="*/ 1697138 h 11747497"/>
              <a:gd name="connsiteX773" fmla="*/ 162273 w 4838702"/>
              <a:gd name="connsiteY773" fmla="*/ 1654241 h 11747497"/>
              <a:gd name="connsiteX774" fmla="*/ 165025 w 4838702"/>
              <a:gd name="connsiteY774" fmla="*/ 506468 h 11747497"/>
              <a:gd name="connsiteX775" fmla="*/ 162090 w 4838702"/>
              <a:gd name="connsiteY775" fmla="*/ 602112 h 11747497"/>
              <a:gd name="connsiteX776" fmla="*/ 160021 w 4838702"/>
              <a:gd name="connsiteY776" fmla="*/ 643694 h 11747497"/>
              <a:gd name="connsiteX777" fmla="*/ 159867 w 4838702"/>
              <a:gd name="connsiteY777" fmla="*/ 715193 h 11747497"/>
              <a:gd name="connsiteX778" fmla="*/ 152211 w 4838702"/>
              <a:gd name="connsiteY778" fmla="*/ 675705 h 11747497"/>
              <a:gd name="connsiteX779" fmla="*/ 152987 w 4838702"/>
              <a:gd name="connsiteY779" fmla="*/ 601813 h 11747497"/>
              <a:gd name="connsiteX780" fmla="*/ 151850 w 4838702"/>
              <a:gd name="connsiteY780" fmla="*/ 601613 h 11747497"/>
              <a:gd name="connsiteX781" fmla="*/ 153763 w 4838702"/>
              <a:gd name="connsiteY781" fmla="*/ 567409 h 11747497"/>
              <a:gd name="connsiteX782" fmla="*/ 155470 w 4838702"/>
              <a:gd name="connsiteY782" fmla="*/ 515355 h 11747497"/>
              <a:gd name="connsiteX783" fmla="*/ 153815 w 4838702"/>
              <a:gd name="connsiteY783" fmla="*/ 475567 h 11747497"/>
              <a:gd name="connsiteX784" fmla="*/ 154384 w 4838702"/>
              <a:gd name="connsiteY784" fmla="*/ 447047 h 11747497"/>
              <a:gd name="connsiteX785" fmla="*/ 159453 w 4838702"/>
              <a:gd name="connsiteY785" fmla="*/ 421918 h 11747497"/>
              <a:gd name="connsiteX786" fmla="*/ 163331 w 4838702"/>
              <a:gd name="connsiteY786" fmla="*/ 380434 h 11747497"/>
              <a:gd name="connsiteX787" fmla="*/ 161366 w 4838702"/>
              <a:gd name="connsiteY787" fmla="*/ 408057 h 11747497"/>
              <a:gd name="connsiteX788" fmla="*/ 165025 w 4838702"/>
              <a:gd name="connsiteY788" fmla="*/ 506468 h 11747497"/>
              <a:gd name="connsiteX789" fmla="*/ 168607 w 4838702"/>
              <a:gd name="connsiteY789" fmla="*/ 1161640 h 11747497"/>
              <a:gd name="connsiteX790" fmla="*/ 166642 w 4838702"/>
              <a:gd name="connsiteY790" fmla="*/ 1189263 h 11747497"/>
              <a:gd name="connsiteX791" fmla="*/ 163021 w 4838702"/>
              <a:gd name="connsiteY791" fmla="*/ 1189164 h 11747497"/>
              <a:gd name="connsiteX792" fmla="*/ 168607 w 4838702"/>
              <a:gd name="connsiteY792" fmla="*/ 1161640 h 11747497"/>
              <a:gd name="connsiteX793" fmla="*/ 232584 w 4838702"/>
              <a:gd name="connsiteY793" fmla="*/ 249003 h 11747497"/>
              <a:gd name="connsiteX794" fmla="*/ 213241 w 4838702"/>
              <a:gd name="connsiteY794" fmla="*/ 249003 h 11747497"/>
              <a:gd name="connsiteX795" fmla="*/ 232584 w 4838702"/>
              <a:gd name="connsiteY795" fmla="*/ 249003 h 11747497"/>
              <a:gd name="connsiteX796" fmla="*/ 1167782 w 4838702"/>
              <a:gd name="connsiteY796" fmla="*/ 40588 h 11747497"/>
              <a:gd name="connsiteX797" fmla="*/ 1149422 w 4838702"/>
              <a:gd name="connsiteY797" fmla="*/ 40588 h 11747497"/>
              <a:gd name="connsiteX798" fmla="*/ 1167782 w 4838702"/>
              <a:gd name="connsiteY798" fmla="*/ 40588 h 11747497"/>
              <a:gd name="connsiteX799" fmla="*/ 1346785 w 4838702"/>
              <a:gd name="connsiteY799" fmla="*/ 99522 h 11747497"/>
              <a:gd name="connsiteX800" fmla="*/ 1337630 w 4838702"/>
              <a:gd name="connsiteY800" fmla="*/ 99522 h 11747497"/>
              <a:gd name="connsiteX801" fmla="*/ 1346785 w 4838702"/>
              <a:gd name="connsiteY801" fmla="*/ 99522 h 11747497"/>
              <a:gd name="connsiteX802" fmla="*/ 1612935 w 4838702"/>
              <a:gd name="connsiteY802" fmla="*/ 125649 h 11747497"/>
              <a:gd name="connsiteX803" fmla="*/ 1603781 w 4838702"/>
              <a:gd name="connsiteY803" fmla="*/ 125649 h 11747497"/>
              <a:gd name="connsiteX804" fmla="*/ 1603781 w 4838702"/>
              <a:gd name="connsiteY804" fmla="*/ 112586 h 11747497"/>
              <a:gd name="connsiteX805" fmla="*/ 1612935 w 4838702"/>
              <a:gd name="connsiteY805" fmla="*/ 112586 h 11747497"/>
              <a:gd name="connsiteX806" fmla="*/ 1612935 w 4838702"/>
              <a:gd name="connsiteY806" fmla="*/ 125649 h 11747497"/>
              <a:gd name="connsiteX807" fmla="*/ 1741459 w 4838702"/>
              <a:gd name="connsiteY807" fmla="*/ 125649 h 11747497"/>
              <a:gd name="connsiteX808" fmla="*/ 1736856 w 4838702"/>
              <a:gd name="connsiteY808" fmla="*/ 151875 h 11747497"/>
              <a:gd name="connsiteX809" fmla="*/ 1741459 w 4838702"/>
              <a:gd name="connsiteY809" fmla="*/ 125649 h 11747497"/>
              <a:gd name="connsiteX810" fmla="*/ 1892895 w 4838702"/>
              <a:gd name="connsiteY810" fmla="*/ 248904 h 11747497"/>
              <a:gd name="connsiteX811" fmla="*/ 1883741 w 4838702"/>
              <a:gd name="connsiteY811" fmla="*/ 248904 h 11747497"/>
              <a:gd name="connsiteX812" fmla="*/ 1883741 w 4838702"/>
              <a:gd name="connsiteY812" fmla="*/ 236936 h 11747497"/>
              <a:gd name="connsiteX813" fmla="*/ 1892895 w 4838702"/>
              <a:gd name="connsiteY813" fmla="*/ 236936 h 11747497"/>
              <a:gd name="connsiteX814" fmla="*/ 1892895 w 4838702"/>
              <a:gd name="connsiteY814" fmla="*/ 248904 h 11747497"/>
              <a:gd name="connsiteX815" fmla="*/ 1920410 w 4838702"/>
              <a:gd name="connsiteY815" fmla="*/ 99522 h 11747497"/>
              <a:gd name="connsiteX816" fmla="*/ 1892843 w 4838702"/>
              <a:gd name="connsiteY816" fmla="*/ 112586 h 11747497"/>
              <a:gd name="connsiteX817" fmla="*/ 1902050 w 4838702"/>
              <a:gd name="connsiteY817" fmla="*/ 92942 h 11747497"/>
              <a:gd name="connsiteX818" fmla="*/ 1920410 w 4838702"/>
              <a:gd name="connsiteY818" fmla="*/ 99522 h 11747497"/>
              <a:gd name="connsiteX819" fmla="*/ 1921651 w 4838702"/>
              <a:gd name="connsiteY819" fmla="*/ 249003 h 11747497"/>
              <a:gd name="connsiteX820" fmla="*/ 1906601 w 4838702"/>
              <a:gd name="connsiteY820" fmla="*/ 249003 h 11747497"/>
              <a:gd name="connsiteX821" fmla="*/ 1921651 w 4838702"/>
              <a:gd name="connsiteY821" fmla="*/ 249003 h 11747497"/>
              <a:gd name="connsiteX822" fmla="*/ 1925013 w 4838702"/>
              <a:gd name="connsiteY822" fmla="*/ 151875 h 11747497"/>
              <a:gd name="connsiteX823" fmla="*/ 1902050 w 4838702"/>
              <a:gd name="connsiteY823" fmla="*/ 151875 h 11747497"/>
              <a:gd name="connsiteX824" fmla="*/ 1925013 w 4838702"/>
              <a:gd name="connsiteY824" fmla="*/ 151875 h 11747497"/>
              <a:gd name="connsiteX825" fmla="*/ 1952528 w 4838702"/>
              <a:gd name="connsiteY825" fmla="*/ 158458 h 11747497"/>
              <a:gd name="connsiteX826" fmla="*/ 1934219 w 4838702"/>
              <a:gd name="connsiteY826" fmla="*/ 165038 h 11747497"/>
              <a:gd name="connsiteX827" fmla="*/ 1943373 w 4838702"/>
              <a:gd name="connsiteY827" fmla="*/ 158458 h 11747497"/>
              <a:gd name="connsiteX828" fmla="*/ 1952528 w 4838702"/>
              <a:gd name="connsiteY828" fmla="*/ 158458 h 11747497"/>
              <a:gd name="connsiteX829" fmla="*/ 2067294 w 4838702"/>
              <a:gd name="connsiteY829" fmla="*/ 125649 h 11747497"/>
              <a:gd name="connsiteX830" fmla="*/ 2053536 w 4838702"/>
              <a:gd name="connsiteY830" fmla="*/ 132231 h 11747497"/>
              <a:gd name="connsiteX831" fmla="*/ 2067294 w 4838702"/>
              <a:gd name="connsiteY831" fmla="*/ 125649 h 11747497"/>
              <a:gd name="connsiteX832" fmla="*/ 2094809 w 4838702"/>
              <a:gd name="connsiteY832" fmla="*/ 178102 h 11747497"/>
              <a:gd name="connsiteX833" fmla="*/ 2085655 w 4838702"/>
              <a:gd name="connsiteY833" fmla="*/ 178102 h 11747497"/>
              <a:gd name="connsiteX834" fmla="*/ 2094809 w 4838702"/>
              <a:gd name="connsiteY834" fmla="*/ 178102 h 11747497"/>
              <a:gd name="connsiteX835" fmla="*/ 2108567 w 4838702"/>
              <a:gd name="connsiteY835" fmla="*/ 99522 h 11747497"/>
              <a:gd name="connsiteX836" fmla="*/ 2108567 w 4838702"/>
              <a:gd name="connsiteY836" fmla="*/ 99522 h 11747497"/>
              <a:gd name="connsiteX837" fmla="*/ 2126927 w 4838702"/>
              <a:gd name="connsiteY837" fmla="*/ 132231 h 11747497"/>
              <a:gd name="connsiteX838" fmla="*/ 2122376 w 4838702"/>
              <a:gd name="connsiteY838" fmla="*/ 132231 h 11747497"/>
              <a:gd name="connsiteX839" fmla="*/ 2122376 w 4838702"/>
              <a:gd name="connsiteY839" fmla="*/ 127064 h 11747497"/>
              <a:gd name="connsiteX840" fmla="*/ 2121129 w 4838702"/>
              <a:gd name="connsiteY840" fmla="*/ 125649 h 11747497"/>
              <a:gd name="connsiteX841" fmla="*/ 2117772 w 4838702"/>
              <a:gd name="connsiteY841" fmla="*/ 125649 h 11747497"/>
              <a:gd name="connsiteX842" fmla="*/ 2117637 w 4838702"/>
              <a:gd name="connsiteY842" fmla="*/ 121685 h 11747497"/>
              <a:gd name="connsiteX843" fmla="*/ 2121129 w 4838702"/>
              <a:gd name="connsiteY843" fmla="*/ 125649 h 11747497"/>
              <a:gd name="connsiteX844" fmla="*/ 2122376 w 4838702"/>
              <a:gd name="connsiteY844" fmla="*/ 125649 h 11747497"/>
              <a:gd name="connsiteX845" fmla="*/ 2122376 w 4838702"/>
              <a:gd name="connsiteY845" fmla="*/ 127064 h 11747497"/>
              <a:gd name="connsiteX846" fmla="*/ 2159045 w 4838702"/>
              <a:gd name="connsiteY846" fmla="*/ 106104 h 11747497"/>
              <a:gd name="connsiteX847" fmla="*/ 2154442 w 4838702"/>
              <a:gd name="connsiteY847" fmla="*/ 99522 h 11747497"/>
              <a:gd name="connsiteX848" fmla="*/ 2145287 w 4838702"/>
              <a:gd name="connsiteY848" fmla="*/ 99522 h 11747497"/>
              <a:gd name="connsiteX849" fmla="*/ 2154442 w 4838702"/>
              <a:gd name="connsiteY849" fmla="*/ 92942 h 11747497"/>
              <a:gd name="connsiteX850" fmla="*/ 2159045 w 4838702"/>
              <a:gd name="connsiteY850" fmla="*/ 106104 h 11747497"/>
              <a:gd name="connsiteX851" fmla="*/ 2196363 w 4838702"/>
              <a:gd name="connsiteY851" fmla="*/ 110993 h 11747497"/>
              <a:gd name="connsiteX852" fmla="*/ 2191163 w 4838702"/>
              <a:gd name="connsiteY852" fmla="*/ 99522 h 11747497"/>
              <a:gd name="connsiteX853" fmla="*/ 2196363 w 4838702"/>
              <a:gd name="connsiteY853" fmla="*/ 110993 h 11747497"/>
              <a:gd name="connsiteX854" fmla="*/ 2200369 w 4838702"/>
              <a:gd name="connsiteY854" fmla="*/ 151875 h 11747497"/>
              <a:gd name="connsiteX855" fmla="*/ 2177405 w 4838702"/>
              <a:gd name="connsiteY855" fmla="*/ 158458 h 11747497"/>
              <a:gd name="connsiteX856" fmla="*/ 2200369 w 4838702"/>
              <a:gd name="connsiteY856" fmla="*/ 151875 h 11747497"/>
              <a:gd name="connsiteX857" fmla="*/ 2227884 w 4838702"/>
              <a:gd name="connsiteY857" fmla="*/ 165038 h 11747497"/>
              <a:gd name="connsiteX858" fmla="*/ 2209523 w 4838702"/>
              <a:gd name="connsiteY858" fmla="*/ 165038 h 11747497"/>
              <a:gd name="connsiteX859" fmla="*/ 2209523 w 4838702"/>
              <a:gd name="connsiteY859" fmla="*/ 158458 h 11747497"/>
              <a:gd name="connsiteX860" fmla="*/ 2204921 w 4838702"/>
              <a:gd name="connsiteY860" fmla="*/ 151875 h 11747497"/>
              <a:gd name="connsiteX861" fmla="*/ 2209523 w 4838702"/>
              <a:gd name="connsiteY861" fmla="*/ 158458 h 11747497"/>
              <a:gd name="connsiteX862" fmla="*/ 2227884 w 4838702"/>
              <a:gd name="connsiteY862" fmla="*/ 165038 h 11747497"/>
              <a:gd name="connsiteX863" fmla="*/ 2292172 w 4838702"/>
              <a:gd name="connsiteY863" fmla="*/ 158458 h 11747497"/>
              <a:gd name="connsiteX864" fmla="*/ 2255451 w 4838702"/>
              <a:gd name="connsiteY864" fmla="*/ 165038 h 11747497"/>
              <a:gd name="connsiteX865" fmla="*/ 2292172 w 4838702"/>
              <a:gd name="connsiteY865" fmla="*/ 158458 h 11747497"/>
              <a:gd name="connsiteX866" fmla="*/ 2356408 w 4838702"/>
              <a:gd name="connsiteY866" fmla="*/ 178002 h 11747497"/>
              <a:gd name="connsiteX867" fmla="*/ 2347202 w 4838702"/>
              <a:gd name="connsiteY867" fmla="*/ 164939 h 11747497"/>
              <a:gd name="connsiteX868" fmla="*/ 2356408 w 4838702"/>
              <a:gd name="connsiteY868" fmla="*/ 178002 h 11747497"/>
              <a:gd name="connsiteX869" fmla="*/ 2374888 w 4838702"/>
              <a:gd name="connsiteY869" fmla="*/ 141980 h 11747497"/>
              <a:gd name="connsiteX870" fmla="*/ 2374769 w 4838702"/>
              <a:gd name="connsiteY870" fmla="*/ 145295 h 11747497"/>
              <a:gd name="connsiteX871" fmla="*/ 2361011 w 4838702"/>
              <a:gd name="connsiteY871" fmla="*/ 138713 h 11747497"/>
              <a:gd name="connsiteX872" fmla="*/ 2351805 w 4838702"/>
              <a:gd name="connsiteY872" fmla="*/ 138713 h 11747497"/>
              <a:gd name="connsiteX873" fmla="*/ 2356408 w 4838702"/>
              <a:gd name="connsiteY873" fmla="*/ 125649 h 11747497"/>
              <a:gd name="connsiteX874" fmla="*/ 2361011 w 4838702"/>
              <a:gd name="connsiteY874" fmla="*/ 138713 h 11747497"/>
              <a:gd name="connsiteX875" fmla="*/ 2374888 w 4838702"/>
              <a:gd name="connsiteY875" fmla="*/ 141980 h 11747497"/>
              <a:gd name="connsiteX876" fmla="*/ 2440039 w 4838702"/>
              <a:gd name="connsiteY876" fmla="*/ 148001 h 11747497"/>
              <a:gd name="connsiteX877" fmla="*/ 2397680 w 4838702"/>
              <a:gd name="connsiteY877" fmla="*/ 145295 h 11747497"/>
              <a:gd name="connsiteX878" fmla="*/ 2411438 w 4838702"/>
              <a:gd name="connsiteY878" fmla="*/ 112486 h 11747497"/>
              <a:gd name="connsiteX879" fmla="*/ 2425195 w 4838702"/>
              <a:gd name="connsiteY879" fmla="*/ 138713 h 11747497"/>
              <a:gd name="connsiteX880" fmla="*/ 2438953 w 4838702"/>
              <a:gd name="connsiteY880" fmla="*/ 145295 h 11747497"/>
              <a:gd name="connsiteX881" fmla="*/ 2440039 w 4838702"/>
              <a:gd name="connsiteY881" fmla="*/ 148001 h 11747497"/>
              <a:gd name="connsiteX882" fmla="*/ 2443607 w 4838702"/>
              <a:gd name="connsiteY882" fmla="*/ 178102 h 11747497"/>
              <a:gd name="connsiteX883" fmla="*/ 2429954 w 4838702"/>
              <a:gd name="connsiteY883" fmla="*/ 184783 h 11747497"/>
              <a:gd name="connsiteX884" fmla="*/ 2411593 w 4838702"/>
              <a:gd name="connsiteY884" fmla="*/ 191365 h 11747497"/>
              <a:gd name="connsiteX885" fmla="*/ 2406990 w 4838702"/>
              <a:gd name="connsiteY885" fmla="*/ 184783 h 11747497"/>
              <a:gd name="connsiteX886" fmla="*/ 2402387 w 4838702"/>
              <a:gd name="connsiteY886" fmla="*/ 184783 h 11747497"/>
              <a:gd name="connsiteX887" fmla="*/ 2397784 w 4838702"/>
              <a:gd name="connsiteY887" fmla="*/ 178201 h 11747497"/>
              <a:gd name="connsiteX888" fmla="*/ 2370217 w 4838702"/>
              <a:gd name="connsiteY888" fmla="*/ 178201 h 11747497"/>
              <a:gd name="connsiteX889" fmla="*/ 2383975 w 4838702"/>
              <a:gd name="connsiteY889" fmla="*/ 171620 h 11747497"/>
              <a:gd name="connsiteX890" fmla="*/ 2406887 w 4838702"/>
              <a:gd name="connsiteY890" fmla="*/ 165038 h 11747497"/>
              <a:gd name="connsiteX891" fmla="*/ 2411489 w 4838702"/>
              <a:gd name="connsiteY891" fmla="*/ 184684 h 11747497"/>
              <a:gd name="connsiteX892" fmla="*/ 2443607 w 4838702"/>
              <a:gd name="connsiteY892" fmla="*/ 178102 h 11747497"/>
              <a:gd name="connsiteX893" fmla="*/ 2466520 w 4838702"/>
              <a:gd name="connsiteY893" fmla="*/ 184584 h 11747497"/>
              <a:gd name="connsiteX894" fmla="*/ 2448159 w 4838702"/>
              <a:gd name="connsiteY894" fmla="*/ 164939 h 11747497"/>
              <a:gd name="connsiteX895" fmla="*/ 2466520 w 4838702"/>
              <a:gd name="connsiteY895" fmla="*/ 184584 h 11747497"/>
              <a:gd name="connsiteX896" fmla="*/ 2471123 w 4838702"/>
              <a:gd name="connsiteY896" fmla="*/ 138812 h 11747497"/>
              <a:gd name="connsiteX897" fmla="*/ 2457365 w 4838702"/>
              <a:gd name="connsiteY897" fmla="*/ 158458 h 11747497"/>
              <a:gd name="connsiteX898" fmla="*/ 2471123 w 4838702"/>
              <a:gd name="connsiteY898" fmla="*/ 138812 h 11747497"/>
              <a:gd name="connsiteX899" fmla="*/ 2494086 w 4838702"/>
              <a:gd name="connsiteY899" fmla="*/ 125649 h 11747497"/>
              <a:gd name="connsiteX900" fmla="*/ 2480329 w 4838702"/>
              <a:gd name="connsiteY900" fmla="*/ 99423 h 11747497"/>
              <a:gd name="connsiteX901" fmla="*/ 2494086 w 4838702"/>
              <a:gd name="connsiteY901" fmla="*/ 125649 h 11747497"/>
              <a:gd name="connsiteX902" fmla="*/ 2507844 w 4838702"/>
              <a:gd name="connsiteY902" fmla="*/ 184584 h 11747497"/>
              <a:gd name="connsiteX903" fmla="*/ 2484880 w 4838702"/>
              <a:gd name="connsiteY903" fmla="*/ 197646 h 11747497"/>
              <a:gd name="connsiteX904" fmla="*/ 2507844 w 4838702"/>
              <a:gd name="connsiteY904" fmla="*/ 184584 h 11747497"/>
              <a:gd name="connsiteX905" fmla="*/ 2512447 w 4838702"/>
              <a:gd name="connsiteY905" fmla="*/ 138812 h 11747497"/>
              <a:gd name="connsiteX906" fmla="*/ 2480329 w 4838702"/>
              <a:gd name="connsiteY906" fmla="*/ 151875 h 11747497"/>
              <a:gd name="connsiteX907" fmla="*/ 2512447 w 4838702"/>
              <a:gd name="connsiteY907" fmla="*/ 138812 h 11747497"/>
              <a:gd name="connsiteX908" fmla="*/ 2558322 w 4838702"/>
              <a:gd name="connsiteY908" fmla="*/ 236936 h 11747497"/>
              <a:gd name="connsiteX909" fmla="*/ 2535359 w 4838702"/>
              <a:gd name="connsiteY909" fmla="*/ 243518 h 11747497"/>
              <a:gd name="connsiteX910" fmla="*/ 2558322 w 4838702"/>
              <a:gd name="connsiteY910" fmla="*/ 236936 h 11747497"/>
              <a:gd name="connsiteX911" fmla="*/ 2575219 w 4838702"/>
              <a:gd name="connsiteY911" fmla="*/ 141798 h 11747497"/>
              <a:gd name="connsiteX912" fmla="*/ 2553771 w 4838702"/>
              <a:gd name="connsiteY912" fmla="*/ 158458 h 11747497"/>
              <a:gd name="connsiteX913" fmla="*/ 2549168 w 4838702"/>
              <a:gd name="connsiteY913" fmla="*/ 171521 h 11747497"/>
              <a:gd name="connsiteX914" fmla="*/ 2544565 w 4838702"/>
              <a:gd name="connsiteY914" fmla="*/ 145295 h 11747497"/>
              <a:gd name="connsiteX915" fmla="*/ 2567528 w 4838702"/>
              <a:gd name="connsiteY915" fmla="*/ 138812 h 11747497"/>
              <a:gd name="connsiteX916" fmla="*/ 2575219 w 4838702"/>
              <a:gd name="connsiteY916" fmla="*/ 141798 h 11747497"/>
              <a:gd name="connsiteX917" fmla="*/ 2576683 w 4838702"/>
              <a:gd name="connsiteY917" fmla="*/ 197747 h 11747497"/>
              <a:gd name="connsiteX918" fmla="*/ 2553771 w 4838702"/>
              <a:gd name="connsiteY918" fmla="*/ 204328 h 11747497"/>
              <a:gd name="connsiteX919" fmla="*/ 2567528 w 4838702"/>
              <a:gd name="connsiteY919" fmla="*/ 197747 h 11747497"/>
              <a:gd name="connsiteX920" fmla="*/ 2567528 w 4838702"/>
              <a:gd name="connsiteY920" fmla="*/ 184684 h 11747497"/>
              <a:gd name="connsiteX921" fmla="*/ 2576683 w 4838702"/>
              <a:gd name="connsiteY921" fmla="*/ 197747 h 11747497"/>
              <a:gd name="connsiteX922" fmla="*/ 2595354 w 4838702"/>
              <a:gd name="connsiteY922" fmla="*/ 248904 h 11747497"/>
              <a:gd name="connsiteX923" fmla="*/ 2589509 w 4838702"/>
              <a:gd name="connsiteY923" fmla="*/ 248904 h 11747497"/>
              <a:gd name="connsiteX924" fmla="*/ 2576683 w 4838702"/>
              <a:gd name="connsiteY924" fmla="*/ 243518 h 11747497"/>
              <a:gd name="connsiteX925" fmla="*/ 2595354 w 4838702"/>
              <a:gd name="connsiteY925" fmla="*/ 248904 h 11747497"/>
              <a:gd name="connsiteX926" fmla="*/ 2636174 w 4838702"/>
              <a:gd name="connsiteY926" fmla="*/ 196429 h 11747497"/>
              <a:gd name="connsiteX927" fmla="*/ 2622558 w 4838702"/>
              <a:gd name="connsiteY927" fmla="*/ 197747 h 11747497"/>
              <a:gd name="connsiteX928" fmla="*/ 2631765 w 4838702"/>
              <a:gd name="connsiteY928" fmla="*/ 191265 h 11747497"/>
              <a:gd name="connsiteX929" fmla="*/ 2636174 w 4838702"/>
              <a:gd name="connsiteY929" fmla="*/ 196429 h 11747497"/>
              <a:gd name="connsiteX930" fmla="*/ 2636368 w 4838702"/>
              <a:gd name="connsiteY930" fmla="*/ 243518 h 11747497"/>
              <a:gd name="connsiteX931" fmla="*/ 2633420 w 4838702"/>
              <a:gd name="connsiteY931" fmla="*/ 248904 h 11747497"/>
              <a:gd name="connsiteX932" fmla="*/ 2604663 w 4838702"/>
              <a:gd name="connsiteY932" fmla="*/ 248904 h 11747497"/>
              <a:gd name="connsiteX933" fmla="*/ 2636368 w 4838702"/>
              <a:gd name="connsiteY933" fmla="*/ 243518 h 11747497"/>
              <a:gd name="connsiteX934" fmla="*/ 2643257 w 4838702"/>
              <a:gd name="connsiteY934" fmla="*/ 149324 h 11747497"/>
              <a:gd name="connsiteX935" fmla="*/ 2640919 w 4838702"/>
              <a:gd name="connsiteY935" fmla="*/ 158458 h 11747497"/>
              <a:gd name="connsiteX936" fmla="*/ 2627161 w 4838702"/>
              <a:gd name="connsiteY936" fmla="*/ 151875 h 11747497"/>
              <a:gd name="connsiteX937" fmla="*/ 2643257 w 4838702"/>
              <a:gd name="connsiteY937" fmla="*/ 149324 h 11747497"/>
              <a:gd name="connsiteX938" fmla="*/ 2645522 w 4838702"/>
              <a:gd name="connsiteY938" fmla="*/ 132231 h 11747497"/>
              <a:gd name="connsiteX939" fmla="*/ 2631765 w 4838702"/>
              <a:gd name="connsiteY939" fmla="*/ 119168 h 11747497"/>
              <a:gd name="connsiteX940" fmla="*/ 2618007 w 4838702"/>
              <a:gd name="connsiteY940" fmla="*/ 132231 h 11747497"/>
              <a:gd name="connsiteX941" fmla="*/ 2645522 w 4838702"/>
              <a:gd name="connsiteY941" fmla="*/ 132231 h 11747497"/>
              <a:gd name="connsiteX942" fmla="*/ 2673037 w 4838702"/>
              <a:gd name="connsiteY942" fmla="*/ 204229 h 11747497"/>
              <a:gd name="connsiteX943" fmla="*/ 2608801 w 4838702"/>
              <a:gd name="connsiteY943" fmla="*/ 210710 h 11747497"/>
              <a:gd name="connsiteX944" fmla="*/ 2622558 w 4838702"/>
              <a:gd name="connsiteY944" fmla="*/ 204229 h 11747497"/>
              <a:gd name="connsiteX945" fmla="*/ 2627161 w 4838702"/>
              <a:gd name="connsiteY945" fmla="*/ 204229 h 11747497"/>
              <a:gd name="connsiteX946" fmla="*/ 2631765 w 4838702"/>
              <a:gd name="connsiteY946" fmla="*/ 210710 h 11747497"/>
              <a:gd name="connsiteX947" fmla="*/ 2640919 w 4838702"/>
              <a:gd name="connsiteY947" fmla="*/ 204229 h 11747497"/>
              <a:gd name="connsiteX948" fmla="*/ 2659279 w 4838702"/>
              <a:gd name="connsiteY948" fmla="*/ 197646 h 11747497"/>
              <a:gd name="connsiteX949" fmla="*/ 2673037 w 4838702"/>
              <a:gd name="connsiteY949" fmla="*/ 204229 h 11747497"/>
              <a:gd name="connsiteX950" fmla="*/ 2691397 w 4838702"/>
              <a:gd name="connsiteY950" fmla="*/ 119168 h 11747497"/>
              <a:gd name="connsiteX951" fmla="*/ 2682243 w 4838702"/>
              <a:gd name="connsiteY951" fmla="*/ 119168 h 11747497"/>
              <a:gd name="connsiteX952" fmla="*/ 2691397 w 4838702"/>
              <a:gd name="connsiteY952" fmla="*/ 119168 h 11747497"/>
              <a:gd name="connsiteX953" fmla="*/ 2723515 w 4838702"/>
              <a:gd name="connsiteY953" fmla="*/ 145295 h 11747497"/>
              <a:gd name="connsiteX954" fmla="*/ 2691397 w 4838702"/>
              <a:gd name="connsiteY954" fmla="*/ 151776 h 11747497"/>
              <a:gd name="connsiteX955" fmla="*/ 2723515 w 4838702"/>
              <a:gd name="connsiteY955" fmla="*/ 145295 h 11747497"/>
              <a:gd name="connsiteX956" fmla="*/ 2741876 w 4838702"/>
              <a:gd name="connsiteY956" fmla="*/ 164939 h 11747497"/>
              <a:gd name="connsiteX957" fmla="*/ 2732722 w 4838702"/>
              <a:gd name="connsiteY957" fmla="*/ 164939 h 11747497"/>
              <a:gd name="connsiteX958" fmla="*/ 2741876 w 4838702"/>
              <a:gd name="connsiteY958" fmla="*/ 164939 h 11747497"/>
              <a:gd name="connsiteX959" fmla="*/ 2778597 w 4838702"/>
              <a:gd name="connsiteY959" fmla="*/ 145295 h 11747497"/>
              <a:gd name="connsiteX960" fmla="*/ 2769391 w 4838702"/>
              <a:gd name="connsiteY960" fmla="*/ 151776 h 11747497"/>
              <a:gd name="connsiteX961" fmla="*/ 2769391 w 4838702"/>
              <a:gd name="connsiteY961" fmla="*/ 145295 h 11747497"/>
              <a:gd name="connsiteX962" fmla="*/ 2773994 w 4838702"/>
              <a:gd name="connsiteY962" fmla="*/ 138713 h 11747497"/>
              <a:gd name="connsiteX963" fmla="*/ 2778597 w 4838702"/>
              <a:gd name="connsiteY963" fmla="*/ 145295 h 11747497"/>
              <a:gd name="connsiteX964" fmla="*/ 2810715 w 4838702"/>
              <a:gd name="connsiteY964" fmla="*/ 138812 h 11747497"/>
              <a:gd name="connsiteX965" fmla="*/ 2787751 w 4838702"/>
              <a:gd name="connsiteY965" fmla="*/ 132231 h 11747497"/>
              <a:gd name="connsiteX966" fmla="*/ 2810715 w 4838702"/>
              <a:gd name="connsiteY966" fmla="*/ 138812 h 11747497"/>
              <a:gd name="connsiteX967" fmla="*/ 2829076 w 4838702"/>
              <a:gd name="connsiteY967" fmla="*/ 92942 h 11747497"/>
              <a:gd name="connsiteX968" fmla="*/ 2815318 w 4838702"/>
              <a:gd name="connsiteY968" fmla="*/ 99522 h 11747497"/>
              <a:gd name="connsiteX969" fmla="*/ 2801560 w 4838702"/>
              <a:gd name="connsiteY969" fmla="*/ 99522 h 11747497"/>
              <a:gd name="connsiteX970" fmla="*/ 2829076 w 4838702"/>
              <a:gd name="connsiteY970" fmla="*/ 92942 h 11747497"/>
              <a:gd name="connsiteX971" fmla="*/ 2878397 w 4838702"/>
              <a:gd name="connsiteY971" fmla="*/ 114767 h 11747497"/>
              <a:gd name="connsiteX972" fmla="*/ 2870400 w 4838702"/>
              <a:gd name="connsiteY972" fmla="*/ 119067 h 11747497"/>
              <a:gd name="connsiteX973" fmla="*/ 2856642 w 4838702"/>
              <a:gd name="connsiteY973" fmla="*/ 125649 h 11747497"/>
              <a:gd name="connsiteX974" fmla="*/ 2865796 w 4838702"/>
              <a:gd name="connsiteY974" fmla="*/ 112486 h 11747497"/>
              <a:gd name="connsiteX975" fmla="*/ 2878397 w 4838702"/>
              <a:gd name="connsiteY975" fmla="*/ 114767 h 11747497"/>
              <a:gd name="connsiteX976" fmla="*/ 2884158 w 4838702"/>
              <a:gd name="connsiteY976" fmla="*/ 158458 h 11747497"/>
              <a:gd name="connsiteX977" fmla="*/ 2838230 w 4838702"/>
              <a:gd name="connsiteY977" fmla="*/ 145493 h 11747497"/>
              <a:gd name="connsiteX978" fmla="*/ 2861194 w 4838702"/>
              <a:gd name="connsiteY978" fmla="*/ 138911 h 11747497"/>
              <a:gd name="connsiteX979" fmla="*/ 2861194 w 4838702"/>
              <a:gd name="connsiteY979" fmla="*/ 132331 h 11747497"/>
              <a:gd name="connsiteX980" fmla="*/ 2884158 w 4838702"/>
              <a:gd name="connsiteY980" fmla="*/ 145394 h 11747497"/>
              <a:gd name="connsiteX981" fmla="*/ 2884158 w 4838702"/>
              <a:gd name="connsiteY981" fmla="*/ 158458 h 11747497"/>
              <a:gd name="connsiteX982" fmla="*/ 2925482 w 4838702"/>
              <a:gd name="connsiteY982" fmla="*/ 92942 h 11747497"/>
              <a:gd name="connsiteX983" fmla="*/ 2916327 w 4838702"/>
              <a:gd name="connsiteY983" fmla="*/ 92942 h 11747497"/>
              <a:gd name="connsiteX984" fmla="*/ 2925482 w 4838702"/>
              <a:gd name="connsiteY984" fmla="*/ 92942 h 11747497"/>
              <a:gd name="connsiteX985" fmla="*/ 2939239 w 4838702"/>
              <a:gd name="connsiteY985" fmla="*/ 164939 h 11747497"/>
              <a:gd name="connsiteX986" fmla="*/ 2925482 w 4838702"/>
              <a:gd name="connsiteY986" fmla="*/ 164939 h 11747497"/>
              <a:gd name="connsiteX987" fmla="*/ 2939239 w 4838702"/>
              <a:gd name="connsiteY987" fmla="*/ 164939 h 11747497"/>
              <a:gd name="connsiteX988" fmla="*/ 2966418 w 4838702"/>
              <a:gd name="connsiteY988" fmla="*/ 172328 h 11747497"/>
              <a:gd name="connsiteX989" fmla="*/ 2962203 w 4838702"/>
              <a:gd name="connsiteY989" fmla="*/ 164939 h 11747497"/>
              <a:gd name="connsiteX990" fmla="*/ 2962203 w 4838702"/>
              <a:gd name="connsiteY990" fmla="*/ 151875 h 11747497"/>
              <a:gd name="connsiteX991" fmla="*/ 2943842 w 4838702"/>
              <a:gd name="connsiteY991" fmla="*/ 184584 h 11747497"/>
              <a:gd name="connsiteX992" fmla="*/ 2966418 w 4838702"/>
              <a:gd name="connsiteY992" fmla="*/ 172328 h 11747497"/>
              <a:gd name="connsiteX993" fmla="*/ 3012630 w 4838702"/>
              <a:gd name="connsiteY993" fmla="*/ 151875 h 11747497"/>
              <a:gd name="connsiteX994" fmla="*/ 3012630 w 4838702"/>
              <a:gd name="connsiteY994" fmla="*/ 138812 h 11747497"/>
              <a:gd name="connsiteX995" fmla="*/ 2998872 w 4838702"/>
              <a:gd name="connsiteY995" fmla="*/ 151875 h 11747497"/>
              <a:gd name="connsiteX996" fmla="*/ 3012630 w 4838702"/>
              <a:gd name="connsiteY996" fmla="*/ 151875 h 11747497"/>
              <a:gd name="connsiteX997" fmla="*/ 3031041 w 4838702"/>
              <a:gd name="connsiteY997" fmla="*/ 178102 h 11747497"/>
              <a:gd name="connsiteX998" fmla="*/ 3021887 w 4838702"/>
              <a:gd name="connsiteY998" fmla="*/ 158458 h 11747497"/>
              <a:gd name="connsiteX999" fmla="*/ 3017285 w 4838702"/>
              <a:gd name="connsiteY999" fmla="*/ 145394 h 11747497"/>
              <a:gd name="connsiteX1000" fmla="*/ 3012681 w 4838702"/>
              <a:gd name="connsiteY1000" fmla="*/ 178102 h 11747497"/>
              <a:gd name="connsiteX1001" fmla="*/ 3031041 w 4838702"/>
              <a:gd name="connsiteY1001" fmla="*/ 178102 h 11747497"/>
              <a:gd name="connsiteX1002" fmla="*/ 3031041 w 4838702"/>
              <a:gd name="connsiteY1002" fmla="*/ 236936 h 11747497"/>
              <a:gd name="connsiteX1003" fmla="*/ 3027111 w 4838702"/>
              <a:gd name="connsiteY1003" fmla="*/ 248904 h 11747497"/>
              <a:gd name="connsiteX1004" fmla="*/ 2893571 w 4838702"/>
              <a:gd name="connsiteY1004" fmla="*/ 248904 h 11747497"/>
              <a:gd name="connsiteX1005" fmla="*/ 2884261 w 4838702"/>
              <a:gd name="connsiteY1005" fmla="*/ 243518 h 11747497"/>
              <a:gd name="connsiteX1006" fmla="*/ 2882968 w 4838702"/>
              <a:gd name="connsiteY1006" fmla="*/ 248904 h 11747497"/>
              <a:gd name="connsiteX1007" fmla="*/ 2879606 w 4838702"/>
              <a:gd name="connsiteY1007" fmla="*/ 248904 h 11747497"/>
              <a:gd name="connsiteX1008" fmla="*/ 2879658 w 4838702"/>
              <a:gd name="connsiteY1008" fmla="*/ 243518 h 11747497"/>
              <a:gd name="connsiteX1009" fmla="*/ 2861297 w 4838702"/>
              <a:gd name="connsiteY1009" fmla="*/ 230455 h 11747497"/>
              <a:gd name="connsiteX1010" fmla="*/ 2916379 w 4838702"/>
              <a:gd name="connsiteY1010" fmla="*/ 236936 h 11747497"/>
              <a:gd name="connsiteX1011" fmla="*/ 2925533 w 4838702"/>
              <a:gd name="connsiteY1011" fmla="*/ 236936 h 11747497"/>
              <a:gd name="connsiteX1012" fmla="*/ 2930136 w 4838702"/>
              <a:gd name="connsiteY1012" fmla="*/ 230455 h 11747497"/>
              <a:gd name="connsiteX1013" fmla="*/ 2939290 w 4838702"/>
              <a:gd name="connsiteY1013" fmla="*/ 223874 h 11747497"/>
              <a:gd name="connsiteX1014" fmla="*/ 2971409 w 4838702"/>
              <a:gd name="connsiteY1014" fmla="*/ 236936 h 11747497"/>
              <a:gd name="connsiteX1015" fmla="*/ 2966805 w 4838702"/>
              <a:gd name="connsiteY1015" fmla="*/ 217292 h 11747497"/>
              <a:gd name="connsiteX1016" fmla="*/ 2975960 w 4838702"/>
              <a:gd name="connsiteY1016" fmla="*/ 236936 h 11747497"/>
              <a:gd name="connsiteX1017" fmla="*/ 3031041 w 4838702"/>
              <a:gd name="connsiteY1017" fmla="*/ 236936 h 11747497"/>
              <a:gd name="connsiteX1018" fmla="*/ 3095226 w 4838702"/>
              <a:gd name="connsiteY1018" fmla="*/ 125649 h 11747497"/>
              <a:gd name="connsiteX1019" fmla="*/ 3053954 w 4838702"/>
              <a:gd name="connsiteY1019" fmla="*/ 145295 h 11747497"/>
              <a:gd name="connsiteX1020" fmla="*/ 3058505 w 4838702"/>
              <a:gd name="connsiteY1020" fmla="*/ 125649 h 11747497"/>
              <a:gd name="connsiteX1021" fmla="*/ 3063108 w 4838702"/>
              <a:gd name="connsiteY1021" fmla="*/ 145295 h 11747497"/>
              <a:gd name="connsiteX1022" fmla="*/ 3072314 w 4838702"/>
              <a:gd name="connsiteY1022" fmla="*/ 125649 h 11747497"/>
              <a:gd name="connsiteX1023" fmla="*/ 3095226 w 4838702"/>
              <a:gd name="connsiteY1023" fmla="*/ 125649 h 11747497"/>
              <a:gd name="connsiteX1024" fmla="*/ 3127395 w 4838702"/>
              <a:gd name="connsiteY1024" fmla="*/ 138713 h 11747497"/>
              <a:gd name="connsiteX1025" fmla="*/ 3109035 w 4838702"/>
              <a:gd name="connsiteY1025" fmla="*/ 145295 h 11747497"/>
              <a:gd name="connsiteX1026" fmla="*/ 3127395 w 4838702"/>
              <a:gd name="connsiteY1026" fmla="*/ 138713 h 11747497"/>
              <a:gd name="connsiteX1027" fmla="*/ 3164117 w 4838702"/>
              <a:gd name="connsiteY1027" fmla="*/ 158458 h 11747497"/>
              <a:gd name="connsiteX1028" fmla="*/ 3154962 w 4838702"/>
              <a:gd name="connsiteY1028" fmla="*/ 138812 h 11747497"/>
              <a:gd name="connsiteX1029" fmla="*/ 3150359 w 4838702"/>
              <a:gd name="connsiteY1029" fmla="*/ 151875 h 11747497"/>
              <a:gd name="connsiteX1030" fmla="*/ 3164117 w 4838702"/>
              <a:gd name="connsiteY1030" fmla="*/ 158458 h 11747497"/>
              <a:gd name="connsiteX1031" fmla="*/ 3191684 w 4838702"/>
              <a:gd name="connsiteY1031" fmla="*/ 197747 h 11747497"/>
              <a:gd name="connsiteX1032" fmla="*/ 3173323 w 4838702"/>
              <a:gd name="connsiteY1032" fmla="*/ 204328 h 11747497"/>
              <a:gd name="connsiteX1033" fmla="*/ 3182477 w 4838702"/>
              <a:gd name="connsiteY1033" fmla="*/ 197747 h 11747497"/>
              <a:gd name="connsiteX1034" fmla="*/ 3191684 w 4838702"/>
              <a:gd name="connsiteY1034" fmla="*/ 197747 h 11747497"/>
              <a:gd name="connsiteX1035" fmla="*/ 3214595 w 4838702"/>
              <a:gd name="connsiteY1035" fmla="*/ 92942 h 11747497"/>
              <a:gd name="connsiteX1036" fmla="*/ 3205441 w 4838702"/>
              <a:gd name="connsiteY1036" fmla="*/ 92942 h 11747497"/>
              <a:gd name="connsiteX1037" fmla="*/ 3205441 w 4838702"/>
              <a:gd name="connsiteY1037" fmla="*/ 79878 h 11747497"/>
              <a:gd name="connsiteX1038" fmla="*/ 3214595 w 4838702"/>
              <a:gd name="connsiteY1038" fmla="*/ 79878 h 11747497"/>
              <a:gd name="connsiteX1039" fmla="*/ 3214595 w 4838702"/>
              <a:gd name="connsiteY1039" fmla="*/ 92942 h 11747497"/>
              <a:gd name="connsiteX1040" fmla="*/ 3242162 w 4838702"/>
              <a:gd name="connsiteY1040" fmla="*/ 204328 h 11747497"/>
              <a:gd name="connsiteX1041" fmla="*/ 3219198 w 4838702"/>
              <a:gd name="connsiteY1041" fmla="*/ 217391 h 11747497"/>
              <a:gd name="connsiteX1042" fmla="*/ 3242162 w 4838702"/>
              <a:gd name="connsiteY1042" fmla="*/ 204328 h 11747497"/>
              <a:gd name="connsiteX1043" fmla="*/ 3315553 w 4838702"/>
              <a:gd name="connsiteY1043" fmla="*/ 249003 h 11747497"/>
              <a:gd name="connsiteX1044" fmla="*/ 3304692 w 4838702"/>
              <a:gd name="connsiteY1044" fmla="*/ 249003 h 11747497"/>
              <a:gd name="connsiteX1045" fmla="*/ 3315553 w 4838702"/>
              <a:gd name="connsiteY1045" fmla="*/ 243618 h 11747497"/>
              <a:gd name="connsiteX1046" fmla="*/ 3315553 w 4838702"/>
              <a:gd name="connsiteY1046" fmla="*/ 249003 h 11747497"/>
              <a:gd name="connsiteX1047" fmla="*/ 3333913 w 4838702"/>
              <a:gd name="connsiteY1047" fmla="*/ 86459 h 11747497"/>
              <a:gd name="connsiteX1048" fmla="*/ 3324759 w 4838702"/>
              <a:gd name="connsiteY1048" fmla="*/ 66815 h 11747497"/>
              <a:gd name="connsiteX1049" fmla="*/ 3320156 w 4838702"/>
              <a:gd name="connsiteY1049" fmla="*/ 86459 h 11747497"/>
              <a:gd name="connsiteX1050" fmla="*/ 3333913 w 4838702"/>
              <a:gd name="connsiteY1050" fmla="*/ 86459 h 11747497"/>
              <a:gd name="connsiteX1051" fmla="*/ 3341309 w 4838702"/>
              <a:gd name="connsiteY1051" fmla="*/ 249003 h 11747497"/>
              <a:gd name="connsiteX1052" fmla="*/ 3329310 w 4838702"/>
              <a:gd name="connsiteY1052" fmla="*/ 249003 h 11747497"/>
              <a:gd name="connsiteX1053" fmla="*/ 3341309 w 4838702"/>
              <a:gd name="connsiteY1053" fmla="*/ 249003 h 11747497"/>
              <a:gd name="connsiteX1054" fmla="*/ 3352274 w 4838702"/>
              <a:gd name="connsiteY1054" fmla="*/ 249003 h 11747497"/>
              <a:gd name="connsiteX1055" fmla="*/ 3345912 w 4838702"/>
              <a:gd name="connsiteY1055" fmla="*/ 249003 h 11747497"/>
              <a:gd name="connsiteX1056" fmla="*/ 3347671 w 4838702"/>
              <a:gd name="connsiteY1056" fmla="*/ 243618 h 11747497"/>
              <a:gd name="connsiteX1057" fmla="*/ 3352274 w 4838702"/>
              <a:gd name="connsiteY1057" fmla="*/ 249003 h 11747497"/>
              <a:gd name="connsiteX1058" fmla="*/ 3357474 w 4838702"/>
              <a:gd name="connsiteY1058" fmla="*/ 58640 h 11747497"/>
              <a:gd name="connsiteX1059" fmla="*/ 3352274 w 4838702"/>
              <a:gd name="connsiteY1059" fmla="*/ 47169 h 11747497"/>
              <a:gd name="connsiteX1060" fmla="*/ 3357474 w 4838702"/>
              <a:gd name="connsiteY1060" fmla="*/ 58640 h 11747497"/>
              <a:gd name="connsiteX1061" fmla="*/ 3375754 w 4838702"/>
              <a:gd name="connsiteY1061" fmla="*/ 249003 h 11747497"/>
              <a:gd name="connsiteX1062" fmla="*/ 3356567 w 4838702"/>
              <a:gd name="connsiteY1062" fmla="*/ 249003 h 11747497"/>
              <a:gd name="connsiteX1063" fmla="*/ 3375237 w 4838702"/>
              <a:gd name="connsiteY1063" fmla="*/ 243618 h 11747497"/>
              <a:gd name="connsiteX1064" fmla="*/ 3375754 w 4838702"/>
              <a:gd name="connsiteY1064" fmla="*/ 249003 h 11747497"/>
              <a:gd name="connsiteX1065" fmla="*/ 3385245 w 4838702"/>
              <a:gd name="connsiteY1065" fmla="*/ 168242 h 11747497"/>
              <a:gd name="connsiteX1066" fmla="*/ 3375237 w 4838702"/>
              <a:gd name="connsiteY1066" fmla="*/ 158458 h 11747497"/>
              <a:gd name="connsiteX1067" fmla="*/ 3375237 w 4838702"/>
              <a:gd name="connsiteY1067" fmla="*/ 178102 h 11747497"/>
              <a:gd name="connsiteX1068" fmla="*/ 3385245 w 4838702"/>
              <a:gd name="connsiteY1068" fmla="*/ 168242 h 11747497"/>
              <a:gd name="connsiteX1069" fmla="*/ 3419613 w 4838702"/>
              <a:gd name="connsiteY1069" fmla="*/ 249003 h 11747497"/>
              <a:gd name="connsiteX1070" fmla="*/ 3404925 w 4838702"/>
              <a:gd name="connsiteY1070" fmla="*/ 249003 h 11747497"/>
              <a:gd name="connsiteX1071" fmla="*/ 3416510 w 4838702"/>
              <a:gd name="connsiteY1071" fmla="*/ 243618 h 11747497"/>
              <a:gd name="connsiteX1072" fmla="*/ 3419613 w 4838702"/>
              <a:gd name="connsiteY1072" fmla="*/ 249003 h 11747497"/>
              <a:gd name="connsiteX1073" fmla="*/ 3430267 w 4838702"/>
              <a:gd name="connsiteY1073" fmla="*/ 184584 h 11747497"/>
              <a:gd name="connsiteX1074" fmla="*/ 3430267 w 4838702"/>
              <a:gd name="connsiteY1074" fmla="*/ 158357 h 11747497"/>
              <a:gd name="connsiteX1075" fmla="*/ 3411907 w 4838702"/>
              <a:gd name="connsiteY1075" fmla="*/ 151776 h 11747497"/>
              <a:gd name="connsiteX1076" fmla="*/ 3393546 w 4838702"/>
              <a:gd name="connsiteY1076" fmla="*/ 171420 h 11747497"/>
              <a:gd name="connsiteX1077" fmla="*/ 3407356 w 4838702"/>
              <a:gd name="connsiteY1077" fmla="*/ 178002 h 11747497"/>
              <a:gd name="connsiteX1078" fmla="*/ 3411907 w 4838702"/>
              <a:gd name="connsiteY1078" fmla="*/ 184584 h 11747497"/>
              <a:gd name="connsiteX1079" fmla="*/ 3430267 w 4838702"/>
              <a:gd name="connsiteY1079" fmla="*/ 184584 h 11747497"/>
              <a:gd name="connsiteX1080" fmla="*/ 3434870 w 4838702"/>
              <a:gd name="connsiteY1080" fmla="*/ 40588 h 11747497"/>
              <a:gd name="connsiteX1081" fmla="*/ 3366031 w 4838702"/>
              <a:gd name="connsiteY1081" fmla="*/ 40588 h 11747497"/>
              <a:gd name="connsiteX1082" fmla="*/ 3361428 w 4838702"/>
              <a:gd name="connsiteY1082" fmla="*/ 73296 h 11747497"/>
              <a:gd name="connsiteX1083" fmla="*/ 3347671 w 4838702"/>
              <a:gd name="connsiteY1083" fmla="*/ 79878 h 11747497"/>
              <a:gd name="connsiteX1084" fmla="*/ 3361428 w 4838702"/>
              <a:gd name="connsiteY1084" fmla="*/ 86459 h 11747497"/>
              <a:gd name="connsiteX1085" fmla="*/ 3370634 w 4838702"/>
              <a:gd name="connsiteY1085" fmla="*/ 66815 h 11747497"/>
              <a:gd name="connsiteX1086" fmla="*/ 3379788 w 4838702"/>
              <a:gd name="connsiteY1086" fmla="*/ 99522 h 11747497"/>
              <a:gd name="connsiteX1087" fmla="*/ 3361428 w 4838702"/>
              <a:gd name="connsiteY1087" fmla="*/ 92942 h 11747497"/>
              <a:gd name="connsiteX1088" fmla="*/ 3352274 w 4838702"/>
              <a:gd name="connsiteY1088" fmla="*/ 125649 h 11747497"/>
              <a:gd name="connsiteX1089" fmla="*/ 3384392 w 4838702"/>
              <a:gd name="connsiteY1089" fmla="*/ 106005 h 11747497"/>
              <a:gd name="connsiteX1090" fmla="*/ 3407356 w 4838702"/>
              <a:gd name="connsiteY1090" fmla="*/ 132231 h 11747497"/>
              <a:gd name="connsiteX1091" fmla="*/ 3411907 w 4838702"/>
              <a:gd name="connsiteY1091" fmla="*/ 119168 h 11747497"/>
              <a:gd name="connsiteX1092" fmla="*/ 3430267 w 4838702"/>
              <a:gd name="connsiteY1092" fmla="*/ 119168 h 11747497"/>
              <a:gd name="connsiteX1093" fmla="*/ 3430267 w 4838702"/>
              <a:gd name="connsiteY1093" fmla="*/ 73296 h 11747497"/>
              <a:gd name="connsiteX1094" fmla="*/ 3407356 w 4838702"/>
              <a:gd name="connsiteY1094" fmla="*/ 60233 h 11747497"/>
              <a:gd name="connsiteX1095" fmla="*/ 3434870 w 4838702"/>
              <a:gd name="connsiteY1095" fmla="*/ 40588 h 11747497"/>
              <a:gd name="connsiteX1096" fmla="*/ 3443300 w 4838702"/>
              <a:gd name="connsiteY1096" fmla="*/ 249003 h 11747497"/>
              <a:gd name="connsiteX1097" fmla="*/ 3432491 w 4838702"/>
              <a:gd name="connsiteY1097" fmla="*/ 249003 h 11747497"/>
              <a:gd name="connsiteX1098" fmla="*/ 3443300 w 4838702"/>
              <a:gd name="connsiteY1098" fmla="*/ 249003 h 11747497"/>
              <a:gd name="connsiteX1099" fmla="*/ 3448679 w 4838702"/>
              <a:gd name="connsiteY1099" fmla="*/ 53751 h 11747497"/>
              <a:gd name="connsiteX1100" fmla="*/ 3439474 w 4838702"/>
              <a:gd name="connsiteY1100" fmla="*/ 40688 h 11747497"/>
              <a:gd name="connsiteX1101" fmla="*/ 3444076 w 4838702"/>
              <a:gd name="connsiteY1101" fmla="*/ 60233 h 11747497"/>
              <a:gd name="connsiteX1102" fmla="*/ 3448679 w 4838702"/>
              <a:gd name="connsiteY1102" fmla="*/ 53751 h 11747497"/>
              <a:gd name="connsiteX1103" fmla="*/ 3471591 w 4838702"/>
              <a:gd name="connsiteY1103" fmla="*/ 164939 h 11747497"/>
              <a:gd name="connsiteX1104" fmla="*/ 3453231 w 4838702"/>
              <a:gd name="connsiteY1104" fmla="*/ 164939 h 11747497"/>
              <a:gd name="connsiteX1105" fmla="*/ 3434870 w 4838702"/>
              <a:gd name="connsiteY1105" fmla="*/ 158357 h 11747497"/>
              <a:gd name="connsiteX1106" fmla="*/ 3471591 w 4838702"/>
              <a:gd name="connsiteY1106" fmla="*/ 164939 h 11747497"/>
              <a:gd name="connsiteX1107" fmla="*/ 3471591 w 4838702"/>
              <a:gd name="connsiteY1107" fmla="*/ 197747 h 11747497"/>
              <a:gd name="connsiteX1108" fmla="*/ 3471591 w 4838702"/>
              <a:gd name="connsiteY1108" fmla="*/ 184684 h 11747497"/>
              <a:gd name="connsiteX1109" fmla="*/ 3457834 w 4838702"/>
              <a:gd name="connsiteY1109" fmla="*/ 184684 h 11747497"/>
              <a:gd name="connsiteX1110" fmla="*/ 3457834 w 4838702"/>
              <a:gd name="connsiteY1110" fmla="*/ 197747 h 11747497"/>
              <a:gd name="connsiteX1111" fmla="*/ 3471591 w 4838702"/>
              <a:gd name="connsiteY1111" fmla="*/ 197747 h 11747497"/>
              <a:gd name="connsiteX1112" fmla="*/ 3476194 w 4838702"/>
              <a:gd name="connsiteY1112" fmla="*/ 40588 h 11747497"/>
              <a:gd name="connsiteX1113" fmla="*/ 3453231 w 4838702"/>
              <a:gd name="connsiteY1113" fmla="*/ 40588 h 11747497"/>
              <a:gd name="connsiteX1114" fmla="*/ 3476194 w 4838702"/>
              <a:gd name="connsiteY1114" fmla="*/ 40588 h 11747497"/>
              <a:gd name="connsiteX1115" fmla="*/ 3494555 w 4838702"/>
              <a:gd name="connsiteY1115" fmla="*/ 165038 h 11747497"/>
              <a:gd name="connsiteX1116" fmla="*/ 3476194 w 4838702"/>
              <a:gd name="connsiteY1116" fmla="*/ 158458 h 11747497"/>
              <a:gd name="connsiteX1117" fmla="*/ 3476194 w 4838702"/>
              <a:gd name="connsiteY1117" fmla="*/ 178102 h 11747497"/>
              <a:gd name="connsiteX1118" fmla="*/ 3494555 w 4838702"/>
              <a:gd name="connsiteY1118" fmla="*/ 165038 h 11747497"/>
              <a:gd name="connsiteX1119" fmla="*/ 3503710 w 4838702"/>
              <a:gd name="connsiteY1119" fmla="*/ 191165 h 11747497"/>
              <a:gd name="connsiteX1120" fmla="*/ 3485349 w 4838702"/>
              <a:gd name="connsiteY1120" fmla="*/ 197646 h 11747497"/>
              <a:gd name="connsiteX1121" fmla="*/ 3503710 w 4838702"/>
              <a:gd name="connsiteY1121" fmla="*/ 191165 h 11747497"/>
              <a:gd name="connsiteX1122" fmla="*/ 3520518 w 4838702"/>
              <a:gd name="connsiteY1122" fmla="*/ 249003 h 11747497"/>
              <a:gd name="connsiteX1123" fmla="*/ 3510846 w 4838702"/>
              <a:gd name="connsiteY1123" fmla="*/ 249003 h 11747497"/>
              <a:gd name="connsiteX1124" fmla="*/ 3517519 w 4838702"/>
              <a:gd name="connsiteY1124" fmla="*/ 243618 h 11747497"/>
              <a:gd name="connsiteX1125" fmla="*/ 3520518 w 4838702"/>
              <a:gd name="connsiteY1125" fmla="*/ 249003 h 11747497"/>
              <a:gd name="connsiteX1126" fmla="*/ 3545033 w 4838702"/>
              <a:gd name="connsiteY1126" fmla="*/ 178002 h 11747497"/>
              <a:gd name="connsiteX1127" fmla="*/ 3499158 w 4838702"/>
              <a:gd name="connsiteY1127" fmla="*/ 158357 h 11747497"/>
              <a:gd name="connsiteX1128" fmla="*/ 3490004 w 4838702"/>
              <a:gd name="connsiteY1128" fmla="*/ 138713 h 11747497"/>
              <a:gd name="connsiteX1129" fmla="*/ 3499158 w 4838702"/>
              <a:gd name="connsiteY1129" fmla="*/ 171420 h 11747497"/>
              <a:gd name="connsiteX1130" fmla="*/ 3526673 w 4838702"/>
              <a:gd name="connsiteY1130" fmla="*/ 171521 h 11747497"/>
              <a:gd name="connsiteX1131" fmla="*/ 3531276 w 4838702"/>
              <a:gd name="connsiteY1131" fmla="*/ 184584 h 11747497"/>
              <a:gd name="connsiteX1132" fmla="*/ 3545033 w 4838702"/>
              <a:gd name="connsiteY1132" fmla="*/ 178002 h 11747497"/>
              <a:gd name="connsiteX1133" fmla="*/ 3549637 w 4838702"/>
              <a:gd name="connsiteY1133" fmla="*/ 47169 h 11747497"/>
              <a:gd name="connsiteX1134" fmla="*/ 3499158 w 4838702"/>
              <a:gd name="connsiteY1134" fmla="*/ 40588 h 11747497"/>
              <a:gd name="connsiteX1135" fmla="*/ 3508312 w 4838702"/>
              <a:gd name="connsiteY1135" fmla="*/ 60233 h 11747497"/>
              <a:gd name="connsiteX1136" fmla="*/ 3549637 w 4838702"/>
              <a:gd name="connsiteY1136" fmla="*/ 47169 h 11747497"/>
              <a:gd name="connsiteX1137" fmla="*/ 3561273 w 4838702"/>
              <a:gd name="connsiteY1137" fmla="*/ 249003 h 11747497"/>
              <a:gd name="connsiteX1138" fmla="*/ 3530966 w 4838702"/>
              <a:gd name="connsiteY1138" fmla="*/ 249003 h 11747497"/>
              <a:gd name="connsiteX1139" fmla="*/ 3540430 w 4838702"/>
              <a:gd name="connsiteY1139" fmla="*/ 243618 h 11747497"/>
              <a:gd name="connsiteX1140" fmla="*/ 3561273 w 4838702"/>
              <a:gd name="connsiteY1140" fmla="*/ 249003 h 11747497"/>
              <a:gd name="connsiteX1141" fmla="*/ 3581755 w 4838702"/>
              <a:gd name="connsiteY1141" fmla="*/ 164939 h 11747497"/>
              <a:gd name="connsiteX1142" fmla="*/ 3549637 w 4838702"/>
              <a:gd name="connsiteY1142" fmla="*/ 184584 h 11747497"/>
              <a:gd name="connsiteX1143" fmla="*/ 3581755 w 4838702"/>
              <a:gd name="connsiteY1143" fmla="*/ 164939 h 11747497"/>
              <a:gd name="connsiteX1144" fmla="*/ 3595512 w 4838702"/>
              <a:gd name="connsiteY1144" fmla="*/ 92942 h 11747497"/>
              <a:gd name="connsiteX1145" fmla="*/ 3545033 w 4838702"/>
              <a:gd name="connsiteY1145" fmla="*/ 73296 h 11747497"/>
              <a:gd name="connsiteX1146" fmla="*/ 3558791 w 4838702"/>
              <a:gd name="connsiteY1146" fmla="*/ 99522 h 11747497"/>
              <a:gd name="connsiteX1147" fmla="*/ 3595512 w 4838702"/>
              <a:gd name="connsiteY1147" fmla="*/ 92942 h 11747497"/>
              <a:gd name="connsiteX1148" fmla="*/ 3595512 w 4838702"/>
              <a:gd name="connsiteY1148" fmla="*/ 191165 h 11747497"/>
              <a:gd name="connsiteX1149" fmla="*/ 3567997 w 4838702"/>
              <a:gd name="connsiteY1149" fmla="*/ 184584 h 11747497"/>
              <a:gd name="connsiteX1150" fmla="*/ 3595512 w 4838702"/>
              <a:gd name="connsiteY1150" fmla="*/ 191165 h 11747497"/>
              <a:gd name="connsiteX1151" fmla="*/ 3596109 w 4838702"/>
              <a:gd name="connsiteY1151" fmla="*/ 150283 h 11747497"/>
              <a:gd name="connsiteX1152" fmla="*/ 3590909 w 4838702"/>
              <a:gd name="connsiteY1152" fmla="*/ 138812 h 11747497"/>
              <a:gd name="connsiteX1153" fmla="*/ 3596109 w 4838702"/>
              <a:gd name="connsiteY1153" fmla="*/ 150283 h 11747497"/>
              <a:gd name="connsiteX1154" fmla="*/ 3613873 w 4838702"/>
              <a:gd name="connsiteY1154" fmla="*/ 164939 h 11747497"/>
              <a:gd name="connsiteX1155" fmla="*/ 3600115 w 4838702"/>
              <a:gd name="connsiteY1155" fmla="*/ 171521 h 11747497"/>
              <a:gd name="connsiteX1156" fmla="*/ 3613873 w 4838702"/>
              <a:gd name="connsiteY1156" fmla="*/ 164939 h 11747497"/>
              <a:gd name="connsiteX1157" fmla="*/ 3622975 w 4838702"/>
              <a:gd name="connsiteY1157" fmla="*/ 132131 h 11747497"/>
              <a:gd name="connsiteX1158" fmla="*/ 3609218 w 4838702"/>
              <a:gd name="connsiteY1158" fmla="*/ 99423 h 11747497"/>
              <a:gd name="connsiteX1159" fmla="*/ 3622975 w 4838702"/>
              <a:gd name="connsiteY1159" fmla="*/ 79777 h 11747497"/>
              <a:gd name="connsiteX1160" fmla="*/ 3600011 w 4838702"/>
              <a:gd name="connsiteY1160" fmla="*/ 106005 h 11747497"/>
              <a:gd name="connsiteX1161" fmla="*/ 3535776 w 4838702"/>
              <a:gd name="connsiteY1161" fmla="*/ 99423 h 11747497"/>
              <a:gd name="connsiteX1162" fmla="*/ 3517415 w 4838702"/>
              <a:gd name="connsiteY1162" fmla="*/ 86359 h 11747497"/>
              <a:gd name="connsiteX1163" fmla="*/ 3531173 w 4838702"/>
              <a:gd name="connsiteY1163" fmla="*/ 99423 h 11747497"/>
              <a:gd name="connsiteX1164" fmla="*/ 3485297 w 4838702"/>
              <a:gd name="connsiteY1164" fmla="*/ 99423 h 11747497"/>
              <a:gd name="connsiteX1165" fmla="*/ 3466937 w 4838702"/>
              <a:gd name="connsiteY1165" fmla="*/ 106005 h 11747497"/>
              <a:gd name="connsiteX1166" fmla="*/ 3462385 w 4838702"/>
              <a:gd name="connsiteY1166" fmla="*/ 92942 h 11747497"/>
              <a:gd name="connsiteX1167" fmla="*/ 3457782 w 4838702"/>
              <a:gd name="connsiteY1167" fmla="*/ 106005 h 11747497"/>
              <a:gd name="connsiteX1168" fmla="*/ 3434819 w 4838702"/>
              <a:gd name="connsiteY1168" fmla="*/ 99423 h 11747497"/>
              <a:gd name="connsiteX1169" fmla="*/ 3448628 w 4838702"/>
              <a:gd name="connsiteY1169" fmla="*/ 132231 h 11747497"/>
              <a:gd name="connsiteX1170" fmla="*/ 3471591 w 4838702"/>
              <a:gd name="connsiteY1170" fmla="*/ 112586 h 11747497"/>
              <a:gd name="connsiteX1171" fmla="*/ 3476194 w 4838702"/>
              <a:gd name="connsiteY1171" fmla="*/ 125649 h 11747497"/>
              <a:gd name="connsiteX1172" fmla="*/ 3480797 w 4838702"/>
              <a:gd name="connsiteY1172" fmla="*/ 112586 h 11747497"/>
              <a:gd name="connsiteX1173" fmla="*/ 3494555 w 4838702"/>
              <a:gd name="connsiteY1173" fmla="*/ 125649 h 11747497"/>
              <a:gd name="connsiteX1174" fmla="*/ 3512916 w 4838702"/>
              <a:gd name="connsiteY1174" fmla="*/ 119067 h 11747497"/>
              <a:gd name="connsiteX1175" fmla="*/ 3522070 w 4838702"/>
              <a:gd name="connsiteY1175" fmla="*/ 119067 h 11747497"/>
              <a:gd name="connsiteX1176" fmla="*/ 3526673 w 4838702"/>
              <a:gd name="connsiteY1176" fmla="*/ 125649 h 11747497"/>
              <a:gd name="connsiteX1177" fmla="*/ 3535828 w 4838702"/>
              <a:gd name="connsiteY1177" fmla="*/ 125649 h 11747497"/>
              <a:gd name="connsiteX1178" fmla="*/ 3558791 w 4838702"/>
              <a:gd name="connsiteY1178" fmla="*/ 119067 h 11747497"/>
              <a:gd name="connsiteX1179" fmla="*/ 3572548 w 4838702"/>
              <a:gd name="connsiteY1179" fmla="*/ 125649 h 11747497"/>
              <a:gd name="connsiteX1180" fmla="*/ 3586306 w 4838702"/>
              <a:gd name="connsiteY1180" fmla="*/ 119067 h 11747497"/>
              <a:gd name="connsiteX1181" fmla="*/ 3600064 w 4838702"/>
              <a:gd name="connsiteY1181" fmla="*/ 125649 h 11747497"/>
              <a:gd name="connsiteX1182" fmla="*/ 3609218 w 4838702"/>
              <a:gd name="connsiteY1182" fmla="*/ 119067 h 11747497"/>
              <a:gd name="connsiteX1183" fmla="*/ 3622975 w 4838702"/>
              <a:gd name="connsiteY1183" fmla="*/ 132131 h 11747497"/>
              <a:gd name="connsiteX1184" fmla="*/ 3641387 w 4838702"/>
              <a:gd name="connsiteY1184" fmla="*/ 178102 h 11747497"/>
              <a:gd name="connsiteX1185" fmla="*/ 3641387 w 4838702"/>
              <a:gd name="connsiteY1185" fmla="*/ 165038 h 11747497"/>
              <a:gd name="connsiteX1186" fmla="*/ 3632233 w 4838702"/>
              <a:gd name="connsiteY1186" fmla="*/ 165038 h 11747497"/>
              <a:gd name="connsiteX1187" fmla="*/ 3632233 w 4838702"/>
              <a:gd name="connsiteY1187" fmla="*/ 178102 h 11747497"/>
              <a:gd name="connsiteX1188" fmla="*/ 3641387 w 4838702"/>
              <a:gd name="connsiteY1188" fmla="*/ 178102 h 11747497"/>
              <a:gd name="connsiteX1189" fmla="*/ 3673506 w 4838702"/>
              <a:gd name="connsiteY1189" fmla="*/ 53652 h 11747497"/>
              <a:gd name="connsiteX1190" fmla="*/ 3673506 w 4838702"/>
              <a:gd name="connsiteY1190" fmla="*/ 40588 h 11747497"/>
              <a:gd name="connsiteX1191" fmla="*/ 3664300 w 4838702"/>
              <a:gd name="connsiteY1191" fmla="*/ 40588 h 11747497"/>
              <a:gd name="connsiteX1192" fmla="*/ 3664300 w 4838702"/>
              <a:gd name="connsiteY1192" fmla="*/ 53652 h 11747497"/>
              <a:gd name="connsiteX1193" fmla="*/ 3673506 w 4838702"/>
              <a:gd name="connsiteY1193" fmla="*/ 53652 h 11747497"/>
              <a:gd name="connsiteX1194" fmla="*/ 3682660 w 4838702"/>
              <a:gd name="connsiteY1194" fmla="*/ 125649 h 11747497"/>
              <a:gd name="connsiteX1195" fmla="*/ 3682660 w 4838702"/>
              <a:gd name="connsiteY1195" fmla="*/ 112586 h 11747497"/>
              <a:gd name="connsiteX1196" fmla="*/ 3673506 w 4838702"/>
              <a:gd name="connsiteY1196" fmla="*/ 112586 h 11747497"/>
              <a:gd name="connsiteX1197" fmla="*/ 3673506 w 4838702"/>
              <a:gd name="connsiteY1197" fmla="*/ 125649 h 11747497"/>
              <a:gd name="connsiteX1198" fmla="*/ 3682660 w 4838702"/>
              <a:gd name="connsiteY1198" fmla="*/ 125649 h 11747497"/>
              <a:gd name="connsiteX1199" fmla="*/ 3705675 w 4838702"/>
              <a:gd name="connsiteY1199" fmla="*/ 92942 h 11747497"/>
              <a:gd name="connsiteX1200" fmla="*/ 3664403 w 4838702"/>
              <a:gd name="connsiteY1200" fmla="*/ 79878 h 11747497"/>
              <a:gd name="connsiteX1201" fmla="*/ 3627682 w 4838702"/>
              <a:gd name="connsiteY1201" fmla="*/ 73296 h 11747497"/>
              <a:gd name="connsiteX1202" fmla="*/ 3636836 w 4838702"/>
              <a:gd name="connsiteY1202" fmla="*/ 92942 h 11747497"/>
              <a:gd name="connsiteX1203" fmla="*/ 3705675 w 4838702"/>
              <a:gd name="connsiteY1203" fmla="*/ 92942 h 11747497"/>
              <a:gd name="connsiteX1204" fmla="*/ 3741052 w 4838702"/>
              <a:gd name="connsiteY1204" fmla="*/ 249003 h 11747497"/>
              <a:gd name="connsiteX1205" fmla="*/ 3720105 w 4838702"/>
              <a:gd name="connsiteY1205" fmla="*/ 249003 h 11747497"/>
              <a:gd name="connsiteX1206" fmla="*/ 3733190 w 4838702"/>
              <a:gd name="connsiteY1206" fmla="*/ 243618 h 11747497"/>
              <a:gd name="connsiteX1207" fmla="*/ 3741052 w 4838702"/>
              <a:gd name="connsiteY1207" fmla="*/ 249003 h 11747497"/>
              <a:gd name="connsiteX1208" fmla="*/ 3766860 w 4838702"/>
              <a:gd name="connsiteY1208" fmla="*/ 249003 h 11747497"/>
              <a:gd name="connsiteX1209" fmla="*/ 3758481 w 4838702"/>
              <a:gd name="connsiteY1209" fmla="*/ 249003 h 11747497"/>
              <a:gd name="connsiteX1210" fmla="*/ 3760705 w 4838702"/>
              <a:gd name="connsiteY1210" fmla="*/ 243618 h 11747497"/>
              <a:gd name="connsiteX1211" fmla="*/ 3766860 w 4838702"/>
              <a:gd name="connsiteY1211" fmla="*/ 249003 h 11747497"/>
              <a:gd name="connsiteX1212" fmla="*/ 3769860 w 4838702"/>
              <a:gd name="connsiteY1212" fmla="*/ 164939 h 11747497"/>
              <a:gd name="connsiteX1213" fmla="*/ 3751499 w 4838702"/>
              <a:gd name="connsiteY1213" fmla="*/ 171521 h 11747497"/>
              <a:gd name="connsiteX1214" fmla="*/ 3742293 w 4838702"/>
              <a:gd name="connsiteY1214" fmla="*/ 164939 h 11747497"/>
              <a:gd name="connsiteX1215" fmla="*/ 3705572 w 4838702"/>
              <a:gd name="connsiteY1215" fmla="*/ 164939 h 11747497"/>
              <a:gd name="connsiteX1216" fmla="*/ 3691866 w 4838702"/>
              <a:gd name="connsiteY1216" fmla="*/ 171521 h 11747497"/>
              <a:gd name="connsiteX1217" fmla="*/ 3659748 w 4838702"/>
              <a:gd name="connsiteY1217" fmla="*/ 164939 h 11747497"/>
              <a:gd name="connsiteX1218" fmla="*/ 3682712 w 4838702"/>
              <a:gd name="connsiteY1218" fmla="*/ 178002 h 11747497"/>
              <a:gd name="connsiteX1219" fmla="*/ 3691866 w 4838702"/>
              <a:gd name="connsiteY1219" fmla="*/ 184584 h 11747497"/>
              <a:gd name="connsiteX1220" fmla="*/ 3696469 w 4838702"/>
              <a:gd name="connsiteY1220" fmla="*/ 178002 h 11747497"/>
              <a:gd name="connsiteX1221" fmla="*/ 3705623 w 4838702"/>
              <a:gd name="connsiteY1221" fmla="*/ 184584 h 11747497"/>
              <a:gd name="connsiteX1222" fmla="*/ 3714778 w 4838702"/>
              <a:gd name="connsiteY1222" fmla="*/ 171521 h 11747497"/>
              <a:gd name="connsiteX1223" fmla="*/ 3728587 w 4838702"/>
              <a:gd name="connsiteY1223" fmla="*/ 178102 h 11747497"/>
              <a:gd name="connsiteX1224" fmla="*/ 3737742 w 4838702"/>
              <a:gd name="connsiteY1224" fmla="*/ 191165 h 11747497"/>
              <a:gd name="connsiteX1225" fmla="*/ 3769860 w 4838702"/>
              <a:gd name="connsiteY1225" fmla="*/ 164939 h 11747497"/>
              <a:gd name="connsiteX1226" fmla="*/ 3769911 w 4838702"/>
              <a:gd name="connsiteY1226" fmla="*/ 217292 h 11747497"/>
              <a:gd name="connsiteX1227" fmla="*/ 3756154 w 4838702"/>
              <a:gd name="connsiteY1227" fmla="*/ 217292 h 11747497"/>
              <a:gd name="connsiteX1228" fmla="*/ 3746948 w 4838702"/>
              <a:gd name="connsiteY1228" fmla="*/ 223874 h 11747497"/>
              <a:gd name="connsiteX1229" fmla="*/ 3769911 w 4838702"/>
              <a:gd name="connsiteY1229" fmla="*/ 217292 h 11747497"/>
              <a:gd name="connsiteX1230" fmla="*/ 3774657 w 4838702"/>
              <a:gd name="connsiteY1230" fmla="*/ 139024 h 11747497"/>
              <a:gd name="connsiteX1231" fmla="*/ 3774463 w 4838702"/>
              <a:gd name="connsiteY1231" fmla="*/ 119067 h 11747497"/>
              <a:gd name="connsiteX1232" fmla="*/ 3737742 w 4838702"/>
              <a:gd name="connsiteY1232" fmla="*/ 132131 h 11747497"/>
              <a:gd name="connsiteX1233" fmla="*/ 3769860 w 4838702"/>
              <a:gd name="connsiteY1233" fmla="*/ 125550 h 11747497"/>
              <a:gd name="connsiteX1234" fmla="*/ 3765309 w 4838702"/>
              <a:gd name="connsiteY1234" fmla="*/ 145295 h 11747497"/>
              <a:gd name="connsiteX1235" fmla="*/ 3774657 w 4838702"/>
              <a:gd name="connsiteY1235" fmla="*/ 139024 h 11747497"/>
              <a:gd name="connsiteX1236" fmla="*/ 3792823 w 4838702"/>
              <a:gd name="connsiteY1236" fmla="*/ 86459 h 11747497"/>
              <a:gd name="connsiteX1237" fmla="*/ 3769911 w 4838702"/>
              <a:gd name="connsiteY1237" fmla="*/ 73296 h 11747497"/>
              <a:gd name="connsiteX1238" fmla="*/ 3774514 w 4838702"/>
              <a:gd name="connsiteY1238" fmla="*/ 79878 h 11747497"/>
              <a:gd name="connsiteX1239" fmla="*/ 3746948 w 4838702"/>
              <a:gd name="connsiteY1239" fmla="*/ 79878 h 11747497"/>
              <a:gd name="connsiteX1240" fmla="*/ 3737742 w 4838702"/>
              <a:gd name="connsiteY1240" fmla="*/ 73296 h 11747497"/>
              <a:gd name="connsiteX1241" fmla="*/ 3733138 w 4838702"/>
              <a:gd name="connsiteY1241" fmla="*/ 79878 h 11747497"/>
              <a:gd name="connsiteX1242" fmla="*/ 3723984 w 4838702"/>
              <a:gd name="connsiteY1242" fmla="*/ 86459 h 11747497"/>
              <a:gd name="connsiteX1243" fmla="*/ 3792823 w 4838702"/>
              <a:gd name="connsiteY1243" fmla="*/ 86459 h 11747497"/>
              <a:gd name="connsiteX1244" fmla="*/ 3797426 w 4838702"/>
              <a:gd name="connsiteY1244" fmla="*/ 119168 h 11747497"/>
              <a:gd name="connsiteX1245" fmla="*/ 3788272 w 4838702"/>
              <a:gd name="connsiteY1245" fmla="*/ 119168 h 11747497"/>
              <a:gd name="connsiteX1246" fmla="*/ 3797426 w 4838702"/>
              <a:gd name="connsiteY1246" fmla="*/ 119168 h 11747497"/>
              <a:gd name="connsiteX1247" fmla="*/ 3801098 w 4838702"/>
              <a:gd name="connsiteY1247" fmla="*/ 249003 h 11747497"/>
              <a:gd name="connsiteX1248" fmla="*/ 3781652 w 4838702"/>
              <a:gd name="connsiteY1248" fmla="*/ 249003 h 11747497"/>
              <a:gd name="connsiteX1249" fmla="*/ 3801098 w 4838702"/>
              <a:gd name="connsiteY1249" fmla="*/ 249003 h 11747497"/>
              <a:gd name="connsiteX1250" fmla="*/ 3815787 w 4838702"/>
              <a:gd name="connsiteY1250" fmla="*/ 79878 h 11747497"/>
              <a:gd name="connsiteX1251" fmla="*/ 3806632 w 4838702"/>
              <a:gd name="connsiteY1251" fmla="*/ 79878 h 11747497"/>
              <a:gd name="connsiteX1252" fmla="*/ 3802029 w 4838702"/>
              <a:gd name="connsiteY1252" fmla="*/ 92942 h 11747497"/>
              <a:gd name="connsiteX1253" fmla="*/ 3815787 w 4838702"/>
              <a:gd name="connsiteY1253" fmla="*/ 79878 h 11747497"/>
              <a:gd name="connsiteX1254" fmla="*/ 3820390 w 4838702"/>
              <a:gd name="connsiteY1254" fmla="*/ 184584 h 11747497"/>
              <a:gd name="connsiteX1255" fmla="*/ 3811236 w 4838702"/>
              <a:gd name="connsiteY1255" fmla="*/ 171521 h 11747497"/>
              <a:gd name="connsiteX1256" fmla="*/ 3788324 w 4838702"/>
              <a:gd name="connsiteY1256" fmla="*/ 171521 h 11747497"/>
              <a:gd name="connsiteX1257" fmla="*/ 3783669 w 4838702"/>
              <a:gd name="connsiteY1257" fmla="*/ 164939 h 11747497"/>
              <a:gd name="connsiteX1258" fmla="*/ 3820390 w 4838702"/>
              <a:gd name="connsiteY1258" fmla="*/ 184584 h 11747497"/>
              <a:gd name="connsiteX1259" fmla="*/ 3824993 w 4838702"/>
              <a:gd name="connsiteY1259" fmla="*/ 119168 h 11747497"/>
              <a:gd name="connsiteX1260" fmla="*/ 3815839 w 4838702"/>
              <a:gd name="connsiteY1260" fmla="*/ 119168 h 11747497"/>
              <a:gd name="connsiteX1261" fmla="*/ 3824993 w 4838702"/>
              <a:gd name="connsiteY1261" fmla="*/ 119168 h 11747497"/>
              <a:gd name="connsiteX1262" fmla="*/ 3831820 w 4838702"/>
              <a:gd name="connsiteY1262" fmla="*/ 249003 h 11747497"/>
              <a:gd name="connsiteX1263" fmla="*/ 3824787 w 4838702"/>
              <a:gd name="connsiteY1263" fmla="*/ 249003 h 11747497"/>
              <a:gd name="connsiteX1264" fmla="*/ 3831820 w 4838702"/>
              <a:gd name="connsiteY1264" fmla="*/ 249003 h 11747497"/>
              <a:gd name="connsiteX1265" fmla="*/ 3870868 w 4838702"/>
              <a:gd name="connsiteY1265" fmla="*/ 171521 h 11747497"/>
              <a:gd name="connsiteX1266" fmla="*/ 3857111 w 4838702"/>
              <a:gd name="connsiteY1266" fmla="*/ 171521 h 11747497"/>
              <a:gd name="connsiteX1267" fmla="*/ 3843354 w 4838702"/>
              <a:gd name="connsiteY1267" fmla="*/ 178102 h 11747497"/>
              <a:gd name="connsiteX1268" fmla="*/ 3870868 w 4838702"/>
              <a:gd name="connsiteY1268" fmla="*/ 171521 h 11747497"/>
              <a:gd name="connsiteX1269" fmla="*/ 3944311 w 4838702"/>
              <a:gd name="connsiteY1269" fmla="*/ 92942 h 11747497"/>
              <a:gd name="connsiteX1270" fmla="*/ 3889229 w 4838702"/>
              <a:gd name="connsiteY1270" fmla="*/ 92942 h 11747497"/>
              <a:gd name="connsiteX1271" fmla="*/ 3902986 w 4838702"/>
              <a:gd name="connsiteY1271" fmla="*/ 92942 h 11747497"/>
              <a:gd name="connsiteX1272" fmla="*/ 3944311 w 4838702"/>
              <a:gd name="connsiteY1272" fmla="*/ 92942 h 11747497"/>
              <a:gd name="connsiteX1273" fmla="*/ 3944311 w 4838702"/>
              <a:gd name="connsiteY1273" fmla="*/ 178102 h 11747497"/>
              <a:gd name="connsiteX1274" fmla="*/ 3935104 w 4838702"/>
              <a:gd name="connsiteY1274" fmla="*/ 178102 h 11747497"/>
              <a:gd name="connsiteX1275" fmla="*/ 3944311 w 4838702"/>
              <a:gd name="connsiteY1275" fmla="*/ 178102 h 11747497"/>
              <a:gd name="connsiteX1276" fmla="*/ 3953413 w 4838702"/>
              <a:gd name="connsiteY1276" fmla="*/ 132231 h 11747497"/>
              <a:gd name="connsiteX1277" fmla="*/ 3935104 w 4838702"/>
              <a:gd name="connsiteY1277" fmla="*/ 125649 h 11747497"/>
              <a:gd name="connsiteX1278" fmla="*/ 3912141 w 4838702"/>
              <a:gd name="connsiteY1278" fmla="*/ 132231 h 11747497"/>
              <a:gd name="connsiteX1279" fmla="*/ 3953413 w 4838702"/>
              <a:gd name="connsiteY1279" fmla="*/ 132231 h 11747497"/>
              <a:gd name="connsiteX1280" fmla="*/ 3976429 w 4838702"/>
              <a:gd name="connsiteY1280" fmla="*/ 66815 h 11747497"/>
              <a:gd name="connsiteX1281" fmla="*/ 3953465 w 4838702"/>
              <a:gd name="connsiteY1281" fmla="*/ 73296 h 11747497"/>
              <a:gd name="connsiteX1282" fmla="*/ 3976429 w 4838702"/>
              <a:gd name="connsiteY1282" fmla="*/ 66815 h 11747497"/>
              <a:gd name="connsiteX1283" fmla="*/ 3985583 w 4838702"/>
              <a:gd name="connsiteY1283" fmla="*/ 106005 h 11747497"/>
              <a:gd name="connsiteX1284" fmla="*/ 3953465 w 4838702"/>
              <a:gd name="connsiteY1284" fmla="*/ 86359 h 11747497"/>
              <a:gd name="connsiteX1285" fmla="*/ 3948914 w 4838702"/>
              <a:gd name="connsiteY1285" fmla="*/ 106005 h 11747497"/>
              <a:gd name="connsiteX1286" fmla="*/ 3985583 w 4838702"/>
              <a:gd name="connsiteY1286" fmla="*/ 106005 h 11747497"/>
              <a:gd name="connsiteX1287" fmla="*/ 4022304 w 4838702"/>
              <a:gd name="connsiteY1287" fmla="*/ 236936 h 11747497"/>
              <a:gd name="connsiteX1288" fmla="*/ 4022304 w 4838702"/>
              <a:gd name="connsiteY1288" fmla="*/ 223874 h 11747497"/>
              <a:gd name="connsiteX1289" fmla="*/ 4013150 w 4838702"/>
              <a:gd name="connsiteY1289" fmla="*/ 223874 h 11747497"/>
              <a:gd name="connsiteX1290" fmla="*/ 4013150 w 4838702"/>
              <a:gd name="connsiteY1290" fmla="*/ 236936 h 11747497"/>
              <a:gd name="connsiteX1291" fmla="*/ 4022304 w 4838702"/>
              <a:gd name="connsiteY1291" fmla="*/ 236936 h 11747497"/>
              <a:gd name="connsiteX1292" fmla="*/ 4026907 w 4838702"/>
              <a:gd name="connsiteY1292" fmla="*/ 79878 h 11747497"/>
              <a:gd name="connsiteX1293" fmla="*/ 4026907 w 4838702"/>
              <a:gd name="connsiteY1293" fmla="*/ 66815 h 11747497"/>
              <a:gd name="connsiteX1294" fmla="*/ 4017701 w 4838702"/>
              <a:gd name="connsiteY1294" fmla="*/ 66815 h 11747497"/>
              <a:gd name="connsiteX1295" fmla="*/ 4017701 w 4838702"/>
              <a:gd name="connsiteY1295" fmla="*/ 79878 h 11747497"/>
              <a:gd name="connsiteX1296" fmla="*/ 4026907 w 4838702"/>
              <a:gd name="connsiteY1296" fmla="*/ 79878 h 11747497"/>
              <a:gd name="connsiteX1297" fmla="*/ 4054422 w 4838702"/>
              <a:gd name="connsiteY1297" fmla="*/ 138713 h 11747497"/>
              <a:gd name="connsiteX1298" fmla="*/ 4022304 w 4838702"/>
              <a:gd name="connsiteY1298" fmla="*/ 145295 h 11747497"/>
              <a:gd name="connsiteX1299" fmla="*/ 4054422 w 4838702"/>
              <a:gd name="connsiteY1299" fmla="*/ 138713 h 11747497"/>
              <a:gd name="connsiteX1300" fmla="*/ 4115917 w 4838702"/>
              <a:gd name="connsiteY1300" fmla="*/ 150230 h 11747497"/>
              <a:gd name="connsiteX1301" fmla="*/ 4104901 w 4838702"/>
              <a:gd name="connsiteY1301" fmla="*/ 151875 h 11747497"/>
              <a:gd name="connsiteX1302" fmla="*/ 4115917 w 4838702"/>
              <a:gd name="connsiteY1302" fmla="*/ 150230 h 11747497"/>
              <a:gd name="connsiteX1303" fmla="*/ 4132467 w 4838702"/>
              <a:gd name="connsiteY1303" fmla="*/ 158357 h 11747497"/>
              <a:gd name="connsiteX1304" fmla="*/ 4132467 w 4838702"/>
              <a:gd name="connsiteY1304" fmla="*/ 145295 h 11747497"/>
              <a:gd name="connsiteX1305" fmla="*/ 4123313 w 4838702"/>
              <a:gd name="connsiteY1305" fmla="*/ 145295 h 11747497"/>
              <a:gd name="connsiteX1306" fmla="*/ 4123313 w 4838702"/>
              <a:gd name="connsiteY1306" fmla="*/ 158357 h 11747497"/>
              <a:gd name="connsiteX1307" fmla="*/ 4132467 w 4838702"/>
              <a:gd name="connsiteY1307" fmla="*/ 158357 h 11747497"/>
              <a:gd name="connsiteX1308" fmla="*/ 4700307 w 4838702"/>
              <a:gd name="connsiteY1308" fmla="*/ 11598562 h 11747497"/>
              <a:gd name="connsiteX1309" fmla="*/ 4697972 w 4838702"/>
              <a:gd name="connsiteY1309" fmla="*/ 11569520 h 11747497"/>
              <a:gd name="connsiteX1310" fmla="*/ 4700307 w 4838702"/>
              <a:gd name="connsiteY1310" fmla="*/ 11598562 h 11747497"/>
              <a:gd name="connsiteX1311" fmla="*/ 4705728 w 4838702"/>
              <a:gd name="connsiteY1311" fmla="*/ 11382598 h 11747497"/>
              <a:gd name="connsiteX1312" fmla="*/ 4700972 w 4838702"/>
              <a:gd name="connsiteY1312" fmla="*/ 11427220 h 11747497"/>
              <a:gd name="connsiteX1313" fmla="*/ 4697299 w 4838702"/>
              <a:gd name="connsiteY1313" fmla="*/ 11341659 h 11747497"/>
              <a:gd name="connsiteX1314" fmla="*/ 4705678 w 4838702"/>
              <a:gd name="connsiteY1314" fmla="*/ 11356119 h 11747497"/>
              <a:gd name="connsiteX1315" fmla="*/ 4705728 w 4838702"/>
              <a:gd name="connsiteY1315" fmla="*/ 11382598 h 11747497"/>
              <a:gd name="connsiteX1316" fmla="*/ 4706919 w 4838702"/>
              <a:gd name="connsiteY1316" fmla="*/ 10516278 h 11747497"/>
              <a:gd name="connsiteX1317" fmla="*/ 4706713 w 4838702"/>
              <a:gd name="connsiteY1317" fmla="*/ 10544698 h 11747497"/>
              <a:gd name="connsiteX1318" fmla="*/ 4702472 w 4838702"/>
              <a:gd name="connsiteY1318" fmla="*/ 10544598 h 11747497"/>
              <a:gd name="connsiteX1319" fmla="*/ 4702679 w 4838702"/>
              <a:gd name="connsiteY1319" fmla="*/ 10516178 h 11747497"/>
              <a:gd name="connsiteX1320" fmla="*/ 4708387 w 4838702"/>
              <a:gd name="connsiteY1320" fmla="*/ 10980851 h 11747497"/>
              <a:gd name="connsiteX1321" fmla="*/ 4701644 w 4838702"/>
              <a:gd name="connsiteY1321" fmla="*/ 11000118 h 11747497"/>
              <a:gd name="connsiteX1322" fmla="*/ 4708265 w 4838702"/>
              <a:gd name="connsiteY1322" fmla="*/ 10957638 h 11747497"/>
              <a:gd name="connsiteX1323" fmla="*/ 4708387 w 4838702"/>
              <a:gd name="connsiteY1323" fmla="*/ 10980851 h 11747497"/>
              <a:gd name="connsiteX1324" fmla="*/ 4713850 w 4838702"/>
              <a:gd name="connsiteY1324" fmla="*/ 10744238 h 11747497"/>
              <a:gd name="connsiteX1325" fmla="*/ 4709919 w 4838702"/>
              <a:gd name="connsiteY1325" fmla="*/ 10701458 h 11747497"/>
              <a:gd name="connsiteX1326" fmla="*/ 4713850 w 4838702"/>
              <a:gd name="connsiteY1326" fmla="*/ 10744238 h 11747497"/>
              <a:gd name="connsiteX1327" fmla="*/ 4715764 w 4838702"/>
              <a:gd name="connsiteY1327" fmla="*/ 10772758 h 11747497"/>
              <a:gd name="connsiteX1328" fmla="*/ 4704954 w 4838702"/>
              <a:gd name="connsiteY1328" fmla="*/ 10815239 h 11747497"/>
              <a:gd name="connsiteX1329" fmla="*/ 4707436 w 4838702"/>
              <a:gd name="connsiteY1329" fmla="*/ 10758298 h 11747497"/>
              <a:gd name="connsiteX1330" fmla="*/ 4707334 w 4838702"/>
              <a:gd name="connsiteY1330" fmla="*/ 10772558 h 11747497"/>
              <a:gd name="connsiteX1331" fmla="*/ 4711523 w 4838702"/>
              <a:gd name="connsiteY1331" fmla="*/ 10772657 h 11747497"/>
              <a:gd name="connsiteX1332" fmla="*/ 4715764 w 4838702"/>
              <a:gd name="connsiteY1332" fmla="*/ 10772758 h 11747497"/>
              <a:gd name="connsiteX1333" fmla="*/ 4717368 w 4838702"/>
              <a:gd name="connsiteY1333" fmla="*/ 10530837 h 11747497"/>
              <a:gd name="connsiteX1334" fmla="*/ 4717160 w 4838702"/>
              <a:gd name="connsiteY1334" fmla="*/ 10559256 h 11747497"/>
              <a:gd name="connsiteX1335" fmla="*/ 4712919 w 4838702"/>
              <a:gd name="connsiteY1335" fmla="*/ 10559157 h 11747497"/>
              <a:gd name="connsiteX1336" fmla="*/ 4713126 w 4838702"/>
              <a:gd name="connsiteY1336" fmla="*/ 10530737 h 11747497"/>
              <a:gd name="connsiteX1337" fmla="*/ 4720522 w 4838702"/>
              <a:gd name="connsiteY1337" fmla="*/ 11342258 h 11747497"/>
              <a:gd name="connsiteX1338" fmla="*/ 4709971 w 4838702"/>
              <a:gd name="connsiteY1338" fmla="*/ 11341958 h 11747497"/>
              <a:gd name="connsiteX1339" fmla="*/ 4720522 w 4838702"/>
              <a:gd name="connsiteY1339" fmla="*/ 11342258 h 11747497"/>
              <a:gd name="connsiteX1340" fmla="*/ 4722125 w 4838702"/>
              <a:gd name="connsiteY1340" fmla="*/ 10445576 h 11747497"/>
              <a:gd name="connsiteX1341" fmla="*/ 4717729 w 4838702"/>
              <a:gd name="connsiteY1341" fmla="*/ 10473897 h 11747497"/>
              <a:gd name="connsiteX1342" fmla="*/ 4707436 w 4838702"/>
              <a:gd name="connsiteY1342" fmla="*/ 10430917 h 11747497"/>
              <a:gd name="connsiteX1343" fmla="*/ 4713746 w 4838702"/>
              <a:gd name="connsiteY1343" fmla="*/ 10431117 h 11747497"/>
              <a:gd name="connsiteX1344" fmla="*/ 4722125 w 4838702"/>
              <a:gd name="connsiteY1344" fmla="*/ 10445576 h 11747497"/>
              <a:gd name="connsiteX1345" fmla="*/ 4724288 w 4838702"/>
              <a:gd name="connsiteY1345" fmla="*/ 11079379 h 11747497"/>
              <a:gd name="connsiteX1346" fmla="*/ 4724246 w 4838702"/>
              <a:gd name="connsiteY1346" fmla="*/ 11100437 h 11747497"/>
              <a:gd name="connsiteX1347" fmla="*/ 4724039 w 4838702"/>
              <a:gd name="connsiteY1347" fmla="*/ 11128858 h 11747497"/>
              <a:gd name="connsiteX1348" fmla="*/ 4724288 w 4838702"/>
              <a:gd name="connsiteY1348" fmla="*/ 11079379 h 11747497"/>
              <a:gd name="connsiteX1349" fmla="*/ 4724913 w 4838702"/>
              <a:gd name="connsiteY1349" fmla="*/ 10262664 h 11747497"/>
              <a:gd name="connsiteX1350" fmla="*/ 4723160 w 4838702"/>
              <a:gd name="connsiteY1350" fmla="*/ 10288915 h 11747497"/>
              <a:gd name="connsiteX1351" fmla="*/ 4724913 w 4838702"/>
              <a:gd name="connsiteY1351" fmla="*/ 10262664 h 11747497"/>
              <a:gd name="connsiteX1352" fmla="*/ 4726005 w 4838702"/>
              <a:gd name="connsiteY1352" fmla="*/ 11157377 h 11747497"/>
              <a:gd name="connsiteX1353" fmla="*/ 4725746 w 4838702"/>
              <a:gd name="connsiteY1353" fmla="*/ 11200057 h 11747497"/>
              <a:gd name="connsiteX1354" fmla="*/ 4719384 w 4838702"/>
              <a:gd name="connsiteY1354" fmla="*/ 11199857 h 11747497"/>
              <a:gd name="connsiteX1355" fmla="*/ 4719643 w 4838702"/>
              <a:gd name="connsiteY1355" fmla="*/ 11157178 h 11747497"/>
              <a:gd name="connsiteX1356" fmla="*/ 4736349 w 4838702"/>
              <a:gd name="connsiteY1356" fmla="*/ 9876275 h 11747497"/>
              <a:gd name="connsiteX1357" fmla="*/ 4735986 w 4838702"/>
              <a:gd name="connsiteY1357" fmla="*/ 9933214 h 11747497"/>
              <a:gd name="connsiteX1358" fmla="*/ 4721505 w 4838702"/>
              <a:gd name="connsiteY1358" fmla="*/ 9890235 h 11747497"/>
              <a:gd name="connsiteX1359" fmla="*/ 4717005 w 4838702"/>
              <a:gd name="connsiteY1359" fmla="*/ 9932815 h 11747497"/>
              <a:gd name="connsiteX1360" fmla="*/ 4715401 w 4838702"/>
              <a:gd name="connsiteY1360" fmla="*/ 9847255 h 11747497"/>
              <a:gd name="connsiteX1361" fmla="*/ 4736349 w 4838702"/>
              <a:gd name="connsiteY1361" fmla="*/ 9876275 h 11747497"/>
              <a:gd name="connsiteX1362" fmla="*/ 4736349 w 4838702"/>
              <a:gd name="connsiteY1362" fmla="*/ 11513577 h 11747497"/>
              <a:gd name="connsiteX1363" fmla="*/ 4735624 w 4838702"/>
              <a:gd name="connsiteY1363" fmla="*/ 11627458 h 11747497"/>
              <a:gd name="connsiteX1364" fmla="*/ 4722849 w 4838702"/>
              <a:gd name="connsiteY1364" fmla="*/ 11641319 h 11747497"/>
              <a:gd name="connsiteX1365" fmla="*/ 4736349 w 4838702"/>
              <a:gd name="connsiteY1365" fmla="*/ 11513577 h 11747497"/>
              <a:gd name="connsiteX1366" fmla="*/ 4736723 w 4838702"/>
              <a:gd name="connsiteY1366" fmla="*/ 11231992 h 11747497"/>
              <a:gd name="connsiteX1367" fmla="*/ 4735934 w 4838702"/>
              <a:gd name="connsiteY1367" fmla="*/ 11243036 h 11747497"/>
              <a:gd name="connsiteX1368" fmla="*/ 4736297 w 4838702"/>
              <a:gd name="connsiteY1368" fmla="*/ 11186097 h 11747497"/>
              <a:gd name="connsiteX1369" fmla="*/ 4734021 w 4838702"/>
              <a:gd name="connsiteY1369" fmla="*/ 11214516 h 11747497"/>
              <a:gd name="connsiteX1370" fmla="*/ 4736723 w 4838702"/>
              <a:gd name="connsiteY1370" fmla="*/ 11231992 h 11747497"/>
              <a:gd name="connsiteX1371" fmla="*/ 4749071 w 4838702"/>
              <a:gd name="connsiteY1371" fmla="*/ 8567050 h 11747497"/>
              <a:gd name="connsiteX1372" fmla="*/ 4749071 w 4838702"/>
              <a:gd name="connsiteY1372" fmla="*/ 8567050 h 11747497"/>
              <a:gd name="connsiteX1373" fmla="*/ 4755278 w 4838702"/>
              <a:gd name="connsiteY1373" fmla="*/ 8772921 h 11747497"/>
              <a:gd name="connsiteX1374" fmla="*/ 4754192 w 4838702"/>
              <a:gd name="connsiteY1374" fmla="*/ 8752130 h 11747497"/>
              <a:gd name="connsiteX1375" fmla="*/ 4745451 w 4838702"/>
              <a:gd name="connsiteY1375" fmla="*/ 8794611 h 11747497"/>
              <a:gd name="connsiteX1376" fmla="*/ 4751398 w 4838702"/>
              <a:gd name="connsiteY1376" fmla="*/ 8851750 h 11747497"/>
              <a:gd name="connsiteX1377" fmla="*/ 4753881 w 4838702"/>
              <a:gd name="connsiteY1377" fmla="*/ 8794910 h 11747497"/>
              <a:gd name="connsiteX1378" fmla="*/ 4755278 w 4838702"/>
              <a:gd name="connsiteY1378" fmla="*/ 8772921 h 11747497"/>
              <a:gd name="connsiteX1379" fmla="*/ 4758071 w 4838702"/>
              <a:gd name="connsiteY1379" fmla="*/ 8481789 h 11747497"/>
              <a:gd name="connsiteX1380" fmla="*/ 4745193 w 4838702"/>
              <a:gd name="connsiteY1380" fmla="*/ 8509910 h 11747497"/>
              <a:gd name="connsiteX1381" fmla="*/ 4755640 w 4838702"/>
              <a:gd name="connsiteY1381" fmla="*/ 8524469 h 11747497"/>
              <a:gd name="connsiteX1382" fmla="*/ 4758071 w 4838702"/>
              <a:gd name="connsiteY1382" fmla="*/ 8481789 h 11747497"/>
              <a:gd name="connsiteX1383" fmla="*/ 4759241 w 4838702"/>
              <a:gd name="connsiteY1383" fmla="*/ 11277701 h 11747497"/>
              <a:gd name="connsiteX1384" fmla="*/ 4758640 w 4838702"/>
              <a:gd name="connsiteY1384" fmla="*/ 11314936 h 11747497"/>
              <a:gd name="connsiteX1385" fmla="*/ 4755898 w 4838702"/>
              <a:gd name="connsiteY1385" fmla="*/ 11414455 h 11747497"/>
              <a:gd name="connsiteX1386" fmla="*/ 4755640 w 4838702"/>
              <a:gd name="connsiteY1386" fmla="*/ 11457136 h 11747497"/>
              <a:gd name="connsiteX1387" fmla="*/ 4753364 w 4838702"/>
              <a:gd name="connsiteY1387" fmla="*/ 11485555 h 11747497"/>
              <a:gd name="connsiteX1388" fmla="*/ 4752640 w 4838702"/>
              <a:gd name="connsiteY1388" fmla="*/ 11599436 h 11747497"/>
              <a:gd name="connsiteX1389" fmla="*/ 4750519 w 4838702"/>
              <a:gd name="connsiteY1389" fmla="*/ 11599336 h 11747497"/>
              <a:gd name="connsiteX1390" fmla="*/ 4752433 w 4838702"/>
              <a:gd name="connsiteY1390" fmla="*/ 11627856 h 11747497"/>
              <a:gd name="connsiteX1391" fmla="*/ 4750209 w 4838702"/>
              <a:gd name="connsiteY1391" fmla="*/ 11642016 h 11747497"/>
              <a:gd name="connsiteX1392" fmla="*/ 4749950 w 4838702"/>
              <a:gd name="connsiteY1392" fmla="*/ 11684697 h 11747497"/>
              <a:gd name="connsiteX1393" fmla="*/ 4748037 w 4838702"/>
              <a:gd name="connsiteY1393" fmla="*/ 11656176 h 11747497"/>
              <a:gd name="connsiteX1394" fmla="*/ 4748502 w 4838702"/>
              <a:gd name="connsiteY1394" fmla="*/ 11584975 h 11747497"/>
              <a:gd name="connsiteX1395" fmla="*/ 4749433 w 4838702"/>
              <a:gd name="connsiteY1395" fmla="*/ 11442676 h 11747497"/>
              <a:gd name="connsiteX1396" fmla="*/ 4741106 w 4838702"/>
              <a:gd name="connsiteY1396" fmla="*/ 11428217 h 11747497"/>
              <a:gd name="connsiteX1397" fmla="*/ 4739347 w 4838702"/>
              <a:gd name="connsiteY1397" fmla="*/ 11371277 h 11747497"/>
              <a:gd name="connsiteX1398" fmla="*/ 4734745 w 4838702"/>
              <a:gd name="connsiteY1398" fmla="*/ 11428118 h 11747497"/>
              <a:gd name="connsiteX1399" fmla="*/ 4734486 w 4838702"/>
              <a:gd name="connsiteY1399" fmla="*/ 11470797 h 11747497"/>
              <a:gd name="connsiteX1400" fmla="*/ 4728331 w 4838702"/>
              <a:gd name="connsiteY1400" fmla="*/ 11428118 h 11747497"/>
              <a:gd name="connsiteX1401" fmla="*/ 4733555 w 4838702"/>
              <a:gd name="connsiteY1401" fmla="*/ 11271657 h 11747497"/>
              <a:gd name="connsiteX1402" fmla="*/ 4743537 w 4838702"/>
              <a:gd name="connsiteY1402" fmla="*/ 11357316 h 11747497"/>
              <a:gd name="connsiteX1403" fmla="*/ 4756312 w 4838702"/>
              <a:gd name="connsiteY1403" fmla="*/ 11343355 h 11747497"/>
              <a:gd name="connsiteX1404" fmla="*/ 4754761 w 4838702"/>
              <a:gd name="connsiteY1404" fmla="*/ 11257895 h 11747497"/>
              <a:gd name="connsiteX1405" fmla="*/ 4759241 w 4838702"/>
              <a:gd name="connsiteY1405" fmla="*/ 11277701 h 11747497"/>
              <a:gd name="connsiteX1406" fmla="*/ 4760973 w 4838702"/>
              <a:gd name="connsiteY1406" fmla="*/ 6914938 h 11747497"/>
              <a:gd name="connsiteX1407" fmla="*/ 4755536 w 4838702"/>
              <a:gd name="connsiteY1407" fmla="*/ 6915786 h 11747497"/>
              <a:gd name="connsiteX1408" fmla="*/ 4759933 w 4838702"/>
              <a:gd name="connsiteY1408" fmla="*/ 6887466 h 11747497"/>
              <a:gd name="connsiteX1409" fmla="*/ 4760973 w 4838702"/>
              <a:gd name="connsiteY1409" fmla="*/ 6914938 h 11747497"/>
              <a:gd name="connsiteX1410" fmla="*/ 4766708 w 4838702"/>
              <a:gd name="connsiteY1410" fmla="*/ 11058754 h 11747497"/>
              <a:gd name="connsiteX1411" fmla="*/ 4765777 w 4838702"/>
              <a:gd name="connsiteY1411" fmla="*/ 11201054 h 11747497"/>
              <a:gd name="connsiteX1412" fmla="*/ 4755226 w 4838702"/>
              <a:gd name="connsiteY1412" fmla="*/ 11200754 h 11747497"/>
              <a:gd name="connsiteX1413" fmla="*/ 4754141 w 4838702"/>
              <a:gd name="connsiteY1413" fmla="*/ 11044195 h 11747497"/>
              <a:gd name="connsiteX1414" fmla="*/ 4766708 w 4838702"/>
              <a:gd name="connsiteY1414" fmla="*/ 11058754 h 11747497"/>
              <a:gd name="connsiteX1415" fmla="*/ 4767432 w 4838702"/>
              <a:gd name="connsiteY1415" fmla="*/ 10959033 h 11747497"/>
              <a:gd name="connsiteX1416" fmla="*/ 4767225 w 4838702"/>
              <a:gd name="connsiteY1416" fmla="*/ 10987455 h 11747497"/>
              <a:gd name="connsiteX1417" fmla="*/ 4765001 w 4838702"/>
              <a:gd name="connsiteY1417" fmla="*/ 11001615 h 11747497"/>
              <a:gd name="connsiteX1418" fmla="*/ 4758743 w 4838702"/>
              <a:gd name="connsiteY1418" fmla="*/ 10987255 h 11747497"/>
              <a:gd name="connsiteX1419" fmla="*/ 4756364 w 4838702"/>
              <a:gd name="connsiteY1419" fmla="*/ 11029935 h 11747497"/>
              <a:gd name="connsiteX1420" fmla="*/ 4754761 w 4838702"/>
              <a:gd name="connsiteY1420" fmla="*/ 10958735 h 11747497"/>
              <a:gd name="connsiteX1421" fmla="*/ 4767432 w 4838702"/>
              <a:gd name="connsiteY1421" fmla="*/ 10959033 h 11747497"/>
              <a:gd name="connsiteX1422" fmla="*/ 4768259 w 4838702"/>
              <a:gd name="connsiteY1422" fmla="*/ 8539028 h 11747497"/>
              <a:gd name="connsiteX1423" fmla="*/ 4767535 w 4838702"/>
              <a:gd name="connsiteY1423" fmla="*/ 8652909 h 11747497"/>
              <a:gd name="connsiteX1424" fmla="*/ 4768259 w 4838702"/>
              <a:gd name="connsiteY1424" fmla="*/ 8539028 h 11747497"/>
              <a:gd name="connsiteX1425" fmla="*/ 4768518 w 4838702"/>
              <a:gd name="connsiteY1425" fmla="*/ 11590462 h 11747497"/>
              <a:gd name="connsiteX1426" fmla="*/ 4768311 w 4838702"/>
              <a:gd name="connsiteY1426" fmla="*/ 11618881 h 11747497"/>
              <a:gd name="connsiteX1427" fmla="*/ 4764070 w 4838702"/>
              <a:gd name="connsiteY1427" fmla="*/ 11618782 h 11747497"/>
              <a:gd name="connsiteX1428" fmla="*/ 4764276 w 4838702"/>
              <a:gd name="connsiteY1428" fmla="*/ 11590361 h 11747497"/>
              <a:gd name="connsiteX1429" fmla="*/ 4772895 w 4838702"/>
              <a:gd name="connsiteY1429" fmla="*/ 9044546 h 11747497"/>
              <a:gd name="connsiteX1430" fmla="*/ 4771414 w 4838702"/>
              <a:gd name="connsiteY1430" fmla="*/ 9023169 h 11747497"/>
              <a:gd name="connsiteX1431" fmla="*/ 4771155 w 4838702"/>
              <a:gd name="connsiteY1431" fmla="*/ 9065849 h 11747497"/>
              <a:gd name="connsiteX1432" fmla="*/ 4772895 w 4838702"/>
              <a:gd name="connsiteY1432" fmla="*/ 9044546 h 11747497"/>
              <a:gd name="connsiteX1433" fmla="*/ 4776742 w 4838702"/>
              <a:gd name="connsiteY1433" fmla="*/ 11471795 h 11747497"/>
              <a:gd name="connsiteX1434" fmla="*/ 4776483 w 4838702"/>
              <a:gd name="connsiteY1434" fmla="*/ 11514575 h 11747497"/>
              <a:gd name="connsiteX1435" fmla="*/ 4772241 w 4838702"/>
              <a:gd name="connsiteY1435" fmla="*/ 11514474 h 11747497"/>
              <a:gd name="connsiteX1436" fmla="*/ 4772501 w 4838702"/>
              <a:gd name="connsiteY1436" fmla="*/ 11471694 h 11747497"/>
              <a:gd name="connsiteX1437" fmla="*/ 4779172 w 4838702"/>
              <a:gd name="connsiteY1437" fmla="*/ 11414955 h 11747497"/>
              <a:gd name="connsiteX1438" fmla="*/ 4775345 w 4838702"/>
              <a:gd name="connsiteY1438" fmla="*/ 11357913 h 11747497"/>
              <a:gd name="connsiteX1439" fmla="*/ 4779172 w 4838702"/>
              <a:gd name="connsiteY1439" fmla="*/ 11414955 h 11747497"/>
              <a:gd name="connsiteX1440" fmla="*/ 4780123 w 4838702"/>
              <a:gd name="connsiteY1440" fmla="*/ 10020792 h 11747497"/>
              <a:gd name="connsiteX1441" fmla="*/ 4777259 w 4838702"/>
              <a:gd name="connsiteY1441" fmla="*/ 10076710 h 11747497"/>
              <a:gd name="connsiteX1442" fmla="*/ 4775811 w 4838702"/>
              <a:gd name="connsiteY1442" fmla="*/ 9976991 h 11747497"/>
              <a:gd name="connsiteX1443" fmla="*/ 4780123 w 4838702"/>
              <a:gd name="connsiteY1443" fmla="*/ 10020792 h 11747497"/>
              <a:gd name="connsiteX1444" fmla="*/ 4784609 w 4838702"/>
              <a:gd name="connsiteY1444" fmla="*/ 8581908 h 11747497"/>
              <a:gd name="connsiteX1445" fmla="*/ 4778810 w 4838702"/>
              <a:gd name="connsiteY1445" fmla="*/ 8539228 h 11747497"/>
              <a:gd name="connsiteX1446" fmla="*/ 4776431 w 4838702"/>
              <a:gd name="connsiteY1446" fmla="*/ 8581908 h 11747497"/>
              <a:gd name="connsiteX1447" fmla="*/ 4769656 w 4838702"/>
              <a:gd name="connsiteY1447" fmla="*/ 8652909 h 11747497"/>
              <a:gd name="connsiteX1448" fmla="*/ 4771570 w 4838702"/>
              <a:gd name="connsiteY1448" fmla="*/ 8681429 h 11747497"/>
              <a:gd name="connsiteX1449" fmla="*/ 4769294 w 4838702"/>
              <a:gd name="connsiteY1449" fmla="*/ 8709848 h 11747497"/>
              <a:gd name="connsiteX1450" fmla="*/ 4771311 w 4838702"/>
              <a:gd name="connsiteY1450" fmla="*/ 8724110 h 11747497"/>
              <a:gd name="connsiteX1451" fmla="*/ 4770845 w 4838702"/>
              <a:gd name="connsiteY1451" fmla="*/ 8795208 h 11747497"/>
              <a:gd name="connsiteX1452" fmla="*/ 4770639 w 4838702"/>
              <a:gd name="connsiteY1452" fmla="*/ 8823730 h 11747497"/>
              <a:gd name="connsiteX1453" fmla="*/ 4767897 w 4838702"/>
              <a:gd name="connsiteY1453" fmla="*/ 8923249 h 11747497"/>
              <a:gd name="connsiteX1454" fmla="*/ 4769914 w 4838702"/>
              <a:gd name="connsiteY1454" fmla="*/ 8937509 h 11747497"/>
              <a:gd name="connsiteX1455" fmla="*/ 4767639 w 4838702"/>
              <a:gd name="connsiteY1455" fmla="*/ 8965930 h 11747497"/>
              <a:gd name="connsiteX1456" fmla="*/ 4775914 w 4838702"/>
              <a:gd name="connsiteY1456" fmla="*/ 8994649 h 11747497"/>
              <a:gd name="connsiteX1457" fmla="*/ 4779328 w 4838702"/>
              <a:gd name="connsiteY1457" fmla="*/ 8795408 h 11747497"/>
              <a:gd name="connsiteX1458" fmla="*/ 4783569 w 4838702"/>
              <a:gd name="connsiteY1458" fmla="*/ 8795508 h 11747497"/>
              <a:gd name="connsiteX1459" fmla="*/ 4779690 w 4838702"/>
              <a:gd name="connsiteY1459" fmla="*/ 8738469 h 11747497"/>
              <a:gd name="connsiteX1460" fmla="*/ 4779897 w 4838702"/>
              <a:gd name="connsiteY1460" fmla="*/ 8710048 h 11747497"/>
              <a:gd name="connsiteX1461" fmla="*/ 4780155 w 4838702"/>
              <a:gd name="connsiteY1461" fmla="*/ 8667369 h 11747497"/>
              <a:gd name="connsiteX1462" fmla="*/ 4784396 w 4838702"/>
              <a:gd name="connsiteY1462" fmla="*/ 8653307 h 11747497"/>
              <a:gd name="connsiteX1463" fmla="*/ 4784609 w 4838702"/>
              <a:gd name="connsiteY1463" fmla="*/ 8581908 h 11747497"/>
              <a:gd name="connsiteX1464" fmla="*/ 4786257 w 4838702"/>
              <a:gd name="connsiteY1464" fmla="*/ 10973791 h 11747497"/>
              <a:gd name="connsiteX1465" fmla="*/ 4777621 w 4838702"/>
              <a:gd name="connsiteY1465" fmla="*/ 11002013 h 11747497"/>
              <a:gd name="connsiteX1466" fmla="*/ 4786257 w 4838702"/>
              <a:gd name="connsiteY1466" fmla="*/ 10973791 h 11747497"/>
              <a:gd name="connsiteX1467" fmla="*/ 4786413 w 4838702"/>
              <a:gd name="connsiteY1467" fmla="*/ 8296011 h 11747497"/>
              <a:gd name="connsiteX1468" fmla="*/ 4782586 w 4838702"/>
              <a:gd name="connsiteY1468" fmla="*/ 8283047 h 11747497"/>
              <a:gd name="connsiteX1469" fmla="*/ 4780310 w 4838702"/>
              <a:gd name="connsiteY1469" fmla="*/ 8311467 h 11747497"/>
              <a:gd name="connsiteX1470" fmla="*/ 4779379 w 4838702"/>
              <a:gd name="connsiteY1470" fmla="*/ 8126387 h 11747497"/>
              <a:gd name="connsiteX1471" fmla="*/ 4770018 w 4838702"/>
              <a:gd name="connsiteY1471" fmla="*/ 8268488 h 11747497"/>
              <a:gd name="connsiteX1472" fmla="*/ 4774156 w 4838702"/>
              <a:gd name="connsiteY1472" fmla="*/ 8282848 h 11747497"/>
              <a:gd name="connsiteX1473" fmla="*/ 4771518 w 4838702"/>
              <a:gd name="connsiteY1473" fmla="*/ 8368208 h 11747497"/>
              <a:gd name="connsiteX1474" fmla="*/ 4768569 w 4838702"/>
              <a:gd name="connsiteY1474" fmla="*/ 8496248 h 11747497"/>
              <a:gd name="connsiteX1475" fmla="*/ 4781810 w 4838702"/>
              <a:gd name="connsiteY1475" fmla="*/ 8411187 h 11747497"/>
              <a:gd name="connsiteX1476" fmla="*/ 4785844 w 4838702"/>
              <a:gd name="connsiteY1476" fmla="*/ 8373792 h 11747497"/>
              <a:gd name="connsiteX1477" fmla="*/ 4785835 w 4838702"/>
              <a:gd name="connsiteY1477" fmla="*/ 8373315 h 11747497"/>
              <a:gd name="connsiteX1478" fmla="*/ 4785620 w 4838702"/>
              <a:gd name="connsiteY1478" fmla="*/ 8362130 h 11747497"/>
              <a:gd name="connsiteX1479" fmla="*/ 4786026 w 4838702"/>
              <a:gd name="connsiteY1479" fmla="*/ 8313114 h 11747497"/>
              <a:gd name="connsiteX1480" fmla="*/ 4786406 w 4838702"/>
              <a:gd name="connsiteY1480" fmla="*/ 8296299 h 11747497"/>
              <a:gd name="connsiteX1481" fmla="*/ 4786788 w 4838702"/>
              <a:gd name="connsiteY1481" fmla="*/ 11122001 h 11747497"/>
              <a:gd name="connsiteX1482" fmla="*/ 4785069 w 4838702"/>
              <a:gd name="connsiteY1482" fmla="*/ 11158773 h 11747497"/>
              <a:gd name="connsiteX1483" fmla="*/ 4779741 w 4838702"/>
              <a:gd name="connsiteY1483" fmla="*/ 11329494 h 11747497"/>
              <a:gd name="connsiteX1484" fmla="*/ 4775500 w 4838702"/>
              <a:gd name="connsiteY1484" fmla="*/ 11329394 h 11747497"/>
              <a:gd name="connsiteX1485" fmla="*/ 4771931 w 4838702"/>
              <a:gd name="connsiteY1485" fmla="*/ 11229673 h 11747497"/>
              <a:gd name="connsiteX1486" fmla="*/ 4783310 w 4838702"/>
              <a:gd name="connsiteY1486" fmla="*/ 11101834 h 11747497"/>
              <a:gd name="connsiteX1487" fmla="*/ 4786788 w 4838702"/>
              <a:gd name="connsiteY1487" fmla="*/ 11122001 h 11747497"/>
              <a:gd name="connsiteX1488" fmla="*/ 4789652 w 4838702"/>
              <a:gd name="connsiteY1488" fmla="*/ 7961699 h 11747497"/>
              <a:gd name="connsiteX1489" fmla="*/ 4780776 w 4838702"/>
              <a:gd name="connsiteY1489" fmla="*/ 7912885 h 11747497"/>
              <a:gd name="connsiteX1490" fmla="*/ 4778500 w 4838702"/>
              <a:gd name="connsiteY1490" fmla="*/ 7941306 h 11747497"/>
              <a:gd name="connsiteX1491" fmla="*/ 4782378 w 4838702"/>
              <a:gd name="connsiteY1491" fmla="*/ 7998346 h 11747497"/>
              <a:gd name="connsiteX1492" fmla="*/ 4788327 w 4838702"/>
              <a:gd name="connsiteY1492" fmla="*/ 8055387 h 11747497"/>
              <a:gd name="connsiteX1493" fmla="*/ 4789652 w 4838702"/>
              <a:gd name="connsiteY1493" fmla="*/ 7961699 h 11747497"/>
              <a:gd name="connsiteX1494" fmla="*/ 4792181 w 4838702"/>
              <a:gd name="connsiteY1494" fmla="*/ 9850373 h 11747497"/>
              <a:gd name="connsiteX1495" fmla="*/ 4788793 w 4838702"/>
              <a:gd name="connsiteY1495" fmla="*/ 9934609 h 11747497"/>
              <a:gd name="connsiteX1496" fmla="*/ 4787344 w 4838702"/>
              <a:gd name="connsiteY1496" fmla="*/ 9834890 h 11747497"/>
              <a:gd name="connsiteX1497" fmla="*/ 4792181 w 4838702"/>
              <a:gd name="connsiteY1497" fmla="*/ 9850373 h 11747497"/>
              <a:gd name="connsiteX1498" fmla="*/ 4795671 w 4838702"/>
              <a:gd name="connsiteY1498" fmla="*/ 7571645 h 11747497"/>
              <a:gd name="connsiteX1499" fmla="*/ 4787240 w 4838702"/>
              <a:gd name="connsiteY1499" fmla="*/ 7571445 h 11747497"/>
              <a:gd name="connsiteX1500" fmla="*/ 4784137 w 4838702"/>
              <a:gd name="connsiteY1500" fmla="*/ 7713746 h 11747497"/>
              <a:gd name="connsiteX1501" fmla="*/ 4790861 w 4838702"/>
              <a:gd name="connsiteY1501" fmla="*/ 7657005 h 11747497"/>
              <a:gd name="connsiteX1502" fmla="*/ 4795464 w 4838702"/>
              <a:gd name="connsiteY1502" fmla="*/ 7600165 h 11747497"/>
              <a:gd name="connsiteX1503" fmla="*/ 4797572 w 4838702"/>
              <a:gd name="connsiteY1503" fmla="*/ 9606531 h 11747497"/>
              <a:gd name="connsiteX1504" fmla="*/ 4792930 w 4838702"/>
              <a:gd name="connsiteY1504" fmla="*/ 9621589 h 11747497"/>
              <a:gd name="connsiteX1505" fmla="*/ 4793085 w 4838702"/>
              <a:gd name="connsiteY1505" fmla="*/ 9593069 h 11747497"/>
              <a:gd name="connsiteX1506" fmla="*/ 4795308 w 4838702"/>
              <a:gd name="connsiteY1506" fmla="*/ 9578908 h 11747497"/>
              <a:gd name="connsiteX1507" fmla="*/ 4797572 w 4838702"/>
              <a:gd name="connsiteY1507" fmla="*/ 9606531 h 11747497"/>
              <a:gd name="connsiteX1508" fmla="*/ 4798768 w 4838702"/>
              <a:gd name="connsiteY1508" fmla="*/ 6308965 h 11747497"/>
              <a:gd name="connsiteX1509" fmla="*/ 4797792 w 4838702"/>
              <a:gd name="connsiteY1509" fmla="*/ 6262022 h 11747497"/>
              <a:gd name="connsiteX1510" fmla="*/ 4797223 w 4838702"/>
              <a:gd name="connsiteY1510" fmla="*/ 6347382 h 11747497"/>
              <a:gd name="connsiteX1511" fmla="*/ 4798768 w 4838702"/>
              <a:gd name="connsiteY1511" fmla="*/ 6308965 h 11747497"/>
              <a:gd name="connsiteX1512" fmla="*/ 4803804 w 4838702"/>
              <a:gd name="connsiteY1512" fmla="*/ 11142457 h 11747497"/>
              <a:gd name="connsiteX1513" fmla="*/ 4801929 w 4838702"/>
              <a:gd name="connsiteY1513" fmla="*/ 11159273 h 11747497"/>
              <a:gd name="connsiteX1514" fmla="*/ 4803480 w 4838702"/>
              <a:gd name="connsiteY1514" fmla="*/ 11244731 h 11747497"/>
              <a:gd name="connsiteX1515" fmla="*/ 4797067 w 4838702"/>
              <a:gd name="connsiteY1515" fmla="*/ 11258792 h 11747497"/>
              <a:gd name="connsiteX1516" fmla="*/ 4790085 w 4838702"/>
              <a:gd name="connsiteY1516" fmla="*/ 11358313 h 11747497"/>
              <a:gd name="connsiteX1517" fmla="*/ 4790654 w 4838702"/>
              <a:gd name="connsiteY1517" fmla="*/ 11272854 h 11747497"/>
              <a:gd name="connsiteX1518" fmla="*/ 4792879 w 4838702"/>
              <a:gd name="connsiteY1518" fmla="*/ 11258693 h 11747497"/>
              <a:gd name="connsiteX1519" fmla="*/ 4792981 w 4838702"/>
              <a:gd name="connsiteY1519" fmla="*/ 11244432 h 11747497"/>
              <a:gd name="connsiteX1520" fmla="*/ 4795516 w 4838702"/>
              <a:gd name="connsiteY1520" fmla="*/ 11173331 h 11747497"/>
              <a:gd name="connsiteX1521" fmla="*/ 4802033 w 4838702"/>
              <a:gd name="connsiteY1521" fmla="*/ 11145011 h 11747497"/>
              <a:gd name="connsiteX1522" fmla="*/ 4803804 w 4838702"/>
              <a:gd name="connsiteY1522" fmla="*/ 11142457 h 11747497"/>
              <a:gd name="connsiteX1523" fmla="*/ 4804152 w 4838702"/>
              <a:gd name="connsiteY1523" fmla="*/ 8852947 h 11747497"/>
              <a:gd name="connsiteX1524" fmla="*/ 4796137 w 4838702"/>
              <a:gd name="connsiteY1524" fmla="*/ 8795907 h 11747497"/>
              <a:gd name="connsiteX1525" fmla="*/ 4802653 w 4838702"/>
              <a:gd name="connsiteY1525" fmla="*/ 8767587 h 11747497"/>
              <a:gd name="connsiteX1526" fmla="*/ 4790085 w 4838702"/>
              <a:gd name="connsiteY1526" fmla="*/ 8753027 h 11747497"/>
              <a:gd name="connsiteX1527" fmla="*/ 4788585 w 4838702"/>
              <a:gd name="connsiteY1527" fmla="*/ 8980788 h 11747497"/>
              <a:gd name="connsiteX1528" fmla="*/ 4794534 w 4838702"/>
              <a:gd name="connsiteY1528" fmla="*/ 9037828 h 11747497"/>
              <a:gd name="connsiteX1529" fmla="*/ 4788224 w 4838702"/>
              <a:gd name="connsiteY1529" fmla="*/ 9037629 h 11747497"/>
              <a:gd name="connsiteX1530" fmla="*/ 4798567 w 4838702"/>
              <a:gd name="connsiteY1530" fmla="*/ 9066348 h 11747497"/>
              <a:gd name="connsiteX1531" fmla="*/ 4797378 w 4838702"/>
              <a:gd name="connsiteY1531" fmla="*/ 9251428 h 11747497"/>
              <a:gd name="connsiteX1532" fmla="*/ 4801154 w 4838702"/>
              <a:gd name="connsiteY1532" fmla="*/ 8995248 h 11747497"/>
              <a:gd name="connsiteX1533" fmla="*/ 4803532 w 4838702"/>
              <a:gd name="connsiteY1533" fmla="*/ 8952567 h 11747497"/>
              <a:gd name="connsiteX1534" fmla="*/ 4804152 w 4838702"/>
              <a:gd name="connsiteY1534" fmla="*/ 8852947 h 11747497"/>
              <a:gd name="connsiteX1535" fmla="*/ 4806933 w 4838702"/>
              <a:gd name="connsiteY1535" fmla="*/ 10146752 h 11747497"/>
              <a:gd name="connsiteX1536" fmla="*/ 4806118 w 4838702"/>
              <a:gd name="connsiteY1536" fmla="*/ 10191389 h 11747497"/>
              <a:gd name="connsiteX1537" fmla="*/ 4803532 w 4838702"/>
              <a:gd name="connsiteY1537" fmla="*/ 10262490 h 11747497"/>
              <a:gd name="connsiteX1538" fmla="*/ 4802963 w 4838702"/>
              <a:gd name="connsiteY1538" fmla="*/ 10347850 h 11747497"/>
              <a:gd name="connsiteX1539" fmla="*/ 4804825 w 4838702"/>
              <a:gd name="connsiteY1539" fmla="*/ 10390629 h 11747497"/>
              <a:gd name="connsiteX1540" fmla="*/ 4804463 w 4838702"/>
              <a:gd name="connsiteY1540" fmla="*/ 10447570 h 11747497"/>
              <a:gd name="connsiteX1541" fmla="*/ 4804256 w 4838702"/>
              <a:gd name="connsiteY1541" fmla="*/ 10475991 h 11747497"/>
              <a:gd name="connsiteX1542" fmla="*/ 4803688 w 4838702"/>
              <a:gd name="connsiteY1542" fmla="*/ 10561350 h 11747497"/>
              <a:gd name="connsiteX1543" fmla="*/ 4796963 w 4838702"/>
              <a:gd name="connsiteY1543" fmla="*/ 10618191 h 11747497"/>
              <a:gd name="connsiteX1544" fmla="*/ 4796137 w 4838702"/>
              <a:gd name="connsiteY1544" fmla="*/ 10746332 h 11747497"/>
              <a:gd name="connsiteX1545" fmla="*/ 4789827 w 4838702"/>
              <a:gd name="connsiteY1545" fmla="*/ 10746131 h 11747497"/>
              <a:gd name="connsiteX1546" fmla="*/ 4786517 w 4838702"/>
              <a:gd name="connsiteY1546" fmla="*/ 10931113 h 11747497"/>
              <a:gd name="connsiteX1547" fmla="*/ 4784706 w 4838702"/>
              <a:gd name="connsiteY1547" fmla="*/ 10888333 h 11747497"/>
              <a:gd name="connsiteX1548" fmla="*/ 4782793 w 4838702"/>
              <a:gd name="connsiteY1548" fmla="*/ 10859813 h 11747497"/>
              <a:gd name="connsiteX1549" fmla="*/ 4785378 w 4838702"/>
              <a:gd name="connsiteY1549" fmla="*/ 10802773 h 11747497"/>
              <a:gd name="connsiteX1550" fmla="*/ 4785637 w 4838702"/>
              <a:gd name="connsiteY1550" fmla="*/ 10760093 h 11747497"/>
              <a:gd name="connsiteX1551" fmla="*/ 4783723 w 4838702"/>
              <a:gd name="connsiteY1551" fmla="*/ 10731573 h 11747497"/>
              <a:gd name="connsiteX1552" fmla="*/ 4786103 w 4838702"/>
              <a:gd name="connsiteY1552" fmla="*/ 10688992 h 11747497"/>
              <a:gd name="connsiteX1553" fmla="*/ 4788844 w 4838702"/>
              <a:gd name="connsiteY1553" fmla="*/ 10589372 h 11747497"/>
              <a:gd name="connsiteX1554" fmla="*/ 4789103 w 4838702"/>
              <a:gd name="connsiteY1554" fmla="*/ 10546692 h 11747497"/>
              <a:gd name="connsiteX1555" fmla="*/ 4791585 w 4838702"/>
              <a:gd name="connsiteY1555" fmla="*/ 10489852 h 11747497"/>
              <a:gd name="connsiteX1556" fmla="*/ 4785327 w 4838702"/>
              <a:gd name="connsiteY1556" fmla="*/ 10475491 h 11747497"/>
              <a:gd name="connsiteX1557" fmla="*/ 4789723 w 4838702"/>
              <a:gd name="connsiteY1557" fmla="*/ 10447171 h 11747497"/>
              <a:gd name="connsiteX1558" fmla="*/ 4792206 w 4838702"/>
              <a:gd name="connsiteY1558" fmla="*/ 10390331 h 11747497"/>
              <a:gd name="connsiteX1559" fmla="*/ 4790809 w 4838702"/>
              <a:gd name="connsiteY1559" fmla="*/ 10276351 h 11747497"/>
              <a:gd name="connsiteX1560" fmla="*/ 4796861 w 4838702"/>
              <a:gd name="connsiteY1560" fmla="*/ 10319231 h 11747497"/>
              <a:gd name="connsiteX1561" fmla="*/ 4799343 w 4838702"/>
              <a:gd name="connsiteY1561" fmla="*/ 10262389 h 11747497"/>
              <a:gd name="connsiteX1562" fmla="*/ 4801618 w 4838702"/>
              <a:gd name="connsiteY1562" fmla="*/ 10233970 h 11747497"/>
              <a:gd name="connsiteX1563" fmla="*/ 4799601 w 4838702"/>
              <a:gd name="connsiteY1563" fmla="*/ 10219611 h 11747497"/>
              <a:gd name="connsiteX1564" fmla="*/ 4803998 w 4838702"/>
              <a:gd name="connsiteY1564" fmla="*/ 10191289 h 11747497"/>
              <a:gd name="connsiteX1565" fmla="*/ 4802343 w 4838702"/>
              <a:gd name="connsiteY1565" fmla="*/ 10120090 h 11747497"/>
              <a:gd name="connsiteX1566" fmla="*/ 4804567 w 4838702"/>
              <a:gd name="connsiteY1566" fmla="*/ 10105929 h 11747497"/>
              <a:gd name="connsiteX1567" fmla="*/ 4806933 w 4838702"/>
              <a:gd name="connsiteY1567" fmla="*/ 10146752 h 11747497"/>
              <a:gd name="connsiteX1568" fmla="*/ 4808394 w 4838702"/>
              <a:gd name="connsiteY1568" fmla="*/ 4625117 h 11747497"/>
              <a:gd name="connsiteX1569" fmla="*/ 4802963 w 4838702"/>
              <a:gd name="connsiteY1569" fmla="*/ 4482617 h 11747497"/>
              <a:gd name="connsiteX1570" fmla="*/ 4796447 w 4838702"/>
              <a:gd name="connsiteY1570" fmla="*/ 4510938 h 11747497"/>
              <a:gd name="connsiteX1571" fmla="*/ 4795619 w 4838702"/>
              <a:gd name="connsiteY1571" fmla="*/ 4639077 h 11747497"/>
              <a:gd name="connsiteX1572" fmla="*/ 4808394 w 4838702"/>
              <a:gd name="connsiteY1572" fmla="*/ 4625117 h 11747497"/>
              <a:gd name="connsiteX1573" fmla="*/ 4811016 w 4838702"/>
              <a:gd name="connsiteY1573" fmla="*/ 9962793 h 11747497"/>
              <a:gd name="connsiteX1574" fmla="*/ 4807204 w 4838702"/>
              <a:gd name="connsiteY1574" fmla="*/ 10020569 h 11747497"/>
              <a:gd name="connsiteX1575" fmla="*/ 4796550 w 4838702"/>
              <a:gd name="connsiteY1575" fmla="*/ 10034529 h 11747497"/>
              <a:gd name="connsiteX1576" fmla="*/ 4794171 w 4838702"/>
              <a:gd name="connsiteY1576" fmla="*/ 10077210 h 11747497"/>
              <a:gd name="connsiteX1577" fmla="*/ 4794636 w 4838702"/>
              <a:gd name="connsiteY1577" fmla="*/ 10006011 h 11747497"/>
              <a:gd name="connsiteX1578" fmla="*/ 4805239 w 4838702"/>
              <a:gd name="connsiteY1578" fmla="*/ 9992049 h 11747497"/>
              <a:gd name="connsiteX1579" fmla="*/ 4809842 w 4838702"/>
              <a:gd name="connsiteY1579" fmla="*/ 9935208 h 11747497"/>
              <a:gd name="connsiteX1580" fmla="*/ 4811016 w 4838702"/>
              <a:gd name="connsiteY1580" fmla="*/ 9962793 h 11747497"/>
              <a:gd name="connsiteX1581" fmla="*/ 4811478 w 4838702"/>
              <a:gd name="connsiteY1581" fmla="*/ 9812827 h 11747497"/>
              <a:gd name="connsiteX1582" fmla="*/ 4806480 w 4838702"/>
              <a:gd name="connsiteY1582" fmla="*/ 9806969 h 11747497"/>
              <a:gd name="connsiteX1583" fmla="*/ 4810773 w 4838702"/>
              <a:gd name="connsiteY1583" fmla="*/ 9792808 h 11747497"/>
              <a:gd name="connsiteX1584" fmla="*/ 4811478 w 4838702"/>
              <a:gd name="connsiteY1584" fmla="*/ 9812827 h 11747497"/>
              <a:gd name="connsiteX1585" fmla="*/ 4811943 w 4838702"/>
              <a:gd name="connsiteY1585" fmla="*/ 11264240 h 11747497"/>
              <a:gd name="connsiteX1586" fmla="*/ 4811290 w 4838702"/>
              <a:gd name="connsiteY1586" fmla="*/ 11344452 h 11747497"/>
              <a:gd name="connsiteX1587" fmla="*/ 4808911 w 4838702"/>
              <a:gd name="connsiteY1587" fmla="*/ 11387132 h 11747497"/>
              <a:gd name="connsiteX1588" fmla="*/ 4808343 w 4838702"/>
              <a:gd name="connsiteY1588" fmla="*/ 11472492 h 11747497"/>
              <a:gd name="connsiteX1589" fmla="*/ 4805963 w 4838702"/>
              <a:gd name="connsiteY1589" fmla="*/ 11515173 h 11747497"/>
              <a:gd name="connsiteX1590" fmla="*/ 4805239 w 4838702"/>
              <a:gd name="connsiteY1590" fmla="*/ 11629053 h 11747497"/>
              <a:gd name="connsiteX1591" fmla="*/ 4798464 w 4838702"/>
              <a:gd name="connsiteY1591" fmla="*/ 11700054 h 11747497"/>
              <a:gd name="connsiteX1592" fmla="*/ 4785792 w 4838702"/>
              <a:gd name="connsiteY1592" fmla="*/ 11699754 h 11747497"/>
              <a:gd name="connsiteX1593" fmla="*/ 4784137 w 4838702"/>
              <a:gd name="connsiteY1593" fmla="*/ 11628553 h 11747497"/>
              <a:gd name="connsiteX1594" fmla="*/ 4797067 w 4838702"/>
              <a:gd name="connsiteY1594" fmla="*/ 11586172 h 11747497"/>
              <a:gd name="connsiteX1595" fmla="*/ 4800015 w 4838702"/>
              <a:gd name="connsiteY1595" fmla="*/ 11458132 h 11747497"/>
              <a:gd name="connsiteX1596" fmla="*/ 4800585 w 4838702"/>
              <a:gd name="connsiteY1596" fmla="*/ 11372772 h 11747497"/>
              <a:gd name="connsiteX1597" fmla="*/ 4804980 w 4838702"/>
              <a:gd name="connsiteY1597" fmla="*/ 11344252 h 11747497"/>
              <a:gd name="connsiteX1598" fmla="*/ 4809273 w 4838702"/>
              <a:gd name="connsiteY1598" fmla="*/ 11330192 h 11747497"/>
              <a:gd name="connsiteX1599" fmla="*/ 4807411 w 4838702"/>
              <a:gd name="connsiteY1599" fmla="*/ 11287412 h 11747497"/>
              <a:gd name="connsiteX1600" fmla="*/ 4809635 w 4838702"/>
              <a:gd name="connsiteY1600" fmla="*/ 11273251 h 11747497"/>
              <a:gd name="connsiteX1601" fmla="*/ 4809842 w 4838702"/>
              <a:gd name="connsiteY1601" fmla="*/ 11244832 h 11747497"/>
              <a:gd name="connsiteX1602" fmla="*/ 4811943 w 4838702"/>
              <a:gd name="connsiteY1602" fmla="*/ 11264240 h 11747497"/>
              <a:gd name="connsiteX1603" fmla="*/ 4811956 w 4838702"/>
              <a:gd name="connsiteY1603" fmla="*/ 9321506 h 11747497"/>
              <a:gd name="connsiteX1604" fmla="*/ 4811446 w 4838702"/>
              <a:gd name="connsiteY1604" fmla="*/ 9365707 h 11747497"/>
              <a:gd name="connsiteX1605" fmla="*/ 4809790 w 4838702"/>
              <a:gd name="connsiteY1605" fmla="*/ 9294508 h 11747497"/>
              <a:gd name="connsiteX1606" fmla="*/ 4811956 w 4838702"/>
              <a:gd name="connsiteY1606" fmla="*/ 9321506 h 11747497"/>
              <a:gd name="connsiteX1607" fmla="*/ 4813463 w 4838702"/>
              <a:gd name="connsiteY1607" fmla="*/ 10362409 h 11747497"/>
              <a:gd name="connsiteX1608" fmla="*/ 4809531 w 4838702"/>
              <a:gd name="connsiteY1608" fmla="*/ 10319529 h 11747497"/>
              <a:gd name="connsiteX1609" fmla="*/ 4813463 w 4838702"/>
              <a:gd name="connsiteY1609" fmla="*/ 10362409 h 11747497"/>
              <a:gd name="connsiteX1610" fmla="*/ 4815065 w 4838702"/>
              <a:gd name="connsiteY1610" fmla="*/ 9138046 h 11747497"/>
              <a:gd name="connsiteX1611" fmla="*/ 4807980 w 4838702"/>
              <a:gd name="connsiteY1611" fmla="*/ 9251728 h 11747497"/>
              <a:gd name="connsiteX1612" fmla="*/ 4815065 w 4838702"/>
              <a:gd name="connsiteY1612" fmla="*/ 9138046 h 11747497"/>
              <a:gd name="connsiteX1613" fmla="*/ 4815273 w 4838702"/>
              <a:gd name="connsiteY1613" fmla="*/ 7145043 h 11747497"/>
              <a:gd name="connsiteX1614" fmla="*/ 4814911 w 4838702"/>
              <a:gd name="connsiteY1614" fmla="*/ 7201982 h 11747497"/>
              <a:gd name="connsiteX1615" fmla="*/ 4810669 w 4838702"/>
              <a:gd name="connsiteY1615" fmla="*/ 7201883 h 11747497"/>
              <a:gd name="connsiteX1616" fmla="*/ 4811032 w 4838702"/>
              <a:gd name="connsiteY1616" fmla="*/ 7144942 h 11747497"/>
              <a:gd name="connsiteX1617" fmla="*/ 4820083 w 4838702"/>
              <a:gd name="connsiteY1617" fmla="*/ 6732401 h 11747497"/>
              <a:gd name="connsiteX1618" fmla="*/ 4809687 w 4838702"/>
              <a:gd name="connsiteY1618" fmla="*/ 6703681 h 11747497"/>
              <a:gd name="connsiteX1619" fmla="*/ 4809480 w 4838702"/>
              <a:gd name="connsiteY1619" fmla="*/ 6732202 h 11747497"/>
              <a:gd name="connsiteX1620" fmla="*/ 4813617 w 4838702"/>
              <a:gd name="connsiteY1620" fmla="*/ 6746562 h 11747497"/>
              <a:gd name="connsiteX1621" fmla="*/ 4813463 w 4838702"/>
              <a:gd name="connsiteY1621" fmla="*/ 6774882 h 11747497"/>
              <a:gd name="connsiteX1622" fmla="*/ 4819824 w 4838702"/>
              <a:gd name="connsiteY1622" fmla="*/ 6775081 h 11747497"/>
              <a:gd name="connsiteX1623" fmla="*/ 4821996 w 4838702"/>
              <a:gd name="connsiteY1623" fmla="*/ 7088201 h 11747497"/>
              <a:gd name="connsiteX1624" fmla="*/ 4807411 w 4838702"/>
              <a:gd name="connsiteY1624" fmla="*/ 7059383 h 11747497"/>
              <a:gd name="connsiteX1625" fmla="*/ 4802498 w 4838702"/>
              <a:gd name="connsiteY1625" fmla="*/ 7173263 h 11747497"/>
              <a:gd name="connsiteX1626" fmla="*/ 4805963 w 4838702"/>
              <a:gd name="connsiteY1626" fmla="*/ 7287243 h 11747497"/>
              <a:gd name="connsiteX1627" fmla="*/ 4812221 w 4838702"/>
              <a:gd name="connsiteY1627" fmla="*/ 7301602 h 11747497"/>
              <a:gd name="connsiteX1628" fmla="*/ 4811290 w 4838702"/>
              <a:gd name="connsiteY1628" fmla="*/ 7443904 h 11747497"/>
              <a:gd name="connsiteX1629" fmla="*/ 4814859 w 4838702"/>
              <a:gd name="connsiteY1629" fmla="*/ 7543623 h 11747497"/>
              <a:gd name="connsiteX1630" fmla="*/ 4814962 w 4838702"/>
              <a:gd name="connsiteY1630" fmla="*/ 7529363 h 11747497"/>
              <a:gd name="connsiteX1631" fmla="*/ 4821013 w 4838702"/>
              <a:gd name="connsiteY1631" fmla="*/ 7244762 h 11747497"/>
              <a:gd name="connsiteX1632" fmla="*/ 4817135 w 4838702"/>
              <a:gd name="connsiteY1632" fmla="*/ 7187722 h 11747497"/>
              <a:gd name="connsiteX1633" fmla="*/ 4821996 w 4838702"/>
              <a:gd name="connsiteY1633" fmla="*/ 7088201 h 11747497"/>
              <a:gd name="connsiteX1634" fmla="*/ 4822979 w 4838702"/>
              <a:gd name="connsiteY1634" fmla="*/ 7913983 h 11747497"/>
              <a:gd name="connsiteX1635" fmla="*/ 4818944 w 4838702"/>
              <a:gd name="connsiteY1635" fmla="*/ 7885463 h 11747497"/>
              <a:gd name="connsiteX1636" fmla="*/ 4821790 w 4838702"/>
              <a:gd name="connsiteY1636" fmla="*/ 7771683 h 11747497"/>
              <a:gd name="connsiteX1637" fmla="*/ 4811342 w 4838702"/>
              <a:gd name="connsiteY1637" fmla="*/ 7757123 h 11747497"/>
              <a:gd name="connsiteX1638" fmla="*/ 4804463 w 4838702"/>
              <a:gd name="connsiteY1638" fmla="*/ 7842384 h 11747497"/>
              <a:gd name="connsiteX1639" fmla="*/ 4801618 w 4838702"/>
              <a:gd name="connsiteY1639" fmla="*/ 7956165 h 11747497"/>
              <a:gd name="connsiteX1640" fmla="*/ 4807670 w 4838702"/>
              <a:gd name="connsiteY1640" fmla="*/ 7999045 h 11747497"/>
              <a:gd name="connsiteX1641" fmla="*/ 4809480 w 4838702"/>
              <a:gd name="connsiteY1641" fmla="*/ 8041824 h 11747497"/>
              <a:gd name="connsiteX1642" fmla="*/ 4810669 w 4838702"/>
              <a:gd name="connsiteY1642" fmla="*/ 8184224 h 11747497"/>
              <a:gd name="connsiteX1643" fmla="*/ 4808445 w 4838702"/>
              <a:gd name="connsiteY1643" fmla="*/ 8198385 h 11747497"/>
              <a:gd name="connsiteX1644" fmla="*/ 4805239 w 4838702"/>
              <a:gd name="connsiteY1644" fmla="*/ 8369106 h 11747497"/>
              <a:gd name="connsiteX1645" fmla="*/ 4801205 w 4838702"/>
              <a:gd name="connsiteY1645" fmla="*/ 8340486 h 11747497"/>
              <a:gd name="connsiteX1646" fmla="*/ 4796963 w 4838702"/>
              <a:gd name="connsiteY1646" fmla="*/ 8340386 h 11747497"/>
              <a:gd name="connsiteX1647" fmla="*/ 4798051 w 4838702"/>
              <a:gd name="connsiteY1647" fmla="*/ 8169565 h 11747497"/>
              <a:gd name="connsiteX1648" fmla="*/ 4791429 w 4838702"/>
              <a:gd name="connsiteY1648" fmla="*/ 8212046 h 11747497"/>
              <a:gd name="connsiteX1649" fmla="*/ 4792361 w 4838702"/>
              <a:gd name="connsiteY1649" fmla="*/ 8397126 h 11747497"/>
              <a:gd name="connsiteX1650" fmla="*/ 4798051 w 4838702"/>
              <a:gd name="connsiteY1650" fmla="*/ 8496946 h 11747497"/>
              <a:gd name="connsiteX1651" fmla="*/ 4804205 w 4838702"/>
              <a:gd name="connsiteY1651" fmla="*/ 8525566 h 11747497"/>
              <a:gd name="connsiteX1652" fmla="*/ 4799601 w 4838702"/>
              <a:gd name="connsiteY1652" fmla="*/ 8582406 h 11747497"/>
              <a:gd name="connsiteX1653" fmla="*/ 4801412 w 4838702"/>
              <a:gd name="connsiteY1653" fmla="*/ 8625186 h 11747497"/>
              <a:gd name="connsiteX1654" fmla="*/ 4807359 w 4838702"/>
              <a:gd name="connsiteY1654" fmla="*/ 8682226 h 11747497"/>
              <a:gd name="connsiteX1655" fmla="*/ 4813307 w 4838702"/>
              <a:gd name="connsiteY1655" fmla="*/ 8739366 h 11747497"/>
              <a:gd name="connsiteX1656" fmla="*/ 4814135 w 4838702"/>
              <a:gd name="connsiteY1656" fmla="*/ 8611325 h 11747497"/>
              <a:gd name="connsiteX1657" fmla="*/ 4807876 w 4838702"/>
              <a:gd name="connsiteY1657" fmla="*/ 8596966 h 11747497"/>
              <a:gd name="connsiteX1658" fmla="*/ 4810566 w 4838702"/>
              <a:gd name="connsiteY1658" fmla="*/ 8511605 h 11747497"/>
              <a:gd name="connsiteX1659" fmla="*/ 4813411 w 4838702"/>
              <a:gd name="connsiteY1659" fmla="*/ 8397824 h 11747497"/>
              <a:gd name="connsiteX1660" fmla="*/ 4814031 w 4838702"/>
              <a:gd name="connsiteY1660" fmla="*/ 8298204 h 11747497"/>
              <a:gd name="connsiteX1661" fmla="*/ 4816255 w 4838702"/>
              <a:gd name="connsiteY1661" fmla="*/ 8284045 h 11747497"/>
              <a:gd name="connsiteX1662" fmla="*/ 4814445 w 4838702"/>
              <a:gd name="connsiteY1662" fmla="*/ 8241264 h 11747497"/>
              <a:gd name="connsiteX1663" fmla="*/ 4816928 w 4838702"/>
              <a:gd name="connsiteY1663" fmla="*/ 8184325 h 11747497"/>
              <a:gd name="connsiteX1664" fmla="*/ 4815273 w 4838702"/>
              <a:gd name="connsiteY1664" fmla="*/ 8113124 h 11747497"/>
              <a:gd name="connsiteX1665" fmla="*/ 4817755 w 4838702"/>
              <a:gd name="connsiteY1665" fmla="*/ 8056284 h 11747497"/>
              <a:gd name="connsiteX1666" fmla="*/ 4816204 w 4838702"/>
              <a:gd name="connsiteY1666" fmla="*/ 7970823 h 11747497"/>
              <a:gd name="connsiteX1667" fmla="*/ 4818583 w 4838702"/>
              <a:gd name="connsiteY1667" fmla="*/ 7942304 h 11747497"/>
              <a:gd name="connsiteX1668" fmla="*/ 4822979 w 4838702"/>
              <a:gd name="connsiteY1668" fmla="*/ 7913983 h 11747497"/>
              <a:gd name="connsiteX1669" fmla="*/ 4823651 w 4838702"/>
              <a:gd name="connsiteY1669" fmla="*/ 5849779 h 11747497"/>
              <a:gd name="connsiteX1670" fmla="*/ 4816980 w 4838702"/>
              <a:gd name="connsiteY1670" fmla="*/ 5906619 h 11747497"/>
              <a:gd name="connsiteX1671" fmla="*/ 4810721 w 4838702"/>
              <a:gd name="connsiteY1671" fmla="*/ 5892259 h 11747497"/>
              <a:gd name="connsiteX1672" fmla="*/ 4802550 w 4838702"/>
              <a:gd name="connsiteY1672" fmla="*/ 5849380 h 11747497"/>
              <a:gd name="connsiteX1673" fmla="*/ 4803998 w 4838702"/>
              <a:gd name="connsiteY1673" fmla="*/ 5949100 h 11747497"/>
              <a:gd name="connsiteX1674" fmla="*/ 4801774 w 4838702"/>
              <a:gd name="connsiteY1674" fmla="*/ 5963260 h 11747497"/>
              <a:gd name="connsiteX1675" fmla="*/ 4803532 w 4838702"/>
              <a:gd name="connsiteY1675" fmla="*/ 6020201 h 11747497"/>
              <a:gd name="connsiteX1676" fmla="*/ 4801308 w 4838702"/>
              <a:gd name="connsiteY1676" fmla="*/ 6034360 h 11747497"/>
              <a:gd name="connsiteX1677" fmla="*/ 4801101 w 4838702"/>
              <a:gd name="connsiteY1677" fmla="*/ 6062781 h 11747497"/>
              <a:gd name="connsiteX1678" fmla="*/ 4800843 w 4838702"/>
              <a:gd name="connsiteY1678" fmla="*/ 6105461 h 11747497"/>
              <a:gd name="connsiteX1679" fmla="*/ 4800636 w 4838702"/>
              <a:gd name="connsiteY1679" fmla="*/ 6133881 h 11747497"/>
              <a:gd name="connsiteX1680" fmla="*/ 4802498 w 4838702"/>
              <a:gd name="connsiteY1680" fmla="*/ 6176661 h 11747497"/>
              <a:gd name="connsiteX1681" fmla="*/ 4806326 w 4838702"/>
              <a:gd name="connsiteY1681" fmla="*/ 6233700 h 11747497"/>
              <a:gd name="connsiteX1682" fmla="*/ 4815118 w 4838702"/>
              <a:gd name="connsiteY1682" fmla="*/ 6176960 h 11747497"/>
              <a:gd name="connsiteX1683" fmla="*/ 4816410 w 4838702"/>
              <a:gd name="connsiteY1683" fmla="*/ 5977719 h 11747497"/>
              <a:gd name="connsiteX1684" fmla="*/ 4820342 w 4838702"/>
              <a:gd name="connsiteY1684" fmla="*/ 6020499 h 11747497"/>
              <a:gd name="connsiteX1685" fmla="*/ 4823651 w 4838702"/>
              <a:gd name="connsiteY1685" fmla="*/ 5849779 h 11747497"/>
              <a:gd name="connsiteX1686" fmla="*/ 4825255 w 4838702"/>
              <a:gd name="connsiteY1686" fmla="*/ 5000663 h 11747497"/>
              <a:gd name="connsiteX1687" fmla="*/ 4825255 w 4838702"/>
              <a:gd name="connsiteY1687" fmla="*/ 4965362 h 11747497"/>
              <a:gd name="connsiteX1688" fmla="*/ 4816824 w 4838702"/>
              <a:gd name="connsiteY1688" fmla="*/ 4952698 h 11747497"/>
              <a:gd name="connsiteX1689" fmla="*/ 4815376 w 4838702"/>
              <a:gd name="connsiteY1689" fmla="*/ 4852978 h 11747497"/>
              <a:gd name="connsiteX1690" fmla="*/ 4809584 w 4838702"/>
              <a:gd name="connsiteY1690" fmla="*/ 4767418 h 11747497"/>
              <a:gd name="connsiteX1691" fmla="*/ 4812221 w 4838702"/>
              <a:gd name="connsiteY1691" fmla="*/ 5009538 h 11747497"/>
              <a:gd name="connsiteX1692" fmla="*/ 4825255 w 4838702"/>
              <a:gd name="connsiteY1692" fmla="*/ 5000663 h 11747497"/>
              <a:gd name="connsiteX1693" fmla="*/ 4825255 w 4838702"/>
              <a:gd name="connsiteY1693" fmla="*/ 7006232 h 11747497"/>
              <a:gd name="connsiteX1694" fmla="*/ 4825255 w 4838702"/>
              <a:gd name="connsiteY1694" fmla="*/ 6559686 h 11747497"/>
              <a:gd name="connsiteX1695" fmla="*/ 4823289 w 4838702"/>
              <a:gd name="connsiteY1695" fmla="*/ 6561579 h 11747497"/>
              <a:gd name="connsiteX1696" fmla="*/ 4824582 w 4838702"/>
              <a:gd name="connsiteY1696" fmla="*/ 6689721 h 11747497"/>
              <a:gd name="connsiteX1697" fmla="*/ 4821996 w 4838702"/>
              <a:gd name="connsiteY1697" fmla="*/ 6760822 h 11747497"/>
              <a:gd name="connsiteX1698" fmla="*/ 4819256 w 4838702"/>
              <a:gd name="connsiteY1698" fmla="*/ 6860442 h 11747497"/>
              <a:gd name="connsiteX1699" fmla="*/ 4817600 w 4838702"/>
              <a:gd name="connsiteY1699" fmla="*/ 6789241 h 11747497"/>
              <a:gd name="connsiteX1700" fmla="*/ 4800688 w 4838702"/>
              <a:gd name="connsiteY1700" fmla="*/ 6788842 h 11747497"/>
              <a:gd name="connsiteX1701" fmla="*/ 4797842 w 4838702"/>
              <a:gd name="connsiteY1701" fmla="*/ 6902623 h 11747497"/>
              <a:gd name="connsiteX1702" fmla="*/ 4805549 w 4838702"/>
              <a:gd name="connsiteY1702" fmla="*/ 7016702 h 11747497"/>
              <a:gd name="connsiteX1703" fmla="*/ 4818221 w 4838702"/>
              <a:gd name="connsiteY1703" fmla="*/ 7017002 h 11747497"/>
              <a:gd name="connsiteX1704" fmla="*/ 4820600 w 4838702"/>
              <a:gd name="connsiteY1704" fmla="*/ 6974421 h 11747497"/>
              <a:gd name="connsiteX1705" fmla="*/ 4825255 w 4838702"/>
              <a:gd name="connsiteY1705" fmla="*/ 7006232 h 11747497"/>
              <a:gd name="connsiteX1706" fmla="*/ 4829044 w 4838702"/>
              <a:gd name="connsiteY1706" fmla="*/ 10750914 h 11747497"/>
              <a:gd name="connsiteX1707" fmla="*/ 4828468 w 4838702"/>
              <a:gd name="connsiteY1707" fmla="*/ 10714583 h 11747497"/>
              <a:gd name="connsiteX1708" fmla="*/ 4827892 w 4838702"/>
              <a:gd name="connsiteY1708" fmla="*/ 10685908 h 11747497"/>
              <a:gd name="connsiteX1709" fmla="*/ 4825203 w 4838702"/>
              <a:gd name="connsiteY1709" fmla="*/ 10831493 h 11747497"/>
              <a:gd name="connsiteX1710" fmla="*/ 4827479 w 4838702"/>
              <a:gd name="connsiteY1710" fmla="*/ 10803969 h 11747497"/>
              <a:gd name="connsiteX1711" fmla="*/ 4827686 w 4838702"/>
              <a:gd name="connsiteY1711" fmla="*/ 10775550 h 11747497"/>
              <a:gd name="connsiteX1712" fmla="*/ 4829044 w 4838702"/>
              <a:gd name="connsiteY1712" fmla="*/ 10750914 h 11747497"/>
              <a:gd name="connsiteX1713" fmla="*/ 4838702 w 4838702"/>
              <a:gd name="connsiteY1713" fmla="*/ 11048185 h 11747497"/>
              <a:gd name="connsiteX1714" fmla="*/ 4826185 w 4838702"/>
              <a:gd name="connsiteY1714" fmla="*/ 11047985 h 11747497"/>
              <a:gd name="connsiteX1715" fmla="*/ 4825824 w 4838702"/>
              <a:gd name="connsiteY1715" fmla="*/ 11060149 h 11747497"/>
              <a:gd name="connsiteX1716" fmla="*/ 4815065 w 4838702"/>
              <a:gd name="connsiteY1716" fmla="*/ 11088371 h 11747497"/>
              <a:gd name="connsiteX1717" fmla="*/ 4809997 w 4838702"/>
              <a:gd name="connsiteY1717" fmla="*/ 11216312 h 11747497"/>
              <a:gd name="connsiteX1718" fmla="*/ 4813307 w 4838702"/>
              <a:gd name="connsiteY1718" fmla="*/ 11031331 h 11747497"/>
              <a:gd name="connsiteX1719" fmla="*/ 4806997 w 4838702"/>
              <a:gd name="connsiteY1719" fmla="*/ 11031131 h 11747497"/>
              <a:gd name="connsiteX1720" fmla="*/ 4806532 w 4838702"/>
              <a:gd name="connsiteY1720" fmla="*/ 11102331 h 11747497"/>
              <a:gd name="connsiteX1721" fmla="*/ 4795877 w 4838702"/>
              <a:gd name="connsiteY1721" fmla="*/ 11116293 h 11747497"/>
              <a:gd name="connsiteX1722" fmla="*/ 4794223 w 4838702"/>
              <a:gd name="connsiteY1722" fmla="*/ 11045092 h 11747497"/>
              <a:gd name="connsiteX1723" fmla="*/ 4796602 w 4838702"/>
              <a:gd name="connsiteY1723" fmla="*/ 11002412 h 11747497"/>
              <a:gd name="connsiteX1724" fmla="*/ 4800843 w 4838702"/>
              <a:gd name="connsiteY1724" fmla="*/ 11002512 h 11747497"/>
              <a:gd name="connsiteX1725" fmla="*/ 4803326 w 4838702"/>
              <a:gd name="connsiteY1725" fmla="*/ 10945672 h 11747497"/>
              <a:gd name="connsiteX1726" fmla="*/ 4794895 w 4838702"/>
              <a:gd name="connsiteY1726" fmla="*/ 10945471 h 11747497"/>
              <a:gd name="connsiteX1727" fmla="*/ 4803636 w 4838702"/>
              <a:gd name="connsiteY1727" fmla="*/ 10902991 h 11747497"/>
              <a:gd name="connsiteX1728" fmla="*/ 4806222 w 4838702"/>
              <a:gd name="connsiteY1728" fmla="*/ 10831891 h 11747497"/>
              <a:gd name="connsiteX1729" fmla="*/ 4814652 w 4838702"/>
              <a:gd name="connsiteY1729" fmla="*/ 10832091 h 11747497"/>
              <a:gd name="connsiteX1730" fmla="*/ 4818324 w 4838702"/>
              <a:gd name="connsiteY1730" fmla="*/ 10917651 h 11747497"/>
              <a:gd name="connsiteX1731" fmla="*/ 4823082 w 4838702"/>
              <a:gd name="connsiteY1731" fmla="*/ 10832390 h 11747497"/>
              <a:gd name="connsiteX1732" fmla="*/ 4812738 w 4838702"/>
              <a:gd name="connsiteY1732" fmla="*/ 10803670 h 11747497"/>
              <a:gd name="connsiteX1733" fmla="*/ 4815118 w 4838702"/>
              <a:gd name="connsiteY1733" fmla="*/ 10760990 h 11747497"/>
              <a:gd name="connsiteX1734" fmla="*/ 4804722 w 4838702"/>
              <a:gd name="connsiteY1734" fmla="*/ 10732270 h 11747497"/>
              <a:gd name="connsiteX1735" fmla="*/ 4819617 w 4838702"/>
              <a:gd name="connsiteY1735" fmla="*/ 10718409 h 11747497"/>
              <a:gd name="connsiteX1736" fmla="*/ 4828513 w 4838702"/>
              <a:gd name="connsiteY1736" fmla="*/ 10647408 h 11747497"/>
              <a:gd name="connsiteX1737" fmla="*/ 4827707 w 4838702"/>
              <a:gd name="connsiteY1737" fmla="*/ 10676700 h 11747497"/>
              <a:gd name="connsiteX1738" fmla="*/ 4827892 w 4838702"/>
              <a:gd name="connsiteY1738" fmla="*/ 10685908 h 11747497"/>
              <a:gd name="connsiteX1739" fmla="*/ 4831668 w 4838702"/>
              <a:gd name="connsiteY1739" fmla="*/ 10481474 h 11747497"/>
              <a:gd name="connsiteX1740" fmla="*/ 4829134 w 4838702"/>
              <a:gd name="connsiteY1740" fmla="*/ 10560952 h 11747497"/>
              <a:gd name="connsiteX1741" fmla="*/ 4822875 w 4838702"/>
              <a:gd name="connsiteY1741" fmla="*/ 10546591 h 11747497"/>
              <a:gd name="connsiteX1742" fmla="*/ 4818014 w 4838702"/>
              <a:gd name="connsiteY1742" fmla="*/ 10646112 h 11747497"/>
              <a:gd name="connsiteX1743" fmla="*/ 4809584 w 4838702"/>
              <a:gd name="connsiteY1743" fmla="*/ 10645914 h 11747497"/>
              <a:gd name="connsiteX1744" fmla="*/ 4807722 w 4838702"/>
              <a:gd name="connsiteY1744" fmla="*/ 10603233 h 11747497"/>
              <a:gd name="connsiteX1745" fmla="*/ 4809997 w 4838702"/>
              <a:gd name="connsiteY1745" fmla="*/ 10574813 h 11747497"/>
              <a:gd name="connsiteX1746" fmla="*/ 4808239 w 4838702"/>
              <a:gd name="connsiteY1746" fmla="*/ 10517872 h 11747497"/>
              <a:gd name="connsiteX1747" fmla="*/ 4821013 w 4838702"/>
              <a:gd name="connsiteY1747" fmla="*/ 10504011 h 11747497"/>
              <a:gd name="connsiteX1748" fmla="*/ 4808549 w 4838702"/>
              <a:gd name="connsiteY1748" fmla="*/ 10475192 h 11747497"/>
              <a:gd name="connsiteX1749" fmla="*/ 4825306 w 4838702"/>
              <a:gd name="connsiteY1749" fmla="*/ 10460135 h 11747497"/>
              <a:gd name="connsiteX1750" fmla="*/ 4825306 w 4838702"/>
              <a:gd name="connsiteY1750" fmla="*/ 10322920 h 11747497"/>
              <a:gd name="connsiteX1751" fmla="*/ 4818324 w 4838702"/>
              <a:gd name="connsiteY1751" fmla="*/ 10276151 h 11747497"/>
              <a:gd name="connsiteX1752" fmla="*/ 4821375 w 4838702"/>
              <a:gd name="connsiteY1752" fmla="*/ 10133851 h 11747497"/>
              <a:gd name="connsiteX1753" fmla="*/ 4825358 w 4838702"/>
              <a:gd name="connsiteY1753" fmla="*/ 10146415 h 11747497"/>
              <a:gd name="connsiteX1754" fmla="*/ 4825358 w 4838702"/>
              <a:gd name="connsiteY1754" fmla="*/ 10073720 h 11747497"/>
              <a:gd name="connsiteX1755" fmla="*/ 4821738 w 4838702"/>
              <a:gd name="connsiteY1755" fmla="*/ 10077010 h 11747497"/>
              <a:gd name="connsiteX1756" fmla="*/ 4822359 w 4838702"/>
              <a:gd name="connsiteY1756" fmla="*/ 9977390 h 11747497"/>
              <a:gd name="connsiteX1757" fmla="*/ 4816100 w 4838702"/>
              <a:gd name="connsiteY1757" fmla="*/ 9963030 h 11747497"/>
              <a:gd name="connsiteX1758" fmla="*/ 4822617 w 4838702"/>
              <a:gd name="connsiteY1758" fmla="*/ 9934710 h 11747497"/>
              <a:gd name="connsiteX1759" fmla="*/ 4825255 w 4838702"/>
              <a:gd name="connsiteY1759" fmla="*/ 9849350 h 11747497"/>
              <a:gd name="connsiteX1760" fmla="*/ 4825255 w 4838702"/>
              <a:gd name="connsiteY1760" fmla="*/ 9749031 h 11747497"/>
              <a:gd name="connsiteX1761" fmla="*/ 4823755 w 4838702"/>
              <a:gd name="connsiteY1761" fmla="*/ 9749629 h 11747497"/>
              <a:gd name="connsiteX1762" fmla="*/ 4825255 w 4838702"/>
              <a:gd name="connsiteY1762" fmla="*/ 9701165 h 11747497"/>
              <a:gd name="connsiteX1763" fmla="*/ 4825255 w 4838702"/>
              <a:gd name="connsiteY1763" fmla="*/ 9671847 h 11747497"/>
              <a:gd name="connsiteX1764" fmla="*/ 4822203 w 4838702"/>
              <a:gd name="connsiteY1764" fmla="*/ 9664169 h 11747497"/>
              <a:gd name="connsiteX1765" fmla="*/ 4825255 w 4838702"/>
              <a:gd name="connsiteY1765" fmla="*/ 9648314 h 11747497"/>
              <a:gd name="connsiteX1766" fmla="*/ 4825255 w 4838702"/>
              <a:gd name="connsiteY1766" fmla="*/ 9547997 h 11747497"/>
              <a:gd name="connsiteX1767" fmla="*/ 4822772 w 4838702"/>
              <a:gd name="connsiteY1767" fmla="*/ 9578809 h 11747497"/>
              <a:gd name="connsiteX1768" fmla="*/ 4818531 w 4838702"/>
              <a:gd name="connsiteY1768" fmla="*/ 9578710 h 11747497"/>
              <a:gd name="connsiteX1769" fmla="*/ 4818324 w 4838702"/>
              <a:gd name="connsiteY1769" fmla="*/ 9607129 h 11747497"/>
              <a:gd name="connsiteX1770" fmla="*/ 4811911 w 4838702"/>
              <a:gd name="connsiteY1770" fmla="*/ 9621190 h 11747497"/>
              <a:gd name="connsiteX1771" fmla="*/ 4818066 w 4838702"/>
              <a:gd name="connsiteY1771" fmla="*/ 9649810 h 11747497"/>
              <a:gd name="connsiteX1772" fmla="*/ 4805291 w 4838702"/>
              <a:gd name="connsiteY1772" fmla="*/ 9663671 h 11747497"/>
              <a:gd name="connsiteX1773" fmla="*/ 4803532 w 4838702"/>
              <a:gd name="connsiteY1773" fmla="*/ 9606730 h 11747497"/>
              <a:gd name="connsiteX1774" fmla="*/ 4807929 w 4838702"/>
              <a:gd name="connsiteY1774" fmla="*/ 9578410 h 11747497"/>
              <a:gd name="connsiteX1775" fmla="*/ 4806635 w 4838702"/>
              <a:gd name="connsiteY1775" fmla="*/ 9450270 h 11747497"/>
              <a:gd name="connsiteX1776" fmla="*/ 4808445 w 4838702"/>
              <a:gd name="connsiteY1776" fmla="*/ 9493050 h 11747497"/>
              <a:gd name="connsiteX1777" fmla="*/ 4812377 w 4838702"/>
              <a:gd name="connsiteY1777" fmla="*/ 9535830 h 11747497"/>
              <a:gd name="connsiteX1778" fmla="*/ 4814290 w 4838702"/>
              <a:gd name="connsiteY1778" fmla="*/ 9564349 h 11747497"/>
              <a:gd name="connsiteX1779" fmla="*/ 4818531 w 4838702"/>
              <a:gd name="connsiteY1779" fmla="*/ 9564450 h 11747497"/>
              <a:gd name="connsiteX1780" fmla="*/ 4819152 w 4838702"/>
              <a:gd name="connsiteY1780" fmla="*/ 9464829 h 11747497"/>
              <a:gd name="connsiteX1781" fmla="*/ 4819979 w 4838702"/>
              <a:gd name="connsiteY1781" fmla="*/ 9336689 h 11747497"/>
              <a:gd name="connsiteX1782" fmla="*/ 4818221 w 4838702"/>
              <a:gd name="connsiteY1782" fmla="*/ 9279748 h 11747497"/>
              <a:gd name="connsiteX1783" fmla="*/ 4822099 w 4838702"/>
              <a:gd name="connsiteY1783" fmla="*/ 9009308 h 11747497"/>
              <a:gd name="connsiteX1784" fmla="*/ 4805032 w 4838702"/>
              <a:gd name="connsiteY1784" fmla="*/ 9037330 h 11747497"/>
              <a:gd name="connsiteX1785" fmla="*/ 4806480 w 4838702"/>
              <a:gd name="connsiteY1785" fmla="*/ 9137050 h 11747497"/>
              <a:gd name="connsiteX1786" fmla="*/ 4804101 w 4838702"/>
              <a:gd name="connsiteY1786" fmla="*/ 9179730 h 11747497"/>
              <a:gd name="connsiteX1787" fmla="*/ 4803894 w 4838702"/>
              <a:gd name="connsiteY1787" fmla="*/ 9208150 h 11747497"/>
              <a:gd name="connsiteX1788" fmla="*/ 4803636 w 4838702"/>
              <a:gd name="connsiteY1788" fmla="*/ 9250829 h 11747497"/>
              <a:gd name="connsiteX1789" fmla="*/ 4800791 w 4838702"/>
              <a:gd name="connsiteY1789" fmla="*/ 9364610 h 11747497"/>
              <a:gd name="connsiteX1790" fmla="*/ 4798308 w 4838702"/>
              <a:gd name="connsiteY1790" fmla="*/ 9421452 h 11747497"/>
              <a:gd name="connsiteX1791" fmla="*/ 4786206 w 4838702"/>
              <a:gd name="connsiteY1791" fmla="*/ 9335792 h 11747497"/>
              <a:gd name="connsiteX1792" fmla="*/ 4785844 w 4838702"/>
              <a:gd name="connsiteY1792" fmla="*/ 9392731 h 11747497"/>
              <a:gd name="connsiteX1793" fmla="*/ 4783465 w 4838702"/>
              <a:gd name="connsiteY1793" fmla="*/ 9435412 h 11747497"/>
              <a:gd name="connsiteX1794" fmla="*/ 4785327 w 4838702"/>
              <a:gd name="connsiteY1794" fmla="*/ 9478092 h 11747497"/>
              <a:gd name="connsiteX1795" fmla="*/ 4784034 w 4838702"/>
              <a:gd name="connsiteY1795" fmla="*/ 9677433 h 11747497"/>
              <a:gd name="connsiteX1796" fmla="*/ 4785690 w 4838702"/>
              <a:gd name="connsiteY1796" fmla="*/ 9748632 h 11747497"/>
              <a:gd name="connsiteX1797" fmla="*/ 4783465 w 4838702"/>
              <a:gd name="connsiteY1797" fmla="*/ 9762793 h 11747497"/>
              <a:gd name="connsiteX1798" fmla="*/ 4780155 w 4838702"/>
              <a:gd name="connsiteY1798" fmla="*/ 9947774 h 11747497"/>
              <a:gd name="connsiteX1799" fmla="*/ 4774310 w 4838702"/>
              <a:gd name="connsiteY1799" fmla="*/ 9876473 h 11747497"/>
              <a:gd name="connsiteX1800" fmla="*/ 4769914 w 4838702"/>
              <a:gd name="connsiteY1800" fmla="*/ 9904894 h 11747497"/>
              <a:gd name="connsiteX1801" fmla="*/ 4759364 w 4838702"/>
              <a:gd name="connsiteY1801" fmla="*/ 9904595 h 11747497"/>
              <a:gd name="connsiteX1802" fmla="*/ 4761019 w 4838702"/>
              <a:gd name="connsiteY1802" fmla="*/ 9975794 h 11747497"/>
              <a:gd name="connsiteX1803" fmla="*/ 4771776 w 4838702"/>
              <a:gd name="connsiteY1803" fmla="*/ 9947574 h 11747497"/>
              <a:gd name="connsiteX1804" fmla="*/ 4769036 w 4838702"/>
              <a:gd name="connsiteY1804" fmla="*/ 10047194 h 11747497"/>
              <a:gd name="connsiteX1805" fmla="*/ 4762777 w 4838702"/>
              <a:gd name="connsiteY1805" fmla="*/ 10032834 h 11747497"/>
              <a:gd name="connsiteX1806" fmla="*/ 4758174 w 4838702"/>
              <a:gd name="connsiteY1806" fmla="*/ 10089675 h 11747497"/>
              <a:gd name="connsiteX1807" fmla="*/ 4756622 w 4838702"/>
              <a:gd name="connsiteY1807" fmla="*/ 10004215 h 11747497"/>
              <a:gd name="connsiteX1808" fmla="*/ 4749537 w 4838702"/>
              <a:gd name="connsiteY1808" fmla="*/ 10117895 h 11747497"/>
              <a:gd name="connsiteX1809" fmla="*/ 4768363 w 4838702"/>
              <a:gd name="connsiteY1809" fmla="*/ 10146814 h 11747497"/>
              <a:gd name="connsiteX1810" fmla="*/ 4774879 w 4838702"/>
              <a:gd name="connsiteY1810" fmla="*/ 10118494 h 11747497"/>
              <a:gd name="connsiteX1811" fmla="*/ 4784965 w 4838702"/>
              <a:gd name="connsiteY1811" fmla="*/ 10189894 h 11747497"/>
              <a:gd name="connsiteX1812" fmla="*/ 4782120 w 4838702"/>
              <a:gd name="connsiteY1812" fmla="*/ 10303774 h 11747497"/>
              <a:gd name="connsiteX1813" fmla="*/ 4763036 w 4838702"/>
              <a:gd name="connsiteY1813" fmla="*/ 10317535 h 11747497"/>
              <a:gd name="connsiteX1814" fmla="*/ 4763656 w 4838702"/>
              <a:gd name="connsiteY1814" fmla="*/ 10217914 h 11747497"/>
              <a:gd name="connsiteX1815" fmla="*/ 4755278 w 4838702"/>
              <a:gd name="connsiteY1815" fmla="*/ 10203456 h 11747497"/>
              <a:gd name="connsiteX1816" fmla="*/ 4750882 w 4838702"/>
              <a:gd name="connsiteY1816" fmla="*/ 10231776 h 11747497"/>
              <a:gd name="connsiteX1817" fmla="*/ 4754812 w 4838702"/>
              <a:gd name="connsiteY1817" fmla="*/ 10274556 h 11747497"/>
              <a:gd name="connsiteX1818" fmla="*/ 4758018 w 4838702"/>
              <a:gd name="connsiteY1818" fmla="*/ 10431216 h 11747497"/>
              <a:gd name="connsiteX1819" fmla="*/ 4760501 w 4838702"/>
              <a:gd name="connsiteY1819" fmla="*/ 10374275 h 11747497"/>
              <a:gd name="connsiteX1820" fmla="*/ 4762156 w 4838702"/>
              <a:gd name="connsiteY1820" fmla="*/ 10445576 h 11747497"/>
              <a:gd name="connsiteX1821" fmla="*/ 4772810 w 4838702"/>
              <a:gd name="connsiteY1821" fmla="*/ 10431614 h 11747497"/>
              <a:gd name="connsiteX1822" fmla="*/ 4777311 w 4838702"/>
              <a:gd name="connsiteY1822" fmla="*/ 10389035 h 11747497"/>
              <a:gd name="connsiteX1823" fmla="*/ 4776948 w 4838702"/>
              <a:gd name="connsiteY1823" fmla="*/ 10445975 h 11747497"/>
              <a:gd name="connsiteX1824" fmla="*/ 4774569 w 4838702"/>
              <a:gd name="connsiteY1824" fmla="*/ 10488555 h 11747497"/>
              <a:gd name="connsiteX1825" fmla="*/ 4776379 w 4838702"/>
              <a:gd name="connsiteY1825" fmla="*/ 10531335 h 11747497"/>
              <a:gd name="connsiteX1826" fmla="*/ 4772914 w 4838702"/>
              <a:gd name="connsiteY1826" fmla="*/ 10744835 h 11747497"/>
              <a:gd name="connsiteX1827" fmla="*/ 4768673 w 4838702"/>
              <a:gd name="connsiteY1827" fmla="*/ 10744736 h 11747497"/>
              <a:gd name="connsiteX1828" fmla="*/ 4769966 w 4838702"/>
              <a:gd name="connsiteY1828" fmla="*/ 10872875 h 11747497"/>
              <a:gd name="connsiteX1829" fmla="*/ 4763812 w 4838702"/>
              <a:gd name="connsiteY1829" fmla="*/ 10844256 h 11747497"/>
              <a:gd name="connsiteX1830" fmla="*/ 4757398 w 4838702"/>
              <a:gd name="connsiteY1830" fmla="*/ 10858317 h 11747497"/>
              <a:gd name="connsiteX1831" fmla="*/ 4753260 w 4838702"/>
              <a:gd name="connsiteY1831" fmla="*/ 10843957 h 11747497"/>
              <a:gd name="connsiteX1832" fmla="*/ 4740486 w 4838702"/>
              <a:gd name="connsiteY1832" fmla="*/ 10857918 h 11747497"/>
              <a:gd name="connsiteX1833" fmla="*/ 4741778 w 4838702"/>
              <a:gd name="connsiteY1833" fmla="*/ 10986058 h 11747497"/>
              <a:gd name="connsiteX1834" fmla="*/ 4746278 w 4838702"/>
              <a:gd name="connsiteY1834" fmla="*/ 10943478 h 11747497"/>
              <a:gd name="connsiteX1835" fmla="*/ 4743640 w 4838702"/>
              <a:gd name="connsiteY1835" fmla="*/ 11028837 h 11747497"/>
              <a:gd name="connsiteX1836" fmla="*/ 4745193 w 4838702"/>
              <a:gd name="connsiteY1836" fmla="*/ 11114298 h 11747497"/>
              <a:gd name="connsiteX1837" fmla="*/ 4740796 w 4838702"/>
              <a:gd name="connsiteY1837" fmla="*/ 11142618 h 11747497"/>
              <a:gd name="connsiteX1838" fmla="*/ 4736400 w 4838702"/>
              <a:gd name="connsiteY1838" fmla="*/ 11171039 h 11747497"/>
              <a:gd name="connsiteX1839" fmla="*/ 4732624 w 4838702"/>
              <a:gd name="connsiteY1839" fmla="*/ 11099739 h 11747497"/>
              <a:gd name="connsiteX1840" fmla="*/ 4735314 w 4838702"/>
              <a:gd name="connsiteY1840" fmla="*/ 11014378 h 11747497"/>
              <a:gd name="connsiteX1841" fmla="*/ 4724763 w 4838702"/>
              <a:gd name="connsiteY1841" fmla="*/ 11014079 h 11747497"/>
              <a:gd name="connsiteX1842" fmla="*/ 4727246 w 4838702"/>
              <a:gd name="connsiteY1842" fmla="*/ 10957239 h 11747497"/>
              <a:gd name="connsiteX1843" fmla="*/ 4725487 w 4838702"/>
              <a:gd name="connsiteY1843" fmla="*/ 10900200 h 11747497"/>
              <a:gd name="connsiteX1844" fmla="*/ 4727711 w 4838702"/>
              <a:gd name="connsiteY1844" fmla="*/ 10886039 h 11747497"/>
              <a:gd name="connsiteX1845" fmla="*/ 4728331 w 4838702"/>
              <a:gd name="connsiteY1845" fmla="*/ 10786419 h 11747497"/>
              <a:gd name="connsiteX1846" fmla="*/ 4727039 w 4838702"/>
              <a:gd name="connsiteY1846" fmla="*/ 10658279 h 11747497"/>
              <a:gd name="connsiteX1847" fmla="*/ 4730090 w 4838702"/>
              <a:gd name="connsiteY1847" fmla="*/ 10515979 h 11747497"/>
              <a:gd name="connsiteX1848" fmla="*/ 4740641 w 4838702"/>
              <a:gd name="connsiteY1848" fmla="*/ 10516278 h 11747497"/>
              <a:gd name="connsiteX1849" fmla="*/ 4736710 w 4838702"/>
              <a:gd name="connsiteY1849" fmla="*/ 10800878 h 11747497"/>
              <a:gd name="connsiteX1850" fmla="*/ 4745451 w 4838702"/>
              <a:gd name="connsiteY1850" fmla="*/ 10758397 h 11747497"/>
              <a:gd name="connsiteX1851" fmla="*/ 4745916 w 4838702"/>
              <a:gd name="connsiteY1851" fmla="*/ 10687297 h 11747497"/>
              <a:gd name="connsiteX1852" fmla="*/ 4746175 w 4838702"/>
              <a:gd name="connsiteY1852" fmla="*/ 10644618 h 11747497"/>
              <a:gd name="connsiteX1853" fmla="*/ 4750468 w 4838702"/>
              <a:gd name="connsiteY1853" fmla="*/ 10630457 h 11747497"/>
              <a:gd name="connsiteX1854" fmla="*/ 4752226 w 4838702"/>
              <a:gd name="connsiteY1854" fmla="*/ 10687496 h 11747497"/>
              <a:gd name="connsiteX1855" fmla="*/ 4758484 w 4838702"/>
              <a:gd name="connsiteY1855" fmla="*/ 10701856 h 11747497"/>
              <a:gd name="connsiteX1856" fmla="*/ 4758018 w 4838702"/>
              <a:gd name="connsiteY1856" fmla="*/ 10773057 h 11747497"/>
              <a:gd name="connsiteX1857" fmla="*/ 4764381 w 4838702"/>
              <a:gd name="connsiteY1857" fmla="*/ 10773255 h 11747497"/>
              <a:gd name="connsiteX1858" fmla="*/ 4767225 w 4838702"/>
              <a:gd name="connsiteY1858" fmla="*/ 10659475 h 11747497"/>
              <a:gd name="connsiteX1859" fmla="*/ 4769914 w 4838702"/>
              <a:gd name="connsiteY1859" fmla="*/ 10574115 h 11747497"/>
              <a:gd name="connsiteX1860" fmla="*/ 4755226 w 4838702"/>
              <a:gd name="connsiteY1860" fmla="*/ 10559555 h 11747497"/>
              <a:gd name="connsiteX1861" fmla="*/ 4752744 w 4838702"/>
              <a:gd name="connsiteY1861" fmla="*/ 10616496 h 11747497"/>
              <a:gd name="connsiteX1862" fmla="*/ 4748347 w 4838702"/>
              <a:gd name="connsiteY1862" fmla="*/ 10317435 h 11747497"/>
              <a:gd name="connsiteX1863" fmla="*/ 4741572 w 4838702"/>
              <a:gd name="connsiteY1863" fmla="*/ 10388436 h 11747497"/>
              <a:gd name="connsiteX1864" fmla="*/ 4744519 w 4838702"/>
              <a:gd name="connsiteY1864" fmla="*/ 10260396 h 11747497"/>
              <a:gd name="connsiteX1865" fmla="*/ 4733866 w 4838702"/>
              <a:gd name="connsiteY1865" fmla="*/ 10274357 h 11747497"/>
              <a:gd name="connsiteX1866" fmla="*/ 4736451 w 4838702"/>
              <a:gd name="connsiteY1866" fmla="*/ 10203255 h 11747497"/>
              <a:gd name="connsiteX1867" fmla="*/ 4732573 w 4838702"/>
              <a:gd name="connsiteY1867" fmla="*/ 10146217 h 11747497"/>
              <a:gd name="connsiteX1868" fmla="*/ 4717677 w 4838702"/>
              <a:gd name="connsiteY1868" fmla="*/ 10160078 h 11747497"/>
              <a:gd name="connsiteX1869" fmla="*/ 4722281 w 4838702"/>
              <a:gd name="connsiteY1869" fmla="*/ 10103236 h 11747497"/>
              <a:gd name="connsiteX1870" fmla="*/ 4730556 w 4838702"/>
              <a:gd name="connsiteY1870" fmla="*/ 10131956 h 11747497"/>
              <a:gd name="connsiteX1871" fmla="*/ 4737176 w 4838702"/>
              <a:gd name="connsiteY1871" fmla="*/ 10089476 h 11747497"/>
              <a:gd name="connsiteX1872" fmla="*/ 4733142 w 4838702"/>
              <a:gd name="connsiteY1872" fmla="*/ 10060856 h 11747497"/>
              <a:gd name="connsiteX1873" fmla="*/ 4735779 w 4838702"/>
              <a:gd name="connsiteY1873" fmla="*/ 9975496 h 11747497"/>
              <a:gd name="connsiteX1874" fmla="*/ 4742399 w 4838702"/>
              <a:gd name="connsiteY1874" fmla="*/ 9932915 h 11747497"/>
              <a:gd name="connsiteX1875" fmla="*/ 4742606 w 4838702"/>
              <a:gd name="connsiteY1875" fmla="*/ 9904495 h 11747497"/>
              <a:gd name="connsiteX1876" fmla="*/ 4745089 w 4838702"/>
              <a:gd name="connsiteY1876" fmla="*/ 9847554 h 11747497"/>
              <a:gd name="connsiteX1877" fmla="*/ 4749486 w 4838702"/>
              <a:gd name="connsiteY1877" fmla="*/ 9819135 h 11747497"/>
              <a:gd name="connsiteX1878" fmla="*/ 4748295 w 4838702"/>
              <a:gd name="connsiteY1878" fmla="*/ 9676735 h 11747497"/>
              <a:gd name="connsiteX1879" fmla="*/ 4748502 w 4838702"/>
              <a:gd name="connsiteY1879" fmla="*/ 9648314 h 11747497"/>
              <a:gd name="connsiteX1880" fmla="*/ 4756933 w 4838702"/>
              <a:gd name="connsiteY1880" fmla="*/ 9648513 h 11747497"/>
              <a:gd name="connsiteX1881" fmla="*/ 4763295 w 4838702"/>
              <a:gd name="connsiteY1881" fmla="*/ 9648713 h 11747497"/>
              <a:gd name="connsiteX1882" fmla="*/ 4759984 w 4838702"/>
              <a:gd name="connsiteY1882" fmla="*/ 9833693 h 11747497"/>
              <a:gd name="connsiteX1883" fmla="*/ 4766035 w 4838702"/>
              <a:gd name="connsiteY1883" fmla="*/ 9876573 h 11747497"/>
              <a:gd name="connsiteX1884" fmla="*/ 4770432 w 4838702"/>
              <a:gd name="connsiteY1884" fmla="*/ 9848253 h 11747497"/>
              <a:gd name="connsiteX1885" fmla="*/ 4774569 w 4838702"/>
              <a:gd name="connsiteY1885" fmla="*/ 9862612 h 11747497"/>
              <a:gd name="connsiteX1886" fmla="*/ 4779897 w 4838702"/>
              <a:gd name="connsiteY1886" fmla="*/ 9691892 h 11747497"/>
              <a:gd name="connsiteX1887" fmla="*/ 4773742 w 4838702"/>
              <a:gd name="connsiteY1887" fmla="*/ 9663272 h 11747497"/>
              <a:gd name="connsiteX1888" fmla="*/ 4778138 w 4838702"/>
              <a:gd name="connsiteY1888" fmla="*/ 9634951 h 11747497"/>
              <a:gd name="connsiteX1889" fmla="*/ 4776379 w 4838702"/>
              <a:gd name="connsiteY1889" fmla="*/ 9578011 h 11747497"/>
              <a:gd name="connsiteX1890" fmla="*/ 4778500 w 4838702"/>
              <a:gd name="connsiteY1890" fmla="*/ 9578111 h 11747497"/>
              <a:gd name="connsiteX1891" fmla="*/ 4779069 w 4838702"/>
              <a:gd name="connsiteY1891" fmla="*/ 9492751 h 11747497"/>
              <a:gd name="connsiteX1892" fmla="*/ 4781448 w 4838702"/>
              <a:gd name="connsiteY1892" fmla="*/ 9450071 h 11747497"/>
              <a:gd name="connsiteX1893" fmla="*/ 4782172 w 4838702"/>
              <a:gd name="connsiteY1893" fmla="*/ 9336189 h 11747497"/>
              <a:gd name="connsiteX1894" fmla="*/ 4778603 w 4838702"/>
              <a:gd name="connsiteY1894" fmla="*/ 9236470 h 11747497"/>
              <a:gd name="connsiteX1895" fmla="*/ 4791378 w 4838702"/>
              <a:gd name="connsiteY1895" fmla="*/ 9222509 h 11747497"/>
              <a:gd name="connsiteX1896" fmla="*/ 4791844 w 4838702"/>
              <a:gd name="connsiteY1896" fmla="*/ 9151310 h 11747497"/>
              <a:gd name="connsiteX1897" fmla="*/ 4779172 w 4838702"/>
              <a:gd name="connsiteY1897" fmla="*/ 9151010 h 11747497"/>
              <a:gd name="connsiteX1898" fmla="*/ 4774310 w 4838702"/>
              <a:gd name="connsiteY1898" fmla="*/ 9250531 h 11747497"/>
              <a:gd name="connsiteX1899" fmla="*/ 4774104 w 4838702"/>
              <a:gd name="connsiteY1899" fmla="*/ 9278950 h 11747497"/>
              <a:gd name="connsiteX1900" fmla="*/ 4771983 w 4838702"/>
              <a:gd name="connsiteY1900" fmla="*/ 9278851 h 11747497"/>
              <a:gd name="connsiteX1901" fmla="*/ 4775655 w 4838702"/>
              <a:gd name="connsiteY1901" fmla="*/ 9364311 h 11747497"/>
              <a:gd name="connsiteX1902" fmla="*/ 4773173 w 4838702"/>
              <a:gd name="connsiteY1902" fmla="*/ 9421152 h 11747497"/>
              <a:gd name="connsiteX1903" fmla="*/ 4747727 w 4838702"/>
              <a:gd name="connsiteY1903" fmla="*/ 9434813 h 11747497"/>
              <a:gd name="connsiteX1904" fmla="*/ 4756106 w 4838702"/>
              <a:gd name="connsiteY1904" fmla="*/ 9449273 h 11747497"/>
              <a:gd name="connsiteX1905" fmla="*/ 4742813 w 4838702"/>
              <a:gd name="connsiteY1905" fmla="*/ 9548594 h 11747497"/>
              <a:gd name="connsiteX1906" fmla="*/ 4739710 w 4838702"/>
              <a:gd name="connsiteY1906" fmla="*/ 9705154 h 11747497"/>
              <a:gd name="connsiteX1907" fmla="*/ 4729521 w 4838702"/>
              <a:gd name="connsiteY1907" fmla="*/ 9648014 h 11747497"/>
              <a:gd name="connsiteX1908" fmla="*/ 4734021 w 4838702"/>
              <a:gd name="connsiteY1908" fmla="*/ 9605434 h 11747497"/>
              <a:gd name="connsiteX1909" fmla="*/ 4732469 w 4838702"/>
              <a:gd name="connsiteY1909" fmla="*/ 9519975 h 11747497"/>
              <a:gd name="connsiteX1910" fmla="*/ 4745244 w 4838702"/>
              <a:gd name="connsiteY1910" fmla="*/ 9506014 h 11747497"/>
              <a:gd name="connsiteX1911" fmla="*/ 4739452 w 4838702"/>
              <a:gd name="connsiteY1911" fmla="*/ 9420454 h 11747497"/>
              <a:gd name="connsiteX1912" fmla="*/ 4728901 w 4838702"/>
              <a:gd name="connsiteY1912" fmla="*/ 9420154 h 11747497"/>
              <a:gd name="connsiteX1913" fmla="*/ 4733296 w 4838702"/>
              <a:gd name="connsiteY1913" fmla="*/ 9391834 h 11747497"/>
              <a:gd name="connsiteX1914" fmla="*/ 4729521 w 4838702"/>
              <a:gd name="connsiteY1914" fmla="*/ 9320633 h 11747497"/>
              <a:gd name="connsiteX1915" fmla="*/ 4731694 w 4838702"/>
              <a:gd name="connsiteY1915" fmla="*/ 9306373 h 11747497"/>
              <a:gd name="connsiteX1916" fmla="*/ 4732055 w 4838702"/>
              <a:gd name="connsiteY1916" fmla="*/ 9249434 h 11747497"/>
              <a:gd name="connsiteX1917" fmla="*/ 4744830 w 4838702"/>
              <a:gd name="connsiteY1917" fmla="*/ 9235573 h 11747497"/>
              <a:gd name="connsiteX1918" fmla="*/ 4744365 w 4838702"/>
              <a:gd name="connsiteY1918" fmla="*/ 9306673 h 11747497"/>
              <a:gd name="connsiteX1919" fmla="*/ 4759053 w 4838702"/>
              <a:gd name="connsiteY1919" fmla="*/ 9321332 h 11747497"/>
              <a:gd name="connsiteX1920" fmla="*/ 4765932 w 4838702"/>
              <a:gd name="connsiteY1920" fmla="*/ 9236071 h 11747497"/>
              <a:gd name="connsiteX1921" fmla="*/ 4772449 w 4838702"/>
              <a:gd name="connsiteY1921" fmla="*/ 9207751 h 11747497"/>
              <a:gd name="connsiteX1922" fmla="*/ 4770535 w 4838702"/>
              <a:gd name="connsiteY1922" fmla="*/ 9179231 h 11747497"/>
              <a:gd name="connsiteX1923" fmla="*/ 4757967 w 4838702"/>
              <a:gd name="connsiteY1923" fmla="*/ 9164673 h 11747497"/>
              <a:gd name="connsiteX1924" fmla="*/ 4745502 w 4838702"/>
              <a:gd name="connsiteY1924" fmla="*/ 9135853 h 11747497"/>
              <a:gd name="connsiteX1925" fmla="*/ 4734745 w 4838702"/>
              <a:gd name="connsiteY1925" fmla="*/ 9164074 h 11747497"/>
              <a:gd name="connsiteX1926" fmla="*/ 4741158 w 4838702"/>
              <a:gd name="connsiteY1926" fmla="*/ 9150014 h 11747497"/>
              <a:gd name="connsiteX1927" fmla="*/ 4734900 w 4838702"/>
              <a:gd name="connsiteY1927" fmla="*/ 9135653 h 11747497"/>
              <a:gd name="connsiteX1928" fmla="*/ 4752071 w 4838702"/>
              <a:gd name="connsiteY1928" fmla="*/ 9093372 h 11747497"/>
              <a:gd name="connsiteX1929" fmla="*/ 4737279 w 4838702"/>
              <a:gd name="connsiteY1929" fmla="*/ 9092973 h 11747497"/>
              <a:gd name="connsiteX1930" fmla="*/ 4733348 w 4838702"/>
              <a:gd name="connsiteY1930" fmla="*/ 9050193 h 11747497"/>
              <a:gd name="connsiteX1931" fmla="*/ 4737589 w 4838702"/>
              <a:gd name="connsiteY1931" fmla="*/ 9050293 h 11747497"/>
              <a:gd name="connsiteX1932" fmla="*/ 4740072 w 4838702"/>
              <a:gd name="connsiteY1932" fmla="*/ 8993452 h 11747497"/>
              <a:gd name="connsiteX1933" fmla="*/ 4744572 w 4838702"/>
              <a:gd name="connsiteY1933" fmla="*/ 8950872 h 11747497"/>
              <a:gd name="connsiteX1934" fmla="*/ 4734176 w 4838702"/>
              <a:gd name="connsiteY1934" fmla="*/ 8922153 h 11747497"/>
              <a:gd name="connsiteX1935" fmla="*/ 4737020 w 4838702"/>
              <a:gd name="connsiteY1935" fmla="*/ 8808373 h 11747497"/>
              <a:gd name="connsiteX1936" fmla="*/ 4743537 w 4838702"/>
              <a:gd name="connsiteY1936" fmla="*/ 8780053 h 11747497"/>
              <a:gd name="connsiteX1937" fmla="*/ 4739296 w 4838702"/>
              <a:gd name="connsiteY1937" fmla="*/ 8779952 h 11747497"/>
              <a:gd name="connsiteX1938" fmla="*/ 4739555 w 4838702"/>
              <a:gd name="connsiteY1938" fmla="*/ 8737271 h 11747497"/>
              <a:gd name="connsiteX1939" fmla="*/ 4737796 w 4838702"/>
              <a:gd name="connsiteY1939" fmla="*/ 8680232 h 11747497"/>
              <a:gd name="connsiteX1940" fmla="*/ 4740072 w 4838702"/>
              <a:gd name="connsiteY1940" fmla="*/ 8651811 h 11747497"/>
              <a:gd name="connsiteX1941" fmla="*/ 4744365 w 4838702"/>
              <a:gd name="connsiteY1941" fmla="*/ 8637751 h 11747497"/>
              <a:gd name="connsiteX1942" fmla="*/ 4740330 w 4838702"/>
              <a:gd name="connsiteY1942" fmla="*/ 8609132 h 11747497"/>
              <a:gd name="connsiteX1943" fmla="*/ 4740537 w 4838702"/>
              <a:gd name="connsiteY1943" fmla="*/ 8580612 h 11747497"/>
              <a:gd name="connsiteX1944" fmla="*/ 4738417 w 4838702"/>
              <a:gd name="connsiteY1944" fmla="*/ 8580512 h 11747497"/>
              <a:gd name="connsiteX1945" fmla="*/ 4737020 w 4838702"/>
              <a:gd name="connsiteY1945" fmla="*/ 8466632 h 11747497"/>
              <a:gd name="connsiteX1946" fmla="*/ 4738934 w 4838702"/>
              <a:gd name="connsiteY1946" fmla="*/ 8495152 h 11747497"/>
              <a:gd name="connsiteX1947" fmla="*/ 4745451 w 4838702"/>
              <a:gd name="connsiteY1947" fmla="*/ 8466831 h 11747497"/>
              <a:gd name="connsiteX1948" fmla="*/ 4745554 w 4838702"/>
              <a:gd name="connsiteY1948" fmla="*/ 8452571 h 11747497"/>
              <a:gd name="connsiteX1949" fmla="*/ 4756001 w 4838702"/>
              <a:gd name="connsiteY1949" fmla="*/ 8467031 h 11747497"/>
              <a:gd name="connsiteX1950" fmla="*/ 4756570 w 4838702"/>
              <a:gd name="connsiteY1950" fmla="*/ 8381670 h 11747497"/>
              <a:gd name="connsiteX1951" fmla="*/ 4758794 w 4838702"/>
              <a:gd name="connsiteY1951" fmla="*/ 8367510 h 11747497"/>
              <a:gd name="connsiteX1952" fmla="*/ 4759053 w 4838702"/>
              <a:gd name="connsiteY1952" fmla="*/ 8324829 h 11747497"/>
              <a:gd name="connsiteX1953" fmla="*/ 4759519 w 4838702"/>
              <a:gd name="connsiteY1953" fmla="*/ 8253629 h 11747497"/>
              <a:gd name="connsiteX1954" fmla="*/ 4755485 w 4838702"/>
              <a:gd name="connsiteY1954" fmla="*/ 8225010 h 11747497"/>
              <a:gd name="connsiteX1955" fmla="*/ 4747519 w 4838702"/>
              <a:gd name="connsiteY1955" fmla="*/ 8153610 h 11747497"/>
              <a:gd name="connsiteX1956" fmla="*/ 4748347 w 4838702"/>
              <a:gd name="connsiteY1956" fmla="*/ 8025470 h 11747497"/>
              <a:gd name="connsiteX1957" fmla="*/ 4750209 w 4838702"/>
              <a:gd name="connsiteY1957" fmla="*/ 8068250 h 11747497"/>
              <a:gd name="connsiteX1958" fmla="*/ 4756829 w 4838702"/>
              <a:gd name="connsiteY1958" fmla="*/ 8025670 h 11747497"/>
              <a:gd name="connsiteX1959" fmla="*/ 4761328 w 4838702"/>
              <a:gd name="connsiteY1959" fmla="*/ 7983090 h 11747497"/>
              <a:gd name="connsiteX1960" fmla="*/ 4752899 w 4838702"/>
              <a:gd name="connsiteY1960" fmla="*/ 7982890 h 11747497"/>
              <a:gd name="connsiteX1961" fmla="*/ 4751089 w 4838702"/>
              <a:gd name="connsiteY1961" fmla="*/ 7940110 h 11747497"/>
              <a:gd name="connsiteX1962" fmla="*/ 4755381 w 4838702"/>
              <a:gd name="connsiteY1962" fmla="*/ 7926050 h 11747497"/>
              <a:gd name="connsiteX1963" fmla="*/ 4751450 w 4838702"/>
              <a:gd name="connsiteY1963" fmla="*/ 7883270 h 11747497"/>
              <a:gd name="connsiteX1964" fmla="*/ 4753623 w 4838702"/>
              <a:gd name="connsiteY1964" fmla="*/ 7869109 h 11747497"/>
              <a:gd name="connsiteX1965" fmla="*/ 4751605 w 4838702"/>
              <a:gd name="connsiteY1965" fmla="*/ 7854750 h 11747497"/>
              <a:gd name="connsiteX1966" fmla="*/ 4754243 w 4838702"/>
              <a:gd name="connsiteY1966" fmla="*/ 7769389 h 11747497"/>
              <a:gd name="connsiteX1967" fmla="*/ 4747933 w 4838702"/>
              <a:gd name="connsiteY1967" fmla="*/ 7769191 h 11747497"/>
              <a:gd name="connsiteX1968" fmla="*/ 4750674 w 4838702"/>
              <a:gd name="connsiteY1968" fmla="*/ 7669570 h 11747497"/>
              <a:gd name="connsiteX1969" fmla="*/ 4756933 w 4838702"/>
              <a:gd name="connsiteY1969" fmla="*/ 7684029 h 11747497"/>
              <a:gd name="connsiteX1970" fmla="*/ 4761795 w 4838702"/>
              <a:gd name="connsiteY1970" fmla="*/ 7584508 h 11747497"/>
              <a:gd name="connsiteX1971" fmla="*/ 4757657 w 4838702"/>
              <a:gd name="connsiteY1971" fmla="*/ 7570149 h 11747497"/>
              <a:gd name="connsiteX1972" fmla="*/ 4757915 w 4838702"/>
              <a:gd name="connsiteY1972" fmla="*/ 7527469 h 11747497"/>
              <a:gd name="connsiteX1973" fmla="*/ 4753881 w 4838702"/>
              <a:gd name="connsiteY1973" fmla="*/ 7498948 h 11747497"/>
              <a:gd name="connsiteX1974" fmla="*/ 4758278 w 4838702"/>
              <a:gd name="connsiteY1974" fmla="*/ 7470628 h 11747497"/>
              <a:gd name="connsiteX1975" fmla="*/ 4752123 w 4838702"/>
              <a:gd name="connsiteY1975" fmla="*/ 7442009 h 11747497"/>
              <a:gd name="connsiteX1976" fmla="*/ 4760759 w 4838702"/>
              <a:gd name="connsiteY1976" fmla="*/ 7413788 h 11747497"/>
              <a:gd name="connsiteX1977" fmla="*/ 4752484 w 4838702"/>
              <a:gd name="connsiteY1977" fmla="*/ 7385069 h 11747497"/>
              <a:gd name="connsiteX1978" fmla="*/ 4761122 w 4838702"/>
              <a:gd name="connsiteY1978" fmla="*/ 7356847 h 11747497"/>
              <a:gd name="connsiteX1979" fmla="*/ 4755071 w 4838702"/>
              <a:gd name="connsiteY1979" fmla="*/ 7313967 h 11747497"/>
              <a:gd name="connsiteX1980" fmla="*/ 4759673 w 4838702"/>
              <a:gd name="connsiteY1980" fmla="*/ 7257127 h 11747497"/>
              <a:gd name="connsiteX1981" fmla="*/ 4755743 w 4838702"/>
              <a:gd name="connsiteY1981" fmla="*/ 7214347 h 11747497"/>
              <a:gd name="connsiteX1982" fmla="*/ 4768776 w 4838702"/>
              <a:gd name="connsiteY1982" fmla="*/ 7157707 h 11747497"/>
              <a:gd name="connsiteX1983" fmla="*/ 4778965 w 4838702"/>
              <a:gd name="connsiteY1983" fmla="*/ 7214847 h 11747497"/>
              <a:gd name="connsiteX1984" fmla="*/ 4784086 w 4838702"/>
              <a:gd name="connsiteY1984" fmla="*/ 7072645 h 11747497"/>
              <a:gd name="connsiteX1985" fmla="*/ 4769138 w 4838702"/>
              <a:gd name="connsiteY1985" fmla="*/ 7100766 h 11747497"/>
              <a:gd name="connsiteX1986" fmla="*/ 4765208 w 4838702"/>
              <a:gd name="connsiteY1986" fmla="*/ 7057986 h 11747497"/>
              <a:gd name="connsiteX1987" fmla="*/ 4752433 w 4838702"/>
              <a:gd name="connsiteY1987" fmla="*/ 7071947 h 11747497"/>
              <a:gd name="connsiteX1988" fmla="*/ 4752899 w 4838702"/>
              <a:gd name="connsiteY1988" fmla="*/ 7000848 h 11747497"/>
              <a:gd name="connsiteX1989" fmla="*/ 4763346 w 4838702"/>
              <a:gd name="connsiteY1989" fmla="*/ 7015307 h 11747497"/>
              <a:gd name="connsiteX1990" fmla="*/ 4755381 w 4838702"/>
              <a:gd name="connsiteY1990" fmla="*/ 6943907 h 11747497"/>
              <a:gd name="connsiteX1991" fmla="*/ 4761795 w 4838702"/>
              <a:gd name="connsiteY1991" fmla="*/ 6929846 h 11747497"/>
              <a:gd name="connsiteX1992" fmla="*/ 4772241 w 4838702"/>
              <a:gd name="connsiteY1992" fmla="*/ 6944405 h 11747497"/>
              <a:gd name="connsiteX1993" fmla="*/ 4772810 w 4838702"/>
              <a:gd name="connsiteY1993" fmla="*/ 6859045 h 11747497"/>
              <a:gd name="connsiteX1994" fmla="*/ 4767018 w 4838702"/>
              <a:gd name="connsiteY1994" fmla="*/ 6773484 h 11747497"/>
              <a:gd name="connsiteX1995" fmla="*/ 4767588 w 4838702"/>
              <a:gd name="connsiteY1995" fmla="*/ 6688025 h 11747497"/>
              <a:gd name="connsiteX1996" fmla="*/ 4763553 w 4838702"/>
              <a:gd name="connsiteY1996" fmla="*/ 6659406 h 11747497"/>
              <a:gd name="connsiteX1997" fmla="*/ 4759415 w 4838702"/>
              <a:gd name="connsiteY1997" fmla="*/ 6645145 h 11747497"/>
              <a:gd name="connsiteX1998" fmla="*/ 4763915 w 4838702"/>
              <a:gd name="connsiteY1998" fmla="*/ 6602566 h 11747497"/>
              <a:gd name="connsiteX1999" fmla="*/ 4768518 w 4838702"/>
              <a:gd name="connsiteY1999" fmla="*/ 6545725 h 11747497"/>
              <a:gd name="connsiteX2000" fmla="*/ 4766863 w 4838702"/>
              <a:gd name="connsiteY2000" fmla="*/ 6474525 h 11747497"/>
              <a:gd name="connsiteX2001" fmla="*/ 4756208 w 4838702"/>
              <a:gd name="connsiteY2001" fmla="*/ 6488486 h 11747497"/>
              <a:gd name="connsiteX2002" fmla="*/ 4759260 w 4838702"/>
              <a:gd name="connsiteY2002" fmla="*/ 6346185 h 11747497"/>
              <a:gd name="connsiteX2003" fmla="*/ 4763656 w 4838702"/>
              <a:gd name="connsiteY2003" fmla="*/ 6317766 h 11747497"/>
              <a:gd name="connsiteX2004" fmla="*/ 4757812 w 4838702"/>
              <a:gd name="connsiteY2004" fmla="*/ 6246466 h 11747497"/>
              <a:gd name="connsiteX2005" fmla="*/ 4760294 w 4838702"/>
              <a:gd name="connsiteY2005" fmla="*/ 6189624 h 11747497"/>
              <a:gd name="connsiteX2006" fmla="*/ 4765052 w 4838702"/>
              <a:gd name="connsiteY2006" fmla="*/ 6104365 h 11747497"/>
              <a:gd name="connsiteX2007" fmla="*/ 4763036 w 4838702"/>
              <a:gd name="connsiteY2007" fmla="*/ 6090105 h 11747497"/>
              <a:gd name="connsiteX2008" fmla="*/ 4765156 w 4838702"/>
              <a:gd name="connsiteY2008" fmla="*/ 6090204 h 11747497"/>
              <a:gd name="connsiteX2009" fmla="*/ 4765363 w 4838702"/>
              <a:gd name="connsiteY2009" fmla="*/ 6061783 h 11747497"/>
              <a:gd name="connsiteX2010" fmla="*/ 4763346 w 4838702"/>
              <a:gd name="connsiteY2010" fmla="*/ 6047523 h 11747497"/>
              <a:gd name="connsiteX2011" fmla="*/ 4772345 w 4838702"/>
              <a:gd name="connsiteY2011" fmla="*/ 5962363 h 11747497"/>
              <a:gd name="connsiteX2012" fmla="*/ 4768208 w 4838702"/>
              <a:gd name="connsiteY2012" fmla="*/ 5948004 h 11747497"/>
              <a:gd name="connsiteX2013" fmla="*/ 4759933 w 4838702"/>
              <a:gd name="connsiteY2013" fmla="*/ 5919283 h 11747497"/>
              <a:gd name="connsiteX2014" fmla="*/ 4762570 w 4838702"/>
              <a:gd name="connsiteY2014" fmla="*/ 5833923 h 11747497"/>
              <a:gd name="connsiteX2015" fmla="*/ 4768828 w 4838702"/>
              <a:gd name="connsiteY2015" fmla="*/ 5848283 h 11747497"/>
              <a:gd name="connsiteX2016" fmla="*/ 4773535 w 4838702"/>
              <a:gd name="connsiteY2016" fmla="*/ 5777182 h 11747497"/>
              <a:gd name="connsiteX2017" fmla="*/ 4766449 w 4838702"/>
              <a:gd name="connsiteY2017" fmla="*/ 5563483 h 11747497"/>
              <a:gd name="connsiteX2018" fmla="*/ 4768259 w 4838702"/>
              <a:gd name="connsiteY2018" fmla="*/ 5606262 h 11747497"/>
              <a:gd name="connsiteX2019" fmla="*/ 4768828 w 4838702"/>
              <a:gd name="connsiteY2019" fmla="*/ 5520902 h 11747497"/>
              <a:gd name="connsiteX2020" fmla="*/ 4765001 w 4838702"/>
              <a:gd name="connsiteY2020" fmla="*/ 5463863 h 11747497"/>
              <a:gd name="connsiteX2021" fmla="*/ 4766914 w 4838702"/>
              <a:gd name="connsiteY2021" fmla="*/ 5492383 h 11747497"/>
              <a:gd name="connsiteX2022" fmla="*/ 4765467 w 4838702"/>
              <a:gd name="connsiteY2022" fmla="*/ 5392662 h 11747497"/>
              <a:gd name="connsiteX2023" fmla="*/ 4769863 w 4838702"/>
              <a:gd name="connsiteY2023" fmla="*/ 5364342 h 11747497"/>
              <a:gd name="connsiteX2024" fmla="*/ 4763915 w 4838702"/>
              <a:gd name="connsiteY2024" fmla="*/ 5307202 h 11747497"/>
              <a:gd name="connsiteX2025" fmla="*/ 4762518 w 4838702"/>
              <a:gd name="connsiteY2025" fmla="*/ 5193322 h 11747497"/>
              <a:gd name="connsiteX2026" fmla="*/ 4768931 w 4838702"/>
              <a:gd name="connsiteY2026" fmla="*/ 5179261 h 11747497"/>
              <a:gd name="connsiteX2027" fmla="*/ 4763346 w 4838702"/>
              <a:gd name="connsiteY2027" fmla="*/ 5065281 h 11747497"/>
              <a:gd name="connsiteX2028" fmla="*/ 4765105 w 4838702"/>
              <a:gd name="connsiteY2028" fmla="*/ 5122222 h 11747497"/>
              <a:gd name="connsiteX2029" fmla="*/ 4770070 w 4838702"/>
              <a:gd name="connsiteY2029" fmla="*/ 5008441 h 11747497"/>
              <a:gd name="connsiteX2030" fmla="*/ 4767690 w 4838702"/>
              <a:gd name="connsiteY2030" fmla="*/ 5051121 h 11747497"/>
              <a:gd name="connsiteX2031" fmla="*/ 4762208 w 4838702"/>
              <a:gd name="connsiteY2031" fmla="*/ 4922880 h 11747497"/>
              <a:gd name="connsiteX2032" fmla="*/ 4770845 w 4838702"/>
              <a:gd name="connsiteY2032" fmla="*/ 4894660 h 11747497"/>
              <a:gd name="connsiteX2033" fmla="*/ 4764587 w 4838702"/>
              <a:gd name="connsiteY2033" fmla="*/ 4880201 h 11747497"/>
              <a:gd name="connsiteX2034" fmla="*/ 4771207 w 4838702"/>
              <a:gd name="connsiteY2034" fmla="*/ 4837621 h 11747497"/>
              <a:gd name="connsiteX2035" fmla="*/ 4770018 w 4838702"/>
              <a:gd name="connsiteY2035" fmla="*/ 4695220 h 11747497"/>
              <a:gd name="connsiteX2036" fmla="*/ 4763759 w 4838702"/>
              <a:gd name="connsiteY2036" fmla="*/ 4680861 h 11747497"/>
              <a:gd name="connsiteX2037" fmla="*/ 4770276 w 4838702"/>
              <a:gd name="connsiteY2037" fmla="*/ 4652540 h 11747497"/>
              <a:gd name="connsiteX2038" fmla="*/ 4775397 w 4838702"/>
              <a:gd name="connsiteY2038" fmla="*/ 4510339 h 11747497"/>
              <a:gd name="connsiteX2039" fmla="*/ 4769138 w 4838702"/>
              <a:gd name="connsiteY2039" fmla="*/ 4495980 h 11747497"/>
              <a:gd name="connsiteX2040" fmla="*/ 4771880 w 4838702"/>
              <a:gd name="connsiteY2040" fmla="*/ 4396359 h 11747497"/>
              <a:gd name="connsiteX2041" fmla="*/ 4769863 w 4838702"/>
              <a:gd name="connsiteY2041" fmla="*/ 4382000 h 11747497"/>
              <a:gd name="connsiteX2042" fmla="*/ 4772087 w 4838702"/>
              <a:gd name="connsiteY2042" fmla="*/ 4367839 h 11747497"/>
              <a:gd name="connsiteX2043" fmla="*/ 4768052 w 4838702"/>
              <a:gd name="connsiteY2043" fmla="*/ 4339220 h 11747497"/>
              <a:gd name="connsiteX2044" fmla="*/ 4772655 w 4838702"/>
              <a:gd name="connsiteY2044" fmla="*/ 4282380 h 11747497"/>
              <a:gd name="connsiteX2045" fmla="*/ 4766708 w 4838702"/>
              <a:gd name="connsiteY2045" fmla="*/ 4225240 h 11747497"/>
              <a:gd name="connsiteX2046" fmla="*/ 4770742 w 4838702"/>
              <a:gd name="connsiteY2046" fmla="*/ 4253860 h 11747497"/>
              <a:gd name="connsiteX2047" fmla="*/ 4771207 w 4838702"/>
              <a:gd name="connsiteY2047" fmla="*/ 4182660 h 11747497"/>
              <a:gd name="connsiteX2048" fmla="*/ 4777827 w 4838702"/>
              <a:gd name="connsiteY2048" fmla="*/ 4140079 h 11747497"/>
              <a:gd name="connsiteX2049" fmla="*/ 4773898 w 4838702"/>
              <a:gd name="connsiteY2049" fmla="*/ 4097298 h 11747497"/>
              <a:gd name="connsiteX2050" fmla="*/ 4776638 w 4838702"/>
              <a:gd name="connsiteY2050" fmla="*/ 3997678 h 11747497"/>
              <a:gd name="connsiteX2051" fmla="*/ 4770380 w 4838702"/>
              <a:gd name="connsiteY2051" fmla="*/ 3983319 h 11747497"/>
              <a:gd name="connsiteX2052" fmla="*/ 4775138 w 4838702"/>
              <a:gd name="connsiteY2052" fmla="*/ 3898058 h 11747497"/>
              <a:gd name="connsiteX2053" fmla="*/ 4773121 w 4838702"/>
              <a:gd name="connsiteY2053" fmla="*/ 3883798 h 11747497"/>
              <a:gd name="connsiteX2054" fmla="*/ 4775345 w 4838702"/>
              <a:gd name="connsiteY2054" fmla="*/ 3869638 h 11747497"/>
              <a:gd name="connsiteX2055" fmla="*/ 4776276 w 4838702"/>
              <a:gd name="connsiteY2055" fmla="*/ 3727337 h 11747497"/>
              <a:gd name="connsiteX2056" fmla="*/ 4772397 w 4838702"/>
              <a:gd name="connsiteY2056" fmla="*/ 3670298 h 11747497"/>
              <a:gd name="connsiteX2057" fmla="*/ 4776896 w 4838702"/>
              <a:gd name="connsiteY2057" fmla="*/ 3627717 h 11747497"/>
              <a:gd name="connsiteX2058" fmla="*/ 4772966 w 4838702"/>
              <a:gd name="connsiteY2058" fmla="*/ 3584837 h 11747497"/>
              <a:gd name="connsiteX2059" fmla="*/ 4777259 w 4838702"/>
              <a:gd name="connsiteY2059" fmla="*/ 3570677 h 11747497"/>
              <a:gd name="connsiteX2060" fmla="*/ 4773224 w 4838702"/>
              <a:gd name="connsiteY2060" fmla="*/ 3542158 h 11747497"/>
              <a:gd name="connsiteX2061" fmla="*/ 4779586 w 4838702"/>
              <a:gd name="connsiteY2061" fmla="*/ 3214876 h 11747497"/>
              <a:gd name="connsiteX2062" fmla="*/ 4775552 w 4838702"/>
              <a:gd name="connsiteY2062" fmla="*/ 3186356 h 11747497"/>
              <a:gd name="connsiteX2063" fmla="*/ 4778603 w 4838702"/>
              <a:gd name="connsiteY2063" fmla="*/ 3044055 h 11747497"/>
              <a:gd name="connsiteX2064" fmla="*/ 4777155 w 4838702"/>
              <a:gd name="connsiteY2064" fmla="*/ 2944335 h 11747497"/>
              <a:gd name="connsiteX2065" fmla="*/ 4779430 w 4838702"/>
              <a:gd name="connsiteY2065" fmla="*/ 2915916 h 11747497"/>
              <a:gd name="connsiteX2066" fmla="*/ 4775397 w 4838702"/>
              <a:gd name="connsiteY2066" fmla="*/ 2887396 h 11747497"/>
              <a:gd name="connsiteX2067" fmla="*/ 4777982 w 4838702"/>
              <a:gd name="connsiteY2067" fmla="*/ 2816296 h 11747497"/>
              <a:gd name="connsiteX2068" fmla="*/ 4776225 w 4838702"/>
              <a:gd name="connsiteY2068" fmla="*/ 2759355 h 11747497"/>
              <a:gd name="connsiteX2069" fmla="*/ 4778707 w 4838702"/>
              <a:gd name="connsiteY2069" fmla="*/ 2702515 h 11747497"/>
              <a:gd name="connsiteX2070" fmla="*/ 4781397 w 4838702"/>
              <a:gd name="connsiteY2070" fmla="*/ 2617155 h 11747497"/>
              <a:gd name="connsiteX2071" fmla="*/ 4775448 w 4838702"/>
              <a:gd name="connsiteY2071" fmla="*/ 2560015 h 11747497"/>
              <a:gd name="connsiteX2072" fmla="*/ 4777724 w 4838702"/>
              <a:gd name="connsiteY2072" fmla="*/ 2531594 h 11747497"/>
              <a:gd name="connsiteX2073" fmla="*/ 4775811 w 4838702"/>
              <a:gd name="connsiteY2073" fmla="*/ 2503074 h 11747497"/>
              <a:gd name="connsiteX2074" fmla="*/ 4778190 w 4838702"/>
              <a:gd name="connsiteY2074" fmla="*/ 2460395 h 11747497"/>
              <a:gd name="connsiteX2075" fmla="*/ 4781034 w 4838702"/>
              <a:gd name="connsiteY2075" fmla="*/ 2346613 h 11747497"/>
              <a:gd name="connsiteX2076" fmla="*/ 4777155 w 4838702"/>
              <a:gd name="connsiteY2076" fmla="*/ 2289573 h 11747497"/>
              <a:gd name="connsiteX2077" fmla="*/ 4778551 w 4838702"/>
              <a:gd name="connsiteY2077" fmla="*/ 2076073 h 11747497"/>
              <a:gd name="connsiteX2078" fmla="*/ 4777000 w 4838702"/>
              <a:gd name="connsiteY2078" fmla="*/ 1990613 h 11747497"/>
              <a:gd name="connsiteX2079" fmla="*/ 4777466 w 4838702"/>
              <a:gd name="connsiteY2079" fmla="*/ 1919413 h 11747497"/>
              <a:gd name="connsiteX2080" fmla="*/ 4775707 w 4838702"/>
              <a:gd name="connsiteY2080" fmla="*/ 1862473 h 11747497"/>
              <a:gd name="connsiteX2081" fmla="*/ 4780000 w 4838702"/>
              <a:gd name="connsiteY2081" fmla="*/ 1848313 h 11747497"/>
              <a:gd name="connsiteX2082" fmla="*/ 4775862 w 4838702"/>
              <a:gd name="connsiteY2082" fmla="*/ 1833953 h 11747497"/>
              <a:gd name="connsiteX2083" fmla="*/ 4778241 w 4838702"/>
              <a:gd name="connsiteY2083" fmla="*/ 1791373 h 11747497"/>
              <a:gd name="connsiteX2084" fmla="*/ 4776225 w 4838702"/>
              <a:gd name="connsiteY2084" fmla="*/ 1777013 h 11747497"/>
              <a:gd name="connsiteX2085" fmla="*/ 4778448 w 4838702"/>
              <a:gd name="connsiteY2085" fmla="*/ 1762852 h 11747497"/>
              <a:gd name="connsiteX2086" fmla="*/ 4777155 w 4838702"/>
              <a:gd name="connsiteY2086" fmla="*/ 1634712 h 11747497"/>
              <a:gd name="connsiteX2087" fmla="*/ 4772397 w 4838702"/>
              <a:gd name="connsiteY2087" fmla="*/ 1392592 h 11747497"/>
              <a:gd name="connsiteX2088" fmla="*/ 4771001 w 4838702"/>
              <a:gd name="connsiteY2088" fmla="*/ 1278711 h 11747497"/>
              <a:gd name="connsiteX2089" fmla="*/ 4771362 w 4838702"/>
              <a:gd name="connsiteY2089" fmla="*/ 1221772 h 11747497"/>
              <a:gd name="connsiteX2090" fmla="*/ 4771725 w 4838702"/>
              <a:gd name="connsiteY2090" fmla="*/ 1164831 h 11747497"/>
              <a:gd name="connsiteX2091" fmla="*/ 4768052 w 4838702"/>
              <a:gd name="connsiteY2091" fmla="*/ 1079272 h 11747497"/>
              <a:gd name="connsiteX2092" fmla="*/ 4766760 w 4838702"/>
              <a:gd name="connsiteY2092" fmla="*/ 951132 h 11747497"/>
              <a:gd name="connsiteX2093" fmla="*/ 4766967 w 4838702"/>
              <a:gd name="connsiteY2093" fmla="*/ 922711 h 11747497"/>
              <a:gd name="connsiteX2094" fmla="*/ 4765208 w 4838702"/>
              <a:gd name="connsiteY2094" fmla="*/ 865771 h 11747497"/>
              <a:gd name="connsiteX2095" fmla="*/ 4760139 w 4838702"/>
              <a:gd name="connsiteY2095" fmla="*/ 666331 h 11747497"/>
              <a:gd name="connsiteX2096" fmla="*/ 4760398 w 4838702"/>
              <a:gd name="connsiteY2096" fmla="*/ 623651 h 11747497"/>
              <a:gd name="connsiteX2097" fmla="*/ 4758381 w 4838702"/>
              <a:gd name="connsiteY2097" fmla="*/ 609391 h 11747497"/>
              <a:gd name="connsiteX2098" fmla="*/ 4760863 w 4838702"/>
              <a:gd name="connsiteY2098" fmla="*/ 552551 h 11747497"/>
              <a:gd name="connsiteX2099" fmla="*/ 4757088 w 4838702"/>
              <a:gd name="connsiteY2099" fmla="*/ 481251 h 11747497"/>
              <a:gd name="connsiteX2100" fmla="*/ 4753778 w 4838702"/>
              <a:gd name="connsiteY2100" fmla="*/ 338850 h 11747497"/>
              <a:gd name="connsiteX2101" fmla="*/ 4743382 w 4838702"/>
              <a:gd name="connsiteY2101" fmla="*/ 310131 h 11747497"/>
              <a:gd name="connsiteX2102" fmla="*/ 4738779 w 4838702"/>
              <a:gd name="connsiteY2102" fmla="*/ 249103 h 11747497"/>
              <a:gd name="connsiteX2103" fmla="*/ 3984963 w 4838702"/>
              <a:gd name="connsiteY2103" fmla="*/ 249103 h 11747497"/>
              <a:gd name="connsiteX2104" fmla="*/ 3949741 w 4838702"/>
              <a:gd name="connsiteY2104" fmla="*/ 249103 h 11747497"/>
              <a:gd name="connsiteX2105" fmla="*/ 3910435 w 4838702"/>
              <a:gd name="connsiteY2105" fmla="*/ 249103 h 11747497"/>
              <a:gd name="connsiteX2106" fmla="*/ 3917106 w 4838702"/>
              <a:gd name="connsiteY2106" fmla="*/ 243718 h 11747497"/>
              <a:gd name="connsiteX2107" fmla="*/ 3811546 w 4838702"/>
              <a:gd name="connsiteY2107" fmla="*/ 237136 h 11747497"/>
              <a:gd name="connsiteX2108" fmla="*/ 3802392 w 4838702"/>
              <a:gd name="connsiteY2108" fmla="*/ 224073 h 11747497"/>
              <a:gd name="connsiteX2109" fmla="*/ 3765670 w 4838702"/>
              <a:gd name="connsiteY2109" fmla="*/ 230655 h 11747497"/>
              <a:gd name="connsiteX2110" fmla="*/ 3660110 w 4838702"/>
              <a:gd name="connsiteY2110" fmla="*/ 230655 h 11747497"/>
              <a:gd name="connsiteX2111" fmla="*/ 3655559 w 4838702"/>
              <a:gd name="connsiteY2111" fmla="*/ 230655 h 11747497"/>
              <a:gd name="connsiteX2112" fmla="*/ 3646353 w 4838702"/>
              <a:gd name="connsiteY2112" fmla="*/ 230655 h 11747497"/>
              <a:gd name="connsiteX2113" fmla="*/ 3623389 w 4838702"/>
              <a:gd name="connsiteY2113" fmla="*/ 230655 h 11747497"/>
              <a:gd name="connsiteX2114" fmla="*/ 3618786 w 4838702"/>
              <a:gd name="connsiteY2114" fmla="*/ 224073 h 11747497"/>
              <a:gd name="connsiteX2115" fmla="*/ 3600426 w 4838702"/>
              <a:gd name="connsiteY2115" fmla="*/ 237136 h 11747497"/>
              <a:gd name="connsiteX2116" fmla="*/ 3641698 w 4838702"/>
              <a:gd name="connsiteY2116" fmla="*/ 243718 h 11747497"/>
              <a:gd name="connsiteX2117" fmla="*/ 3660058 w 4838702"/>
              <a:gd name="connsiteY2117" fmla="*/ 243718 h 11747497"/>
              <a:gd name="connsiteX2118" fmla="*/ 3664662 w 4838702"/>
              <a:gd name="connsiteY2118" fmla="*/ 237136 h 11747497"/>
              <a:gd name="connsiteX2119" fmla="*/ 3678419 w 4838702"/>
              <a:gd name="connsiteY2119" fmla="*/ 243718 h 11747497"/>
              <a:gd name="connsiteX2120" fmla="*/ 3710537 w 4838702"/>
              <a:gd name="connsiteY2120" fmla="*/ 243718 h 11747497"/>
              <a:gd name="connsiteX2121" fmla="*/ 3715089 w 4838702"/>
              <a:gd name="connsiteY2121" fmla="*/ 249103 h 11747497"/>
              <a:gd name="connsiteX2122" fmla="*/ 3572238 w 4838702"/>
              <a:gd name="connsiteY2122" fmla="*/ 249103 h 11747497"/>
              <a:gd name="connsiteX2123" fmla="*/ 3595822 w 4838702"/>
              <a:gd name="connsiteY2123" fmla="*/ 243718 h 11747497"/>
              <a:gd name="connsiteX2124" fmla="*/ 3572859 w 4838702"/>
              <a:gd name="connsiteY2124" fmla="*/ 217491 h 11747497"/>
              <a:gd name="connsiteX2125" fmla="*/ 3568256 w 4838702"/>
              <a:gd name="connsiteY2125" fmla="*/ 224073 h 11747497"/>
              <a:gd name="connsiteX2126" fmla="*/ 3563653 w 4838702"/>
              <a:gd name="connsiteY2126" fmla="*/ 217491 h 11747497"/>
              <a:gd name="connsiteX2127" fmla="*/ 3536138 w 4838702"/>
              <a:gd name="connsiteY2127" fmla="*/ 224073 h 11747497"/>
              <a:gd name="connsiteX2128" fmla="*/ 3504020 w 4838702"/>
              <a:gd name="connsiteY2128" fmla="*/ 211009 h 11747497"/>
              <a:gd name="connsiteX2129" fmla="*/ 3494866 w 4838702"/>
              <a:gd name="connsiteY2129" fmla="*/ 224073 h 11747497"/>
              <a:gd name="connsiteX2130" fmla="*/ 3471902 w 4838702"/>
              <a:gd name="connsiteY2130" fmla="*/ 224073 h 11747497"/>
              <a:gd name="connsiteX2131" fmla="*/ 3467299 w 4838702"/>
              <a:gd name="connsiteY2131" fmla="*/ 230655 h 11747497"/>
              <a:gd name="connsiteX2132" fmla="*/ 3448938 w 4838702"/>
              <a:gd name="connsiteY2132" fmla="*/ 230655 h 11747497"/>
              <a:gd name="connsiteX2133" fmla="*/ 3421372 w 4838702"/>
              <a:gd name="connsiteY2133" fmla="*/ 230655 h 11747497"/>
              <a:gd name="connsiteX2134" fmla="*/ 3403011 w 4838702"/>
              <a:gd name="connsiteY2134" fmla="*/ 224073 h 11747497"/>
              <a:gd name="connsiteX2135" fmla="*/ 3398408 w 4838702"/>
              <a:gd name="connsiteY2135" fmla="*/ 230655 h 11747497"/>
              <a:gd name="connsiteX2136" fmla="*/ 3384650 w 4838702"/>
              <a:gd name="connsiteY2136" fmla="*/ 230655 h 11747497"/>
              <a:gd name="connsiteX2137" fmla="*/ 3366290 w 4838702"/>
              <a:gd name="connsiteY2137" fmla="*/ 230655 h 11747497"/>
              <a:gd name="connsiteX2138" fmla="*/ 3352532 w 4838702"/>
              <a:gd name="connsiteY2138" fmla="*/ 224073 h 11747497"/>
              <a:gd name="connsiteX2139" fmla="*/ 3320414 w 4838702"/>
              <a:gd name="connsiteY2139" fmla="*/ 237136 h 11747497"/>
              <a:gd name="connsiteX2140" fmla="*/ 3297451 w 4838702"/>
              <a:gd name="connsiteY2140" fmla="*/ 237136 h 11747497"/>
              <a:gd name="connsiteX2141" fmla="*/ 3296364 w 4838702"/>
              <a:gd name="connsiteY2141" fmla="*/ 249103 h 11747497"/>
              <a:gd name="connsiteX2142" fmla="*/ 3289124 w 4838702"/>
              <a:gd name="connsiteY2142" fmla="*/ 249103 h 11747497"/>
              <a:gd name="connsiteX2143" fmla="*/ 3288296 w 4838702"/>
              <a:gd name="connsiteY2143" fmla="*/ 237136 h 11747497"/>
              <a:gd name="connsiteX2144" fmla="*/ 3274539 w 4838702"/>
              <a:gd name="connsiteY2144" fmla="*/ 224073 h 11747497"/>
              <a:gd name="connsiteX2145" fmla="*/ 3242421 w 4838702"/>
              <a:gd name="connsiteY2145" fmla="*/ 243718 h 11747497"/>
              <a:gd name="connsiteX2146" fmla="*/ 3233266 w 4838702"/>
              <a:gd name="connsiteY2146" fmla="*/ 224073 h 11747497"/>
              <a:gd name="connsiteX2147" fmla="*/ 3224060 w 4838702"/>
              <a:gd name="connsiteY2147" fmla="*/ 243718 h 11747497"/>
              <a:gd name="connsiteX2148" fmla="*/ 3196545 w 4838702"/>
              <a:gd name="connsiteY2148" fmla="*/ 197847 h 11747497"/>
              <a:gd name="connsiteX2149" fmla="*/ 3233266 w 4838702"/>
              <a:gd name="connsiteY2149" fmla="*/ 184783 h 11747497"/>
              <a:gd name="connsiteX2150" fmla="*/ 3247024 w 4838702"/>
              <a:gd name="connsiteY2150" fmla="*/ 191365 h 11747497"/>
              <a:gd name="connsiteX2151" fmla="*/ 3265384 w 4838702"/>
              <a:gd name="connsiteY2151" fmla="*/ 184783 h 11747497"/>
              <a:gd name="connsiteX2152" fmla="*/ 3279142 w 4838702"/>
              <a:gd name="connsiteY2152" fmla="*/ 191365 h 11747497"/>
              <a:gd name="connsiteX2153" fmla="*/ 3292899 w 4838702"/>
              <a:gd name="connsiteY2153" fmla="*/ 184783 h 11747497"/>
              <a:gd name="connsiteX2154" fmla="*/ 3302054 w 4838702"/>
              <a:gd name="connsiteY2154" fmla="*/ 184783 h 11747497"/>
              <a:gd name="connsiteX2155" fmla="*/ 3311260 w 4838702"/>
              <a:gd name="connsiteY2155" fmla="*/ 184783 h 11747497"/>
              <a:gd name="connsiteX2156" fmla="*/ 3320414 w 4838702"/>
              <a:gd name="connsiteY2156" fmla="*/ 178201 h 11747497"/>
              <a:gd name="connsiteX2157" fmla="*/ 3361687 w 4838702"/>
              <a:gd name="connsiteY2157" fmla="*/ 184783 h 11747497"/>
              <a:gd name="connsiteX2158" fmla="*/ 3366290 w 4838702"/>
              <a:gd name="connsiteY2158" fmla="*/ 139012 h 11747497"/>
              <a:gd name="connsiteX2159" fmla="*/ 3361687 w 4838702"/>
              <a:gd name="connsiteY2159" fmla="*/ 165139 h 11747497"/>
              <a:gd name="connsiteX2160" fmla="*/ 3347929 w 4838702"/>
              <a:gd name="connsiteY2160" fmla="*/ 139012 h 11747497"/>
              <a:gd name="connsiteX2161" fmla="*/ 3324965 w 4838702"/>
              <a:gd name="connsiteY2161" fmla="*/ 158656 h 11747497"/>
              <a:gd name="connsiteX2162" fmla="*/ 3329569 w 4838702"/>
              <a:gd name="connsiteY2162" fmla="*/ 171720 h 11747497"/>
              <a:gd name="connsiteX2163" fmla="*/ 3283693 w 4838702"/>
              <a:gd name="connsiteY2163" fmla="*/ 165139 h 11747497"/>
              <a:gd name="connsiteX2164" fmla="*/ 3274539 w 4838702"/>
              <a:gd name="connsiteY2164" fmla="*/ 132430 h 11747497"/>
              <a:gd name="connsiteX2165" fmla="*/ 3256178 w 4838702"/>
              <a:gd name="connsiteY2165" fmla="*/ 145493 h 11747497"/>
              <a:gd name="connsiteX2166" fmla="*/ 3233266 w 4838702"/>
              <a:gd name="connsiteY2166" fmla="*/ 132430 h 11747497"/>
              <a:gd name="connsiteX2167" fmla="*/ 3269987 w 4838702"/>
              <a:gd name="connsiteY2167" fmla="*/ 119367 h 11747497"/>
              <a:gd name="connsiteX2168" fmla="*/ 3274591 w 4838702"/>
              <a:gd name="connsiteY2168" fmla="*/ 125949 h 11747497"/>
              <a:gd name="connsiteX2169" fmla="*/ 3283745 w 4838702"/>
              <a:gd name="connsiteY2169" fmla="*/ 119367 h 11747497"/>
              <a:gd name="connsiteX2170" fmla="*/ 3288348 w 4838702"/>
              <a:gd name="connsiteY2170" fmla="*/ 132430 h 11747497"/>
              <a:gd name="connsiteX2171" fmla="*/ 3297502 w 4838702"/>
              <a:gd name="connsiteY2171" fmla="*/ 112786 h 11747497"/>
              <a:gd name="connsiteX2172" fmla="*/ 3302105 w 4838702"/>
              <a:gd name="connsiteY2172" fmla="*/ 132430 h 11747497"/>
              <a:gd name="connsiteX2173" fmla="*/ 3315863 w 4838702"/>
              <a:gd name="connsiteY2173" fmla="*/ 106204 h 11747497"/>
              <a:gd name="connsiteX2174" fmla="*/ 3288348 w 4838702"/>
              <a:gd name="connsiteY2174" fmla="*/ 93140 h 11747497"/>
              <a:gd name="connsiteX2175" fmla="*/ 3306708 w 4838702"/>
              <a:gd name="connsiteY2175" fmla="*/ 73496 h 11747497"/>
              <a:gd name="connsiteX2176" fmla="*/ 3274591 w 4838702"/>
              <a:gd name="connsiteY2176" fmla="*/ 67013 h 11747497"/>
              <a:gd name="connsiteX2177" fmla="*/ 3292951 w 4838702"/>
              <a:gd name="connsiteY2177" fmla="*/ 53950 h 11747497"/>
              <a:gd name="connsiteX2178" fmla="*/ 3274591 w 4838702"/>
              <a:gd name="connsiteY2178" fmla="*/ 47369 h 11747497"/>
              <a:gd name="connsiteX2179" fmla="*/ 3233318 w 4838702"/>
              <a:gd name="connsiteY2179" fmla="*/ 53950 h 11747497"/>
              <a:gd name="connsiteX2180" fmla="*/ 3224112 w 4838702"/>
              <a:gd name="connsiteY2180" fmla="*/ 53950 h 11747497"/>
              <a:gd name="connsiteX2181" fmla="*/ 3214958 w 4838702"/>
              <a:gd name="connsiteY2181" fmla="*/ 53950 h 11747497"/>
              <a:gd name="connsiteX2182" fmla="*/ 3187442 w 4838702"/>
              <a:gd name="connsiteY2182" fmla="*/ 60433 h 11747497"/>
              <a:gd name="connsiteX2183" fmla="*/ 3201200 w 4838702"/>
              <a:gd name="connsiteY2183" fmla="*/ 86659 h 11747497"/>
              <a:gd name="connsiteX2184" fmla="*/ 3196597 w 4838702"/>
              <a:gd name="connsiteY2184" fmla="*/ 112786 h 11747497"/>
              <a:gd name="connsiteX2185" fmla="*/ 3214958 w 4838702"/>
              <a:gd name="connsiteY2185" fmla="*/ 119367 h 11747497"/>
              <a:gd name="connsiteX2186" fmla="*/ 3214958 w 4838702"/>
              <a:gd name="connsiteY2186" fmla="*/ 125949 h 11747497"/>
              <a:gd name="connsiteX2187" fmla="*/ 3210355 w 4838702"/>
              <a:gd name="connsiteY2187" fmla="*/ 152175 h 11747497"/>
              <a:gd name="connsiteX2188" fmla="*/ 3178237 w 4838702"/>
              <a:gd name="connsiteY2188" fmla="*/ 158756 h 11747497"/>
              <a:gd name="connsiteX2189" fmla="*/ 3210355 w 4838702"/>
              <a:gd name="connsiteY2189" fmla="*/ 171819 h 11747497"/>
              <a:gd name="connsiteX2190" fmla="*/ 3155273 w 4838702"/>
              <a:gd name="connsiteY2190" fmla="*/ 171819 h 11747497"/>
              <a:gd name="connsiteX2191" fmla="*/ 3141515 w 4838702"/>
              <a:gd name="connsiteY2191" fmla="*/ 191465 h 11747497"/>
              <a:gd name="connsiteX2192" fmla="*/ 3169082 w 4838702"/>
              <a:gd name="connsiteY2192" fmla="*/ 204528 h 11747497"/>
              <a:gd name="connsiteX2193" fmla="*/ 3159928 w 4838702"/>
              <a:gd name="connsiteY2193" fmla="*/ 217592 h 11747497"/>
              <a:gd name="connsiteX2194" fmla="*/ 3178288 w 4838702"/>
              <a:gd name="connsiteY2194" fmla="*/ 211009 h 11747497"/>
              <a:gd name="connsiteX2195" fmla="*/ 3187442 w 4838702"/>
              <a:gd name="connsiteY2195" fmla="*/ 243718 h 11747497"/>
              <a:gd name="connsiteX2196" fmla="*/ 3155324 w 4838702"/>
              <a:gd name="connsiteY2196" fmla="*/ 243718 h 11747497"/>
              <a:gd name="connsiteX2197" fmla="*/ 3150722 w 4838702"/>
              <a:gd name="connsiteY2197" fmla="*/ 237136 h 11747497"/>
              <a:gd name="connsiteX2198" fmla="*/ 3123206 w 4838702"/>
              <a:gd name="connsiteY2198" fmla="*/ 243718 h 11747497"/>
              <a:gd name="connsiteX2199" fmla="*/ 3118604 w 4838702"/>
              <a:gd name="connsiteY2199" fmla="*/ 237136 h 11747497"/>
              <a:gd name="connsiteX2200" fmla="*/ 3114001 w 4838702"/>
              <a:gd name="connsiteY2200" fmla="*/ 243718 h 11747497"/>
              <a:gd name="connsiteX2201" fmla="*/ 3100242 w 4838702"/>
              <a:gd name="connsiteY2201" fmla="*/ 230655 h 11747497"/>
              <a:gd name="connsiteX2202" fmla="*/ 3095640 w 4838702"/>
              <a:gd name="connsiteY2202" fmla="*/ 243718 h 11747497"/>
              <a:gd name="connsiteX2203" fmla="*/ 3086486 w 4838702"/>
              <a:gd name="connsiteY2203" fmla="*/ 237136 h 11747497"/>
              <a:gd name="connsiteX2204" fmla="*/ 3085193 w 4838702"/>
              <a:gd name="connsiteY2204" fmla="*/ 249103 h 11747497"/>
              <a:gd name="connsiteX2205" fmla="*/ 3068849 w 4838702"/>
              <a:gd name="connsiteY2205" fmla="*/ 249103 h 11747497"/>
              <a:gd name="connsiteX2206" fmla="*/ 3058919 w 4838702"/>
              <a:gd name="connsiteY2206" fmla="*/ 217491 h 11747497"/>
              <a:gd name="connsiteX2207" fmla="*/ 3081882 w 4838702"/>
              <a:gd name="connsiteY2207" fmla="*/ 210910 h 11747497"/>
              <a:gd name="connsiteX2208" fmla="*/ 2999234 w 4838702"/>
              <a:gd name="connsiteY2208" fmla="*/ 217491 h 11747497"/>
              <a:gd name="connsiteX2209" fmla="*/ 2999234 w 4838702"/>
              <a:gd name="connsiteY2209" fmla="*/ 191365 h 11747497"/>
              <a:gd name="connsiteX2210" fmla="*/ 2990079 w 4838702"/>
              <a:gd name="connsiteY2210" fmla="*/ 184783 h 11747497"/>
              <a:gd name="connsiteX2211" fmla="*/ 2944204 w 4838702"/>
              <a:gd name="connsiteY2211" fmla="*/ 191365 h 11747497"/>
              <a:gd name="connsiteX2212" fmla="*/ 2921241 w 4838702"/>
              <a:gd name="connsiteY2212" fmla="*/ 191365 h 11747497"/>
              <a:gd name="connsiteX2213" fmla="*/ 2889123 w 4838702"/>
              <a:gd name="connsiteY2213" fmla="*/ 191365 h 11747497"/>
              <a:gd name="connsiteX2214" fmla="*/ 2884520 w 4838702"/>
              <a:gd name="connsiteY2214" fmla="*/ 178302 h 11747497"/>
              <a:gd name="connsiteX2215" fmla="*/ 2921241 w 4838702"/>
              <a:gd name="connsiteY2215" fmla="*/ 178302 h 11747497"/>
              <a:gd name="connsiteX2216" fmla="*/ 2925843 w 4838702"/>
              <a:gd name="connsiteY2216" fmla="*/ 152076 h 11747497"/>
              <a:gd name="connsiteX2217" fmla="*/ 2902880 w 4838702"/>
              <a:gd name="connsiteY2217" fmla="*/ 158656 h 11747497"/>
              <a:gd name="connsiteX2218" fmla="*/ 2884520 w 4838702"/>
              <a:gd name="connsiteY2218" fmla="*/ 132430 h 11747497"/>
              <a:gd name="connsiteX2219" fmla="*/ 2902880 w 4838702"/>
              <a:gd name="connsiteY2219" fmla="*/ 145493 h 11747497"/>
              <a:gd name="connsiteX2220" fmla="*/ 2916637 w 4838702"/>
              <a:gd name="connsiteY2220" fmla="*/ 119267 h 11747497"/>
              <a:gd name="connsiteX2221" fmla="*/ 2893674 w 4838702"/>
              <a:gd name="connsiteY2221" fmla="*/ 112685 h 11747497"/>
              <a:gd name="connsiteX2222" fmla="*/ 2939549 w 4838702"/>
              <a:gd name="connsiteY2222" fmla="*/ 119267 h 11747497"/>
              <a:gd name="connsiteX2223" fmla="*/ 2939549 w 4838702"/>
              <a:gd name="connsiteY2223" fmla="*/ 145493 h 11747497"/>
              <a:gd name="connsiteX2224" fmla="*/ 2980873 w 4838702"/>
              <a:gd name="connsiteY2224" fmla="*/ 132430 h 11747497"/>
              <a:gd name="connsiteX2225" fmla="*/ 2985477 w 4838702"/>
              <a:gd name="connsiteY2225" fmla="*/ 145493 h 11747497"/>
              <a:gd name="connsiteX2226" fmla="*/ 3012992 w 4838702"/>
              <a:gd name="connsiteY2226" fmla="*/ 125849 h 11747497"/>
              <a:gd name="connsiteX2227" fmla="*/ 3035955 w 4838702"/>
              <a:gd name="connsiteY2227" fmla="*/ 119267 h 11747497"/>
              <a:gd name="connsiteX2228" fmla="*/ 3022198 w 4838702"/>
              <a:gd name="connsiteY2228" fmla="*/ 93140 h 11747497"/>
              <a:gd name="connsiteX2229" fmla="*/ 3035955 w 4838702"/>
              <a:gd name="connsiteY2229" fmla="*/ 80077 h 11747497"/>
              <a:gd name="connsiteX2230" fmla="*/ 3045110 w 4838702"/>
              <a:gd name="connsiteY2230" fmla="*/ 99722 h 11747497"/>
              <a:gd name="connsiteX2231" fmla="*/ 3035955 w 4838702"/>
              <a:gd name="connsiteY2231" fmla="*/ 112786 h 11747497"/>
              <a:gd name="connsiteX2232" fmla="*/ 3031352 w 4838702"/>
              <a:gd name="connsiteY2232" fmla="*/ 139012 h 11747497"/>
              <a:gd name="connsiteX2233" fmla="*/ 3045110 w 4838702"/>
              <a:gd name="connsiteY2233" fmla="*/ 165139 h 11747497"/>
              <a:gd name="connsiteX2234" fmla="*/ 3054315 w 4838702"/>
              <a:gd name="connsiteY2234" fmla="*/ 178201 h 11747497"/>
              <a:gd name="connsiteX2235" fmla="*/ 3035955 w 4838702"/>
              <a:gd name="connsiteY2235" fmla="*/ 184783 h 11747497"/>
              <a:gd name="connsiteX2236" fmla="*/ 3031352 w 4838702"/>
              <a:gd name="connsiteY2236" fmla="*/ 197847 h 11747497"/>
              <a:gd name="connsiteX2237" fmla="*/ 3026749 w 4838702"/>
              <a:gd name="connsiteY2237" fmla="*/ 197847 h 11747497"/>
              <a:gd name="connsiteX2238" fmla="*/ 3045110 w 4838702"/>
              <a:gd name="connsiteY2238" fmla="*/ 204429 h 11747497"/>
              <a:gd name="connsiteX2239" fmla="*/ 3058867 w 4838702"/>
              <a:gd name="connsiteY2239" fmla="*/ 197847 h 11747497"/>
              <a:gd name="connsiteX2240" fmla="*/ 3072625 w 4838702"/>
              <a:gd name="connsiteY2240" fmla="*/ 178201 h 11747497"/>
              <a:gd name="connsiteX2241" fmla="*/ 3077176 w 4838702"/>
              <a:gd name="connsiteY2241" fmla="*/ 197847 h 11747497"/>
              <a:gd name="connsiteX2242" fmla="*/ 3081779 w 4838702"/>
              <a:gd name="connsiteY2242" fmla="*/ 158557 h 11747497"/>
              <a:gd name="connsiteX2243" fmla="*/ 3146015 w 4838702"/>
              <a:gd name="connsiteY2243" fmla="*/ 158557 h 11747497"/>
              <a:gd name="connsiteX2244" fmla="*/ 3136861 w 4838702"/>
              <a:gd name="connsiteY2244" fmla="*/ 145493 h 11747497"/>
              <a:gd name="connsiteX2245" fmla="*/ 3173582 w 4838702"/>
              <a:gd name="connsiteY2245" fmla="*/ 125849 h 11747497"/>
              <a:gd name="connsiteX2246" fmla="*/ 3155221 w 4838702"/>
              <a:gd name="connsiteY2246" fmla="*/ 99622 h 11747497"/>
              <a:gd name="connsiteX2247" fmla="*/ 3168979 w 4838702"/>
              <a:gd name="connsiteY2247" fmla="*/ 86560 h 11747497"/>
              <a:gd name="connsiteX2248" fmla="*/ 3118500 w 4838702"/>
              <a:gd name="connsiteY2248" fmla="*/ 86560 h 11747497"/>
              <a:gd name="connsiteX2249" fmla="*/ 3109346 w 4838702"/>
              <a:gd name="connsiteY2249" fmla="*/ 86560 h 11747497"/>
              <a:gd name="connsiteX2250" fmla="*/ 3113949 w 4838702"/>
              <a:gd name="connsiteY2250" fmla="*/ 73395 h 11747497"/>
              <a:gd name="connsiteX2251" fmla="*/ 3155273 w 4838702"/>
              <a:gd name="connsiteY2251" fmla="*/ 73395 h 11747497"/>
              <a:gd name="connsiteX2252" fmla="*/ 3141515 w 4838702"/>
              <a:gd name="connsiteY2252" fmla="*/ 53751 h 11747497"/>
              <a:gd name="connsiteX2253" fmla="*/ 3123155 w 4838702"/>
              <a:gd name="connsiteY2253" fmla="*/ 53751 h 11747497"/>
              <a:gd name="connsiteX2254" fmla="*/ 3109397 w 4838702"/>
              <a:gd name="connsiteY2254" fmla="*/ 60233 h 11747497"/>
              <a:gd name="connsiteX2255" fmla="*/ 2980873 w 4838702"/>
              <a:gd name="connsiteY2255" fmla="*/ 53751 h 11747497"/>
              <a:gd name="connsiteX2256" fmla="*/ 2925792 w 4838702"/>
              <a:gd name="connsiteY2256" fmla="*/ 79878 h 11747497"/>
              <a:gd name="connsiteX2257" fmla="*/ 2898277 w 4838702"/>
              <a:gd name="connsiteY2257" fmla="*/ 66815 h 11747497"/>
              <a:gd name="connsiteX2258" fmla="*/ 2870762 w 4838702"/>
              <a:gd name="connsiteY2258" fmla="*/ 86459 h 11747497"/>
              <a:gd name="connsiteX2259" fmla="*/ 2847798 w 4838702"/>
              <a:gd name="connsiteY2259" fmla="*/ 66815 h 11747497"/>
              <a:gd name="connsiteX2260" fmla="*/ 2797320 w 4838702"/>
              <a:gd name="connsiteY2260" fmla="*/ 66815 h 11747497"/>
              <a:gd name="connsiteX2261" fmla="*/ 2783562 w 4838702"/>
              <a:gd name="connsiteY2261" fmla="*/ 66815 h 11747497"/>
              <a:gd name="connsiteX2262" fmla="*/ 2746841 w 4838702"/>
              <a:gd name="connsiteY2262" fmla="*/ 73296 h 11747497"/>
              <a:gd name="connsiteX2263" fmla="*/ 2714723 w 4838702"/>
              <a:gd name="connsiteY2263" fmla="*/ 73296 h 11747497"/>
              <a:gd name="connsiteX2264" fmla="*/ 2710120 w 4838702"/>
              <a:gd name="connsiteY2264" fmla="*/ 66815 h 11747497"/>
              <a:gd name="connsiteX2265" fmla="*/ 2691759 w 4838702"/>
              <a:gd name="connsiteY2265" fmla="*/ 66815 h 11747497"/>
              <a:gd name="connsiteX2266" fmla="*/ 2682605 w 4838702"/>
              <a:gd name="connsiteY2266" fmla="*/ 66815 h 11747497"/>
              <a:gd name="connsiteX2267" fmla="*/ 2595405 w 4838702"/>
              <a:gd name="connsiteY2267" fmla="*/ 66815 h 11747497"/>
              <a:gd name="connsiteX2268" fmla="*/ 2590802 w 4838702"/>
              <a:gd name="connsiteY2268" fmla="*/ 60233 h 11747497"/>
              <a:gd name="connsiteX2269" fmla="*/ 2572442 w 4838702"/>
              <a:gd name="connsiteY2269" fmla="*/ 66815 h 11747497"/>
              <a:gd name="connsiteX2270" fmla="*/ 2554081 w 4838702"/>
              <a:gd name="connsiteY2270" fmla="*/ 66815 h 11747497"/>
              <a:gd name="connsiteX2271" fmla="*/ 2531118 w 4838702"/>
              <a:gd name="connsiteY2271" fmla="*/ 66815 h 11747497"/>
              <a:gd name="connsiteX2272" fmla="*/ 2521912 w 4838702"/>
              <a:gd name="connsiteY2272" fmla="*/ 66815 h 11747497"/>
              <a:gd name="connsiteX2273" fmla="*/ 2503551 w 4838702"/>
              <a:gd name="connsiteY2273" fmla="*/ 60233 h 11747497"/>
              <a:gd name="connsiteX2274" fmla="*/ 2480587 w 4838702"/>
              <a:gd name="connsiteY2274" fmla="*/ 53751 h 11747497"/>
              <a:gd name="connsiteX2275" fmla="*/ 2462227 w 4838702"/>
              <a:gd name="connsiteY2275" fmla="*/ 66815 h 11747497"/>
              <a:gd name="connsiteX2276" fmla="*/ 2361269 w 4838702"/>
              <a:gd name="connsiteY2276" fmla="*/ 53751 h 11747497"/>
              <a:gd name="connsiteX2277" fmla="*/ 2347512 w 4838702"/>
              <a:gd name="connsiteY2277" fmla="*/ 47169 h 11747497"/>
              <a:gd name="connsiteX2278" fmla="*/ 2329151 w 4838702"/>
              <a:gd name="connsiteY2278" fmla="*/ 53751 h 11747497"/>
              <a:gd name="connsiteX2279" fmla="*/ 2255710 w 4838702"/>
              <a:gd name="connsiteY2279" fmla="*/ 53751 h 11747497"/>
              <a:gd name="connsiteX2280" fmla="*/ 2237349 w 4838702"/>
              <a:gd name="connsiteY2280" fmla="*/ 47169 h 11747497"/>
              <a:gd name="connsiteX2281" fmla="*/ 2214385 w 4838702"/>
              <a:gd name="connsiteY2281" fmla="*/ 53751 h 11747497"/>
              <a:gd name="connsiteX2282" fmla="*/ 2200628 w 4838702"/>
              <a:gd name="connsiteY2282" fmla="*/ 47169 h 11747497"/>
              <a:gd name="connsiteX2283" fmla="*/ 2186819 w 4838702"/>
              <a:gd name="connsiteY2283" fmla="*/ 53751 h 11747497"/>
              <a:gd name="connsiteX2284" fmla="*/ 2136340 w 4838702"/>
              <a:gd name="connsiteY2284" fmla="*/ 47169 h 11747497"/>
              <a:gd name="connsiteX2285" fmla="*/ 2113376 w 4838702"/>
              <a:gd name="connsiteY2285" fmla="*/ 53751 h 11747497"/>
              <a:gd name="connsiteX2286" fmla="*/ 2081258 w 4838702"/>
              <a:gd name="connsiteY2286" fmla="*/ 47169 h 11747497"/>
              <a:gd name="connsiteX2287" fmla="*/ 2062898 w 4838702"/>
              <a:gd name="connsiteY2287" fmla="*/ 47169 h 11747497"/>
              <a:gd name="connsiteX2288" fmla="*/ 2017022 w 4838702"/>
              <a:gd name="connsiteY2288" fmla="*/ 47169 h 11747497"/>
              <a:gd name="connsiteX2289" fmla="*/ 1998662 w 4838702"/>
              <a:gd name="connsiteY2289" fmla="*/ 40588 h 11747497"/>
              <a:gd name="connsiteX2290" fmla="*/ 1989507 w 4838702"/>
              <a:gd name="connsiteY2290" fmla="*/ 47169 h 11747497"/>
              <a:gd name="connsiteX2291" fmla="*/ 1975750 w 4838702"/>
              <a:gd name="connsiteY2291" fmla="*/ 40588 h 11747497"/>
              <a:gd name="connsiteX2292" fmla="*/ 1971147 w 4838702"/>
              <a:gd name="connsiteY2292" fmla="*/ 47169 h 11747497"/>
              <a:gd name="connsiteX2293" fmla="*/ 1966544 w 4838702"/>
              <a:gd name="connsiteY2293" fmla="*/ 40588 h 11747497"/>
              <a:gd name="connsiteX2294" fmla="*/ 1952786 w 4838702"/>
              <a:gd name="connsiteY2294" fmla="*/ 47169 h 11747497"/>
              <a:gd name="connsiteX2295" fmla="*/ 1911462 w 4838702"/>
              <a:gd name="connsiteY2295" fmla="*/ 47169 h 11747497"/>
              <a:gd name="connsiteX2296" fmla="*/ 1897705 w 4838702"/>
              <a:gd name="connsiteY2296" fmla="*/ 40588 h 11747497"/>
              <a:gd name="connsiteX2297" fmla="*/ 1883948 w 4838702"/>
              <a:gd name="connsiteY2297" fmla="*/ 53652 h 11747497"/>
              <a:gd name="connsiteX2298" fmla="*/ 1847226 w 4838702"/>
              <a:gd name="connsiteY2298" fmla="*/ 47070 h 11747497"/>
              <a:gd name="connsiteX2299" fmla="*/ 1842623 w 4838702"/>
              <a:gd name="connsiteY2299" fmla="*/ 40488 h 11747497"/>
              <a:gd name="connsiteX2300" fmla="*/ 1833417 w 4838702"/>
              <a:gd name="connsiteY2300" fmla="*/ 40488 h 11747497"/>
              <a:gd name="connsiteX2301" fmla="*/ 1759975 w 4838702"/>
              <a:gd name="connsiteY2301" fmla="*/ 33907 h 11747497"/>
              <a:gd name="connsiteX2302" fmla="*/ 1732408 w 4838702"/>
              <a:gd name="connsiteY2302" fmla="*/ 33907 h 11747497"/>
              <a:gd name="connsiteX2303" fmla="*/ 1718650 w 4838702"/>
              <a:gd name="connsiteY2303" fmla="*/ 53551 h 11747497"/>
              <a:gd name="connsiteX2304" fmla="*/ 1709496 w 4838702"/>
              <a:gd name="connsiteY2304" fmla="*/ 33907 h 11747497"/>
              <a:gd name="connsiteX2305" fmla="*/ 1672775 w 4838702"/>
              <a:gd name="connsiteY2305" fmla="*/ 33907 h 11747497"/>
              <a:gd name="connsiteX2306" fmla="*/ 1645260 w 4838702"/>
              <a:gd name="connsiteY2306" fmla="*/ 33907 h 11747497"/>
              <a:gd name="connsiteX2307" fmla="*/ 1622296 w 4838702"/>
              <a:gd name="connsiteY2307" fmla="*/ 33907 h 11747497"/>
              <a:gd name="connsiteX2308" fmla="*/ 1613142 w 4838702"/>
              <a:gd name="connsiteY2308" fmla="*/ 40488 h 11747497"/>
              <a:gd name="connsiteX2309" fmla="*/ 1581024 w 4838702"/>
              <a:gd name="connsiteY2309" fmla="*/ 33907 h 11747497"/>
              <a:gd name="connsiteX2310" fmla="*/ 1548906 w 4838702"/>
              <a:gd name="connsiteY2310" fmla="*/ 27325 h 11747497"/>
              <a:gd name="connsiteX2311" fmla="*/ 1544303 w 4838702"/>
              <a:gd name="connsiteY2311" fmla="*/ 33907 h 11747497"/>
              <a:gd name="connsiteX2312" fmla="*/ 1535097 w 4838702"/>
              <a:gd name="connsiteY2312" fmla="*/ 33907 h 11747497"/>
              <a:gd name="connsiteX2313" fmla="*/ 1512185 w 4838702"/>
              <a:gd name="connsiteY2313" fmla="*/ 27325 h 11747497"/>
              <a:gd name="connsiteX2314" fmla="*/ 1424986 w 4838702"/>
              <a:gd name="connsiteY2314" fmla="*/ 14261 h 11747497"/>
              <a:gd name="connsiteX2315" fmla="*/ 1397419 w 4838702"/>
              <a:gd name="connsiteY2315" fmla="*/ 27325 h 11747497"/>
              <a:gd name="connsiteX2316" fmla="*/ 1365301 w 4838702"/>
              <a:gd name="connsiteY2316" fmla="*/ 7681 h 11747497"/>
              <a:gd name="connsiteX2317" fmla="*/ 1328579 w 4838702"/>
              <a:gd name="connsiteY2317" fmla="*/ 20744 h 11747497"/>
              <a:gd name="connsiteX2318" fmla="*/ 1314822 w 4838702"/>
              <a:gd name="connsiteY2318" fmla="*/ 7681 h 11747497"/>
              <a:gd name="connsiteX2319" fmla="*/ 1287307 w 4838702"/>
              <a:gd name="connsiteY2319" fmla="*/ 20744 h 11747497"/>
              <a:gd name="connsiteX2320" fmla="*/ 1273550 w 4838702"/>
              <a:gd name="connsiteY2320" fmla="*/ 14162 h 11747497"/>
              <a:gd name="connsiteX2321" fmla="*/ 1245983 w 4838702"/>
              <a:gd name="connsiteY2321" fmla="*/ 7581 h 11747497"/>
              <a:gd name="connsiteX2322" fmla="*/ 1241380 w 4838702"/>
              <a:gd name="connsiteY2322" fmla="*/ 14162 h 11747497"/>
              <a:gd name="connsiteX2323" fmla="*/ 1236777 w 4838702"/>
              <a:gd name="connsiteY2323" fmla="*/ 1099 h 11747497"/>
              <a:gd name="connsiteX2324" fmla="*/ 1218416 w 4838702"/>
              <a:gd name="connsiteY2324" fmla="*/ 1099 h 11747497"/>
              <a:gd name="connsiteX2325" fmla="*/ 1213813 w 4838702"/>
              <a:gd name="connsiteY2325" fmla="*/ 20744 h 11747497"/>
              <a:gd name="connsiteX2326" fmla="*/ 1181695 w 4838702"/>
              <a:gd name="connsiteY2326" fmla="*/ 14162 h 11747497"/>
              <a:gd name="connsiteX2327" fmla="*/ 1158731 w 4838702"/>
              <a:gd name="connsiteY2327" fmla="*/ 1099 h 11747497"/>
              <a:gd name="connsiteX2328" fmla="*/ 1144974 w 4838702"/>
              <a:gd name="connsiteY2328" fmla="*/ 14162 h 11747497"/>
              <a:gd name="connsiteX2329" fmla="*/ 1099099 w 4838702"/>
              <a:gd name="connsiteY2329" fmla="*/ 7581 h 11747497"/>
              <a:gd name="connsiteX2330" fmla="*/ 1080738 w 4838702"/>
              <a:gd name="connsiteY2330" fmla="*/ 14162 h 11747497"/>
              <a:gd name="connsiteX2331" fmla="*/ 1076135 w 4838702"/>
              <a:gd name="connsiteY2331" fmla="*/ 7581 h 11747497"/>
              <a:gd name="connsiteX2332" fmla="*/ 1053172 w 4838702"/>
              <a:gd name="connsiteY2332" fmla="*/ 14162 h 11747497"/>
              <a:gd name="connsiteX2333" fmla="*/ 1021053 w 4838702"/>
              <a:gd name="connsiteY2333" fmla="*/ 7581 h 11747497"/>
              <a:gd name="connsiteX2334" fmla="*/ 952214 w 4838702"/>
              <a:gd name="connsiteY2334" fmla="*/ 7581 h 11747497"/>
              <a:gd name="connsiteX2335" fmla="*/ 933854 w 4838702"/>
              <a:gd name="connsiteY2335" fmla="*/ 1099 h 11747497"/>
              <a:gd name="connsiteX2336" fmla="*/ 915493 w 4838702"/>
              <a:gd name="connsiteY2336" fmla="*/ 14162 h 11747497"/>
              <a:gd name="connsiteX2337" fmla="*/ 910890 w 4838702"/>
              <a:gd name="connsiteY2337" fmla="*/ 7581 h 11747497"/>
              <a:gd name="connsiteX2338" fmla="*/ 819087 w 4838702"/>
              <a:gd name="connsiteY2338" fmla="*/ 7581 h 11747497"/>
              <a:gd name="connsiteX2339" fmla="*/ 805330 w 4838702"/>
              <a:gd name="connsiteY2339" fmla="*/ 1099 h 11747497"/>
              <a:gd name="connsiteX2340" fmla="*/ 786969 w 4838702"/>
              <a:gd name="connsiteY2340" fmla="*/ 7581 h 11747497"/>
              <a:gd name="connsiteX2341" fmla="*/ 764006 w 4838702"/>
              <a:gd name="connsiteY2341" fmla="*/ 1099 h 11747497"/>
              <a:gd name="connsiteX2342" fmla="*/ 759402 w 4838702"/>
              <a:gd name="connsiteY2342" fmla="*/ 7581 h 11747497"/>
              <a:gd name="connsiteX2343" fmla="*/ 708924 w 4838702"/>
              <a:gd name="connsiteY2343" fmla="*/ 1099 h 11747497"/>
              <a:gd name="connsiteX2344" fmla="*/ 690564 w 4838702"/>
              <a:gd name="connsiteY2344" fmla="*/ 7581 h 11747497"/>
              <a:gd name="connsiteX2345" fmla="*/ 644637 w 4838702"/>
              <a:gd name="connsiteY2345" fmla="*/ 7581 h 11747497"/>
              <a:gd name="connsiteX2346" fmla="*/ 626276 w 4838702"/>
              <a:gd name="connsiteY2346" fmla="*/ 7581 h 11747497"/>
              <a:gd name="connsiteX2347" fmla="*/ 575797 w 4838702"/>
              <a:gd name="connsiteY2347" fmla="*/ 14162 h 11747497"/>
              <a:gd name="connsiteX2348" fmla="*/ 557437 w 4838702"/>
              <a:gd name="connsiteY2348" fmla="*/ 7581 h 11747497"/>
              <a:gd name="connsiteX2349" fmla="*/ 539076 w 4838702"/>
              <a:gd name="connsiteY2349" fmla="*/ 14162 h 11747497"/>
              <a:gd name="connsiteX2350" fmla="*/ 525319 w 4838702"/>
              <a:gd name="connsiteY2350" fmla="*/ 7581 h 11747497"/>
              <a:gd name="connsiteX2351" fmla="*/ 506958 w 4838702"/>
              <a:gd name="connsiteY2351" fmla="*/ 14162 h 11747497"/>
              <a:gd name="connsiteX2352" fmla="*/ 497803 w 4838702"/>
              <a:gd name="connsiteY2352" fmla="*/ 14162 h 11747497"/>
              <a:gd name="connsiteX2353" fmla="*/ 474840 w 4838702"/>
              <a:gd name="connsiteY2353" fmla="*/ 14162 h 11747497"/>
              <a:gd name="connsiteX2354" fmla="*/ 470237 w 4838702"/>
              <a:gd name="connsiteY2354" fmla="*/ 7581 h 11747497"/>
              <a:gd name="connsiteX2355" fmla="*/ 470237 w 4838702"/>
              <a:gd name="connsiteY2355" fmla="*/ 14162 h 11747497"/>
              <a:gd name="connsiteX2356" fmla="*/ 461031 w 4838702"/>
              <a:gd name="connsiteY2356" fmla="*/ 14162 h 11747497"/>
              <a:gd name="connsiteX2357" fmla="*/ 350920 w 4838702"/>
              <a:gd name="connsiteY2357" fmla="*/ 14162 h 11747497"/>
              <a:gd name="connsiteX2358" fmla="*/ 337162 w 4838702"/>
              <a:gd name="connsiteY2358" fmla="*/ 20744 h 11747497"/>
              <a:gd name="connsiteX2359" fmla="*/ 360126 w 4838702"/>
              <a:gd name="connsiteY2359" fmla="*/ 46970 h 11747497"/>
              <a:gd name="connsiteX2360" fmla="*/ 282080 w 4838702"/>
              <a:gd name="connsiteY2360" fmla="*/ 66615 h 11747497"/>
              <a:gd name="connsiteX2361" fmla="*/ 249962 w 4838702"/>
              <a:gd name="connsiteY2361" fmla="*/ 66615 h 11747497"/>
              <a:gd name="connsiteX2362" fmla="*/ 213241 w 4838702"/>
              <a:gd name="connsiteY2362" fmla="*/ 66615 h 11747497"/>
              <a:gd name="connsiteX2363" fmla="*/ 199484 w 4838702"/>
              <a:gd name="connsiteY2363" fmla="*/ 73097 h 11747497"/>
              <a:gd name="connsiteX2364" fmla="*/ 135248 w 4838702"/>
              <a:gd name="connsiteY2364" fmla="*/ 73097 h 11747497"/>
              <a:gd name="connsiteX2365" fmla="*/ 126041 w 4838702"/>
              <a:gd name="connsiteY2365" fmla="*/ 79678 h 11747497"/>
              <a:gd name="connsiteX2366" fmla="*/ 120663 w 4838702"/>
              <a:gd name="connsiteY2366" fmla="*/ 76088 h 11747497"/>
              <a:gd name="connsiteX2367" fmla="*/ 123145 w 4838702"/>
              <a:gd name="connsiteY2367" fmla="*/ 101717 h 11747497"/>
              <a:gd name="connsiteX2368" fmla="*/ 121697 w 4838702"/>
              <a:gd name="connsiteY2368" fmla="*/ 351215 h 11747497"/>
              <a:gd name="connsiteX2369" fmla="*/ 112594 w 4838702"/>
              <a:gd name="connsiteY2369" fmla="*/ 350917 h 11747497"/>
              <a:gd name="connsiteX2370" fmla="*/ 112181 w 4838702"/>
              <a:gd name="connsiteY2370" fmla="*/ 420222 h 11747497"/>
              <a:gd name="connsiteX2371" fmla="*/ 117559 w 4838702"/>
              <a:gd name="connsiteY2371" fmla="*/ 434283 h 11747497"/>
              <a:gd name="connsiteX2372" fmla="*/ 114767 w 4838702"/>
              <a:gd name="connsiteY2372" fmla="*/ 600517 h 11747497"/>
              <a:gd name="connsiteX2373" fmla="*/ 92837 w 4838702"/>
              <a:gd name="connsiteY2373" fmla="*/ 627640 h 11747497"/>
              <a:gd name="connsiteX2374" fmla="*/ 93562 w 4838702"/>
              <a:gd name="connsiteY2374" fmla="*/ 502891 h 11747497"/>
              <a:gd name="connsiteX2375" fmla="*/ 100906 w 4838702"/>
              <a:gd name="connsiteY2375" fmla="*/ 489228 h 11747497"/>
              <a:gd name="connsiteX2376" fmla="*/ 101319 w 4838702"/>
              <a:gd name="connsiteY2376" fmla="*/ 419924 h 11747497"/>
              <a:gd name="connsiteX2377" fmla="*/ 103285 w 4838702"/>
              <a:gd name="connsiteY2377" fmla="*/ 392301 h 11747497"/>
              <a:gd name="connsiteX2378" fmla="*/ 103388 w 4838702"/>
              <a:gd name="connsiteY2378" fmla="*/ 378440 h 11747497"/>
              <a:gd name="connsiteX2379" fmla="*/ 103699 w 4838702"/>
              <a:gd name="connsiteY2379" fmla="*/ 322995 h 11747497"/>
              <a:gd name="connsiteX2380" fmla="*/ 105923 w 4838702"/>
              <a:gd name="connsiteY2380" fmla="*/ 253790 h 11747497"/>
              <a:gd name="connsiteX2381" fmla="*/ 106077 w 4838702"/>
              <a:gd name="connsiteY2381" fmla="*/ 226067 h 11747497"/>
              <a:gd name="connsiteX2382" fmla="*/ 106491 w 4838702"/>
              <a:gd name="connsiteY2382" fmla="*/ 156761 h 11747497"/>
              <a:gd name="connsiteX2383" fmla="*/ 110267 w 4838702"/>
              <a:gd name="connsiteY2383" fmla="*/ 129140 h 11747497"/>
              <a:gd name="connsiteX2384" fmla="*/ 114042 w 4838702"/>
              <a:gd name="connsiteY2384" fmla="*/ 101517 h 11747497"/>
              <a:gd name="connsiteX2385" fmla="*/ 115956 w 4838702"/>
              <a:gd name="connsiteY2385" fmla="*/ 87756 h 11747497"/>
              <a:gd name="connsiteX2386" fmla="*/ 116060 w 4838702"/>
              <a:gd name="connsiteY2386" fmla="*/ 73596 h 11747497"/>
              <a:gd name="connsiteX2387" fmla="*/ 107629 w 4838702"/>
              <a:gd name="connsiteY2387" fmla="*/ 79777 h 11747497"/>
              <a:gd name="connsiteX2388" fmla="*/ 93872 w 4838702"/>
              <a:gd name="connsiteY2388" fmla="*/ 73197 h 11747497"/>
              <a:gd name="connsiteX2389" fmla="*/ 89269 w 4838702"/>
              <a:gd name="connsiteY2389" fmla="*/ 79777 h 11747497"/>
              <a:gd name="connsiteX2390" fmla="*/ 61805 w 4838702"/>
              <a:gd name="connsiteY2390" fmla="*/ 86359 h 11747497"/>
              <a:gd name="connsiteX2391" fmla="*/ 59323 w 4838702"/>
              <a:gd name="connsiteY2391" fmla="*/ 141604 h 11747497"/>
              <a:gd name="connsiteX2392" fmla="*/ 61443 w 4838702"/>
              <a:gd name="connsiteY2392" fmla="*/ 86260 h 11747497"/>
              <a:gd name="connsiteX2393" fmla="*/ 52547 w 4838702"/>
              <a:gd name="connsiteY2393" fmla="*/ 79777 h 11747497"/>
              <a:gd name="connsiteX2394" fmla="*/ 47996 w 4838702"/>
              <a:gd name="connsiteY2394" fmla="*/ 86359 h 11747497"/>
              <a:gd name="connsiteX2395" fmla="*/ 36204 w 4838702"/>
              <a:gd name="connsiteY2395" fmla="*/ 88753 h 11747497"/>
              <a:gd name="connsiteX2396" fmla="*/ 36049 w 4838702"/>
              <a:gd name="connsiteY2396" fmla="*/ 112685 h 11747497"/>
              <a:gd name="connsiteX2397" fmla="*/ 30049 w 4838702"/>
              <a:gd name="connsiteY2397" fmla="*/ 133926 h 11747497"/>
              <a:gd name="connsiteX2398" fmla="*/ 34394 w 4838702"/>
              <a:gd name="connsiteY2398" fmla="*/ 138214 h 11747497"/>
              <a:gd name="connsiteX2399" fmla="*/ 29739 w 4838702"/>
              <a:gd name="connsiteY2399" fmla="*/ 137018 h 11747497"/>
              <a:gd name="connsiteX2400" fmla="*/ 26429 w 4838702"/>
              <a:gd name="connsiteY2400" fmla="*/ 209513 h 11747497"/>
              <a:gd name="connsiteX2401" fmla="*/ 35273 w 4838702"/>
              <a:gd name="connsiteY2401" fmla="*/ 251297 h 11747497"/>
              <a:gd name="connsiteX2402" fmla="*/ 34498 w 4838702"/>
              <a:gd name="connsiteY2402" fmla="*/ 389907 h 11747497"/>
              <a:gd name="connsiteX2403" fmla="*/ 41428 w 4838702"/>
              <a:gd name="connsiteY2403" fmla="*/ 445551 h 11747497"/>
              <a:gd name="connsiteX2404" fmla="*/ 41169 w 4838702"/>
              <a:gd name="connsiteY2404" fmla="*/ 487135 h 11747497"/>
              <a:gd name="connsiteX2405" fmla="*/ 40755 w 4838702"/>
              <a:gd name="connsiteY2405" fmla="*/ 556439 h 11747497"/>
              <a:gd name="connsiteX2406" fmla="*/ 35015 w 4838702"/>
              <a:gd name="connsiteY2406" fmla="*/ 611685 h 11747497"/>
              <a:gd name="connsiteX2407" fmla="*/ 34859 w 4838702"/>
              <a:gd name="connsiteY2407" fmla="*/ 639407 h 11747497"/>
              <a:gd name="connsiteX2408" fmla="*/ 32946 w 4838702"/>
              <a:gd name="connsiteY2408" fmla="*/ 653168 h 11747497"/>
              <a:gd name="connsiteX2409" fmla="*/ 34601 w 4838702"/>
              <a:gd name="connsiteY2409" fmla="*/ 680890 h 11747497"/>
              <a:gd name="connsiteX2410" fmla="*/ 35946 w 4838702"/>
              <a:gd name="connsiteY2410" fmla="*/ 764057 h 11747497"/>
              <a:gd name="connsiteX2411" fmla="*/ 29636 w 4838702"/>
              <a:gd name="connsiteY2411" fmla="*/ 916430 h 11747497"/>
              <a:gd name="connsiteX2412" fmla="*/ 20482 w 4838702"/>
              <a:gd name="connsiteY2412" fmla="*/ 929991 h 11747497"/>
              <a:gd name="connsiteX2413" fmla="*/ 20067 w 4838702"/>
              <a:gd name="connsiteY2413" fmla="*/ 999296 h 11747497"/>
              <a:gd name="connsiteX2414" fmla="*/ 16447 w 4838702"/>
              <a:gd name="connsiteY2414" fmla="*/ 999197 h 11747497"/>
              <a:gd name="connsiteX2415" fmla="*/ 14016 w 4838702"/>
              <a:gd name="connsiteY2415" fmla="*/ 1109985 h 11747497"/>
              <a:gd name="connsiteX2416" fmla="*/ 8586 w 4838702"/>
              <a:gd name="connsiteY2416" fmla="*/ 1109787 h 11747497"/>
              <a:gd name="connsiteX2417" fmla="*/ 10086 w 4838702"/>
              <a:gd name="connsiteY2417" fmla="*/ 1165230 h 11747497"/>
              <a:gd name="connsiteX2418" fmla="*/ 6155 w 4838702"/>
              <a:gd name="connsiteY2418" fmla="*/ 1220575 h 11747497"/>
              <a:gd name="connsiteX2419" fmla="*/ 11378 w 4838702"/>
              <a:gd name="connsiteY2419" fmla="*/ 1262358 h 11747497"/>
              <a:gd name="connsiteX2420" fmla="*/ 10810 w 4838702"/>
              <a:gd name="connsiteY2420" fmla="*/ 1359386 h 11747497"/>
              <a:gd name="connsiteX2421" fmla="*/ 6465 w 4838702"/>
              <a:gd name="connsiteY2421" fmla="*/ 1369457 h 11747497"/>
              <a:gd name="connsiteX2422" fmla="*/ 6879 w 4838702"/>
              <a:gd name="connsiteY2422" fmla="*/ 1368759 h 11747497"/>
              <a:gd name="connsiteX2423" fmla="*/ 20636 w 4838702"/>
              <a:gd name="connsiteY2423" fmla="*/ 1368759 h 11747497"/>
              <a:gd name="connsiteX2424" fmla="*/ 25240 w 4838702"/>
              <a:gd name="connsiteY2424" fmla="*/ 1375341 h 11747497"/>
              <a:gd name="connsiteX2425" fmla="*/ 31342 w 4838702"/>
              <a:gd name="connsiteY2425" fmla="*/ 1375839 h 11747497"/>
              <a:gd name="connsiteX2426" fmla="*/ 31342 w 4838702"/>
              <a:gd name="connsiteY2426" fmla="*/ 1410243 h 11747497"/>
              <a:gd name="connsiteX2427" fmla="*/ 25240 w 4838702"/>
              <a:gd name="connsiteY2427" fmla="*/ 1421211 h 11747497"/>
              <a:gd name="connsiteX2428" fmla="*/ 31342 w 4838702"/>
              <a:gd name="connsiteY2428" fmla="*/ 1425001 h 11747497"/>
              <a:gd name="connsiteX2429" fmla="*/ 31342 w 4838702"/>
              <a:gd name="connsiteY2429" fmla="*/ 1433477 h 11747497"/>
              <a:gd name="connsiteX2430" fmla="*/ 3982 w 4838702"/>
              <a:gd name="connsiteY2430" fmla="*/ 1430486 h 11747497"/>
              <a:gd name="connsiteX2431" fmla="*/ 3052 w 4838702"/>
              <a:gd name="connsiteY2431" fmla="*/ 1451726 h 11747497"/>
              <a:gd name="connsiteX2432" fmla="*/ 20689 w 4838702"/>
              <a:gd name="connsiteY2432" fmla="*/ 1473564 h 11747497"/>
              <a:gd name="connsiteX2433" fmla="*/ 23274 w 4838702"/>
              <a:gd name="connsiteY2433" fmla="*/ 1473066 h 11747497"/>
              <a:gd name="connsiteX2434" fmla="*/ 28032 w 4838702"/>
              <a:gd name="connsiteY2434" fmla="*/ 1472469 h 11747497"/>
              <a:gd name="connsiteX2435" fmla="*/ 31395 w 4838702"/>
              <a:gd name="connsiteY2435" fmla="*/ 1472568 h 11747497"/>
              <a:gd name="connsiteX2436" fmla="*/ 31395 w 4838702"/>
              <a:gd name="connsiteY2436" fmla="*/ 1511359 h 11747497"/>
              <a:gd name="connsiteX2437" fmla="*/ 16137 w 4838702"/>
              <a:gd name="connsiteY2437" fmla="*/ 1506273 h 11747497"/>
              <a:gd name="connsiteX2438" fmla="*/ 725 w 4838702"/>
              <a:gd name="connsiteY2438" fmla="*/ 1498993 h 11747497"/>
              <a:gd name="connsiteX2439" fmla="*/ 0 w 4838702"/>
              <a:gd name="connsiteY2439" fmla="*/ 1526118 h 11747497"/>
              <a:gd name="connsiteX2440" fmla="*/ 2431 w 4838702"/>
              <a:gd name="connsiteY2440" fmla="*/ 1525917 h 11747497"/>
              <a:gd name="connsiteX2441" fmla="*/ 7034 w 4838702"/>
              <a:gd name="connsiteY2441" fmla="*/ 1532500 h 11747497"/>
              <a:gd name="connsiteX2442" fmla="*/ 29998 w 4838702"/>
              <a:gd name="connsiteY2442" fmla="*/ 1539082 h 11747497"/>
              <a:gd name="connsiteX2443" fmla="*/ 31498 w 4838702"/>
              <a:gd name="connsiteY2443" fmla="*/ 1539679 h 11747497"/>
              <a:gd name="connsiteX2444" fmla="*/ 31498 w 4838702"/>
              <a:gd name="connsiteY2444" fmla="*/ 1739319 h 11747497"/>
              <a:gd name="connsiteX2445" fmla="*/ 34135 w 4838702"/>
              <a:gd name="connsiteY2445" fmla="*/ 1748294 h 11747497"/>
              <a:gd name="connsiteX2446" fmla="*/ 31498 w 4838702"/>
              <a:gd name="connsiteY2446" fmla="*/ 1784292 h 11747497"/>
              <a:gd name="connsiteX2447" fmla="*/ 31498 w 4838702"/>
              <a:gd name="connsiteY2447" fmla="*/ 2150564 h 11747497"/>
              <a:gd name="connsiteX2448" fmla="*/ 31704 w 4838702"/>
              <a:gd name="connsiteY2448" fmla="*/ 2113767 h 11747497"/>
              <a:gd name="connsiteX2449" fmla="*/ 35066 w 4838702"/>
              <a:gd name="connsiteY2449" fmla="*/ 2023620 h 11747497"/>
              <a:gd name="connsiteX2450" fmla="*/ 35428 w 4838702"/>
              <a:gd name="connsiteY2450" fmla="*/ 1958603 h 11747497"/>
              <a:gd name="connsiteX2451" fmla="*/ 40497 w 4838702"/>
              <a:gd name="connsiteY2451" fmla="*/ 1900965 h 11747497"/>
              <a:gd name="connsiteX2452" fmla="*/ 46548 w 4838702"/>
              <a:gd name="connsiteY2452" fmla="*/ 1836246 h 11747497"/>
              <a:gd name="connsiteX2453" fmla="*/ 47634 w 4838702"/>
              <a:gd name="connsiteY2453" fmla="*/ 1928887 h 11747497"/>
              <a:gd name="connsiteX2454" fmla="*/ 45048 w 4838702"/>
              <a:gd name="connsiteY2454" fmla="*/ 2067498 h 11747497"/>
              <a:gd name="connsiteX2455" fmla="*/ 43135 w 4838702"/>
              <a:gd name="connsiteY2455" fmla="*/ 2081259 h 11747497"/>
              <a:gd name="connsiteX2456" fmla="*/ 44635 w 4838702"/>
              <a:gd name="connsiteY2456" fmla="*/ 2136703 h 11747497"/>
              <a:gd name="connsiteX2457" fmla="*/ 42721 w 4838702"/>
              <a:gd name="connsiteY2457" fmla="*/ 2150465 h 11747497"/>
              <a:gd name="connsiteX2458" fmla="*/ 43962 w 4838702"/>
              <a:gd name="connsiteY2458" fmla="*/ 2247592 h 11747497"/>
              <a:gd name="connsiteX2459" fmla="*/ 43652 w 4838702"/>
              <a:gd name="connsiteY2459" fmla="*/ 2303036 h 11747497"/>
              <a:gd name="connsiteX2460" fmla="*/ 37962 w 4838702"/>
              <a:gd name="connsiteY2460" fmla="*/ 2344421 h 11747497"/>
              <a:gd name="connsiteX2461" fmla="*/ 35532 w 4838702"/>
              <a:gd name="connsiteY2461" fmla="*/ 2455309 h 11747497"/>
              <a:gd name="connsiteX2462" fmla="*/ 31498 w 4838702"/>
              <a:gd name="connsiteY2462" fmla="*/ 2453015 h 11747497"/>
              <a:gd name="connsiteX2463" fmla="*/ 31498 w 4838702"/>
              <a:gd name="connsiteY2463" fmla="*/ 2489911 h 11747497"/>
              <a:gd name="connsiteX2464" fmla="*/ 35377 w 4838702"/>
              <a:gd name="connsiteY2464" fmla="*/ 2483031 h 11747497"/>
              <a:gd name="connsiteX2465" fmla="*/ 34911 w 4838702"/>
              <a:gd name="connsiteY2465" fmla="*/ 2566197 h 11747497"/>
              <a:gd name="connsiteX2466" fmla="*/ 31498 w 4838702"/>
              <a:gd name="connsiteY2466" fmla="*/ 2568491 h 11747497"/>
              <a:gd name="connsiteX2467" fmla="*/ 31498 w 4838702"/>
              <a:gd name="connsiteY2467" fmla="*/ 2621542 h 11747497"/>
              <a:gd name="connsiteX2468" fmla="*/ 34601 w 4838702"/>
              <a:gd name="connsiteY2468" fmla="*/ 2621641 h 11747497"/>
              <a:gd name="connsiteX2469" fmla="*/ 34445 w 4838702"/>
              <a:gd name="connsiteY2469" fmla="*/ 2649364 h 11747497"/>
              <a:gd name="connsiteX2470" fmla="*/ 31498 w 4838702"/>
              <a:gd name="connsiteY2470" fmla="*/ 2649265 h 11747497"/>
              <a:gd name="connsiteX2471" fmla="*/ 31498 w 4838702"/>
              <a:gd name="connsiteY2471" fmla="*/ 2722957 h 11747497"/>
              <a:gd name="connsiteX2472" fmla="*/ 33980 w 4838702"/>
              <a:gd name="connsiteY2472" fmla="*/ 2732531 h 11747497"/>
              <a:gd name="connsiteX2473" fmla="*/ 31498 w 4838702"/>
              <a:gd name="connsiteY2473" fmla="*/ 2792463 h 11747497"/>
              <a:gd name="connsiteX2474" fmla="*/ 31498 w 4838702"/>
              <a:gd name="connsiteY2474" fmla="*/ 3407136 h 11747497"/>
              <a:gd name="connsiteX2475" fmla="*/ 35377 w 4838702"/>
              <a:gd name="connsiteY2475" fmla="*/ 3439645 h 11747497"/>
              <a:gd name="connsiteX2476" fmla="*/ 31498 w 4838702"/>
              <a:gd name="connsiteY2476" fmla="*/ 3505959 h 11747497"/>
              <a:gd name="connsiteX2477" fmla="*/ 31498 w 4838702"/>
              <a:gd name="connsiteY2477" fmla="*/ 3592017 h 11747497"/>
              <a:gd name="connsiteX2478" fmla="*/ 40031 w 4838702"/>
              <a:gd name="connsiteY2478" fmla="*/ 3578455 h 11747497"/>
              <a:gd name="connsiteX2479" fmla="*/ 34652 w 4838702"/>
              <a:gd name="connsiteY2479" fmla="*/ 3564396 h 11747497"/>
              <a:gd name="connsiteX2480" fmla="*/ 45721 w 4838702"/>
              <a:gd name="connsiteY2480" fmla="*/ 3536973 h 11747497"/>
              <a:gd name="connsiteX2481" fmla="*/ 42307 w 4838702"/>
              <a:gd name="connsiteY2481" fmla="*/ 3495288 h 11747497"/>
              <a:gd name="connsiteX2482" fmla="*/ 53375 w 4838702"/>
              <a:gd name="connsiteY2482" fmla="*/ 3467865 h 11747497"/>
              <a:gd name="connsiteX2483" fmla="*/ 51151 w 4838702"/>
              <a:gd name="connsiteY2483" fmla="*/ 3537072 h 11747497"/>
              <a:gd name="connsiteX2484" fmla="*/ 54720 w 4838702"/>
              <a:gd name="connsiteY2484" fmla="*/ 3551033 h 11747497"/>
              <a:gd name="connsiteX2485" fmla="*/ 49134 w 4838702"/>
              <a:gd name="connsiteY2485" fmla="*/ 3578555 h 11747497"/>
              <a:gd name="connsiteX2486" fmla="*/ 50479 w 4838702"/>
              <a:gd name="connsiteY2486" fmla="*/ 3661821 h 11747497"/>
              <a:gd name="connsiteX2487" fmla="*/ 54255 w 4838702"/>
              <a:gd name="connsiteY2487" fmla="*/ 3634200 h 11747497"/>
              <a:gd name="connsiteX2488" fmla="*/ 57875 w 4838702"/>
              <a:gd name="connsiteY2488" fmla="*/ 3634299 h 11747497"/>
              <a:gd name="connsiteX2489" fmla="*/ 58030 w 4838702"/>
              <a:gd name="connsiteY2489" fmla="*/ 3606577 h 11747497"/>
              <a:gd name="connsiteX2490" fmla="*/ 63564 w 4838702"/>
              <a:gd name="connsiteY2490" fmla="*/ 3592815 h 11747497"/>
              <a:gd name="connsiteX2491" fmla="*/ 58288 w 4838702"/>
              <a:gd name="connsiteY2491" fmla="*/ 3564993 h 11747497"/>
              <a:gd name="connsiteX2492" fmla="*/ 69253 w 4838702"/>
              <a:gd name="connsiteY2492" fmla="*/ 3551431 h 11747497"/>
              <a:gd name="connsiteX2493" fmla="*/ 70753 w 4838702"/>
              <a:gd name="connsiteY2493" fmla="*/ 3606876 h 11747497"/>
              <a:gd name="connsiteX2494" fmla="*/ 66977 w 4838702"/>
              <a:gd name="connsiteY2494" fmla="*/ 3634498 h 11747497"/>
              <a:gd name="connsiteX2495" fmla="*/ 68064 w 4838702"/>
              <a:gd name="connsiteY2495" fmla="*/ 3759249 h 11747497"/>
              <a:gd name="connsiteX2496" fmla="*/ 66460 w 4838702"/>
              <a:gd name="connsiteY2496" fmla="*/ 3717566 h 11747497"/>
              <a:gd name="connsiteX2497" fmla="*/ 63047 w 4838702"/>
              <a:gd name="connsiteY2497" fmla="*/ 3675883 h 11747497"/>
              <a:gd name="connsiteX2498" fmla="*/ 61392 w 4838702"/>
              <a:gd name="connsiteY2498" fmla="*/ 3648160 h 11747497"/>
              <a:gd name="connsiteX2499" fmla="*/ 57772 w 4838702"/>
              <a:gd name="connsiteY2499" fmla="*/ 3648060 h 11747497"/>
              <a:gd name="connsiteX2500" fmla="*/ 57202 w 4838702"/>
              <a:gd name="connsiteY2500" fmla="*/ 3745088 h 11747497"/>
              <a:gd name="connsiteX2501" fmla="*/ 56478 w 4838702"/>
              <a:gd name="connsiteY2501" fmla="*/ 3869837 h 11747497"/>
              <a:gd name="connsiteX2502" fmla="*/ 57978 w 4838702"/>
              <a:gd name="connsiteY2502" fmla="*/ 3925282 h 11747497"/>
              <a:gd name="connsiteX2503" fmla="*/ 54668 w 4838702"/>
              <a:gd name="connsiteY2503" fmla="*/ 4188542 h 11747497"/>
              <a:gd name="connsiteX2504" fmla="*/ 69357 w 4838702"/>
              <a:gd name="connsiteY2504" fmla="*/ 4161219 h 11747497"/>
              <a:gd name="connsiteX2505" fmla="*/ 68115 w 4838702"/>
              <a:gd name="connsiteY2505" fmla="*/ 4064092 h 11747497"/>
              <a:gd name="connsiteX2506" fmla="*/ 70184 w 4838702"/>
              <a:gd name="connsiteY2506" fmla="*/ 4022509 h 11747497"/>
              <a:gd name="connsiteX2507" fmla="*/ 70339 w 4838702"/>
              <a:gd name="connsiteY2507" fmla="*/ 3994787 h 11747497"/>
              <a:gd name="connsiteX2508" fmla="*/ 70598 w 4838702"/>
              <a:gd name="connsiteY2508" fmla="*/ 3953203 h 11747497"/>
              <a:gd name="connsiteX2509" fmla="*/ 73029 w 4838702"/>
              <a:gd name="connsiteY2509" fmla="*/ 3842414 h 11747497"/>
              <a:gd name="connsiteX2510" fmla="*/ 75149 w 4838702"/>
              <a:gd name="connsiteY2510" fmla="*/ 3787070 h 11747497"/>
              <a:gd name="connsiteX2511" fmla="*/ 85545 w 4838702"/>
              <a:gd name="connsiteY2511" fmla="*/ 3870535 h 11747497"/>
              <a:gd name="connsiteX2512" fmla="*/ 85855 w 4838702"/>
              <a:gd name="connsiteY2512" fmla="*/ 3815091 h 11747497"/>
              <a:gd name="connsiteX2513" fmla="*/ 87924 w 4838702"/>
              <a:gd name="connsiteY2513" fmla="*/ 3773509 h 11747497"/>
              <a:gd name="connsiteX2514" fmla="*/ 86320 w 4838702"/>
              <a:gd name="connsiteY2514" fmla="*/ 3731925 h 11747497"/>
              <a:gd name="connsiteX2515" fmla="*/ 87407 w 4838702"/>
              <a:gd name="connsiteY2515" fmla="*/ 3537870 h 11747497"/>
              <a:gd name="connsiteX2516" fmla="*/ 86010 w 4838702"/>
              <a:gd name="connsiteY2516" fmla="*/ 3468564 h 11747497"/>
              <a:gd name="connsiteX2517" fmla="*/ 87924 w 4838702"/>
              <a:gd name="connsiteY2517" fmla="*/ 3454703 h 11747497"/>
              <a:gd name="connsiteX2518" fmla="*/ 90769 w 4838702"/>
              <a:gd name="connsiteY2518" fmla="*/ 3274608 h 11747497"/>
              <a:gd name="connsiteX2519" fmla="*/ 95837 w 4838702"/>
              <a:gd name="connsiteY2519" fmla="*/ 3344013 h 11747497"/>
              <a:gd name="connsiteX2520" fmla="*/ 99613 w 4838702"/>
              <a:gd name="connsiteY2520" fmla="*/ 3316391 h 11747497"/>
              <a:gd name="connsiteX2521" fmla="*/ 108715 w 4838702"/>
              <a:gd name="connsiteY2521" fmla="*/ 3316690 h 11747497"/>
              <a:gd name="connsiteX2522" fmla="*/ 107267 w 4838702"/>
              <a:gd name="connsiteY2522" fmla="*/ 3247385 h 11747497"/>
              <a:gd name="connsiteX2523" fmla="*/ 98009 w 4838702"/>
              <a:gd name="connsiteY2523" fmla="*/ 3274907 h 11747497"/>
              <a:gd name="connsiteX2524" fmla="*/ 100389 w 4838702"/>
              <a:gd name="connsiteY2524" fmla="*/ 3177980 h 11747497"/>
              <a:gd name="connsiteX2525" fmla="*/ 105767 w 4838702"/>
              <a:gd name="connsiteY2525" fmla="*/ 3191940 h 11747497"/>
              <a:gd name="connsiteX2526" fmla="*/ 109698 w 4838702"/>
              <a:gd name="connsiteY2526" fmla="*/ 3136596 h 11747497"/>
              <a:gd name="connsiteX2527" fmla="*/ 111042 w 4838702"/>
              <a:gd name="connsiteY2527" fmla="*/ 3219762 h 11747497"/>
              <a:gd name="connsiteX2528" fmla="*/ 117094 w 4838702"/>
              <a:gd name="connsiteY2528" fmla="*/ 3109073 h 11747497"/>
              <a:gd name="connsiteX2529" fmla="*/ 100906 w 4838702"/>
              <a:gd name="connsiteY2529" fmla="*/ 3080852 h 11747497"/>
              <a:gd name="connsiteX2530" fmla="*/ 95320 w 4838702"/>
              <a:gd name="connsiteY2530" fmla="*/ 3108376 h 11747497"/>
              <a:gd name="connsiteX2531" fmla="*/ 86631 w 4838702"/>
              <a:gd name="connsiteY2531" fmla="*/ 3038870 h 11747497"/>
              <a:gd name="connsiteX2532" fmla="*/ 89062 w 4838702"/>
              <a:gd name="connsiteY2532" fmla="*/ 2927981 h 11747497"/>
              <a:gd name="connsiteX2533" fmla="*/ 105509 w 4838702"/>
              <a:gd name="connsiteY2533" fmla="*/ 2914619 h 11747497"/>
              <a:gd name="connsiteX2534" fmla="*/ 104940 w 4838702"/>
              <a:gd name="connsiteY2534" fmla="*/ 3011647 h 11747497"/>
              <a:gd name="connsiteX2535" fmla="*/ 112129 w 4838702"/>
              <a:gd name="connsiteY2535" fmla="*/ 3025707 h 11747497"/>
              <a:gd name="connsiteX2536" fmla="*/ 115904 w 4838702"/>
              <a:gd name="connsiteY2536" fmla="*/ 2998085 h 11747497"/>
              <a:gd name="connsiteX2537" fmla="*/ 112491 w 4838702"/>
              <a:gd name="connsiteY2537" fmla="*/ 2956402 h 11747497"/>
              <a:gd name="connsiteX2538" fmla="*/ 109698 w 4838702"/>
              <a:gd name="connsiteY2538" fmla="*/ 2803830 h 11747497"/>
              <a:gd name="connsiteX2539" fmla="*/ 107578 w 4838702"/>
              <a:gd name="connsiteY2539" fmla="*/ 2859275 h 11747497"/>
              <a:gd name="connsiteX2540" fmla="*/ 106130 w 4838702"/>
              <a:gd name="connsiteY2540" fmla="*/ 2789869 h 11747497"/>
              <a:gd name="connsiteX2541" fmla="*/ 96975 w 4838702"/>
              <a:gd name="connsiteY2541" fmla="*/ 2803530 h 11747497"/>
              <a:gd name="connsiteX2542" fmla="*/ 93096 w 4838702"/>
              <a:gd name="connsiteY2542" fmla="*/ 2845015 h 11747497"/>
              <a:gd name="connsiteX2543" fmla="*/ 93406 w 4838702"/>
              <a:gd name="connsiteY2543" fmla="*/ 2789570 h 11747497"/>
              <a:gd name="connsiteX2544" fmla="*/ 95475 w 4838702"/>
              <a:gd name="connsiteY2544" fmla="*/ 2748087 h 11747497"/>
              <a:gd name="connsiteX2545" fmla="*/ 93923 w 4838702"/>
              <a:gd name="connsiteY2545" fmla="*/ 2706404 h 11747497"/>
              <a:gd name="connsiteX2546" fmla="*/ 96923 w 4838702"/>
              <a:gd name="connsiteY2546" fmla="*/ 2498587 h 11747497"/>
              <a:gd name="connsiteX2547" fmla="*/ 100543 w 4838702"/>
              <a:gd name="connsiteY2547" fmla="*/ 2498686 h 11747497"/>
              <a:gd name="connsiteX2548" fmla="*/ 99457 w 4838702"/>
              <a:gd name="connsiteY2548" fmla="*/ 2373937 h 11747497"/>
              <a:gd name="connsiteX2549" fmla="*/ 104733 w 4838702"/>
              <a:gd name="connsiteY2549" fmla="*/ 2401759 h 11747497"/>
              <a:gd name="connsiteX2550" fmla="*/ 110267 w 4838702"/>
              <a:gd name="connsiteY2550" fmla="*/ 2387997 h 11747497"/>
              <a:gd name="connsiteX2551" fmla="*/ 113836 w 4838702"/>
              <a:gd name="connsiteY2551" fmla="*/ 2401959 h 11747497"/>
              <a:gd name="connsiteX2552" fmla="*/ 124800 w 4838702"/>
              <a:gd name="connsiteY2552" fmla="*/ 2388396 h 11747497"/>
              <a:gd name="connsiteX2553" fmla="*/ 123714 w 4838702"/>
              <a:gd name="connsiteY2553" fmla="*/ 2263647 h 11747497"/>
              <a:gd name="connsiteX2554" fmla="*/ 119835 w 4838702"/>
              <a:gd name="connsiteY2554" fmla="*/ 2305131 h 11747497"/>
              <a:gd name="connsiteX2555" fmla="*/ 122111 w 4838702"/>
              <a:gd name="connsiteY2555" fmla="*/ 2222063 h 11747497"/>
              <a:gd name="connsiteX2556" fmla="*/ 120766 w 4838702"/>
              <a:gd name="connsiteY2556" fmla="*/ 2138798 h 11747497"/>
              <a:gd name="connsiteX2557" fmla="*/ 124542 w 4838702"/>
              <a:gd name="connsiteY2557" fmla="*/ 2111175 h 11747497"/>
              <a:gd name="connsiteX2558" fmla="*/ 128317 w 4838702"/>
              <a:gd name="connsiteY2558" fmla="*/ 2083552 h 11747497"/>
              <a:gd name="connsiteX2559" fmla="*/ 131575 w 4838702"/>
              <a:gd name="connsiteY2559" fmla="*/ 2152957 h 11747497"/>
              <a:gd name="connsiteX2560" fmla="*/ 129300 w 4838702"/>
              <a:gd name="connsiteY2560" fmla="*/ 2236025 h 11747497"/>
              <a:gd name="connsiteX2561" fmla="*/ 138402 w 4838702"/>
              <a:gd name="connsiteY2561" fmla="*/ 2236323 h 11747497"/>
              <a:gd name="connsiteX2562" fmla="*/ 136282 w 4838702"/>
              <a:gd name="connsiteY2562" fmla="*/ 2291669 h 11747497"/>
              <a:gd name="connsiteX2563" fmla="*/ 137782 w 4838702"/>
              <a:gd name="connsiteY2563" fmla="*/ 2347213 h 11747497"/>
              <a:gd name="connsiteX2564" fmla="*/ 135868 w 4838702"/>
              <a:gd name="connsiteY2564" fmla="*/ 2360973 h 11747497"/>
              <a:gd name="connsiteX2565" fmla="*/ 135299 w 4838702"/>
              <a:gd name="connsiteY2565" fmla="*/ 2458001 h 11747497"/>
              <a:gd name="connsiteX2566" fmla="*/ 136386 w 4838702"/>
              <a:gd name="connsiteY2566" fmla="*/ 2582751 h 11747497"/>
              <a:gd name="connsiteX2567" fmla="*/ 133748 w 4838702"/>
              <a:gd name="connsiteY2567" fmla="*/ 2721361 h 11747497"/>
              <a:gd name="connsiteX2568" fmla="*/ 124645 w 4838702"/>
              <a:gd name="connsiteY2568" fmla="*/ 2721063 h 11747497"/>
              <a:gd name="connsiteX2569" fmla="*/ 128058 w 4838702"/>
              <a:gd name="connsiteY2569" fmla="*/ 2443940 h 11747497"/>
              <a:gd name="connsiteX2570" fmla="*/ 120559 w 4838702"/>
              <a:gd name="connsiteY2570" fmla="*/ 2485325 h 11747497"/>
              <a:gd name="connsiteX2571" fmla="*/ 120146 w 4838702"/>
              <a:gd name="connsiteY2571" fmla="*/ 2554629 h 11747497"/>
              <a:gd name="connsiteX2572" fmla="*/ 119887 w 4838702"/>
              <a:gd name="connsiteY2572" fmla="*/ 2596213 h 11747497"/>
              <a:gd name="connsiteX2573" fmla="*/ 116163 w 4838702"/>
              <a:gd name="connsiteY2573" fmla="*/ 2609975 h 11747497"/>
              <a:gd name="connsiteX2574" fmla="*/ 114663 w 4838702"/>
              <a:gd name="connsiteY2574" fmla="*/ 2554431 h 11747497"/>
              <a:gd name="connsiteX2575" fmla="*/ 109284 w 4838702"/>
              <a:gd name="connsiteY2575" fmla="*/ 2540470 h 11747497"/>
              <a:gd name="connsiteX2576" fmla="*/ 109698 w 4838702"/>
              <a:gd name="connsiteY2576" fmla="*/ 2471164 h 11747497"/>
              <a:gd name="connsiteX2577" fmla="*/ 104268 w 4838702"/>
              <a:gd name="connsiteY2577" fmla="*/ 2470965 h 11747497"/>
              <a:gd name="connsiteX2578" fmla="*/ 101837 w 4838702"/>
              <a:gd name="connsiteY2578" fmla="*/ 2581754 h 11747497"/>
              <a:gd name="connsiteX2579" fmla="*/ 99561 w 4838702"/>
              <a:gd name="connsiteY2579" fmla="*/ 2664920 h 11747497"/>
              <a:gd name="connsiteX2580" fmla="*/ 112181 w 4838702"/>
              <a:gd name="connsiteY2580" fmla="*/ 2679081 h 11747497"/>
              <a:gd name="connsiteX2581" fmla="*/ 114301 w 4838702"/>
              <a:gd name="connsiteY2581" fmla="*/ 2623636 h 11747497"/>
              <a:gd name="connsiteX2582" fmla="*/ 118077 w 4838702"/>
              <a:gd name="connsiteY2582" fmla="*/ 2914819 h 11747497"/>
              <a:gd name="connsiteX2583" fmla="*/ 123921 w 4838702"/>
              <a:gd name="connsiteY2583" fmla="*/ 2845612 h 11747497"/>
              <a:gd name="connsiteX2584" fmla="*/ 121387 w 4838702"/>
              <a:gd name="connsiteY2584" fmla="*/ 2970263 h 11747497"/>
              <a:gd name="connsiteX2585" fmla="*/ 130541 w 4838702"/>
              <a:gd name="connsiteY2585" fmla="*/ 2956702 h 11747497"/>
              <a:gd name="connsiteX2586" fmla="*/ 128317 w 4838702"/>
              <a:gd name="connsiteY2586" fmla="*/ 3025907 h 11747497"/>
              <a:gd name="connsiteX2587" fmla="*/ 131627 w 4838702"/>
              <a:gd name="connsiteY2587" fmla="*/ 3081451 h 11747497"/>
              <a:gd name="connsiteX2588" fmla="*/ 144402 w 4838702"/>
              <a:gd name="connsiteY2588" fmla="*/ 3067989 h 11747497"/>
              <a:gd name="connsiteX2589" fmla="*/ 140471 w 4838702"/>
              <a:gd name="connsiteY2589" fmla="*/ 3123333 h 11747497"/>
              <a:gd name="connsiteX2590" fmla="*/ 133386 w 4838702"/>
              <a:gd name="connsiteY2590" fmla="*/ 3095412 h 11747497"/>
              <a:gd name="connsiteX2591" fmla="*/ 127696 w 4838702"/>
              <a:gd name="connsiteY2591" fmla="*/ 3136795 h 11747497"/>
              <a:gd name="connsiteX2592" fmla="*/ 131162 w 4838702"/>
              <a:gd name="connsiteY2592" fmla="*/ 3164617 h 11747497"/>
              <a:gd name="connsiteX2593" fmla="*/ 128886 w 4838702"/>
              <a:gd name="connsiteY2593" fmla="*/ 3247685 h 11747497"/>
              <a:gd name="connsiteX2594" fmla="*/ 123197 w 4838702"/>
              <a:gd name="connsiteY2594" fmla="*/ 3289167 h 11747497"/>
              <a:gd name="connsiteX2595" fmla="*/ 123042 w 4838702"/>
              <a:gd name="connsiteY2595" fmla="*/ 3316890 h 11747497"/>
              <a:gd name="connsiteX2596" fmla="*/ 120921 w 4838702"/>
              <a:gd name="connsiteY2596" fmla="*/ 3372335 h 11747497"/>
              <a:gd name="connsiteX2597" fmla="*/ 117146 w 4838702"/>
              <a:gd name="connsiteY2597" fmla="*/ 3399956 h 11747497"/>
              <a:gd name="connsiteX2598" fmla="*/ 118180 w 4838702"/>
              <a:gd name="connsiteY2598" fmla="*/ 3538567 h 11747497"/>
              <a:gd name="connsiteX2599" fmla="*/ 118025 w 4838702"/>
              <a:gd name="connsiteY2599" fmla="*/ 3566289 h 11747497"/>
              <a:gd name="connsiteX2600" fmla="*/ 110784 w 4838702"/>
              <a:gd name="connsiteY2600" fmla="*/ 3566090 h 11747497"/>
              <a:gd name="connsiteX2601" fmla="*/ 105354 w 4838702"/>
              <a:gd name="connsiteY2601" fmla="*/ 3565890 h 11747497"/>
              <a:gd name="connsiteX2602" fmla="*/ 108198 w 4838702"/>
              <a:gd name="connsiteY2602" fmla="*/ 3385797 h 11747497"/>
              <a:gd name="connsiteX2603" fmla="*/ 102974 w 4838702"/>
              <a:gd name="connsiteY2603" fmla="*/ 3344013 h 11747497"/>
              <a:gd name="connsiteX2604" fmla="*/ 99199 w 4838702"/>
              <a:gd name="connsiteY2604" fmla="*/ 3371636 h 11747497"/>
              <a:gd name="connsiteX2605" fmla="*/ 95631 w 4838702"/>
              <a:gd name="connsiteY2605" fmla="*/ 3357675 h 11747497"/>
              <a:gd name="connsiteX2606" fmla="*/ 91027 w 4838702"/>
              <a:gd name="connsiteY2606" fmla="*/ 3523908 h 11747497"/>
              <a:gd name="connsiteX2607" fmla="*/ 96303 w 4838702"/>
              <a:gd name="connsiteY2607" fmla="*/ 3551830 h 11747497"/>
              <a:gd name="connsiteX2608" fmla="*/ 92527 w 4838702"/>
              <a:gd name="connsiteY2608" fmla="*/ 3579453 h 11747497"/>
              <a:gd name="connsiteX2609" fmla="*/ 94027 w 4838702"/>
              <a:gd name="connsiteY2609" fmla="*/ 3634897 h 11747497"/>
              <a:gd name="connsiteX2610" fmla="*/ 92217 w 4838702"/>
              <a:gd name="connsiteY2610" fmla="*/ 3634797 h 11747497"/>
              <a:gd name="connsiteX2611" fmla="*/ 91751 w 4838702"/>
              <a:gd name="connsiteY2611" fmla="*/ 3717964 h 11747497"/>
              <a:gd name="connsiteX2612" fmla="*/ 89683 w 4838702"/>
              <a:gd name="connsiteY2612" fmla="*/ 3759547 h 11747497"/>
              <a:gd name="connsiteX2613" fmla="*/ 89062 w 4838702"/>
              <a:gd name="connsiteY2613" fmla="*/ 3870436 h 11747497"/>
              <a:gd name="connsiteX2614" fmla="*/ 92165 w 4838702"/>
              <a:gd name="connsiteY2614" fmla="*/ 3967564 h 11747497"/>
              <a:gd name="connsiteX2615" fmla="*/ 81200 w 4838702"/>
              <a:gd name="connsiteY2615" fmla="*/ 3981125 h 11747497"/>
              <a:gd name="connsiteX2616" fmla="*/ 80786 w 4838702"/>
              <a:gd name="connsiteY2616" fmla="*/ 4050430 h 11747497"/>
              <a:gd name="connsiteX2617" fmla="*/ 91699 w 4838702"/>
              <a:gd name="connsiteY2617" fmla="*/ 4050730 h 11747497"/>
              <a:gd name="connsiteX2618" fmla="*/ 95889 w 4838702"/>
              <a:gd name="connsiteY2618" fmla="*/ 3953802 h 11747497"/>
              <a:gd name="connsiteX2619" fmla="*/ 96044 w 4838702"/>
              <a:gd name="connsiteY2619" fmla="*/ 3926080 h 11747497"/>
              <a:gd name="connsiteX2620" fmla="*/ 97854 w 4838702"/>
              <a:gd name="connsiteY2620" fmla="*/ 3926179 h 11747497"/>
              <a:gd name="connsiteX2621" fmla="*/ 94699 w 4838702"/>
              <a:gd name="connsiteY2621" fmla="*/ 3842912 h 11747497"/>
              <a:gd name="connsiteX2622" fmla="*/ 96820 w 4838702"/>
              <a:gd name="connsiteY2622" fmla="*/ 3787569 h 11747497"/>
              <a:gd name="connsiteX2623" fmla="*/ 118698 w 4838702"/>
              <a:gd name="connsiteY2623" fmla="*/ 3774306 h 11747497"/>
              <a:gd name="connsiteX2624" fmla="*/ 111508 w 4838702"/>
              <a:gd name="connsiteY2624" fmla="*/ 3760245 h 11747497"/>
              <a:gd name="connsiteX2625" fmla="*/ 122990 w 4838702"/>
              <a:gd name="connsiteY2625" fmla="*/ 3663516 h 11747497"/>
              <a:gd name="connsiteX2626" fmla="*/ 125680 w 4838702"/>
              <a:gd name="connsiteY2626" fmla="*/ 3511045 h 11747497"/>
              <a:gd name="connsiteX2627" fmla="*/ 134472 w 4838702"/>
              <a:gd name="connsiteY2627" fmla="*/ 3566688 h 11747497"/>
              <a:gd name="connsiteX2628" fmla="*/ 130593 w 4838702"/>
              <a:gd name="connsiteY2628" fmla="*/ 3608172 h 11747497"/>
              <a:gd name="connsiteX2629" fmla="*/ 131938 w 4838702"/>
              <a:gd name="connsiteY2629" fmla="*/ 3691439 h 11747497"/>
              <a:gd name="connsiteX2630" fmla="*/ 120973 w 4838702"/>
              <a:gd name="connsiteY2630" fmla="*/ 3705000 h 11747497"/>
              <a:gd name="connsiteX2631" fmla="*/ 125938 w 4838702"/>
              <a:gd name="connsiteY2631" fmla="*/ 3788366 h 11747497"/>
              <a:gd name="connsiteX2632" fmla="*/ 134989 w 4838702"/>
              <a:gd name="connsiteY2632" fmla="*/ 3788666 h 11747497"/>
              <a:gd name="connsiteX2633" fmla="*/ 131213 w 4838702"/>
              <a:gd name="connsiteY2633" fmla="*/ 3816287 h 11747497"/>
              <a:gd name="connsiteX2634" fmla="*/ 134420 w 4838702"/>
              <a:gd name="connsiteY2634" fmla="*/ 3885693 h 11747497"/>
              <a:gd name="connsiteX2635" fmla="*/ 132507 w 4838702"/>
              <a:gd name="connsiteY2635" fmla="*/ 3899554 h 11747497"/>
              <a:gd name="connsiteX2636" fmla="*/ 132196 w 4838702"/>
              <a:gd name="connsiteY2636" fmla="*/ 3954999 h 11747497"/>
              <a:gd name="connsiteX2637" fmla="*/ 121232 w 4838702"/>
              <a:gd name="connsiteY2637" fmla="*/ 3968560 h 11747497"/>
              <a:gd name="connsiteX2638" fmla="*/ 121645 w 4838702"/>
              <a:gd name="connsiteY2638" fmla="*/ 3899355 h 11747497"/>
              <a:gd name="connsiteX2639" fmla="*/ 109026 w 4838702"/>
              <a:gd name="connsiteY2639" fmla="*/ 3885095 h 11747497"/>
              <a:gd name="connsiteX2640" fmla="*/ 103078 w 4838702"/>
              <a:gd name="connsiteY2640" fmla="*/ 3968062 h 11747497"/>
              <a:gd name="connsiteX2641" fmla="*/ 97492 w 4838702"/>
              <a:gd name="connsiteY2641" fmla="*/ 3995684 h 11747497"/>
              <a:gd name="connsiteX2642" fmla="*/ 99147 w 4838702"/>
              <a:gd name="connsiteY2642" fmla="*/ 4023406 h 11747497"/>
              <a:gd name="connsiteX2643" fmla="*/ 109957 w 4838702"/>
              <a:gd name="connsiteY2643" fmla="*/ 4037567 h 11747497"/>
              <a:gd name="connsiteX2644" fmla="*/ 120714 w 4838702"/>
              <a:gd name="connsiteY2644" fmla="*/ 4065587 h 11747497"/>
              <a:gd name="connsiteX2645" fmla="*/ 129972 w 4838702"/>
              <a:gd name="connsiteY2645" fmla="*/ 4038164 h 11747497"/>
              <a:gd name="connsiteX2646" fmla="*/ 124439 w 4838702"/>
              <a:gd name="connsiteY2646" fmla="*/ 4051926 h 11747497"/>
              <a:gd name="connsiteX2647" fmla="*/ 129817 w 4838702"/>
              <a:gd name="connsiteY2647" fmla="*/ 4065887 h 11747497"/>
              <a:gd name="connsiteX2648" fmla="*/ 115025 w 4838702"/>
              <a:gd name="connsiteY2648" fmla="*/ 4107071 h 11747497"/>
              <a:gd name="connsiteX2649" fmla="*/ 127749 w 4838702"/>
              <a:gd name="connsiteY2649" fmla="*/ 4107470 h 11747497"/>
              <a:gd name="connsiteX2650" fmla="*/ 131162 w 4838702"/>
              <a:gd name="connsiteY2650" fmla="*/ 4149153 h 11747497"/>
              <a:gd name="connsiteX2651" fmla="*/ 127542 w 4838702"/>
              <a:gd name="connsiteY2651" fmla="*/ 4149054 h 11747497"/>
              <a:gd name="connsiteX2652" fmla="*/ 125421 w 4838702"/>
              <a:gd name="connsiteY2652" fmla="*/ 4204398 h 11747497"/>
              <a:gd name="connsiteX2653" fmla="*/ 121542 w 4838702"/>
              <a:gd name="connsiteY2653" fmla="*/ 4245882 h 11747497"/>
              <a:gd name="connsiteX2654" fmla="*/ 130489 w 4838702"/>
              <a:gd name="connsiteY2654" fmla="*/ 4273903 h 11747497"/>
              <a:gd name="connsiteX2655" fmla="*/ 128058 w 4838702"/>
              <a:gd name="connsiteY2655" fmla="*/ 4384691 h 11747497"/>
              <a:gd name="connsiteX2656" fmla="*/ 122473 w 4838702"/>
              <a:gd name="connsiteY2656" fmla="*/ 4412215 h 11747497"/>
              <a:gd name="connsiteX2657" fmla="*/ 126094 w 4838702"/>
              <a:gd name="connsiteY2657" fmla="*/ 4412314 h 11747497"/>
              <a:gd name="connsiteX2658" fmla="*/ 125834 w 4838702"/>
              <a:gd name="connsiteY2658" fmla="*/ 4453898 h 11747497"/>
              <a:gd name="connsiteX2659" fmla="*/ 127335 w 4838702"/>
              <a:gd name="connsiteY2659" fmla="*/ 4509442 h 11747497"/>
              <a:gd name="connsiteX2660" fmla="*/ 125369 w 4838702"/>
              <a:gd name="connsiteY2660" fmla="*/ 4537064 h 11747497"/>
              <a:gd name="connsiteX2661" fmla="*/ 121645 w 4838702"/>
              <a:gd name="connsiteY2661" fmla="*/ 4550826 h 11747497"/>
              <a:gd name="connsiteX2662" fmla="*/ 125111 w 4838702"/>
              <a:gd name="connsiteY2662" fmla="*/ 4578647 h 11747497"/>
              <a:gd name="connsiteX2663" fmla="*/ 124955 w 4838702"/>
              <a:gd name="connsiteY2663" fmla="*/ 4606370 h 11747497"/>
              <a:gd name="connsiteX2664" fmla="*/ 126766 w 4838702"/>
              <a:gd name="connsiteY2664" fmla="*/ 4606469 h 11747497"/>
              <a:gd name="connsiteX2665" fmla="*/ 127955 w 4838702"/>
              <a:gd name="connsiteY2665" fmla="*/ 4717458 h 11747497"/>
              <a:gd name="connsiteX2666" fmla="*/ 126300 w 4838702"/>
              <a:gd name="connsiteY2666" fmla="*/ 4689736 h 11747497"/>
              <a:gd name="connsiteX2667" fmla="*/ 120714 w 4838702"/>
              <a:gd name="connsiteY2667" fmla="*/ 4717258 h 11747497"/>
              <a:gd name="connsiteX2668" fmla="*/ 120611 w 4838702"/>
              <a:gd name="connsiteY2668" fmla="*/ 4731119 h 11747497"/>
              <a:gd name="connsiteX2669" fmla="*/ 111612 w 4838702"/>
              <a:gd name="connsiteY2669" fmla="*/ 4717059 h 11747497"/>
              <a:gd name="connsiteX2670" fmla="*/ 111146 w 4838702"/>
              <a:gd name="connsiteY2670" fmla="*/ 4800226 h 11747497"/>
              <a:gd name="connsiteX2671" fmla="*/ 109233 w 4838702"/>
              <a:gd name="connsiteY2671" fmla="*/ 4813987 h 11747497"/>
              <a:gd name="connsiteX2672" fmla="*/ 108974 w 4838702"/>
              <a:gd name="connsiteY2672" fmla="*/ 4853775 h 11747497"/>
              <a:gd name="connsiteX2673" fmla="*/ 108560 w 4838702"/>
              <a:gd name="connsiteY2673" fmla="*/ 4924876 h 11747497"/>
              <a:gd name="connsiteX2674" fmla="*/ 112025 w 4838702"/>
              <a:gd name="connsiteY2674" fmla="*/ 4952698 h 11747497"/>
              <a:gd name="connsiteX2675" fmla="*/ 118904 w 4838702"/>
              <a:gd name="connsiteY2675" fmla="*/ 5022203 h 11747497"/>
              <a:gd name="connsiteX2676" fmla="*/ 118180 w 4838702"/>
              <a:gd name="connsiteY2676" fmla="*/ 5146952 h 11747497"/>
              <a:gd name="connsiteX2677" fmla="*/ 116577 w 4838702"/>
              <a:gd name="connsiteY2677" fmla="*/ 5105269 h 11747497"/>
              <a:gd name="connsiteX2678" fmla="*/ 110888 w 4838702"/>
              <a:gd name="connsiteY2678" fmla="*/ 5146752 h 11747497"/>
              <a:gd name="connsiteX2679" fmla="*/ 107009 w 4838702"/>
              <a:gd name="connsiteY2679" fmla="*/ 5188236 h 11747497"/>
              <a:gd name="connsiteX2680" fmla="*/ 114301 w 4838702"/>
              <a:gd name="connsiteY2680" fmla="*/ 5188436 h 11747497"/>
              <a:gd name="connsiteX2681" fmla="*/ 115853 w 4838702"/>
              <a:gd name="connsiteY2681" fmla="*/ 5230119 h 11747497"/>
              <a:gd name="connsiteX2682" fmla="*/ 112129 w 4838702"/>
              <a:gd name="connsiteY2682" fmla="*/ 5243881 h 11747497"/>
              <a:gd name="connsiteX2683" fmla="*/ 115542 w 4838702"/>
              <a:gd name="connsiteY2683" fmla="*/ 5285564 h 11747497"/>
              <a:gd name="connsiteX2684" fmla="*/ 113629 w 4838702"/>
              <a:gd name="connsiteY2684" fmla="*/ 5299324 h 11747497"/>
              <a:gd name="connsiteX2685" fmla="*/ 115335 w 4838702"/>
              <a:gd name="connsiteY2685" fmla="*/ 5313285 h 11747497"/>
              <a:gd name="connsiteX2686" fmla="*/ 113060 w 4838702"/>
              <a:gd name="connsiteY2686" fmla="*/ 5396352 h 11747497"/>
              <a:gd name="connsiteX2687" fmla="*/ 118491 w 4838702"/>
              <a:gd name="connsiteY2687" fmla="*/ 5396551 h 11747497"/>
              <a:gd name="connsiteX2688" fmla="*/ 116111 w 4838702"/>
              <a:gd name="connsiteY2688" fmla="*/ 5493579 h 11747497"/>
              <a:gd name="connsiteX2689" fmla="*/ 110732 w 4838702"/>
              <a:gd name="connsiteY2689" fmla="*/ 5479518 h 11747497"/>
              <a:gd name="connsiteX2690" fmla="*/ 106543 w 4838702"/>
              <a:gd name="connsiteY2690" fmla="*/ 5576446 h 11747497"/>
              <a:gd name="connsiteX2691" fmla="*/ 110112 w 4838702"/>
              <a:gd name="connsiteY2691" fmla="*/ 5590408 h 11747497"/>
              <a:gd name="connsiteX2692" fmla="*/ 109853 w 4838702"/>
              <a:gd name="connsiteY2692" fmla="*/ 5631990 h 11747497"/>
              <a:gd name="connsiteX2693" fmla="*/ 113319 w 4838702"/>
              <a:gd name="connsiteY2693" fmla="*/ 5659812 h 11747497"/>
              <a:gd name="connsiteX2694" fmla="*/ 109543 w 4838702"/>
              <a:gd name="connsiteY2694" fmla="*/ 5687435 h 11747497"/>
              <a:gd name="connsiteX2695" fmla="*/ 114818 w 4838702"/>
              <a:gd name="connsiteY2695" fmla="*/ 5715356 h 11747497"/>
              <a:gd name="connsiteX2696" fmla="*/ 107371 w 4838702"/>
              <a:gd name="connsiteY2696" fmla="*/ 5742879 h 11747497"/>
              <a:gd name="connsiteX2697" fmla="*/ 114456 w 4838702"/>
              <a:gd name="connsiteY2697" fmla="*/ 5770800 h 11747497"/>
              <a:gd name="connsiteX2698" fmla="*/ 107009 w 4838702"/>
              <a:gd name="connsiteY2698" fmla="*/ 5798323 h 11747497"/>
              <a:gd name="connsiteX2699" fmla="*/ 112232 w 4838702"/>
              <a:gd name="connsiteY2699" fmla="*/ 5840106 h 11747497"/>
              <a:gd name="connsiteX2700" fmla="*/ 108301 w 4838702"/>
              <a:gd name="connsiteY2700" fmla="*/ 5895450 h 11747497"/>
              <a:gd name="connsiteX2701" fmla="*/ 111715 w 4838702"/>
              <a:gd name="connsiteY2701" fmla="*/ 5937133 h 11747497"/>
              <a:gd name="connsiteX2702" fmla="*/ 100492 w 4838702"/>
              <a:gd name="connsiteY2702" fmla="*/ 5992279 h 11747497"/>
              <a:gd name="connsiteX2703" fmla="*/ 91751 w 4838702"/>
              <a:gd name="connsiteY2703" fmla="*/ 5936635 h 11747497"/>
              <a:gd name="connsiteX2704" fmla="*/ 87303 w 4838702"/>
              <a:gd name="connsiteY2704" fmla="*/ 6075146 h 11747497"/>
              <a:gd name="connsiteX2705" fmla="*/ 100182 w 4838702"/>
              <a:gd name="connsiteY2705" fmla="*/ 6047823 h 11747497"/>
              <a:gd name="connsiteX2706" fmla="*/ 103595 w 4838702"/>
              <a:gd name="connsiteY2706" fmla="*/ 6089506 h 11747497"/>
              <a:gd name="connsiteX2707" fmla="*/ 114560 w 4838702"/>
              <a:gd name="connsiteY2707" fmla="*/ 6075944 h 11747497"/>
              <a:gd name="connsiteX2708" fmla="*/ 114146 w 4838702"/>
              <a:gd name="connsiteY2708" fmla="*/ 6145249 h 11747497"/>
              <a:gd name="connsiteX2709" fmla="*/ 105147 w 4838702"/>
              <a:gd name="connsiteY2709" fmla="*/ 6131189 h 11747497"/>
              <a:gd name="connsiteX2710" fmla="*/ 112025 w 4838702"/>
              <a:gd name="connsiteY2710" fmla="*/ 6200693 h 11747497"/>
              <a:gd name="connsiteX2711" fmla="*/ 106491 w 4838702"/>
              <a:gd name="connsiteY2711" fmla="*/ 6214455 h 11747497"/>
              <a:gd name="connsiteX2712" fmla="*/ 97492 w 4838702"/>
              <a:gd name="connsiteY2712" fmla="*/ 6200294 h 11747497"/>
              <a:gd name="connsiteX2713" fmla="*/ 97026 w 4838702"/>
              <a:gd name="connsiteY2713" fmla="*/ 6283462 h 11747497"/>
              <a:gd name="connsiteX2714" fmla="*/ 101991 w 4838702"/>
              <a:gd name="connsiteY2714" fmla="*/ 6366728 h 11747497"/>
              <a:gd name="connsiteX2715" fmla="*/ 101526 w 4838702"/>
              <a:gd name="connsiteY2715" fmla="*/ 6449894 h 11747497"/>
              <a:gd name="connsiteX2716" fmla="*/ 104991 w 4838702"/>
              <a:gd name="connsiteY2716" fmla="*/ 6477715 h 11747497"/>
              <a:gd name="connsiteX2717" fmla="*/ 108560 w 4838702"/>
              <a:gd name="connsiteY2717" fmla="*/ 6491676 h 11747497"/>
              <a:gd name="connsiteX2718" fmla="*/ 104682 w 4838702"/>
              <a:gd name="connsiteY2718" fmla="*/ 6533160 h 11747497"/>
              <a:gd name="connsiteX2719" fmla="*/ 100750 w 4838702"/>
              <a:gd name="connsiteY2719" fmla="*/ 6588504 h 11747497"/>
              <a:gd name="connsiteX2720" fmla="*/ 102147 w 4838702"/>
              <a:gd name="connsiteY2720" fmla="*/ 6657810 h 11747497"/>
              <a:gd name="connsiteX2721" fmla="*/ 111302 w 4838702"/>
              <a:gd name="connsiteY2721" fmla="*/ 6644248 h 11747497"/>
              <a:gd name="connsiteX2722" fmla="*/ 108715 w 4838702"/>
              <a:gd name="connsiteY2722" fmla="*/ 6782760 h 11747497"/>
              <a:gd name="connsiteX2723" fmla="*/ 104940 w 4838702"/>
              <a:gd name="connsiteY2723" fmla="*/ 6810381 h 11747497"/>
              <a:gd name="connsiteX2724" fmla="*/ 110008 w 4838702"/>
              <a:gd name="connsiteY2724" fmla="*/ 6879887 h 11747497"/>
              <a:gd name="connsiteX2725" fmla="*/ 107888 w 4838702"/>
              <a:gd name="connsiteY2725" fmla="*/ 6935332 h 11747497"/>
              <a:gd name="connsiteX2726" fmla="*/ 103802 w 4838702"/>
              <a:gd name="connsiteY2726" fmla="*/ 7018397 h 11747497"/>
              <a:gd name="connsiteX2727" fmla="*/ 105509 w 4838702"/>
              <a:gd name="connsiteY2727" fmla="*/ 7032260 h 11747497"/>
              <a:gd name="connsiteX2728" fmla="*/ 103699 w 4838702"/>
              <a:gd name="connsiteY2728" fmla="*/ 7032159 h 11747497"/>
              <a:gd name="connsiteX2729" fmla="*/ 103543 w 4838702"/>
              <a:gd name="connsiteY2729" fmla="*/ 7059881 h 11747497"/>
              <a:gd name="connsiteX2730" fmla="*/ 105250 w 4838702"/>
              <a:gd name="connsiteY2730" fmla="*/ 7073841 h 11747497"/>
              <a:gd name="connsiteX2731" fmla="*/ 97492 w 4838702"/>
              <a:gd name="connsiteY2731" fmla="*/ 7156809 h 11747497"/>
              <a:gd name="connsiteX2732" fmla="*/ 101061 w 4838702"/>
              <a:gd name="connsiteY2732" fmla="*/ 7170771 h 11747497"/>
              <a:gd name="connsiteX2733" fmla="*/ 108146 w 4838702"/>
              <a:gd name="connsiteY2733" fmla="*/ 7198692 h 11747497"/>
              <a:gd name="connsiteX2734" fmla="*/ 105871 w 4838702"/>
              <a:gd name="connsiteY2734" fmla="*/ 7281758 h 11747497"/>
              <a:gd name="connsiteX2735" fmla="*/ 100492 w 4838702"/>
              <a:gd name="connsiteY2735" fmla="*/ 7267798 h 11747497"/>
              <a:gd name="connsiteX2736" fmla="*/ 96458 w 4838702"/>
              <a:gd name="connsiteY2736" fmla="*/ 7337003 h 11747497"/>
              <a:gd name="connsiteX2737" fmla="*/ 102509 w 4838702"/>
              <a:gd name="connsiteY2737" fmla="*/ 7545119 h 11747497"/>
              <a:gd name="connsiteX2738" fmla="*/ 100957 w 4838702"/>
              <a:gd name="connsiteY2738" fmla="*/ 7503436 h 11747497"/>
              <a:gd name="connsiteX2739" fmla="*/ 100492 w 4838702"/>
              <a:gd name="connsiteY2739" fmla="*/ 7586602 h 11747497"/>
              <a:gd name="connsiteX2740" fmla="*/ 103802 w 4838702"/>
              <a:gd name="connsiteY2740" fmla="*/ 7642146 h 11747497"/>
              <a:gd name="connsiteX2741" fmla="*/ 102147 w 4838702"/>
              <a:gd name="connsiteY2741" fmla="*/ 7614324 h 11747497"/>
              <a:gd name="connsiteX2742" fmla="*/ 103388 w 4838702"/>
              <a:gd name="connsiteY2742" fmla="*/ 7711452 h 11747497"/>
              <a:gd name="connsiteX2743" fmla="*/ 99613 w 4838702"/>
              <a:gd name="connsiteY2743" fmla="*/ 7739073 h 11747497"/>
              <a:gd name="connsiteX2744" fmla="*/ 104733 w 4838702"/>
              <a:gd name="connsiteY2744" fmla="*/ 7794718 h 11747497"/>
              <a:gd name="connsiteX2745" fmla="*/ 105923 w 4838702"/>
              <a:gd name="connsiteY2745" fmla="*/ 7905606 h 11747497"/>
              <a:gd name="connsiteX2746" fmla="*/ 100389 w 4838702"/>
              <a:gd name="connsiteY2746" fmla="*/ 7919368 h 11747497"/>
              <a:gd name="connsiteX2747" fmla="*/ 105198 w 4838702"/>
              <a:gd name="connsiteY2747" fmla="*/ 8030357 h 11747497"/>
              <a:gd name="connsiteX2748" fmla="*/ 103699 w 4838702"/>
              <a:gd name="connsiteY2748" fmla="*/ 7974912 h 11747497"/>
              <a:gd name="connsiteX2749" fmla="*/ 99457 w 4838702"/>
              <a:gd name="connsiteY2749" fmla="*/ 8085701 h 11747497"/>
              <a:gd name="connsiteX2750" fmla="*/ 101526 w 4838702"/>
              <a:gd name="connsiteY2750" fmla="*/ 8044217 h 11747497"/>
              <a:gd name="connsiteX2751" fmla="*/ 106284 w 4838702"/>
              <a:gd name="connsiteY2751" fmla="*/ 8169067 h 11747497"/>
              <a:gd name="connsiteX2752" fmla="*/ 98837 w 4838702"/>
              <a:gd name="connsiteY2752" fmla="*/ 8196589 h 11747497"/>
              <a:gd name="connsiteX2753" fmla="*/ 104216 w 4838702"/>
              <a:gd name="connsiteY2753" fmla="*/ 8210650 h 11747497"/>
              <a:gd name="connsiteX2754" fmla="*/ 98527 w 4838702"/>
              <a:gd name="connsiteY2754" fmla="*/ 8252134 h 11747497"/>
              <a:gd name="connsiteX2755" fmla="*/ 99561 w 4838702"/>
              <a:gd name="connsiteY2755" fmla="*/ 8390744 h 11747497"/>
              <a:gd name="connsiteX2756" fmla="*/ 104940 w 4838702"/>
              <a:gd name="connsiteY2756" fmla="*/ 8404805 h 11747497"/>
              <a:gd name="connsiteX2757" fmla="*/ 99354 w 4838702"/>
              <a:gd name="connsiteY2757" fmla="*/ 8432328 h 11747497"/>
              <a:gd name="connsiteX2758" fmla="*/ 94906 w 4838702"/>
              <a:gd name="connsiteY2758" fmla="*/ 8570839 h 11747497"/>
              <a:gd name="connsiteX2759" fmla="*/ 100285 w 4838702"/>
              <a:gd name="connsiteY2759" fmla="*/ 8584900 h 11747497"/>
              <a:gd name="connsiteX2760" fmla="*/ 97906 w 4838702"/>
              <a:gd name="connsiteY2760" fmla="*/ 8681828 h 11747497"/>
              <a:gd name="connsiteX2761" fmla="*/ 99664 w 4838702"/>
              <a:gd name="connsiteY2761" fmla="*/ 8695788 h 11747497"/>
              <a:gd name="connsiteX2762" fmla="*/ 97751 w 4838702"/>
              <a:gd name="connsiteY2762" fmla="*/ 8709550 h 11747497"/>
              <a:gd name="connsiteX2763" fmla="*/ 101216 w 4838702"/>
              <a:gd name="connsiteY2763" fmla="*/ 8737372 h 11747497"/>
              <a:gd name="connsiteX2764" fmla="*/ 97286 w 4838702"/>
              <a:gd name="connsiteY2764" fmla="*/ 8792716 h 11747497"/>
              <a:gd name="connsiteX2765" fmla="*/ 102406 w 4838702"/>
              <a:gd name="connsiteY2765" fmla="*/ 8848359 h 11747497"/>
              <a:gd name="connsiteX2766" fmla="*/ 98941 w 4838702"/>
              <a:gd name="connsiteY2766" fmla="*/ 8820537 h 11747497"/>
              <a:gd name="connsiteX2767" fmla="*/ 98527 w 4838702"/>
              <a:gd name="connsiteY2767" fmla="*/ 8889843 h 11747497"/>
              <a:gd name="connsiteX2768" fmla="*/ 92837 w 4838702"/>
              <a:gd name="connsiteY2768" fmla="*/ 8931328 h 11747497"/>
              <a:gd name="connsiteX2769" fmla="*/ 96251 w 4838702"/>
              <a:gd name="connsiteY2769" fmla="*/ 8973011 h 11747497"/>
              <a:gd name="connsiteX2770" fmla="*/ 93872 w 4838702"/>
              <a:gd name="connsiteY2770" fmla="*/ 9070037 h 11747497"/>
              <a:gd name="connsiteX2771" fmla="*/ 99251 w 4838702"/>
              <a:gd name="connsiteY2771" fmla="*/ 9083998 h 11747497"/>
              <a:gd name="connsiteX2772" fmla="*/ 95165 w 4838702"/>
              <a:gd name="connsiteY2772" fmla="*/ 9167066 h 11747497"/>
              <a:gd name="connsiteX2773" fmla="*/ 96923 w 4838702"/>
              <a:gd name="connsiteY2773" fmla="*/ 9181026 h 11747497"/>
              <a:gd name="connsiteX2774" fmla="*/ 95010 w 4838702"/>
              <a:gd name="connsiteY2774" fmla="*/ 9194887 h 11747497"/>
              <a:gd name="connsiteX2775" fmla="*/ 94234 w 4838702"/>
              <a:gd name="connsiteY2775" fmla="*/ 9333498 h 11747497"/>
              <a:gd name="connsiteX2776" fmla="*/ 97544 w 4838702"/>
              <a:gd name="connsiteY2776" fmla="*/ 9389042 h 11747497"/>
              <a:gd name="connsiteX2777" fmla="*/ 93665 w 4838702"/>
              <a:gd name="connsiteY2777" fmla="*/ 9430525 h 11747497"/>
              <a:gd name="connsiteX2778" fmla="*/ 97079 w 4838702"/>
              <a:gd name="connsiteY2778" fmla="*/ 9472208 h 11747497"/>
              <a:gd name="connsiteX2779" fmla="*/ 93355 w 4838702"/>
              <a:gd name="connsiteY2779" fmla="*/ 9485970 h 11747497"/>
              <a:gd name="connsiteX2780" fmla="*/ 96820 w 4838702"/>
              <a:gd name="connsiteY2780" fmla="*/ 9513791 h 11747497"/>
              <a:gd name="connsiteX2781" fmla="*/ 91338 w 4838702"/>
              <a:gd name="connsiteY2781" fmla="*/ 9832497 h 11747497"/>
              <a:gd name="connsiteX2782" fmla="*/ 94803 w 4838702"/>
              <a:gd name="connsiteY2782" fmla="*/ 9860320 h 11747497"/>
              <a:gd name="connsiteX2783" fmla="*/ 92165 w 4838702"/>
              <a:gd name="connsiteY2783" fmla="*/ 9998930 h 11747497"/>
              <a:gd name="connsiteX2784" fmla="*/ 93406 w 4838702"/>
              <a:gd name="connsiteY2784" fmla="*/ 10095957 h 11747497"/>
              <a:gd name="connsiteX2785" fmla="*/ 91441 w 4838702"/>
              <a:gd name="connsiteY2785" fmla="*/ 10123580 h 11747497"/>
              <a:gd name="connsiteX2786" fmla="*/ 94906 w 4838702"/>
              <a:gd name="connsiteY2786" fmla="*/ 10151402 h 11747497"/>
              <a:gd name="connsiteX2787" fmla="*/ 92682 w 4838702"/>
              <a:gd name="connsiteY2787" fmla="*/ 10220708 h 11747497"/>
              <a:gd name="connsiteX2788" fmla="*/ 94182 w 4838702"/>
              <a:gd name="connsiteY2788" fmla="*/ 10276151 h 11747497"/>
              <a:gd name="connsiteX2789" fmla="*/ 92061 w 4838702"/>
              <a:gd name="connsiteY2789" fmla="*/ 10331596 h 11747497"/>
              <a:gd name="connsiteX2790" fmla="*/ 89786 w 4838702"/>
              <a:gd name="connsiteY2790" fmla="*/ 10414662 h 11747497"/>
              <a:gd name="connsiteX2791" fmla="*/ 94906 w 4838702"/>
              <a:gd name="connsiteY2791" fmla="*/ 10470306 h 11747497"/>
              <a:gd name="connsiteX2792" fmla="*/ 92941 w 4838702"/>
              <a:gd name="connsiteY2792" fmla="*/ 10497929 h 11747497"/>
              <a:gd name="connsiteX2793" fmla="*/ 94596 w 4838702"/>
              <a:gd name="connsiteY2793" fmla="*/ 10525751 h 11747497"/>
              <a:gd name="connsiteX2794" fmla="*/ 92527 w 4838702"/>
              <a:gd name="connsiteY2794" fmla="*/ 10567235 h 11747497"/>
              <a:gd name="connsiteX2795" fmla="*/ 90096 w 4838702"/>
              <a:gd name="connsiteY2795" fmla="*/ 10678023 h 11747497"/>
              <a:gd name="connsiteX2796" fmla="*/ 93406 w 4838702"/>
              <a:gd name="connsiteY2796" fmla="*/ 10733566 h 11747497"/>
              <a:gd name="connsiteX2797" fmla="*/ 92217 w 4838702"/>
              <a:gd name="connsiteY2797" fmla="*/ 10941483 h 11747497"/>
              <a:gd name="connsiteX2798" fmla="*/ 93562 w 4838702"/>
              <a:gd name="connsiteY2798" fmla="*/ 11024650 h 11747497"/>
              <a:gd name="connsiteX2799" fmla="*/ 93148 w 4838702"/>
              <a:gd name="connsiteY2799" fmla="*/ 11093956 h 11747497"/>
              <a:gd name="connsiteX2800" fmla="*/ 94648 w 4838702"/>
              <a:gd name="connsiteY2800" fmla="*/ 11149400 h 11747497"/>
              <a:gd name="connsiteX2801" fmla="*/ 90924 w 4838702"/>
              <a:gd name="connsiteY2801" fmla="*/ 11163161 h 11747497"/>
              <a:gd name="connsiteX2802" fmla="*/ 94492 w 4838702"/>
              <a:gd name="connsiteY2802" fmla="*/ 11177121 h 11747497"/>
              <a:gd name="connsiteX2803" fmla="*/ 92424 w 4838702"/>
              <a:gd name="connsiteY2803" fmla="*/ 11218606 h 11747497"/>
              <a:gd name="connsiteX2804" fmla="*/ 94182 w 4838702"/>
              <a:gd name="connsiteY2804" fmla="*/ 11232566 h 11747497"/>
              <a:gd name="connsiteX2805" fmla="*/ 92268 w 4838702"/>
              <a:gd name="connsiteY2805" fmla="*/ 11246328 h 11747497"/>
              <a:gd name="connsiteX2806" fmla="*/ 93355 w 4838702"/>
              <a:gd name="connsiteY2806" fmla="*/ 11371077 h 11747497"/>
              <a:gd name="connsiteX2807" fmla="*/ 97440 w 4838702"/>
              <a:gd name="connsiteY2807" fmla="*/ 11606915 h 11747497"/>
              <a:gd name="connsiteX2808" fmla="*/ 98630 w 4838702"/>
              <a:gd name="connsiteY2808" fmla="*/ 11717804 h 11747497"/>
              <a:gd name="connsiteX2809" fmla="*/ 98203 w 4838702"/>
              <a:gd name="connsiteY2809" fmla="*/ 11746685 h 11747497"/>
              <a:gd name="connsiteX2810" fmla="*/ 98207 w 4838702"/>
              <a:gd name="connsiteY2810" fmla="*/ 11747497 h 11747497"/>
              <a:gd name="connsiteX2811" fmla="*/ 4729484 w 4838702"/>
              <a:gd name="connsiteY2811" fmla="*/ 11747497 h 11747497"/>
              <a:gd name="connsiteX2812" fmla="*/ 4729573 w 4838702"/>
              <a:gd name="connsiteY2812" fmla="*/ 11735255 h 11747497"/>
              <a:gd name="connsiteX2813" fmla="*/ 4733814 w 4838702"/>
              <a:gd name="connsiteY2813" fmla="*/ 11735355 h 11747497"/>
              <a:gd name="connsiteX2814" fmla="*/ 4733726 w 4838702"/>
              <a:gd name="connsiteY2814" fmla="*/ 11747497 h 11747497"/>
              <a:gd name="connsiteX2815" fmla="*/ 4762499 w 4838702"/>
              <a:gd name="connsiteY2815" fmla="*/ 11747497 h 11747497"/>
              <a:gd name="connsiteX2816" fmla="*/ 4764245 w 4838702"/>
              <a:gd name="connsiteY2816" fmla="*/ 11718850 h 11747497"/>
              <a:gd name="connsiteX2817" fmla="*/ 4767380 w 4838702"/>
              <a:gd name="connsiteY2817" fmla="*/ 11659268 h 11747497"/>
              <a:gd name="connsiteX2818" fmla="*/ 4775707 w 4838702"/>
              <a:gd name="connsiteY2818" fmla="*/ 11673727 h 11747497"/>
              <a:gd name="connsiteX2819" fmla="*/ 4772126 w 4838702"/>
              <a:gd name="connsiteY2819" fmla="*/ 11730392 h 11747497"/>
              <a:gd name="connsiteX2820" fmla="*/ 4769917 w 4838702"/>
              <a:gd name="connsiteY2820" fmla="*/ 11747497 h 11747497"/>
              <a:gd name="connsiteX2821" fmla="*/ 4783288 w 4838702"/>
              <a:gd name="connsiteY2821" fmla="*/ 11747497 h 11747497"/>
              <a:gd name="connsiteX2822" fmla="*/ 4785741 w 4838702"/>
              <a:gd name="connsiteY2822" fmla="*/ 11714014 h 11747497"/>
              <a:gd name="connsiteX2823" fmla="*/ 4788870 w 4838702"/>
              <a:gd name="connsiteY2823" fmla="*/ 11738868 h 11747497"/>
              <a:gd name="connsiteX2824" fmla="*/ 4788768 w 4838702"/>
              <a:gd name="connsiteY2824" fmla="*/ 11747497 h 11747497"/>
              <a:gd name="connsiteX2825" fmla="*/ 4820676 w 4838702"/>
              <a:gd name="connsiteY2825" fmla="*/ 11747497 h 11747497"/>
              <a:gd name="connsiteX2826" fmla="*/ 4820755 w 4838702"/>
              <a:gd name="connsiteY2826" fmla="*/ 11746659 h 11747497"/>
              <a:gd name="connsiteX2827" fmla="*/ 4825255 w 4838702"/>
              <a:gd name="connsiteY2827" fmla="*/ 11729370 h 11747497"/>
              <a:gd name="connsiteX2828" fmla="*/ 4825255 w 4838702"/>
              <a:gd name="connsiteY2828" fmla="*/ 11631645 h 11747497"/>
              <a:gd name="connsiteX2829" fmla="*/ 4824272 w 4838702"/>
              <a:gd name="connsiteY2829" fmla="*/ 11629551 h 11747497"/>
              <a:gd name="connsiteX2830" fmla="*/ 4825255 w 4838702"/>
              <a:gd name="connsiteY2830" fmla="*/ 11613896 h 11747497"/>
              <a:gd name="connsiteX2831" fmla="*/ 4825255 w 4838702"/>
              <a:gd name="connsiteY2831" fmla="*/ 11133744 h 11747497"/>
              <a:gd name="connsiteX2832" fmla="*/ 4833892 w 4838702"/>
              <a:gd name="connsiteY2832" fmla="*/ 11129356 h 11747497"/>
              <a:gd name="connsiteX2833" fmla="*/ 4833943 w 4838702"/>
              <a:gd name="connsiteY2833" fmla="*/ 11117388 h 11747497"/>
              <a:gd name="connsiteX2834" fmla="*/ 4835547 w 4838702"/>
              <a:gd name="connsiteY2834" fmla="*/ 11111407 h 11747497"/>
              <a:gd name="connsiteX2835" fmla="*/ 4825255 w 4838702"/>
              <a:gd name="connsiteY2835" fmla="*/ 11110609 h 11747497"/>
              <a:gd name="connsiteX2836" fmla="*/ 4825255 w 4838702"/>
              <a:gd name="connsiteY2836" fmla="*/ 11102531 h 11747497"/>
              <a:gd name="connsiteX2837" fmla="*/ 4836271 w 4838702"/>
              <a:gd name="connsiteY2837" fmla="*/ 11098941 h 11747497"/>
              <a:gd name="connsiteX2838" fmla="*/ 4837409 w 4838702"/>
              <a:gd name="connsiteY2838" fmla="*/ 11075907 h 11747497"/>
              <a:gd name="connsiteX2839" fmla="*/ 4832495 w 4838702"/>
              <a:gd name="connsiteY2839" fmla="*/ 11074908 h 11747497"/>
              <a:gd name="connsiteX2840" fmla="*/ 4827944 w 4838702"/>
              <a:gd name="connsiteY2840" fmla="*/ 11085679 h 11747497"/>
              <a:gd name="connsiteX2841" fmla="*/ 4825203 w 4838702"/>
              <a:gd name="connsiteY2841" fmla="*/ 11083484 h 11747497"/>
              <a:gd name="connsiteX2842" fmla="*/ 4825203 w 4838702"/>
              <a:gd name="connsiteY2842" fmla="*/ 11066831 h 11747497"/>
              <a:gd name="connsiteX2843" fmla="*/ 4837978 w 4838702"/>
              <a:gd name="connsiteY2843" fmla="*/ 11066133 h 11747497"/>
              <a:gd name="connsiteX2844" fmla="*/ 4838702 w 4838702"/>
              <a:gd name="connsiteY2844" fmla="*/ 11048185 h 117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Lst>
            <a:rect l="l" t="t" r="r" b="b"/>
            <a:pathLst>
              <a:path w="4838702" h="11747497">
                <a:moveTo>
                  <a:pt x="19499" y="279879"/>
                </a:moveTo>
                <a:cubicBezTo>
                  <a:pt x="18878" y="263163"/>
                  <a:pt x="17042" y="248505"/>
                  <a:pt x="15051" y="265258"/>
                </a:cubicBezTo>
                <a:cubicBezTo>
                  <a:pt x="13603" y="277423"/>
                  <a:pt x="15930" y="304847"/>
                  <a:pt x="16654" y="306841"/>
                </a:cubicBezTo>
                <a:cubicBezTo>
                  <a:pt x="19525" y="315367"/>
                  <a:pt x="20119" y="296594"/>
                  <a:pt x="19499" y="279879"/>
                </a:cubicBezTo>
                <a:close/>
                <a:moveTo>
                  <a:pt x="31653" y="6254243"/>
                </a:moveTo>
                <a:cubicBezTo>
                  <a:pt x="31498" y="6253546"/>
                  <a:pt x="31342" y="6253146"/>
                  <a:pt x="31135" y="6252848"/>
                </a:cubicBezTo>
                <a:lnTo>
                  <a:pt x="31135" y="6323448"/>
                </a:lnTo>
                <a:cubicBezTo>
                  <a:pt x="31188" y="6323549"/>
                  <a:pt x="31188" y="6323549"/>
                  <a:pt x="31239" y="6323549"/>
                </a:cubicBezTo>
                <a:close/>
                <a:moveTo>
                  <a:pt x="32894" y="6670175"/>
                </a:moveTo>
                <a:cubicBezTo>
                  <a:pt x="30101" y="6595884"/>
                  <a:pt x="33722" y="6523288"/>
                  <a:pt x="32170" y="6476120"/>
                </a:cubicBezTo>
                <a:cubicBezTo>
                  <a:pt x="31704" y="6461064"/>
                  <a:pt x="32429" y="6441718"/>
                  <a:pt x="31135" y="6435435"/>
                </a:cubicBezTo>
                <a:lnTo>
                  <a:pt x="31135" y="6679249"/>
                </a:lnTo>
                <a:cubicBezTo>
                  <a:pt x="31601" y="6678053"/>
                  <a:pt x="32170" y="6675361"/>
                  <a:pt x="32894" y="6670175"/>
                </a:cubicBezTo>
                <a:close/>
                <a:moveTo>
                  <a:pt x="33308" y="6919775"/>
                </a:moveTo>
                <a:lnTo>
                  <a:pt x="31188" y="6919675"/>
                </a:lnTo>
                <a:lnTo>
                  <a:pt x="31188" y="6975019"/>
                </a:lnTo>
                <a:cubicBezTo>
                  <a:pt x="31756" y="6955574"/>
                  <a:pt x="34342" y="6952382"/>
                  <a:pt x="33308" y="6919775"/>
                </a:cubicBezTo>
                <a:close/>
                <a:moveTo>
                  <a:pt x="37342" y="4937539"/>
                </a:moveTo>
                <a:cubicBezTo>
                  <a:pt x="36721" y="4920088"/>
                  <a:pt x="35170" y="4909120"/>
                  <a:pt x="32067" y="4909718"/>
                </a:cubicBezTo>
                <a:cubicBezTo>
                  <a:pt x="31653" y="4911813"/>
                  <a:pt x="31446" y="4914605"/>
                  <a:pt x="31135" y="4917097"/>
                </a:cubicBezTo>
                <a:lnTo>
                  <a:pt x="31135" y="5039354"/>
                </a:lnTo>
                <a:cubicBezTo>
                  <a:pt x="31188" y="5042346"/>
                  <a:pt x="31239" y="5045437"/>
                  <a:pt x="31291" y="5048329"/>
                </a:cubicBezTo>
                <a:cubicBezTo>
                  <a:pt x="31395" y="5063685"/>
                  <a:pt x="31342" y="5076251"/>
                  <a:pt x="31135" y="5087020"/>
                </a:cubicBezTo>
                <a:lnTo>
                  <a:pt x="31135" y="5189533"/>
                </a:lnTo>
                <a:cubicBezTo>
                  <a:pt x="31395" y="5208979"/>
                  <a:pt x="31808" y="5218850"/>
                  <a:pt x="35739" y="5214762"/>
                </a:cubicBezTo>
                <a:cubicBezTo>
                  <a:pt x="38945" y="5196114"/>
                  <a:pt x="34705" y="5181056"/>
                  <a:pt x="34342" y="5145456"/>
                </a:cubicBezTo>
                <a:cubicBezTo>
                  <a:pt x="33773" y="5087320"/>
                  <a:pt x="36514" y="5013626"/>
                  <a:pt x="37187" y="4965262"/>
                </a:cubicBezTo>
                <a:cubicBezTo>
                  <a:pt x="37187" y="4965960"/>
                  <a:pt x="33670" y="4940133"/>
                  <a:pt x="37342" y="4937539"/>
                </a:cubicBezTo>
                <a:close/>
                <a:moveTo>
                  <a:pt x="37704" y="5838610"/>
                </a:moveTo>
                <a:cubicBezTo>
                  <a:pt x="36773" y="5792341"/>
                  <a:pt x="32584" y="5791143"/>
                  <a:pt x="36411" y="5741483"/>
                </a:cubicBezTo>
                <a:cubicBezTo>
                  <a:pt x="35739" y="5729118"/>
                  <a:pt x="33050" y="5731711"/>
                  <a:pt x="31188" y="5728220"/>
                </a:cubicBezTo>
                <a:lnTo>
                  <a:pt x="31188" y="5863739"/>
                </a:lnTo>
                <a:cubicBezTo>
                  <a:pt x="33670" y="5857856"/>
                  <a:pt x="35015" y="5842998"/>
                  <a:pt x="37704" y="5838610"/>
                </a:cubicBezTo>
                <a:close/>
                <a:moveTo>
                  <a:pt x="39463" y="5519806"/>
                </a:moveTo>
                <a:cubicBezTo>
                  <a:pt x="35842" y="5519506"/>
                  <a:pt x="37394" y="5481911"/>
                  <a:pt x="32377" y="5491883"/>
                </a:cubicBezTo>
                <a:lnTo>
                  <a:pt x="32118" y="5533367"/>
                </a:lnTo>
                <a:cubicBezTo>
                  <a:pt x="34859" y="5531074"/>
                  <a:pt x="38790" y="5538553"/>
                  <a:pt x="39463" y="5519806"/>
                </a:cubicBezTo>
                <a:close/>
                <a:moveTo>
                  <a:pt x="41169" y="3634597"/>
                </a:moveTo>
                <a:cubicBezTo>
                  <a:pt x="38583" y="3614754"/>
                  <a:pt x="34135" y="3620039"/>
                  <a:pt x="31135" y="3635994"/>
                </a:cubicBezTo>
                <a:lnTo>
                  <a:pt x="31135" y="3728135"/>
                </a:lnTo>
                <a:cubicBezTo>
                  <a:pt x="36721" y="3714972"/>
                  <a:pt x="41169" y="3692435"/>
                  <a:pt x="41169" y="3634597"/>
                </a:cubicBezTo>
                <a:close/>
                <a:moveTo>
                  <a:pt x="44085" y="6411589"/>
                </a:moveTo>
                <a:cubicBezTo>
                  <a:pt x="45074" y="6402377"/>
                  <a:pt x="45255" y="6391658"/>
                  <a:pt x="43652" y="6379392"/>
                </a:cubicBezTo>
                <a:cubicBezTo>
                  <a:pt x="38687" y="6387769"/>
                  <a:pt x="36307" y="6417285"/>
                  <a:pt x="35894" y="6462360"/>
                </a:cubicBezTo>
                <a:cubicBezTo>
                  <a:pt x="38118" y="6460863"/>
                  <a:pt x="40238" y="6458370"/>
                  <a:pt x="39670" y="6434737"/>
                </a:cubicBezTo>
                <a:cubicBezTo>
                  <a:pt x="41299" y="6428504"/>
                  <a:pt x="43096" y="6420801"/>
                  <a:pt x="44085" y="6411589"/>
                </a:cubicBezTo>
                <a:close/>
                <a:moveTo>
                  <a:pt x="45772" y="4185838"/>
                </a:moveTo>
                <a:cubicBezTo>
                  <a:pt x="45824" y="4170544"/>
                  <a:pt x="45695" y="4156284"/>
                  <a:pt x="45462" y="4147359"/>
                </a:cubicBezTo>
                <a:cubicBezTo>
                  <a:pt x="44945" y="4128112"/>
                  <a:pt x="42980" y="4132200"/>
                  <a:pt x="41997" y="4119536"/>
                </a:cubicBezTo>
                <a:cubicBezTo>
                  <a:pt x="40755" y="4103382"/>
                  <a:pt x="43445" y="4067283"/>
                  <a:pt x="38583" y="4077954"/>
                </a:cubicBezTo>
                <a:lnTo>
                  <a:pt x="38118" y="4161119"/>
                </a:lnTo>
                <a:cubicBezTo>
                  <a:pt x="38015" y="4179368"/>
                  <a:pt x="41221" y="4173883"/>
                  <a:pt x="41583" y="4188941"/>
                </a:cubicBezTo>
                <a:cubicBezTo>
                  <a:pt x="39256" y="4194526"/>
                  <a:pt x="37755" y="4206692"/>
                  <a:pt x="37704" y="4230425"/>
                </a:cubicBezTo>
                <a:cubicBezTo>
                  <a:pt x="36876" y="4223544"/>
                  <a:pt x="32946" y="4209284"/>
                  <a:pt x="31135" y="4218259"/>
                </a:cubicBezTo>
                <a:lnTo>
                  <a:pt x="31135" y="4258247"/>
                </a:lnTo>
                <a:cubicBezTo>
                  <a:pt x="32480" y="4267920"/>
                  <a:pt x="34963" y="4233416"/>
                  <a:pt x="37652" y="4244386"/>
                </a:cubicBezTo>
                <a:cubicBezTo>
                  <a:pt x="33929" y="4273206"/>
                  <a:pt x="40911" y="4300927"/>
                  <a:pt x="40807" y="4327653"/>
                </a:cubicBezTo>
                <a:cubicBezTo>
                  <a:pt x="40807" y="4328151"/>
                  <a:pt x="39100" y="4326954"/>
                  <a:pt x="38997" y="4327553"/>
                </a:cubicBezTo>
                <a:cubicBezTo>
                  <a:pt x="37755" y="4336527"/>
                  <a:pt x="37290" y="4353381"/>
                  <a:pt x="36928" y="4369036"/>
                </a:cubicBezTo>
                <a:cubicBezTo>
                  <a:pt x="35997" y="4408824"/>
                  <a:pt x="37704" y="4523004"/>
                  <a:pt x="35997" y="4535369"/>
                </a:cubicBezTo>
                <a:cubicBezTo>
                  <a:pt x="32584" y="4560398"/>
                  <a:pt x="36100" y="4555513"/>
                  <a:pt x="35687" y="4590814"/>
                </a:cubicBezTo>
                <a:cubicBezTo>
                  <a:pt x="33515" y="4588819"/>
                  <a:pt x="32429" y="4595600"/>
                  <a:pt x="31135" y="4600387"/>
                </a:cubicBezTo>
                <a:lnTo>
                  <a:pt x="31135" y="4799228"/>
                </a:lnTo>
                <a:cubicBezTo>
                  <a:pt x="32894" y="4799030"/>
                  <a:pt x="34705" y="4798230"/>
                  <a:pt x="36307" y="4798829"/>
                </a:cubicBezTo>
                <a:cubicBezTo>
                  <a:pt x="35273" y="4771008"/>
                  <a:pt x="38169" y="4743485"/>
                  <a:pt x="38583" y="4715662"/>
                </a:cubicBezTo>
                <a:cubicBezTo>
                  <a:pt x="39204" y="4671886"/>
                  <a:pt x="36618" y="4647055"/>
                  <a:pt x="39049" y="4632497"/>
                </a:cubicBezTo>
                <a:cubicBezTo>
                  <a:pt x="39514" y="4629704"/>
                  <a:pt x="38997" y="4609461"/>
                  <a:pt x="39204" y="4604774"/>
                </a:cubicBezTo>
                <a:cubicBezTo>
                  <a:pt x="41066" y="4561595"/>
                  <a:pt x="40342" y="4574359"/>
                  <a:pt x="39514" y="4549329"/>
                </a:cubicBezTo>
                <a:cubicBezTo>
                  <a:pt x="39204" y="4539458"/>
                  <a:pt x="39566" y="4518118"/>
                  <a:pt x="39773" y="4507746"/>
                </a:cubicBezTo>
                <a:cubicBezTo>
                  <a:pt x="40083" y="4492291"/>
                  <a:pt x="41014" y="4475338"/>
                  <a:pt x="41894" y="4452302"/>
                </a:cubicBezTo>
                <a:cubicBezTo>
                  <a:pt x="42048" y="4448512"/>
                  <a:pt x="43859" y="4432857"/>
                  <a:pt x="43807" y="4438441"/>
                </a:cubicBezTo>
                <a:cubicBezTo>
                  <a:pt x="44117" y="4412215"/>
                  <a:pt x="41894" y="4407627"/>
                  <a:pt x="42307" y="4382897"/>
                </a:cubicBezTo>
                <a:cubicBezTo>
                  <a:pt x="42566" y="4365047"/>
                  <a:pt x="44066" y="4363652"/>
                  <a:pt x="44376" y="4341413"/>
                </a:cubicBezTo>
                <a:cubicBezTo>
                  <a:pt x="44583" y="4323962"/>
                  <a:pt x="44893" y="4303320"/>
                  <a:pt x="44686" y="4285970"/>
                </a:cubicBezTo>
                <a:cubicBezTo>
                  <a:pt x="44117" y="4237804"/>
                  <a:pt x="43807" y="4261538"/>
                  <a:pt x="44997" y="4230525"/>
                </a:cubicBezTo>
                <a:cubicBezTo>
                  <a:pt x="45488" y="4217461"/>
                  <a:pt x="45720" y="4201132"/>
                  <a:pt x="45772" y="4185838"/>
                </a:cubicBezTo>
                <a:close/>
                <a:moveTo>
                  <a:pt x="46820" y="969580"/>
                </a:moveTo>
                <a:cubicBezTo>
                  <a:pt x="46328" y="1007948"/>
                  <a:pt x="44453" y="1054392"/>
                  <a:pt x="44790" y="1097820"/>
                </a:cubicBezTo>
                <a:cubicBezTo>
                  <a:pt x="40600" y="1093233"/>
                  <a:pt x="37808" y="1099815"/>
                  <a:pt x="35635" y="1111382"/>
                </a:cubicBezTo>
                <a:cubicBezTo>
                  <a:pt x="34808" y="1134916"/>
                  <a:pt x="36876" y="1137608"/>
                  <a:pt x="39100" y="1139204"/>
                </a:cubicBezTo>
                <a:cubicBezTo>
                  <a:pt x="38945" y="1157453"/>
                  <a:pt x="29429" y="1250890"/>
                  <a:pt x="38325" y="1277814"/>
                </a:cubicBezTo>
                <a:cubicBezTo>
                  <a:pt x="38221" y="1303741"/>
                  <a:pt x="34859" y="1294567"/>
                  <a:pt x="32739" y="1305437"/>
                </a:cubicBezTo>
                <a:cubicBezTo>
                  <a:pt x="29170" y="1323785"/>
                  <a:pt x="27670" y="1334954"/>
                  <a:pt x="26895" y="1374543"/>
                </a:cubicBezTo>
                <a:cubicBezTo>
                  <a:pt x="25136" y="1374144"/>
                  <a:pt x="25601" y="1357590"/>
                  <a:pt x="25240" y="1346821"/>
                </a:cubicBezTo>
                <a:cubicBezTo>
                  <a:pt x="21981" y="1344926"/>
                  <a:pt x="21309" y="1363673"/>
                  <a:pt x="17895" y="1360482"/>
                </a:cubicBezTo>
                <a:cubicBezTo>
                  <a:pt x="19550" y="1326478"/>
                  <a:pt x="21464" y="1280606"/>
                  <a:pt x="14741" y="1277217"/>
                </a:cubicBezTo>
                <a:cubicBezTo>
                  <a:pt x="13086" y="1263953"/>
                  <a:pt x="22084" y="1234835"/>
                  <a:pt x="20482" y="1221871"/>
                </a:cubicBezTo>
                <a:cubicBezTo>
                  <a:pt x="17119" y="1194748"/>
                  <a:pt x="22084" y="1218482"/>
                  <a:pt x="22550" y="1180389"/>
                </a:cubicBezTo>
                <a:cubicBezTo>
                  <a:pt x="22705" y="1166926"/>
                  <a:pt x="26895" y="1159945"/>
                  <a:pt x="28136" y="1152865"/>
                </a:cubicBezTo>
                <a:cubicBezTo>
                  <a:pt x="25033" y="1087249"/>
                  <a:pt x="31342" y="1025921"/>
                  <a:pt x="27412" y="958710"/>
                </a:cubicBezTo>
                <a:cubicBezTo>
                  <a:pt x="33256" y="966888"/>
                  <a:pt x="35894" y="949536"/>
                  <a:pt x="40238" y="945248"/>
                </a:cubicBezTo>
                <a:cubicBezTo>
                  <a:pt x="40600" y="907355"/>
                  <a:pt x="37342" y="917227"/>
                  <a:pt x="40549" y="889803"/>
                </a:cubicBezTo>
                <a:cubicBezTo>
                  <a:pt x="46419" y="900922"/>
                  <a:pt x="47311" y="931213"/>
                  <a:pt x="46820" y="969580"/>
                </a:cubicBezTo>
                <a:close/>
                <a:moveTo>
                  <a:pt x="48307" y="3967364"/>
                </a:moveTo>
                <a:cubicBezTo>
                  <a:pt x="42152" y="3981524"/>
                  <a:pt x="45772" y="3924284"/>
                  <a:pt x="45100" y="3898058"/>
                </a:cubicBezTo>
                <a:cubicBezTo>
                  <a:pt x="39876" y="3900552"/>
                  <a:pt x="34342" y="3877316"/>
                  <a:pt x="31135" y="3891576"/>
                </a:cubicBezTo>
                <a:lnTo>
                  <a:pt x="31135" y="3922988"/>
                </a:lnTo>
                <a:cubicBezTo>
                  <a:pt x="33773" y="3925082"/>
                  <a:pt x="34084" y="3943729"/>
                  <a:pt x="37601" y="3939342"/>
                </a:cubicBezTo>
                <a:cubicBezTo>
                  <a:pt x="38066" y="3928673"/>
                  <a:pt x="37808" y="3912018"/>
                  <a:pt x="39566" y="3911720"/>
                </a:cubicBezTo>
                <a:cubicBezTo>
                  <a:pt x="39566" y="3929469"/>
                  <a:pt x="41790" y="3930965"/>
                  <a:pt x="41169" y="3953403"/>
                </a:cubicBezTo>
                <a:lnTo>
                  <a:pt x="32067" y="3953104"/>
                </a:lnTo>
                <a:cubicBezTo>
                  <a:pt x="30774" y="3998077"/>
                  <a:pt x="32946" y="4017623"/>
                  <a:pt x="33308" y="4050231"/>
                </a:cubicBezTo>
                <a:cubicBezTo>
                  <a:pt x="39566" y="4044746"/>
                  <a:pt x="35842" y="4012837"/>
                  <a:pt x="42462" y="4036569"/>
                </a:cubicBezTo>
                <a:cubicBezTo>
                  <a:pt x="43703" y="4007751"/>
                  <a:pt x="46548" y="3991895"/>
                  <a:pt x="48307" y="3967364"/>
                </a:cubicBezTo>
                <a:close/>
                <a:moveTo>
                  <a:pt x="48617" y="5506143"/>
                </a:moveTo>
                <a:cubicBezTo>
                  <a:pt x="41635" y="5490786"/>
                  <a:pt x="40859" y="5588513"/>
                  <a:pt x="46341" y="5589310"/>
                </a:cubicBezTo>
                <a:cubicBezTo>
                  <a:pt x="48514" y="5572957"/>
                  <a:pt x="48668" y="5540347"/>
                  <a:pt x="48617" y="5506143"/>
                </a:cubicBezTo>
                <a:close/>
                <a:moveTo>
                  <a:pt x="49703" y="557237"/>
                </a:moveTo>
                <a:lnTo>
                  <a:pt x="49289" y="626543"/>
                </a:lnTo>
                <a:cubicBezTo>
                  <a:pt x="46186" y="613878"/>
                  <a:pt x="43135" y="600616"/>
                  <a:pt x="44272" y="557038"/>
                </a:cubicBezTo>
                <a:close/>
                <a:moveTo>
                  <a:pt x="49910" y="1791073"/>
                </a:moveTo>
                <a:lnTo>
                  <a:pt x="42669" y="1790874"/>
                </a:lnTo>
                <a:cubicBezTo>
                  <a:pt x="45048" y="1729546"/>
                  <a:pt x="40497" y="1703020"/>
                  <a:pt x="48668" y="1694046"/>
                </a:cubicBezTo>
                <a:cubicBezTo>
                  <a:pt x="46910" y="1742012"/>
                  <a:pt x="51048" y="1747296"/>
                  <a:pt x="49910" y="1791073"/>
                </a:cubicBezTo>
                <a:close/>
                <a:moveTo>
                  <a:pt x="50220" y="779014"/>
                </a:moveTo>
                <a:cubicBezTo>
                  <a:pt x="49755" y="801551"/>
                  <a:pt x="45100" y="820299"/>
                  <a:pt x="44324" y="862082"/>
                </a:cubicBezTo>
                <a:cubicBezTo>
                  <a:pt x="41169" y="851811"/>
                  <a:pt x="44221" y="836852"/>
                  <a:pt x="44583" y="820499"/>
                </a:cubicBezTo>
                <a:cubicBezTo>
                  <a:pt x="43600" y="792278"/>
                  <a:pt x="35377" y="816411"/>
                  <a:pt x="37601" y="764754"/>
                </a:cubicBezTo>
                <a:cubicBezTo>
                  <a:pt x="41945" y="770638"/>
                  <a:pt x="41687" y="739625"/>
                  <a:pt x="46755" y="751193"/>
                </a:cubicBezTo>
                <a:cubicBezTo>
                  <a:pt x="46962" y="727459"/>
                  <a:pt x="45565" y="715294"/>
                  <a:pt x="43342" y="709510"/>
                </a:cubicBezTo>
                <a:cubicBezTo>
                  <a:pt x="44635" y="695450"/>
                  <a:pt x="47634" y="695250"/>
                  <a:pt x="47220" y="668027"/>
                </a:cubicBezTo>
                <a:cubicBezTo>
                  <a:pt x="51461" y="679495"/>
                  <a:pt x="47427" y="726861"/>
                  <a:pt x="48461" y="765054"/>
                </a:cubicBezTo>
                <a:cubicBezTo>
                  <a:pt x="48565" y="768844"/>
                  <a:pt x="50065" y="785696"/>
                  <a:pt x="50220" y="779014"/>
                </a:cubicBezTo>
                <a:close/>
                <a:moveTo>
                  <a:pt x="52600" y="1638701"/>
                </a:moveTo>
                <a:cubicBezTo>
                  <a:pt x="51979" y="1663133"/>
                  <a:pt x="49289" y="1670213"/>
                  <a:pt x="45151" y="1666224"/>
                </a:cubicBezTo>
                <a:lnTo>
                  <a:pt x="45411" y="1624641"/>
                </a:lnTo>
                <a:cubicBezTo>
                  <a:pt x="49237" y="1618858"/>
                  <a:pt x="50169" y="1634214"/>
                  <a:pt x="52600" y="1638701"/>
                </a:cubicBezTo>
                <a:close/>
                <a:moveTo>
                  <a:pt x="53498" y="424460"/>
                </a:moveTo>
                <a:cubicBezTo>
                  <a:pt x="53453" y="437573"/>
                  <a:pt x="52392" y="451085"/>
                  <a:pt x="50323" y="446448"/>
                </a:cubicBezTo>
                <a:cubicBezTo>
                  <a:pt x="48151" y="441562"/>
                  <a:pt x="49082" y="409452"/>
                  <a:pt x="50582" y="404866"/>
                </a:cubicBezTo>
                <a:cubicBezTo>
                  <a:pt x="52574" y="398633"/>
                  <a:pt x="53543" y="411347"/>
                  <a:pt x="53498" y="424460"/>
                </a:cubicBezTo>
                <a:close/>
                <a:moveTo>
                  <a:pt x="57719" y="2955803"/>
                </a:moveTo>
                <a:cubicBezTo>
                  <a:pt x="55651" y="2992201"/>
                  <a:pt x="55082" y="3040765"/>
                  <a:pt x="55134" y="3094315"/>
                </a:cubicBezTo>
                <a:cubicBezTo>
                  <a:pt x="52651" y="3072775"/>
                  <a:pt x="45927" y="3081850"/>
                  <a:pt x="40704" y="3080054"/>
                </a:cubicBezTo>
                <a:cubicBezTo>
                  <a:pt x="38531" y="3054725"/>
                  <a:pt x="44428" y="3056122"/>
                  <a:pt x="44428" y="3052532"/>
                </a:cubicBezTo>
                <a:cubicBezTo>
                  <a:pt x="44738" y="3040167"/>
                  <a:pt x="42566" y="3023115"/>
                  <a:pt x="43031" y="2983127"/>
                </a:cubicBezTo>
                <a:cubicBezTo>
                  <a:pt x="43600" y="2935560"/>
                  <a:pt x="48410" y="2907439"/>
                  <a:pt x="47376" y="2858477"/>
                </a:cubicBezTo>
                <a:cubicBezTo>
                  <a:pt x="49341" y="2867252"/>
                  <a:pt x="49600" y="2885600"/>
                  <a:pt x="50789" y="2900160"/>
                </a:cubicBezTo>
                <a:cubicBezTo>
                  <a:pt x="52703" y="2923793"/>
                  <a:pt x="54823" y="2938053"/>
                  <a:pt x="57719" y="2955803"/>
                </a:cubicBezTo>
                <a:close/>
                <a:moveTo>
                  <a:pt x="58429" y="1481566"/>
                </a:moveTo>
                <a:cubicBezTo>
                  <a:pt x="58189" y="1510001"/>
                  <a:pt x="54086" y="1548405"/>
                  <a:pt x="49548" y="1541374"/>
                </a:cubicBezTo>
                <a:cubicBezTo>
                  <a:pt x="47324" y="1506672"/>
                  <a:pt x="56944" y="1498296"/>
                  <a:pt x="51668" y="1486030"/>
                </a:cubicBezTo>
                <a:cubicBezTo>
                  <a:pt x="52186" y="1466087"/>
                  <a:pt x="57099" y="1481443"/>
                  <a:pt x="57254" y="1458507"/>
                </a:cubicBezTo>
                <a:cubicBezTo>
                  <a:pt x="58159" y="1463717"/>
                  <a:pt x="58509" y="1472088"/>
                  <a:pt x="58429" y="1481566"/>
                </a:cubicBezTo>
                <a:close/>
                <a:moveTo>
                  <a:pt x="59685" y="3260748"/>
                </a:moveTo>
                <a:cubicBezTo>
                  <a:pt x="58754" y="3277799"/>
                  <a:pt x="57202" y="3289167"/>
                  <a:pt x="53996" y="3288370"/>
                </a:cubicBezTo>
                <a:cubicBezTo>
                  <a:pt x="54048" y="3322474"/>
                  <a:pt x="53892" y="3355082"/>
                  <a:pt x="51720" y="3371436"/>
                </a:cubicBezTo>
                <a:cubicBezTo>
                  <a:pt x="46496" y="3356479"/>
                  <a:pt x="42566" y="3331848"/>
                  <a:pt x="33722" y="3343215"/>
                </a:cubicBezTo>
                <a:cubicBezTo>
                  <a:pt x="35428" y="3313300"/>
                  <a:pt x="38687" y="3296148"/>
                  <a:pt x="37911" y="3246288"/>
                </a:cubicBezTo>
                <a:lnTo>
                  <a:pt x="48824" y="3246587"/>
                </a:lnTo>
                <a:cubicBezTo>
                  <a:pt x="50892" y="3205004"/>
                  <a:pt x="44945" y="3221957"/>
                  <a:pt x="41738" y="3218665"/>
                </a:cubicBezTo>
                <a:cubicBezTo>
                  <a:pt x="40911" y="3187951"/>
                  <a:pt x="45307" y="3199021"/>
                  <a:pt x="45617" y="3177182"/>
                </a:cubicBezTo>
                <a:cubicBezTo>
                  <a:pt x="45255" y="3162124"/>
                  <a:pt x="42048" y="3167709"/>
                  <a:pt x="42152" y="3149360"/>
                </a:cubicBezTo>
                <a:cubicBezTo>
                  <a:pt x="36670" y="3131211"/>
                  <a:pt x="46134" y="3140984"/>
                  <a:pt x="45721" y="3163321"/>
                </a:cubicBezTo>
                <a:cubicBezTo>
                  <a:pt x="50789" y="3174888"/>
                  <a:pt x="50530" y="3143875"/>
                  <a:pt x="54875" y="3149660"/>
                </a:cubicBezTo>
                <a:cubicBezTo>
                  <a:pt x="54048" y="3207097"/>
                  <a:pt x="56944" y="3203708"/>
                  <a:pt x="54306" y="3246687"/>
                </a:cubicBezTo>
                <a:cubicBezTo>
                  <a:pt x="54513" y="3262941"/>
                  <a:pt x="57565" y="3258553"/>
                  <a:pt x="59685" y="3260748"/>
                </a:cubicBezTo>
                <a:close/>
                <a:moveTo>
                  <a:pt x="64288" y="5950197"/>
                </a:moveTo>
                <a:lnTo>
                  <a:pt x="63978" y="6005642"/>
                </a:lnTo>
                <a:lnTo>
                  <a:pt x="60357" y="6005541"/>
                </a:lnTo>
                <a:lnTo>
                  <a:pt x="60668" y="5950097"/>
                </a:lnTo>
                <a:close/>
                <a:moveTo>
                  <a:pt x="65271" y="2914321"/>
                </a:moveTo>
                <a:cubicBezTo>
                  <a:pt x="61340" y="2920703"/>
                  <a:pt x="61909" y="2894476"/>
                  <a:pt x="61858" y="2872636"/>
                </a:cubicBezTo>
                <a:cubicBezTo>
                  <a:pt x="64081" y="2878720"/>
                  <a:pt x="65478" y="2890487"/>
                  <a:pt x="65271" y="2914321"/>
                </a:cubicBezTo>
                <a:close/>
                <a:moveTo>
                  <a:pt x="65322" y="6407713"/>
                </a:moveTo>
                <a:cubicBezTo>
                  <a:pt x="64702" y="6387269"/>
                  <a:pt x="63253" y="6405619"/>
                  <a:pt x="61754" y="6393752"/>
                </a:cubicBezTo>
                <a:cubicBezTo>
                  <a:pt x="61133" y="6388966"/>
                  <a:pt x="62426" y="6371116"/>
                  <a:pt x="61909" y="6366030"/>
                </a:cubicBezTo>
                <a:cubicBezTo>
                  <a:pt x="61133" y="6359149"/>
                  <a:pt x="57409" y="6371414"/>
                  <a:pt x="56478" y="6365830"/>
                </a:cubicBezTo>
                <a:lnTo>
                  <a:pt x="56220" y="6407413"/>
                </a:lnTo>
                <a:cubicBezTo>
                  <a:pt x="60771" y="6405418"/>
                  <a:pt x="61702" y="6429351"/>
                  <a:pt x="65168" y="6435435"/>
                </a:cubicBezTo>
                <a:cubicBezTo>
                  <a:pt x="64961" y="6426659"/>
                  <a:pt x="65581" y="6416288"/>
                  <a:pt x="65322" y="6407713"/>
                </a:cubicBezTo>
                <a:close/>
                <a:moveTo>
                  <a:pt x="66616" y="3954101"/>
                </a:moveTo>
                <a:cubicBezTo>
                  <a:pt x="63202" y="4009646"/>
                  <a:pt x="68943" y="4049233"/>
                  <a:pt x="60512" y="4064789"/>
                </a:cubicBezTo>
                <a:cubicBezTo>
                  <a:pt x="65478" y="4051228"/>
                  <a:pt x="58806" y="3944727"/>
                  <a:pt x="66616" y="3954101"/>
                </a:cubicBezTo>
                <a:close/>
                <a:moveTo>
                  <a:pt x="67120" y="2695011"/>
                </a:moveTo>
                <a:cubicBezTo>
                  <a:pt x="67947" y="2703886"/>
                  <a:pt x="68270" y="2711939"/>
                  <a:pt x="66357" y="2720265"/>
                </a:cubicBezTo>
                <a:cubicBezTo>
                  <a:pt x="63150" y="2728142"/>
                  <a:pt x="55806" y="2703213"/>
                  <a:pt x="55392" y="2733827"/>
                </a:cubicBezTo>
                <a:cubicBezTo>
                  <a:pt x="53996" y="2806622"/>
                  <a:pt x="66047" y="2719567"/>
                  <a:pt x="66150" y="2761847"/>
                </a:cubicBezTo>
                <a:cubicBezTo>
                  <a:pt x="64392" y="2843020"/>
                  <a:pt x="49134" y="2728542"/>
                  <a:pt x="47686" y="2802933"/>
                </a:cubicBezTo>
                <a:cubicBezTo>
                  <a:pt x="42307" y="2772718"/>
                  <a:pt x="49910" y="2724951"/>
                  <a:pt x="48410" y="2678183"/>
                </a:cubicBezTo>
                <a:cubicBezTo>
                  <a:pt x="49858" y="2685562"/>
                  <a:pt x="51306" y="2692741"/>
                  <a:pt x="53789" y="2692243"/>
                </a:cubicBezTo>
                <a:cubicBezTo>
                  <a:pt x="56633" y="2671302"/>
                  <a:pt x="57047" y="2631514"/>
                  <a:pt x="57978" y="2595316"/>
                </a:cubicBezTo>
                <a:lnTo>
                  <a:pt x="65219" y="2595515"/>
                </a:lnTo>
                <a:cubicBezTo>
                  <a:pt x="66150" y="2606683"/>
                  <a:pt x="67029" y="2618051"/>
                  <a:pt x="66823" y="2637098"/>
                </a:cubicBezTo>
                <a:cubicBezTo>
                  <a:pt x="66719" y="2648665"/>
                  <a:pt x="64857" y="2666914"/>
                  <a:pt x="64857" y="2664821"/>
                </a:cubicBezTo>
                <a:cubicBezTo>
                  <a:pt x="64960" y="2676438"/>
                  <a:pt x="66292" y="2686136"/>
                  <a:pt x="67120" y="2695011"/>
                </a:cubicBezTo>
                <a:close/>
                <a:moveTo>
                  <a:pt x="67857" y="3413519"/>
                </a:moveTo>
                <a:cubicBezTo>
                  <a:pt x="68012" y="3421696"/>
                  <a:pt x="65219" y="3430770"/>
                  <a:pt x="64133" y="3427280"/>
                </a:cubicBezTo>
                <a:cubicBezTo>
                  <a:pt x="57875" y="3406139"/>
                  <a:pt x="67650" y="3401054"/>
                  <a:pt x="67857" y="3413519"/>
                </a:cubicBezTo>
                <a:close/>
                <a:moveTo>
                  <a:pt x="68484" y="3869314"/>
                </a:moveTo>
                <a:cubicBezTo>
                  <a:pt x="68193" y="3884347"/>
                  <a:pt x="66512" y="3902197"/>
                  <a:pt x="65012" y="3912419"/>
                </a:cubicBezTo>
                <a:cubicBezTo>
                  <a:pt x="61082" y="3914711"/>
                  <a:pt x="64495" y="3863256"/>
                  <a:pt x="63616" y="3843113"/>
                </a:cubicBezTo>
                <a:cubicBezTo>
                  <a:pt x="67676" y="3842066"/>
                  <a:pt x="68775" y="3854282"/>
                  <a:pt x="68484" y="3869314"/>
                </a:cubicBezTo>
                <a:close/>
                <a:moveTo>
                  <a:pt x="71425" y="5978118"/>
                </a:moveTo>
                <a:cubicBezTo>
                  <a:pt x="68632" y="5955981"/>
                  <a:pt x="68425" y="5899340"/>
                  <a:pt x="68425" y="5867130"/>
                </a:cubicBezTo>
                <a:cubicBezTo>
                  <a:pt x="66305" y="5864837"/>
                  <a:pt x="63253" y="5869324"/>
                  <a:pt x="63047" y="5853069"/>
                </a:cubicBezTo>
                <a:cubicBezTo>
                  <a:pt x="65581" y="5799620"/>
                  <a:pt x="64081" y="5747765"/>
                  <a:pt x="63822" y="5714459"/>
                </a:cubicBezTo>
                <a:cubicBezTo>
                  <a:pt x="63564" y="5680852"/>
                  <a:pt x="66977" y="5610949"/>
                  <a:pt x="60719" y="5617331"/>
                </a:cubicBezTo>
                <a:cubicBezTo>
                  <a:pt x="59685" y="5617232"/>
                  <a:pt x="58547" y="5628499"/>
                  <a:pt x="60616" y="5631192"/>
                </a:cubicBezTo>
                <a:cubicBezTo>
                  <a:pt x="57616" y="5713461"/>
                  <a:pt x="59220" y="5832727"/>
                  <a:pt x="55392" y="5908314"/>
                </a:cubicBezTo>
                <a:cubicBezTo>
                  <a:pt x="58754" y="5910508"/>
                  <a:pt x="56220" y="5955283"/>
                  <a:pt x="58702" y="5963858"/>
                </a:cubicBezTo>
                <a:cubicBezTo>
                  <a:pt x="53944" y="6001653"/>
                  <a:pt x="57616" y="6022892"/>
                  <a:pt x="54513" y="6060787"/>
                </a:cubicBezTo>
                <a:cubicBezTo>
                  <a:pt x="59633" y="6063279"/>
                  <a:pt x="61961" y="6086414"/>
                  <a:pt x="67081" y="6088908"/>
                </a:cubicBezTo>
                <a:cubicBezTo>
                  <a:pt x="64495" y="6038549"/>
                  <a:pt x="74580" y="6003747"/>
                  <a:pt x="71425" y="5978118"/>
                </a:cubicBezTo>
                <a:close/>
                <a:moveTo>
                  <a:pt x="73475" y="7032496"/>
                </a:moveTo>
                <a:cubicBezTo>
                  <a:pt x="73598" y="7026325"/>
                  <a:pt x="73442" y="7022187"/>
                  <a:pt x="72770" y="7017799"/>
                </a:cubicBezTo>
                <a:cubicBezTo>
                  <a:pt x="72408" y="7015406"/>
                  <a:pt x="72977" y="6994266"/>
                  <a:pt x="72925" y="6990077"/>
                </a:cubicBezTo>
                <a:cubicBezTo>
                  <a:pt x="72718" y="6967341"/>
                  <a:pt x="73029" y="6959564"/>
                  <a:pt x="71322" y="6948394"/>
                </a:cubicBezTo>
                <a:cubicBezTo>
                  <a:pt x="69201" y="6934533"/>
                  <a:pt x="73080" y="6878491"/>
                  <a:pt x="68012" y="6892850"/>
                </a:cubicBezTo>
                <a:cubicBezTo>
                  <a:pt x="64547" y="6922467"/>
                  <a:pt x="67857" y="6983496"/>
                  <a:pt x="60409" y="6948095"/>
                </a:cubicBezTo>
                <a:cubicBezTo>
                  <a:pt x="57926" y="7036546"/>
                  <a:pt x="66667" y="7092789"/>
                  <a:pt x="59323" y="7142151"/>
                </a:cubicBezTo>
                <a:cubicBezTo>
                  <a:pt x="58547" y="7125796"/>
                  <a:pt x="57565" y="7110639"/>
                  <a:pt x="55910" y="7100468"/>
                </a:cubicBezTo>
                <a:cubicBezTo>
                  <a:pt x="55547" y="7160898"/>
                  <a:pt x="55754" y="7225317"/>
                  <a:pt x="53116" y="7266901"/>
                </a:cubicBezTo>
                <a:cubicBezTo>
                  <a:pt x="60150" y="7289337"/>
                  <a:pt x="54099" y="7207068"/>
                  <a:pt x="58857" y="7211555"/>
                </a:cubicBezTo>
                <a:cubicBezTo>
                  <a:pt x="59064" y="7227710"/>
                  <a:pt x="61651" y="7226712"/>
                  <a:pt x="64236" y="7225616"/>
                </a:cubicBezTo>
                <a:cubicBezTo>
                  <a:pt x="62167" y="7271786"/>
                  <a:pt x="66512" y="7271088"/>
                  <a:pt x="71270" y="7267398"/>
                </a:cubicBezTo>
                <a:cubicBezTo>
                  <a:pt x="70856" y="7231200"/>
                  <a:pt x="69770" y="7189518"/>
                  <a:pt x="70029" y="7170271"/>
                </a:cubicBezTo>
                <a:cubicBezTo>
                  <a:pt x="70133" y="7160199"/>
                  <a:pt x="71943" y="7156709"/>
                  <a:pt x="71943" y="7156410"/>
                </a:cubicBezTo>
                <a:cubicBezTo>
                  <a:pt x="72564" y="7130184"/>
                  <a:pt x="69926" y="7125697"/>
                  <a:pt x="70443" y="7100967"/>
                </a:cubicBezTo>
                <a:cubicBezTo>
                  <a:pt x="70443" y="7102062"/>
                  <a:pt x="72046" y="7094684"/>
                  <a:pt x="72357" y="7087105"/>
                </a:cubicBezTo>
                <a:cubicBezTo>
                  <a:pt x="72667" y="7078430"/>
                  <a:pt x="72201" y="7068158"/>
                  <a:pt x="72511" y="7059383"/>
                </a:cubicBezTo>
                <a:cubicBezTo>
                  <a:pt x="72951" y="7046868"/>
                  <a:pt x="73352" y="7038666"/>
                  <a:pt x="73475" y="7032496"/>
                </a:cubicBezTo>
                <a:close/>
                <a:moveTo>
                  <a:pt x="75046" y="900673"/>
                </a:moveTo>
                <a:cubicBezTo>
                  <a:pt x="74684" y="903765"/>
                  <a:pt x="72304" y="967186"/>
                  <a:pt x="72046" y="969180"/>
                </a:cubicBezTo>
                <a:cubicBezTo>
                  <a:pt x="70546" y="979951"/>
                  <a:pt x="72253" y="1017944"/>
                  <a:pt x="72098" y="1043173"/>
                </a:cubicBezTo>
                <a:cubicBezTo>
                  <a:pt x="71943" y="1068503"/>
                  <a:pt x="72718" y="1055838"/>
                  <a:pt x="73598" y="1070297"/>
                </a:cubicBezTo>
                <a:cubicBezTo>
                  <a:pt x="74012" y="1077577"/>
                  <a:pt x="73494" y="1119060"/>
                  <a:pt x="72718" y="1138904"/>
                </a:cubicBezTo>
                <a:cubicBezTo>
                  <a:pt x="72460" y="1138007"/>
                  <a:pt x="69822" y="1150472"/>
                  <a:pt x="69563" y="1149674"/>
                </a:cubicBezTo>
                <a:cubicBezTo>
                  <a:pt x="66150" y="1144588"/>
                  <a:pt x="71218" y="1186171"/>
                  <a:pt x="69667" y="1195345"/>
                </a:cubicBezTo>
                <a:cubicBezTo>
                  <a:pt x="68115" y="1204620"/>
                  <a:pt x="68374" y="1206016"/>
                  <a:pt x="67702" y="1223068"/>
                </a:cubicBezTo>
                <a:cubicBezTo>
                  <a:pt x="67495" y="1228553"/>
                  <a:pt x="65788" y="1240918"/>
                  <a:pt x="65788" y="1236929"/>
                </a:cubicBezTo>
                <a:cubicBezTo>
                  <a:pt x="65684" y="1258768"/>
                  <a:pt x="69305" y="1263455"/>
                  <a:pt x="65478" y="1292374"/>
                </a:cubicBezTo>
                <a:cubicBezTo>
                  <a:pt x="63150" y="1310224"/>
                  <a:pt x="61909" y="1390996"/>
                  <a:pt x="59167" y="1444746"/>
                </a:cubicBezTo>
                <a:cubicBezTo>
                  <a:pt x="55910" y="1446441"/>
                  <a:pt x="55444" y="1427694"/>
                  <a:pt x="51979" y="1430685"/>
                </a:cubicBezTo>
                <a:cubicBezTo>
                  <a:pt x="54772" y="1362676"/>
                  <a:pt x="56271" y="1322489"/>
                  <a:pt x="54823" y="1250591"/>
                </a:cubicBezTo>
                <a:cubicBezTo>
                  <a:pt x="58599" y="1262957"/>
                  <a:pt x="57358" y="1230448"/>
                  <a:pt x="58702" y="1222669"/>
                </a:cubicBezTo>
                <a:cubicBezTo>
                  <a:pt x="58909" y="1221473"/>
                  <a:pt x="60409" y="1224364"/>
                  <a:pt x="60512" y="1222768"/>
                </a:cubicBezTo>
                <a:cubicBezTo>
                  <a:pt x="63978" y="1164134"/>
                  <a:pt x="62323" y="1055739"/>
                  <a:pt x="65012" y="961802"/>
                </a:cubicBezTo>
                <a:cubicBezTo>
                  <a:pt x="70494" y="954722"/>
                  <a:pt x="68839" y="848021"/>
                  <a:pt x="73701" y="850115"/>
                </a:cubicBezTo>
                <a:cubicBezTo>
                  <a:pt x="74580" y="850513"/>
                  <a:pt x="73959" y="901172"/>
                  <a:pt x="75046" y="900673"/>
                </a:cubicBezTo>
                <a:close/>
                <a:moveTo>
                  <a:pt x="75356" y="6241679"/>
                </a:moveTo>
                <a:cubicBezTo>
                  <a:pt x="71943" y="6206178"/>
                  <a:pt x="63460" y="6192616"/>
                  <a:pt x="68736" y="6130591"/>
                </a:cubicBezTo>
                <a:cubicBezTo>
                  <a:pt x="64443" y="6140861"/>
                  <a:pt x="60357" y="6115432"/>
                  <a:pt x="57823" y="6130291"/>
                </a:cubicBezTo>
                <a:cubicBezTo>
                  <a:pt x="56582" y="6137771"/>
                  <a:pt x="58599" y="6176461"/>
                  <a:pt x="55754" y="6171776"/>
                </a:cubicBezTo>
                <a:cubicBezTo>
                  <a:pt x="52910" y="6165791"/>
                  <a:pt x="54409" y="6128097"/>
                  <a:pt x="48617" y="6143853"/>
                </a:cubicBezTo>
                <a:cubicBezTo>
                  <a:pt x="46859" y="6320358"/>
                  <a:pt x="49134" y="6423568"/>
                  <a:pt x="46393" y="6531964"/>
                </a:cubicBezTo>
                <a:cubicBezTo>
                  <a:pt x="49858" y="6537748"/>
                  <a:pt x="47531" y="6585714"/>
                  <a:pt x="53427" y="6573746"/>
                </a:cubicBezTo>
                <a:cubicBezTo>
                  <a:pt x="51927" y="6515410"/>
                  <a:pt x="55030" y="6466348"/>
                  <a:pt x="52341" y="6448997"/>
                </a:cubicBezTo>
                <a:cubicBezTo>
                  <a:pt x="50323" y="6435834"/>
                  <a:pt x="54409" y="6387269"/>
                  <a:pt x="54565" y="6379691"/>
                </a:cubicBezTo>
                <a:cubicBezTo>
                  <a:pt x="55185" y="6352667"/>
                  <a:pt x="53013" y="6310984"/>
                  <a:pt x="56944" y="6282664"/>
                </a:cubicBezTo>
                <a:cubicBezTo>
                  <a:pt x="60875" y="6280469"/>
                  <a:pt x="57461" y="6331826"/>
                  <a:pt x="58392" y="6352069"/>
                </a:cubicBezTo>
                <a:cubicBezTo>
                  <a:pt x="66667" y="6354462"/>
                  <a:pt x="65426" y="6363736"/>
                  <a:pt x="72925" y="6352468"/>
                </a:cubicBezTo>
                <a:cubicBezTo>
                  <a:pt x="76804" y="6310186"/>
                  <a:pt x="71012" y="6280171"/>
                  <a:pt x="75356" y="6241679"/>
                </a:cubicBezTo>
                <a:close/>
                <a:moveTo>
                  <a:pt x="78356" y="2207703"/>
                </a:moveTo>
                <a:cubicBezTo>
                  <a:pt x="75667" y="2207604"/>
                  <a:pt x="77373" y="2236025"/>
                  <a:pt x="76287" y="2249287"/>
                </a:cubicBezTo>
                <a:cubicBezTo>
                  <a:pt x="75977" y="2253476"/>
                  <a:pt x="73184" y="2245497"/>
                  <a:pt x="72667" y="2249188"/>
                </a:cubicBezTo>
                <a:cubicBezTo>
                  <a:pt x="71063" y="2260954"/>
                  <a:pt x="72873" y="2298749"/>
                  <a:pt x="70546" y="2304532"/>
                </a:cubicBezTo>
                <a:cubicBezTo>
                  <a:pt x="71477" y="2346016"/>
                  <a:pt x="74477" y="2291369"/>
                  <a:pt x="77787" y="2304732"/>
                </a:cubicBezTo>
                <a:cubicBezTo>
                  <a:pt x="79184" y="2349505"/>
                  <a:pt x="71736" y="2324077"/>
                  <a:pt x="70287" y="2346115"/>
                </a:cubicBezTo>
                <a:cubicBezTo>
                  <a:pt x="67960" y="2389593"/>
                  <a:pt x="70598" y="2382812"/>
                  <a:pt x="68064" y="2415421"/>
                </a:cubicBezTo>
                <a:lnTo>
                  <a:pt x="60822" y="2415221"/>
                </a:lnTo>
                <a:cubicBezTo>
                  <a:pt x="58392" y="2397371"/>
                  <a:pt x="60099" y="2349705"/>
                  <a:pt x="57668" y="2331955"/>
                </a:cubicBezTo>
                <a:cubicBezTo>
                  <a:pt x="50169" y="2342825"/>
                  <a:pt x="58288" y="2388995"/>
                  <a:pt x="53582" y="2415023"/>
                </a:cubicBezTo>
                <a:cubicBezTo>
                  <a:pt x="53634" y="2445237"/>
                  <a:pt x="57978" y="2444839"/>
                  <a:pt x="62478" y="2442943"/>
                </a:cubicBezTo>
                <a:cubicBezTo>
                  <a:pt x="61443" y="2454112"/>
                  <a:pt x="60461" y="2465380"/>
                  <a:pt x="60409" y="2484527"/>
                </a:cubicBezTo>
                <a:cubicBezTo>
                  <a:pt x="60719" y="2513345"/>
                  <a:pt x="68374" y="2488516"/>
                  <a:pt x="69357" y="2512547"/>
                </a:cubicBezTo>
                <a:cubicBezTo>
                  <a:pt x="67702" y="2563006"/>
                  <a:pt x="63564" y="2511051"/>
                  <a:pt x="56582" y="2526010"/>
                </a:cubicBezTo>
                <a:cubicBezTo>
                  <a:pt x="48048" y="2533589"/>
                  <a:pt x="56271" y="2591226"/>
                  <a:pt x="48927" y="2595116"/>
                </a:cubicBezTo>
                <a:cubicBezTo>
                  <a:pt x="51410" y="2567095"/>
                  <a:pt x="46341" y="2490310"/>
                  <a:pt x="49600" y="2470267"/>
                </a:cubicBezTo>
                <a:cubicBezTo>
                  <a:pt x="51824" y="2456805"/>
                  <a:pt x="49651" y="2463784"/>
                  <a:pt x="49755" y="2442545"/>
                </a:cubicBezTo>
                <a:cubicBezTo>
                  <a:pt x="49806" y="2431376"/>
                  <a:pt x="51720" y="2428983"/>
                  <a:pt x="51720" y="2415719"/>
                </a:cubicBezTo>
                <a:cubicBezTo>
                  <a:pt x="51617" y="2414124"/>
                  <a:pt x="50582" y="2347213"/>
                  <a:pt x="50323" y="2345516"/>
                </a:cubicBezTo>
                <a:cubicBezTo>
                  <a:pt x="47531" y="2327168"/>
                  <a:pt x="51565" y="2278605"/>
                  <a:pt x="49237" y="2220767"/>
                </a:cubicBezTo>
                <a:cubicBezTo>
                  <a:pt x="50996" y="2220368"/>
                  <a:pt x="50737" y="2203814"/>
                  <a:pt x="51203" y="2193045"/>
                </a:cubicBezTo>
                <a:cubicBezTo>
                  <a:pt x="53686" y="2178985"/>
                  <a:pt x="57978" y="2179582"/>
                  <a:pt x="60461" y="2165523"/>
                </a:cubicBezTo>
                <a:cubicBezTo>
                  <a:pt x="62323" y="2127229"/>
                  <a:pt x="57461" y="2035288"/>
                  <a:pt x="64805" y="2040873"/>
                </a:cubicBezTo>
                <a:cubicBezTo>
                  <a:pt x="64857" y="2108881"/>
                  <a:pt x="61029" y="2145777"/>
                  <a:pt x="61961" y="2221067"/>
                </a:cubicBezTo>
                <a:lnTo>
                  <a:pt x="67391" y="2221265"/>
                </a:lnTo>
                <a:cubicBezTo>
                  <a:pt x="70339" y="2227548"/>
                  <a:pt x="70805" y="2145777"/>
                  <a:pt x="67805" y="2151961"/>
                </a:cubicBezTo>
                <a:cubicBezTo>
                  <a:pt x="67650" y="2121945"/>
                  <a:pt x="74270" y="2145877"/>
                  <a:pt x="76959" y="2138399"/>
                </a:cubicBezTo>
                <a:cubicBezTo>
                  <a:pt x="75201" y="2177489"/>
                  <a:pt x="79287" y="2174297"/>
                  <a:pt x="78356" y="2207703"/>
                </a:cubicBezTo>
                <a:close/>
                <a:moveTo>
                  <a:pt x="78459" y="3150357"/>
                </a:moveTo>
                <a:lnTo>
                  <a:pt x="78045" y="3219663"/>
                </a:lnTo>
                <a:cubicBezTo>
                  <a:pt x="72977" y="3208095"/>
                  <a:pt x="73236" y="3239108"/>
                  <a:pt x="68891" y="3233324"/>
                </a:cubicBezTo>
                <a:cubicBezTo>
                  <a:pt x="68374" y="3257855"/>
                  <a:pt x="70339" y="3302729"/>
                  <a:pt x="64961" y="3288669"/>
                </a:cubicBezTo>
                <a:cubicBezTo>
                  <a:pt x="62064" y="3239507"/>
                  <a:pt x="66357" y="3254664"/>
                  <a:pt x="67236" y="3205603"/>
                </a:cubicBezTo>
                <a:cubicBezTo>
                  <a:pt x="71425" y="3210090"/>
                  <a:pt x="74219" y="3203508"/>
                  <a:pt x="76390" y="3191940"/>
                </a:cubicBezTo>
                <a:cubicBezTo>
                  <a:pt x="75925" y="3174888"/>
                  <a:pt x="77166" y="3106281"/>
                  <a:pt x="78459" y="3150357"/>
                </a:cubicBezTo>
                <a:close/>
                <a:moveTo>
                  <a:pt x="78718" y="8506881"/>
                </a:moveTo>
                <a:cubicBezTo>
                  <a:pt x="79132" y="8483409"/>
                  <a:pt x="78925" y="8460398"/>
                  <a:pt x="77218" y="8445889"/>
                </a:cubicBezTo>
                <a:cubicBezTo>
                  <a:pt x="72977" y="8445391"/>
                  <a:pt x="71736" y="8469524"/>
                  <a:pt x="66253" y="8459352"/>
                </a:cubicBezTo>
                <a:cubicBezTo>
                  <a:pt x="66305" y="8516392"/>
                  <a:pt x="65891" y="8577221"/>
                  <a:pt x="70908" y="8598162"/>
                </a:cubicBezTo>
                <a:cubicBezTo>
                  <a:pt x="70805" y="8573331"/>
                  <a:pt x="72873" y="8565754"/>
                  <a:pt x="76494" y="8570640"/>
                </a:cubicBezTo>
                <a:cubicBezTo>
                  <a:pt x="77270" y="8554285"/>
                  <a:pt x="78304" y="8530352"/>
                  <a:pt x="78718" y="8506881"/>
                </a:cubicBezTo>
                <a:close/>
                <a:moveTo>
                  <a:pt x="79545" y="3594012"/>
                </a:moveTo>
                <a:lnTo>
                  <a:pt x="79390" y="3621734"/>
                </a:lnTo>
                <a:cubicBezTo>
                  <a:pt x="77839" y="3619142"/>
                  <a:pt x="77632" y="3627119"/>
                  <a:pt x="77476" y="3635595"/>
                </a:cubicBezTo>
                <a:cubicBezTo>
                  <a:pt x="73959" y="3640981"/>
                  <a:pt x="75201" y="3572373"/>
                  <a:pt x="79545" y="3594012"/>
                </a:cubicBezTo>
                <a:close/>
                <a:moveTo>
                  <a:pt x="80786" y="4966458"/>
                </a:moveTo>
                <a:cubicBezTo>
                  <a:pt x="81666" y="4893663"/>
                  <a:pt x="76080" y="4842507"/>
                  <a:pt x="80011" y="4786264"/>
                </a:cubicBezTo>
                <a:cubicBezTo>
                  <a:pt x="72718" y="4795140"/>
                  <a:pt x="75098" y="4733413"/>
                  <a:pt x="75098" y="4689138"/>
                </a:cubicBezTo>
                <a:cubicBezTo>
                  <a:pt x="72977" y="4682356"/>
                  <a:pt x="71063" y="4674179"/>
                  <a:pt x="69822" y="4661215"/>
                </a:cubicBezTo>
                <a:cubicBezTo>
                  <a:pt x="68736" y="4623322"/>
                  <a:pt x="73598" y="4633394"/>
                  <a:pt x="73753" y="4605871"/>
                </a:cubicBezTo>
                <a:cubicBezTo>
                  <a:pt x="71632" y="4603478"/>
                  <a:pt x="71891" y="4583833"/>
                  <a:pt x="72201" y="4564188"/>
                </a:cubicBezTo>
                <a:cubicBezTo>
                  <a:pt x="70494" y="4545640"/>
                  <a:pt x="67443" y="4536865"/>
                  <a:pt x="67081" y="4508644"/>
                </a:cubicBezTo>
                <a:cubicBezTo>
                  <a:pt x="71425" y="4478229"/>
                  <a:pt x="66926" y="4453299"/>
                  <a:pt x="61961" y="4453001"/>
                </a:cubicBezTo>
                <a:cubicBezTo>
                  <a:pt x="58547" y="4499071"/>
                  <a:pt x="62530" y="4514528"/>
                  <a:pt x="61236" y="4577750"/>
                </a:cubicBezTo>
                <a:cubicBezTo>
                  <a:pt x="63357" y="4579945"/>
                  <a:pt x="66409" y="4575556"/>
                  <a:pt x="66616" y="4591810"/>
                </a:cubicBezTo>
                <a:cubicBezTo>
                  <a:pt x="59892" y="4593107"/>
                  <a:pt x="64133" y="4647354"/>
                  <a:pt x="64340" y="4674977"/>
                </a:cubicBezTo>
                <a:cubicBezTo>
                  <a:pt x="64702" y="4732316"/>
                  <a:pt x="62271" y="4755251"/>
                  <a:pt x="61909" y="4785766"/>
                </a:cubicBezTo>
                <a:cubicBezTo>
                  <a:pt x="61495" y="4817876"/>
                  <a:pt x="61495" y="4871624"/>
                  <a:pt x="61340" y="4882794"/>
                </a:cubicBezTo>
                <a:cubicBezTo>
                  <a:pt x="61236" y="4892068"/>
                  <a:pt x="59427" y="4897352"/>
                  <a:pt x="59427" y="4896555"/>
                </a:cubicBezTo>
                <a:cubicBezTo>
                  <a:pt x="59116" y="4914206"/>
                  <a:pt x="61495" y="4915502"/>
                  <a:pt x="61029" y="4938138"/>
                </a:cubicBezTo>
                <a:cubicBezTo>
                  <a:pt x="60616" y="4958780"/>
                  <a:pt x="58909" y="4962769"/>
                  <a:pt x="58909" y="4993583"/>
                </a:cubicBezTo>
                <a:cubicBezTo>
                  <a:pt x="58909" y="5019510"/>
                  <a:pt x="60461" y="5038755"/>
                  <a:pt x="60306" y="5062888"/>
                </a:cubicBezTo>
                <a:cubicBezTo>
                  <a:pt x="60202" y="5080539"/>
                  <a:pt x="58547" y="5090709"/>
                  <a:pt x="58185" y="5118233"/>
                </a:cubicBezTo>
                <a:cubicBezTo>
                  <a:pt x="57772" y="5150941"/>
                  <a:pt x="58702" y="5169689"/>
                  <a:pt x="59530" y="5201399"/>
                </a:cubicBezTo>
                <a:cubicBezTo>
                  <a:pt x="57099" y="5198108"/>
                  <a:pt x="58444" y="5221144"/>
                  <a:pt x="57512" y="5229220"/>
                </a:cubicBezTo>
                <a:cubicBezTo>
                  <a:pt x="56427" y="5238395"/>
                  <a:pt x="52341" y="5227327"/>
                  <a:pt x="53737" y="5256843"/>
                </a:cubicBezTo>
                <a:cubicBezTo>
                  <a:pt x="55754" y="5259836"/>
                  <a:pt x="56478" y="5272300"/>
                  <a:pt x="57202" y="5284665"/>
                </a:cubicBezTo>
                <a:cubicBezTo>
                  <a:pt x="58288" y="5336919"/>
                  <a:pt x="54616" y="5350880"/>
                  <a:pt x="54772" y="5395454"/>
                </a:cubicBezTo>
                <a:cubicBezTo>
                  <a:pt x="59995" y="5384186"/>
                  <a:pt x="59374" y="5415099"/>
                  <a:pt x="63771" y="5409615"/>
                </a:cubicBezTo>
                <a:cubicBezTo>
                  <a:pt x="61082" y="5348685"/>
                  <a:pt x="68684" y="5345095"/>
                  <a:pt x="69667" y="5326548"/>
                </a:cubicBezTo>
                <a:cubicBezTo>
                  <a:pt x="71322" y="5295834"/>
                  <a:pt x="69822" y="5258639"/>
                  <a:pt x="72098" y="5215759"/>
                </a:cubicBezTo>
                <a:cubicBezTo>
                  <a:pt x="72822" y="5183848"/>
                  <a:pt x="66926" y="5200202"/>
                  <a:pt x="66874" y="5174077"/>
                </a:cubicBezTo>
                <a:cubicBezTo>
                  <a:pt x="67081" y="5155029"/>
                  <a:pt x="66202" y="5143562"/>
                  <a:pt x="65322" y="5132392"/>
                </a:cubicBezTo>
                <a:cubicBezTo>
                  <a:pt x="67495" y="5082632"/>
                  <a:pt x="64029" y="5039654"/>
                  <a:pt x="64288" y="4993782"/>
                </a:cubicBezTo>
                <a:cubicBezTo>
                  <a:pt x="64288" y="4997770"/>
                  <a:pt x="65995" y="4985405"/>
                  <a:pt x="66202" y="4979921"/>
                </a:cubicBezTo>
                <a:cubicBezTo>
                  <a:pt x="68529" y="4919790"/>
                  <a:pt x="63978" y="4840612"/>
                  <a:pt x="68943" y="4813588"/>
                </a:cubicBezTo>
                <a:cubicBezTo>
                  <a:pt x="71322" y="4813887"/>
                  <a:pt x="70443" y="4837919"/>
                  <a:pt x="72408" y="4841409"/>
                </a:cubicBezTo>
                <a:cubicBezTo>
                  <a:pt x="72511" y="4827449"/>
                  <a:pt x="75718" y="4824058"/>
                  <a:pt x="76028" y="4841509"/>
                </a:cubicBezTo>
                <a:cubicBezTo>
                  <a:pt x="77735" y="4911214"/>
                  <a:pt x="70701" y="4962271"/>
                  <a:pt x="75098" y="5007843"/>
                </a:cubicBezTo>
                <a:cubicBezTo>
                  <a:pt x="79907" y="5017515"/>
                  <a:pt x="78770" y="4979323"/>
                  <a:pt x="80786" y="4966458"/>
                </a:cubicBezTo>
                <a:close/>
                <a:moveTo>
                  <a:pt x="81614" y="696746"/>
                </a:moveTo>
                <a:cubicBezTo>
                  <a:pt x="78873" y="740523"/>
                  <a:pt x="80942" y="743116"/>
                  <a:pt x="81045" y="793774"/>
                </a:cubicBezTo>
                <a:cubicBezTo>
                  <a:pt x="75098" y="801651"/>
                  <a:pt x="72667" y="784200"/>
                  <a:pt x="68425" y="779613"/>
                </a:cubicBezTo>
                <a:cubicBezTo>
                  <a:pt x="68374" y="748799"/>
                  <a:pt x="80425" y="742417"/>
                  <a:pt x="74270" y="710407"/>
                </a:cubicBezTo>
                <a:cubicBezTo>
                  <a:pt x="74942" y="691561"/>
                  <a:pt x="78873" y="699040"/>
                  <a:pt x="81614" y="696746"/>
                </a:cubicBezTo>
                <a:close/>
                <a:moveTo>
                  <a:pt x="81976" y="1902860"/>
                </a:moveTo>
                <a:cubicBezTo>
                  <a:pt x="77580" y="1930781"/>
                  <a:pt x="82183" y="1955810"/>
                  <a:pt x="81511" y="1986027"/>
                </a:cubicBezTo>
                <a:cubicBezTo>
                  <a:pt x="81459" y="1986426"/>
                  <a:pt x="79700" y="1989516"/>
                  <a:pt x="79597" y="1999787"/>
                </a:cubicBezTo>
                <a:cubicBezTo>
                  <a:pt x="79545" y="2003478"/>
                  <a:pt x="79700" y="2010259"/>
                  <a:pt x="79494" y="2013648"/>
                </a:cubicBezTo>
                <a:cubicBezTo>
                  <a:pt x="78718" y="2027011"/>
                  <a:pt x="76546" y="2040773"/>
                  <a:pt x="77269" y="2082855"/>
                </a:cubicBezTo>
                <a:cubicBezTo>
                  <a:pt x="74166" y="2082157"/>
                  <a:pt x="72511" y="2093025"/>
                  <a:pt x="71684" y="2110477"/>
                </a:cubicBezTo>
                <a:cubicBezTo>
                  <a:pt x="70287" y="2136903"/>
                  <a:pt x="68943" y="2095419"/>
                  <a:pt x="71788" y="2096615"/>
                </a:cubicBezTo>
                <a:cubicBezTo>
                  <a:pt x="68684" y="2060517"/>
                  <a:pt x="72822" y="2054932"/>
                  <a:pt x="70443" y="2013450"/>
                </a:cubicBezTo>
                <a:cubicBezTo>
                  <a:pt x="71943" y="2006169"/>
                  <a:pt x="73494" y="1999089"/>
                  <a:pt x="75977" y="1999787"/>
                </a:cubicBezTo>
                <a:cubicBezTo>
                  <a:pt x="74166" y="1961994"/>
                  <a:pt x="73184" y="1893287"/>
                  <a:pt x="81976" y="1902860"/>
                </a:cubicBezTo>
                <a:close/>
                <a:moveTo>
                  <a:pt x="82623" y="6824068"/>
                </a:moveTo>
                <a:cubicBezTo>
                  <a:pt x="82765" y="6799288"/>
                  <a:pt x="80580" y="6774433"/>
                  <a:pt x="75874" y="6782261"/>
                </a:cubicBezTo>
                <a:cubicBezTo>
                  <a:pt x="73546" y="6819855"/>
                  <a:pt x="74787" y="6816765"/>
                  <a:pt x="75408" y="6865427"/>
                </a:cubicBezTo>
                <a:cubicBezTo>
                  <a:pt x="80011" y="6873554"/>
                  <a:pt x="82480" y="6848849"/>
                  <a:pt x="82623" y="6824068"/>
                </a:cubicBezTo>
                <a:close/>
                <a:moveTo>
                  <a:pt x="83631" y="4162516"/>
                </a:moveTo>
                <a:cubicBezTo>
                  <a:pt x="85286" y="4091615"/>
                  <a:pt x="75718" y="4185750"/>
                  <a:pt x="74735" y="4134494"/>
                </a:cubicBezTo>
                <a:cubicBezTo>
                  <a:pt x="75408" y="4083038"/>
                  <a:pt x="82080" y="3971253"/>
                  <a:pt x="75770" y="3954300"/>
                </a:cubicBezTo>
                <a:cubicBezTo>
                  <a:pt x="71632" y="4026696"/>
                  <a:pt x="73701" y="4120633"/>
                  <a:pt x="72511" y="4203700"/>
                </a:cubicBezTo>
                <a:cubicBezTo>
                  <a:pt x="72253" y="4220353"/>
                  <a:pt x="70960" y="4224742"/>
                  <a:pt x="70443" y="4245283"/>
                </a:cubicBezTo>
                <a:cubicBezTo>
                  <a:pt x="69563" y="4279189"/>
                  <a:pt x="70598" y="4310400"/>
                  <a:pt x="69873" y="4342311"/>
                </a:cubicBezTo>
                <a:cubicBezTo>
                  <a:pt x="71839" y="4363053"/>
                  <a:pt x="77269" y="4358864"/>
                  <a:pt x="76804" y="4397955"/>
                </a:cubicBezTo>
                <a:cubicBezTo>
                  <a:pt x="73959" y="4399152"/>
                  <a:pt x="70494" y="4395961"/>
                  <a:pt x="71218" y="4425477"/>
                </a:cubicBezTo>
                <a:cubicBezTo>
                  <a:pt x="75511" y="4425278"/>
                  <a:pt x="76442" y="4449510"/>
                  <a:pt x="82028" y="4439638"/>
                </a:cubicBezTo>
                <a:cubicBezTo>
                  <a:pt x="80425" y="4350887"/>
                  <a:pt x="82442" y="4313591"/>
                  <a:pt x="83321" y="4217860"/>
                </a:cubicBezTo>
                <a:cubicBezTo>
                  <a:pt x="80735" y="4205695"/>
                  <a:pt x="76339" y="4206692"/>
                  <a:pt x="78201" y="4162316"/>
                </a:cubicBezTo>
                <a:cubicBezTo>
                  <a:pt x="80839" y="4162117"/>
                  <a:pt x="83631" y="4220952"/>
                  <a:pt x="83631" y="4162516"/>
                </a:cubicBezTo>
                <a:close/>
                <a:moveTo>
                  <a:pt x="84918" y="3329192"/>
                </a:moveTo>
                <a:cubicBezTo>
                  <a:pt x="84614" y="3349099"/>
                  <a:pt x="83916" y="3371836"/>
                  <a:pt x="84355" y="3386196"/>
                </a:cubicBezTo>
                <a:cubicBezTo>
                  <a:pt x="74891" y="3368644"/>
                  <a:pt x="83321" y="3342519"/>
                  <a:pt x="83114" y="3289167"/>
                </a:cubicBezTo>
                <a:cubicBezTo>
                  <a:pt x="85131" y="3292209"/>
                  <a:pt x="85221" y="3309285"/>
                  <a:pt x="84918" y="3329192"/>
                </a:cubicBezTo>
                <a:close/>
                <a:moveTo>
                  <a:pt x="86218" y="571261"/>
                </a:moveTo>
                <a:cubicBezTo>
                  <a:pt x="85804" y="585035"/>
                  <a:pt x="84408" y="596777"/>
                  <a:pt x="82235" y="585957"/>
                </a:cubicBezTo>
                <a:cubicBezTo>
                  <a:pt x="81873" y="563519"/>
                  <a:pt x="84097" y="562124"/>
                  <a:pt x="84304" y="544373"/>
                </a:cubicBezTo>
                <a:cubicBezTo>
                  <a:pt x="86062" y="541681"/>
                  <a:pt x="86631" y="557487"/>
                  <a:pt x="86218" y="571261"/>
                </a:cubicBezTo>
                <a:close/>
                <a:moveTo>
                  <a:pt x="87096" y="1639599"/>
                </a:moveTo>
                <a:cubicBezTo>
                  <a:pt x="85390" y="1669415"/>
                  <a:pt x="79028" y="1661736"/>
                  <a:pt x="75925" y="1680983"/>
                </a:cubicBezTo>
                <a:cubicBezTo>
                  <a:pt x="74787" y="1740017"/>
                  <a:pt x="77269" y="1776116"/>
                  <a:pt x="73391" y="1805633"/>
                </a:cubicBezTo>
                <a:cubicBezTo>
                  <a:pt x="70080" y="1830962"/>
                  <a:pt x="74477" y="1835250"/>
                  <a:pt x="72925" y="1888800"/>
                </a:cubicBezTo>
                <a:cubicBezTo>
                  <a:pt x="69150" y="1878429"/>
                  <a:pt x="70391" y="1906150"/>
                  <a:pt x="69150" y="1916421"/>
                </a:cubicBezTo>
                <a:cubicBezTo>
                  <a:pt x="68736" y="1919912"/>
                  <a:pt x="65633" y="1927091"/>
                  <a:pt x="65426" y="1930183"/>
                </a:cubicBezTo>
                <a:cubicBezTo>
                  <a:pt x="64288" y="1949529"/>
                  <a:pt x="67184" y="1956409"/>
                  <a:pt x="67029" y="1971866"/>
                </a:cubicBezTo>
                <a:cubicBezTo>
                  <a:pt x="67081" y="1965683"/>
                  <a:pt x="65271" y="1982237"/>
                  <a:pt x="65115" y="1985628"/>
                </a:cubicBezTo>
                <a:cubicBezTo>
                  <a:pt x="64805" y="1994302"/>
                  <a:pt x="65219" y="2004574"/>
                  <a:pt x="64961" y="2013349"/>
                </a:cubicBezTo>
                <a:cubicBezTo>
                  <a:pt x="62219" y="2056429"/>
                  <a:pt x="63357" y="1952121"/>
                  <a:pt x="63719" y="1916322"/>
                </a:cubicBezTo>
                <a:cubicBezTo>
                  <a:pt x="63978" y="1893685"/>
                  <a:pt x="65374" y="1892788"/>
                  <a:pt x="65788" y="1874738"/>
                </a:cubicBezTo>
                <a:cubicBezTo>
                  <a:pt x="66409" y="1849111"/>
                  <a:pt x="65529" y="1820990"/>
                  <a:pt x="66253" y="1791573"/>
                </a:cubicBezTo>
                <a:cubicBezTo>
                  <a:pt x="66823" y="1770232"/>
                  <a:pt x="67908" y="1767440"/>
                  <a:pt x="68322" y="1749989"/>
                </a:cubicBezTo>
                <a:cubicBezTo>
                  <a:pt x="69305" y="1711198"/>
                  <a:pt x="67702" y="1674401"/>
                  <a:pt x="68943" y="1639101"/>
                </a:cubicBezTo>
                <a:cubicBezTo>
                  <a:pt x="70080" y="1607489"/>
                  <a:pt x="73132" y="1593827"/>
                  <a:pt x="74787" y="1569994"/>
                </a:cubicBezTo>
                <a:cubicBezTo>
                  <a:pt x="78045" y="1597218"/>
                  <a:pt x="81407" y="1574482"/>
                  <a:pt x="85700" y="1570293"/>
                </a:cubicBezTo>
                <a:cubicBezTo>
                  <a:pt x="86527" y="1590437"/>
                  <a:pt x="83114" y="1641893"/>
                  <a:pt x="87096" y="1639599"/>
                </a:cubicBezTo>
                <a:close/>
                <a:moveTo>
                  <a:pt x="87096" y="5451796"/>
                </a:moveTo>
                <a:cubicBezTo>
                  <a:pt x="80786" y="5440827"/>
                  <a:pt x="81459" y="5497967"/>
                  <a:pt x="81355" y="5507040"/>
                </a:cubicBezTo>
                <a:cubicBezTo>
                  <a:pt x="80942" y="5537755"/>
                  <a:pt x="76080" y="5525489"/>
                  <a:pt x="77425" y="5562386"/>
                </a:cubicBezTo>
                <a:lnTo>
                  <a:pt x="77269" y="5590108"/>
                </a:lnTo>
                <a:lnTo>
                  <a:pt x="84511" y="5590307"/>
                </a:lnTo>
                <a:cubicBezTo>
                  <a:pt x="84200" y="5534864"/>
                  <a:pt x="88182" y="5513523"/>
                  <a:pt x="87096" y="5451796"/>
                </a:cubicBezTo>
                <a:close/>
                <a:moveTo>
                  <a:pt x="88286" y="2388197"/>
                </a:moveTo>
                <a:cubicBezTo>
                  <a:pt x="88286" y="2390690"/>
                  <a:pt x="84407" y="2432273"/>
                  <a:pt x="86217" y="2443541"/>
                </a:cubicBezTo>
                <a:cubicBezTo>
                  <a:pt x="89217" y="2463187"/>
                  <a:pt x="85907" y="2461891"/>
                  <a:pt x="85959" y="2485125"/>
                </a:cubicBezTo>
                <a:cubicBezTo>
                  <a:pt x="85959" y="2496692"/>
                  <a:pt x="87821" y="2498787"/>
                  <a:pt x="87614" y="2512947"/>
                </a:cubicBezTo>
                <a:cubicBezTo>
                  <a:pt x="87252" y="2535184"/>
                  <a:pt x="86062" y="2536481"/>
                  <a:pt x="85545" y="2554431"/>
                </a:cubicBezTo>
                <a:cubicBezTo>
                  <a:pt x="84252" y="2598307"/>
                  <a:pt x="85079" y="2601797"/>
                  <a:pt x="83166" y="2651457"/>
                </a:cubicBezTo>
                <a:cubicBezTo>
                  <a:pt x="82131" y="2678083"/>
                  <a:pt x="82338" y="2665319"/>
                  <a:pt x="82907" y="2693041"/>
                </a:cubicBezTo>
                <a:cubicBezTo>
                  <a:pt x="83528" y="2721960"/>
                  <a:pt x="81459" y="2729638"/>
                  <a:pt x="80786" y="2748385"/>
                </a:cubicBezTo>
                <a:cubicBezTo>
                  <a:pt x="80993" y="2764639"/>
                  <a:pt x="84045" y="2760153"/>
                  <a:pt x="86166" y="2762347"/>
                </a:cubicBezTo>
                <a:cubicBezTo>
                  <a:pt x="87821" y="2791465"/>
                  <a:pt x="83166" y="2781294"/>
                  <a:pt x="82390" y="2789969"/>
                </a:cubicBezTo>
                <a:cubicBezTo>
                  <a:pt x="80786" y="2808417"/>
                  <a:pt x="82597" y="2834743"/>
                  <a:pt x="80269" y="2845413"/>
                </a:cubicBezTo>
                <a:cubicBezTo>
                  <a:pt x="81200" y="2878720"/>
                  <a:pt x="82545" y="2908736"/>
                  <a:pt x="81459" y="2956402"/>
                </a:cubicBezTo>
                <a:cubicBezTo>
                  <a:pt x="77063" y="2961687"/>
                  <a:pt x="82804" y="2893279"/>
                  <a:pt x="76235" y="2914619"/>
                </a:cubicBezTo>
                <a:cubicBezTo>
                  <a:pt x="72873" y="2910231"/>
                  <a:pt x="75667" y="2960590"/>
                  <a:pt x="74115" y="2969964"/>
                </a:cubicBezTo>
                <a:cubicBezTo>
                  <a:pt x="73236" y="2975249"/>
                  <a:pt x="71736" y="2983325"/>
                  <a:pt x="72150" y="2997686"/>
                </a:cubicBezTo>
                <a:cubicBezTo>
                  <a:pt x="72304" y="3001973"/>
                  <a:pt x="73805" y="3017431"/>
                  <a:pt x="73908" y="3011647"/>
                </a:cubicBezTo>
                <a:cubicBezTo>
                  <a:pt x="73753" y="3023414"/>
                  <a:pt x="70184" y="3036377"/>
                  <a:pt x="70133" y="3039270"/>
                </a:cubicBezTo>
                <a:cubicBezTo>
                  <a:pt x="69770" y="3071279"/>
                  <a:pt x="75408" y="3058815"/>
                  <a:pt x="71528" y="3108575"/>
                </a:cubicBezTo>
                <a:cubicBezTo>
                  <a:pt x="71270" y="3111666"/>
                  <a:pt x="68788" y="3109672"/>
                  <a:pt x="69615" y="3122436"/>
                </a:cubicBezTo>
                <a:cubicBezTo>
                  <a:pt x="66563" y="3104685"/>
                  <a:pt x="67702" y="3062006"/>
                  <a:pt x="68271" y="3039270"/>
                </a:cubicBezTo>
                <a:cubicBezTo>
                  <a:pt x="68994" y="3011647"/>
                  <a:pt x="71528" y="3009254"/>
                  <a:pt x="70494" y="2969964"/>
                </a:cubicBezTo>
                <a:cubicBezTo>
                  <a:pt x="69667" y="2938951"/>
                  <a:pt x="70701" y="2946828"/>
                  <a:pt x="70960" y="2886797"/>
                </a:cubicBezTo>
                <a:cubicBezTo>
                  <a:pt x="71012" y="2864460"/>
                  <a:pt x="69770" y="2862765"/>
                  <a:pt x="69357" y="2845114"/>
                </a:cubicBezTo>
                <a:cubicBezTo>
                  <a:pt x="69098" y="2834644"/>
                  <a:pt x="70546" y="2796749"/>
                  <a:pt x="69667" y="2789671"/>
                </a:cubicBezTo>
                <a:cubicBezTo>
                  <a:pt x="68581" y="2780795"/>
                  <a:pt x="68425" y="2777703"/>
                  <a:pt x="69822" y="2761948"/>
                </a:cubicBezTo>
                <a:cubicBezTo>
                  <a:pt x="71322" y="2745194"/>
                  <a:pt x="71167" y="2716874"/>
                  <a:pt x="70287" y="2678781"/>
                </a:cubicBezTo>
                <a:cubicBezTo>
                  <a:pt x="74891" y="2683169"/>
                  <a:pt x="74942" y="2645675"/>
                  <a:pt x="76080" y="2623437"/>
                </a:cubicBezTo>
                <a:cubicBezTo>
                  <a:pt x="77890" y="2588037"/>
                  <a:pt x="77580" y="2554131"/>
                  <a:pt x="76804" y="2498686"/>
                </a:cubicBezTo>
                <a:lnTo>
                  <a:pt x="82235" y="2498887"/>
                </a:lnTo>
                <a:cubicBezTo>
                  <a:pt x="83321" y="2439852"/>
                  <a:pt x="81304" y="2356087"/>
                  <a:pt x="85079" y="2318792"/>
                </a:cubicBezTo>
                <a:cubicBezTo>
                  <a:pt x="88803" y="2326670"/>
                  <a:pt x="88803" y="2340432"/>
                  <a:pt x="86631" y="2360375"/>
                </a:cubicBezTo>
                <a:cubicBezTo>
                  <a:pt x="85131" y="2377029"/>
                  <a:pt x="88286" y="2384508"/>
                  <a:pt x="88286" y="2388197"/>
                </a:cubicBezTo>
                <a:close/>
                <a:moveTo>
                  <a:pt x="92010" y="5230119"/>
                </a:moveTo>
                <a:cubicBezTo>
                  <a:pt x="93044" y="5206086"/>
                  <a:pt x="90148" y="5199005"/>
                  <a:pt x="88700" y="5174575"/>
                </a:cubicBezTo>
                <a:cubicBezTo>
                  <a:pt x="87614" y="5155727"/>
                  <a:pt x="89993" y="5106765"/>
                  <a:pt x="83579" y="5119031"/>
                </a:cubicBezTo>
                <a:cubicBezTo>
                  <a:pt x="83114" y="5177666"/>
                  <a:pt x="78718" y="5257542"/>
                  <a:pt x="90044" y="5257840"/>
                </a:cubicBezTo>
                <a:cubicBezTo>
                  <a:pt x="90510" y="5247070"/>
                  <a:pt x="90251" y="5230518"/>
                  <a:pt x="92010" y="5230119"/>
                </a:cubicBezTo>
                <a:close/>
                <a:moveTo>
                  <a:pt x="92682" y="2249686"/>
                </a:moveTo>
                <a:cubicBezTo>
                  <a:pt x="92114" y="2274117"/>
                  <a:pt x="89372" y="2281197"/>
                  <a:pt x="85234" y="2277208"/>
                </a:cubicBezTo>
                <a:cubicBezTo>
                  <a:pt x="86580" y="2258561"/>
                  <a:pt x="89269" y="2251480"/>
                  <a:pt x="92682" y="2249686"/>
                </a:cubicBezTo>
                <a:close/>
                <a:moveTo>
                  <a:pt x="94234" y="3247883"/>
                </a:moveTo>
                <a:cubicBezTo>
                  <a:pt x="89683" y="3253168"/>
                  <a:pt x="89372" y="3161128"/>
                  <a:pt x="92993" y="3150857"/>
                </a:cubicBezTo>
                <a:cubicBezTo>
                  <a:pt x="95527" y="3104486"/>
                  <a:pt x="90975" y="3223651"/>
                  <a:pt x="94234" y="3247883"/>
                </a:cubicBezTo>
                <a:close/>
                <a:moveTo>
                  <a:pt x="94699" y="1903259"/>
                </a:moveTo>
                <a:cubicBezTo>
                  <a:pt x="91545" y="1899869"/>
                  <a:pt x="90717" y="1879326"/>
                  <a:pt x="91389" y="1847714"/>
                </a:cubicBezTo>
                <a:cubicBezTo>
                  <a:pt x="94544" y="1851105"/>
                  <a:pt x="95371" y="1871647"/>
                  <a:pt x="94699" y="1903259"/>
                </a:cubicBezTo>
                <a:close/>
                <a:moveTo>
                  <a:pt x="97389" y="1750787"/>
                </a:moveTo>
                <a:lnTo>
                  <a:pt x="97130" y="1792370"/>
                </a:lnTo>
                <a:lnTo>
                  <a:pt x="93510" y="1792270"/>
                </a:lnTo>
                <a:lnTo>
                  <a:pt x="93769" y="1750687"/>
                </a:lnTo>
                <a:close/>
                <a:moveTo>
                  <a:pt x="97970" y="1965571"/>
                </a:moveTo>
                <a:cubicBezTo>
                  <a:pt x="98074" y="1984680"/>
                  <a:pt x="97544" y="2008414"/>
                  <a:pt x="97595" y="2028008"/>
                </a:cubicBezTo>
                <a:cubicBezTo>
                  <a:pt x="88441" y="2022225"/>
                  <a:pt x="89890" y="2101503"/>
                  <a:pt x="87821" y="2152459"/>
                </a:cubicBezTo>
                <a:cubicBezTo>
                  <a:pt x="82028" y="2149567"/>
                  <a:pt x="86166" y="2121446"/>
                  <a:pt x="86320" y="2097014"/>
                </a:cubicBezTo>
                <a:cubicBezTo>
                  <a:pt x="86786" y="2034391"/>
                  <a:pt x="87303" y="1980042"/>
                  <a:pt x="90924" y="1930781"/>
                </a:cubicBezTo>
                <a:cubicBezTo>
                  <a:pt x="92475" y="1939357"/>
                  <a:pt x="94079" y="1947634"/>
                  <a:pt x="94544" y="1930881"/>
                </a:cubicBezTo>
                <a:cubicBezTo>
                  <a:pt x="97130" y="1931978"/>
                  <a:pt x="97867" y="1946463"/>
                  <a:pt x="97970" y="1965571"/>
                </a:cubicBezTo>
                <a:close/>
                <a:moveTo>
                  <a:pt x="98009" y="1002288"/>
                </a:moveTo>
                <a:lnTo>
                  <a:pt x="90769" y="1002088"/>
                </a:lnTo>
                <a:cubicBezTo>
                  <a:pt x="91648" y="1026421"/>
                  <a:pt x="88079" y="1083460"/>
                  <a:pt x="92114" y="1085255"/>
                </a:cubicBezTo>
                <a:cubicBezTo>
                  <a:pt x="93303" y="1051450"/>
                  <a:pt x="99302" y="1055937"/>
                  <a:pt x="98009" y="1002288"/>
                </a:cubicBezTo>
                <a:close/>
                <a:moveTo>
                  <a:pt x="100492" y="4689736"/>
                </a:moveTo>
                <a:cubicBezTo>
                  <a:pt x="90872" y="4670689"/>
                  <a:pt x="94492" y="4757545"/>
                  <a:pt x="89114" y="4772603"/>
                </a:cubicBezTo>
                <a:cubicBezTo>
                  <a:pt x="89890" y="4797333"/>
                  <a:pt x="86838" y="4798730"/>
                  <a:pt x="85648" y="4809001"/>
                </a:cubicBezTo>
                <a:cubicBezTo>
                  <a:pt x="85997" y="4811245"/>
                  <a:pt x="85794" y="4845741"/>
                  <a:pt x="85474" y="4868066"/>
                </a:cubicBezTo>
                <a:lnTo>
                  <a:pt x="85135" y="4884490"/>
                </a:lnTo>
                <a:lnTo>
                  <a:pt x="85131" y="4884688"/>
                </a:lnTo>
                <a:cubicBezTo>
                  <a:pt x="85907" y="4887680"/>
                  <a:pt x="88441" y="4893464"/>
                  <a:pt x="88441" y="4897352"/>
                </a:cubicBezTo>
                <a:cubicBezTo>
                  <a:pt x="88907" y="4886583"/>
                  <a:pt x="88648" y="4870029"/>
                  <a:pt x="90406" y="4869731"/>
                </a:cubicBezTo>
                <a:cubicBezTo>
                  <a:pt x="92372" y="4910815"/>
                  <a:pt x="87459" y="4994579"/>
                  <a:pt x="91182" y="5049925"/>
                </a:cubicBezTo>
                <a:cubicBezTo>
                  <a:pt x="100543" y="5057105"/>
                  <a:pt x="95061" y="4945816"/>
                  <a:pt x="99251" y="4911513"/>
                </a:cubicBezTo>
                <a:cubicBezTo>
                  <a:pt x="97854" y="4908322"/>
                  <a:pt x="95682" y="4911015"/>
                  <a:pt x="95682" y="4897553"/>
                </a:cubicBezTo>
                <a:cubicBezTo>
                  <a:pt x="99768" y="4856967"/>
                  <a:pt x="95217" y="4844202"/>
                  <a:pt x="97958" y="4814385"/>
                </a:cubicBezTo>
                <a:cubicBezTo>
                  <a:pt x="101009" y="4781678"/>
                  <a:pt x="97286" y="4747175"/>
                  <a:pt x="100492" y="4689736"/>
                </a:cubicBezTo>
                <a:close/>
                <a:moveTo>
                  <a:pt x="101203" y="4154787"/>
                </a:moveTo>
                <a:cubicBezTo>
                  <a:pt x="101242" y="4141674"/>
                  <a:pt x="100259" y="4128960"/>
                  <a:pt x="98268" y="4135193"/>
                </a:cubicBezTo>
                <a:cubicBezTo>
                  <a:pt x="96768" y="4139880"/>
                  <a:pt x="95889" y="4171990"/>
                  <a:pt x="98009" y="4176776"/>
                </a:cubicBezTo>
                <a:cubicBezTo>
                  <a:pt x="100104" y="4181413"/>
                  <a:pt x="101164" y="4167901"/>
                  <a:pt x="101203" y="4154787"/>
                </a:cubicBezTo>
                <a:close/>
                <a:moveTo>
                  <a:pt x="101319" y="4232320"/>
                </a:moveTo>
                <a:cubicBezTo>
                  <a:pt x="99871" y="4207688"/>
                  <a:pt x="98578" y="4197917"/>
                  <a:pt x="94234" y="4204398"/>
                </a:cubicBezTo>
                <a:cubicBezTo>
                  <a:pt x="95113" y="4283775"/>
                  <a:pt x="91596" y="4328151"/>
                  <a:pt x="91285" y="4398453"/>
                </a:cubicBezTo>
                <a:lnTo>
                  <a:pt x="87665" y="4398354"/>
                </a:lnTo>
                <a:cubicBezTo>
                  <a:pt x="86114" y="4436147"/>
                  <a:pt x="91131" y="4426374"/>
                  <a:pt x="90975" y="4453898"/>
                </a:cubicBezTo>
                <a:cubicBezTo>
                  <a:pt x="88182" y="4453997"/>
                  <a:pt x="84769" y="4491592"/>
                  <a:pt x="90820" y="4481620"/>
                </a:cubicBezTo>
                <a:lnTo>
                  <a:pt x="90562" y="4523204"/>
                </a:lnTo>
                <a:cubicBezTo>
                  <a:pt x="91545" y="4539458"/>
                  <a:pt x="87200" y="4532277"/>
                  <a:pt x="86889" y="4536865"/>
                </a:cubicBezTo>
                <a:cubicBezTo>
                  <a:pt x="84149" y="4576055"/>
                  <a:pt x="87562" y="4646058"/>
                  <a:pt x="91699" y="4647953"/>
                </a:cubicBezTo>
                <a:cubicBezTo>
                  <a:pt x="92424" y="4630403"/>
                  <a:pt x="93458" y="4628508"/>
                  <a:pt x="93769" y="4606370"/>
                </a:cubicBezTo>
                <a:cubicBezTo>
                  <a:pt x="94079" y="4582038"/>
                  <a:pt x="98734" y="4562891"/>
                  <a:pt x="99613" y="4537264"/>
                </a:cubicBezTo>
                <a:cubicBezTo>
                  <a:pt x="99561" y="4538859"/>
                  <a:pt x="97699" y="4522804"/>
                  <a:pt x="97958" y="4509541"/>
                </a:cubicBezTo>
                <a:cubicBezTo>
                  <a:pt x="98165" y="4497276"/>
                  <a:pt x="99975" y="4491392"/>
                  <a:pt x="99923" y="4481819"/>
                </a:cubicBezTo>
                <a:cubicBezTo>
                  <a:pt x="99923" y="4484212"/>
                  <a:pt x="98371" y="4474639"/>
                  <a:pt x="98165" y="4467859"/>
                </a:cubicBezTo>
                <a:cubicBezTo>
                  <a:pt x="96768" y="4416702"/>
                  <a:pt x="102974" y="4427073"/>
                  <a:pt x="98578" y="4398553"/>
                </a:cubicBezTo>
                <a:cubicBezTo>
                  <a:pt x="98216" y="4396159"/>
                  <a:pt x="98785" y="4375019"/>
                  <a:pt x="98734" y="4370832"/>
                </a:cubicBezTo>
                <a:cubicBezTo>
                  <a:pt x="98216" y="4317082"/>
                  <a:pt x="101164" y="4317681"/>
                  <a:pt x="101112" y="4273903"/>
                </a:cubicBezTo>
                <a:cubicBezTo>
                  <a:pt x="101112" y="4265328"/>
                  <a:pt x="99354" y="4258247"/>
                  <a:pt x="99354" y="4259942"/>
                </a:cubicBezTo>
                <a:cubicBezTo>
                  <a:pt x="99354" y="4250669"/>
                  <a:pt x="101630" y="4237405"/>
                  <a:pt x="101319" y="4232320"/>
                </a:cubicBezTo>
                <a:close/>
                <a:moveTo>
                  <a:pt x="104371" y="1649172"/>
                </a:moveTo>
                <a:lnTo>
                  <a:pt x="104216" y="1676895"/>
                </a:lnTo>
                <a:lnTo>
                  <a:pt x="100596" y="1676794"/>
                </a:lnTo>
                <a:lnTo>
                  <a:pt x="100750" y="1649073"/>
                </a:lnTo>
                <a:close/>
                <a:moveTo>
                  <a:pt x="106957" y="640104"/>
                </a:moveTo>
                <a:cubicBezTo>
                  <a:pt x="106077" y="666531"/>
                  <a:pt x="105974" y="699738"/>
                  <a:pt x="101216" y="695349"/>
                </a:cubicBezTo>
                <a:cubicBezTo>
                  <a:pt x="98061" y="671516"/>
                  <a:pt x="102095" y="640902"/>
                  <a:pt x="106957" y="640104"/>
                </a:cubicBezTo>
                <a:close/>
                <a:moveTo>
                  <a:pt x="107086" y="772271"/>
                </a:moveTo>
                <a:cubicBezTo>
                  <a:pt x="107862" y="792602"/>
                  <a:pt x="107733" y="815164"/>
                  <a:pt x="105974" y="831368"/>
                </a:cubicBezTo>
                <a:cubicBezTo>
                  <a:pt x="102923" y="831268"/>
                  <a:pt x="102251" y="808233"/>
                  <a:pt x="99199" y="808134"/>
                </a:cubicBezTo>
                <a:cubicBezTo>
                  <a:pt x="99251" y="842337"/>
                  <a:pt x="99095" y="874945"/>
                  <a:pt x="96923" y="891299"/>
                </a:cubicBezTo>
                <a:cubicBezTo>
                  <a:pt x="97182" y="915731"/>
                  <a:pt x="99820" y="922911"/>
                  <a:pt x="104009" y="919222"/>
                </a:cubicBezTo>
                <a:lnTo>
                  <a:pt x="103699" y="974665"/>
                </a:lnTo>
                <a:cubicBezTo>
                  <a:pt x="105819" y="1000693"/>
                  <a:pt x="100078" y="997601"/>
                  <a:pt x="99923" y="1002288"/>
                </a:cubicBezTo>
                <a:cubicBezTo>
                  <a:pt x="100026" y="998299"/>
                  <a:pt x="101112" y="1052947"/>
                  <a:pt x="101319" y="1071693"/>
                </a:cubicBezTo>
                <a:cubicBezTo>
                  <a:pt x="101423" y="1081465"/>
                  <a:pt x="103440" y="1087349"/>
                  <a:pt x="102974" y="1099515"/>
                </a:cubicBezTo>
                <a:cubicBezTo>
                  <a:pt x="102820" y="1103304"/>
                  <a:pt x="100647" y="1098916"/>
                  <a:pt x="101061" y="1113277"/>
                </a:cubicBezTo>
                <a:cubicBezTo>
                  <a:pt x="101578" y="1129530"/>
                  <a:pt x="103543" y="1134816"/>
                  <a:pt x="104216" y="1149475"/>
                </a:cubicBezTo>
                <a:cubicBezTo>
                  <a:pt x="103130" y="1160743"/>
                  <a:pt x="101888" y="1172510"/>
                  <a:pt x="101164" y="1174305"/>
                </a:cubicBezTo>
                <a:cubicBezTo>
                  <a:pt x="99716" y="1177895"/>
                  <a:pt x="101009" y="1203224"/>
                  <a:pt x="101371" y="1221274"/>
                </a:cubicBezTo>
                <a:cubicBezTo>
                  <a:pt x="101785" y="1239322"/>
                  <a:pt x="102044" y="1271831"/>
                  <a:pt x="102044" y="1271831"/>
                </a:cubicBezTo>
                <a:lnTo>
                  <a:pt x="101371" y="1292374"/>
                </a:lnTo>
                <a:cubicBezTo>
                  <a:pt x="100802" y="1289083"/>
                  <a:pt x="100336" y="1285293"/>
                  <a:pt x="100130" y="1279709"/>
                </a:cubicBezTo>
                <a:cubicBezTo>
                  <a:pt x="97440" y="1287387"/>
                  <a:pt x="95578" y="1301149"/>
                  <a:pt x="94441" y="1321093"/>
                </a:cubicBezTo>
                <a:cubicBezTo>
                  <a:pt x="91131" y="1294966"/>
                  <a:pt x="89890" y="1319398"/>
                  <a:pt x="85338" y="1320793"/>
                </a:cubicBezTo>
                <a:cubicBezTo>
                  <a:pt x="84511" y="1349014"/>
                  <a:pt x="87355" y="1350710"/>
                  <a:pt x="88751" y="1362476"/>
                </a:cubicBezTo>
                <a:cubicBezTo>
                  <a:pt x="89837" y="1371850"/>
                  <a:pt x="90458" y="1385511"/>
                  <a:pt x="92217" y="1390298"/>
                </a:cubicBezTo>
                <a:cubicBezTo>
                  <a:pt x="91182" y="1469278"/>
                  <a:pt x="90665" y="1491615"/>
                  <a:pt x="85804" y="1556432"/>
                </a:cubicBezTo>
                <a:cubicBezTo>
                  <a:pt x="79131" y="1546161"/>
                  <a:pt x="86786" y="1514749"/>
                  <a:pt x="82545" y="1487027"/>
                </a:cubicBezTo>
                <a:cubicBezTo>
                  <a:pt x="79287" y="1485133"/>
                  <a:pt x="78614" y="1503880"/>
                  <a:pt x="75201" y="1500689"/>
                </a:cubicBezTo>
                <a:cubicBezTo>
                  <a:pt x="77218" y="1442252"/>
                  <a:pt x="77011" y="1430786"/>
                  <a:pt x="77890" y="1348216"/>
                </a:cubicBezTo>
                <a:lnTo>
                  <a:pt x="83321" y="1348416"/>
                </a:lnTo>
                <a:cubicBezTo>
                  <a:pt x="82080" y="1335353"/>
                  <a:pt x="80166" y="1327276"/>
                  <a:pt x="78045" y="1320495"/>
                </a:cubicBezTo>
                <a:cubicBezTo>
                  <a:pt x="80786" y="1279509"/>
                  <a:pt x="77322" y="1260165"/>
                  <a:pt x="78770" y="1195744"/>
                </a:cubicBezTo>
                <a:cubicBezTo>
                  <a:pt x="78149" y="1181984"/>
                  <a:pt x="76959" y="1172211"/>
                  <a:pt x="75563" y="1164233"/>
                </a:cubicBezTo>
                <a:lnTo>
                  <a:pt x="77839" y="1105000"/>
                </a:lnTo>
                <a:cubicBezTo>
                  <a:pt x="77839" y="1105000"/>
                  <a:pt x="77269" y="1032803"/>
                  <a:pt x="77373" y="1018343"/>
                </a:cubicBezTo>
                <a:cubicBezTo>
                  <a:pt x="77425" y="1003884"/>
                  <a:pt x="81924" y="964295"/>
                  <a:pt x="81924" y="964295"/>
                </a:cubicBezTo>
                <a:lnTo>
                  <a:pt x="81614" y="958212"/>
                </a:lnTo>
                <a:cubicBezTo>
                  <a:pt x="83476" y="959409"/>
                  <a:pt x="84925" y="963397"/>
                  <a:pt x="85441" y="974167"/>
                </a:cubicBezTo>
                <a:cubicBezTo>
                  <a:pt x="90717" y="971474"/>
                  <a:pt x="88751" y="922113"/>
                  <a:pt x="89579" y="891101"/>
                </a:cubicBezTo>
                <a:cubicBezTo>
                  <a:pt x="89579" y="891200"/>
                  <a:pt x="91285" y="886314"/>
                  <a:pt x="91492" y="877239"/>
                </a:cubicBezTo>
                <a:cubicBezTo>
                  <a:pt x="92268" y="842637"/>
                  <a:pt x="91545" y="792876"/>
                  <a:pt x="92217" y="752489"/>
                </a:cubicBezTo>
                <a:cubicBezTo>
                  <a:pt x="97699" y="752689"/>
                  <a:pt x="97337" y="726363"/>
                  <a:pt x="102767" y="726562"/>
                </a:cubicBezTo>
                <a:cubicBezTo>
                  <a:pt x="104629" y="733842"/>
                  <a:pt x="106310" y="751941"/>
                  <a:pt x="107086" y="772271"/>
                </a:cubicBezTo>
                <a:close/>
                <a:moveTo>
                  <a:pt x="109139" y="1229499"/>
                </a:moveTo>
                <a:cubicBezTo>
                  <a:pt x="109604" y="1254717"/>
                  <a:pt x="106259" y="1300226"/>
                  <a:pt x="106957" y="1243311"/>
                </a:cubicBezTo>
                <a:lnTo>
                  <a:pt x="107112" y="1215589"/>
                </a:lnTo>
                <a:cubicBezTo>
                  <a:pt x="108405" y="1214941"/>
                  <a:pt x="108983" y="1221093"/>
                  <a:pt x="109139" y="1229499"/>
                </a:cubicBezTo>
                <a:close/>
                <a:moveTo>
                  <a:pt x="111489" y="4601982"/>
                </a:moveTo>
                <a:cubicBezTo>
                  <a:pt x="112646" y="4563017"/>
                  <a:pt x="110345" y="4520960"/>
                  <a:pt x="101423" y="4537264"/>
                </a:cubicBezTo>
                <a:cubicBezTo>
                  <a:pt x="101785" y="4587124"/>
                  <a:pt x="103802" y="4604177"/>
                  <a:pt x="100802" y="4648152"/>
                </a:cubicBezTo>
                <a:cubicBezTo>
                  <a:pt x="105715" y="4676822"/>
                  <a:pt x="110331" y="4640948"/>
                  <a:pt x="111489" y="4601982"/>
                </a:cubicBezTo>
                <a:close/>
                <a:moveTo>
                  <a:pt x="111715" y="6228815"/>
                </a:moveTo>
                <a:cubicBezTo>
                  <a:pt x="112439" y="6234599"/>
                  <a:pt x="107112" y="6245168"/>
                  <a:pt x="107939" y="6256438"/>
                </a:cubicBezTo>
                <a:cubicBezTo>
                  <a:pt x="101837" y="6232604"/>
                  <a:pt x="110370" y="6218045"/>
                  <a:pt x="111715" y="6228815"/>
                </a:cubicBezTo>
                <a:close/>
                <a:moveTo>
                  <a:pt x="111974" y="1152067"/>
                </a:moveTo>
                <a:cubicBezTo>
                  <a:pt x="117611" y="1184875"/>
                  <a:pt x="105250" y="1207911"/>
                  <a:pt x="111974" y="1152067"/>
                </a:cubicBezTo>
                <a:close/>
                <a:moveTo>
                  <a:pt x="112885" y="2248801"/>
                </a:moveTo>
                <a:cubicBezTo>
                  <a:pt x="112633" y="2263895"/>
                  <a:pt x="111999" y="2281795"/>
                  <a:pt x="112439" y="2291867"/>
                </a:cubicBezTo>
                <a:cubicBezTo>
                  <a:pt x="109181" y="2264645"/>
                  <a:pt x="105819" y="2287380"/>
                  <a:pt x="101526" y="2291568"/>
                </a:cubicBezTo>
                <a:lnTo>
                  <a:pt x="101681" y="2263847"/>
                </a:lnTo>
                <a:cubicBezTo>
                  <a:pt x="103233" y="2266439"/>
                  <a:pt x="103440" y="2258561"/>
                  <a:pt x="103595" y="2250085"/>
                </a:cubicBezTo>
                <a:cubicBezTo>
                  <a:pt x="105043" y="2257364"/>
                  <a:pt x="106491" y="2264544"/>
                  <a:pt x="108974" y="2264045"/>
                </a:cubicBezTo>
                <a:cubicBezTo>
                  <a:pt x="113112" y="2256467"/>
                  <a:pt x="106905" y="2242407"/>
                  <a:pt x="111042" y="2222563"/>
                </a:cubicBezTo>
                <a:cubicBezTo>
                  <a:pt x="113008" y="2221416"/>
                  <a:pt x="113137" y="2233706"/>
                  <a:pt x="112885" y="2248801"/>
                </a:cubicBezTo>
                <a:close/>
                <a:moveTo>
                  <a:pt x="113526" y="2124537"/>
                </a:moveTo>
                <a:cubicBezTo>
                  <a:pt x="113319" y="2152559"/>
                  <a:pt x="112750" y="2183223"/>
                  <a:pt x="112905" y="2208701"/>
                </a:cubicBezTo>
                <a:cubicBezTo>
                  <a:pt x="107526" y="2187859"/>
                  <a:pt x="105819" y="2213089"/>
                  <a:pt x="102095" y="2194541"/>
                </a:cubicBezTo>
                <a:lnTo>
                  <a:pt x="102871" y="2055930"/>
                </a:lnTo>
                <a:lnTo>
                  <a:pt x="111974" y="2056228"/>
                </a:lnTo>
                <a:cubicBezTo>
                  <a:pt x="113577" y="2071137"/>
                  <a:pt x="113732" y="2096516"/>
                  <a:pt x="113526" y="2124537"/>
                </a:cubicBezTo>
                <a:close/>
                <a:moveTo>
                  <a:pt x="113887" y="1359485"/>
                </a:moveTo>
                <a:cubicBezTo>
                  <a:pt x="113370" y="1371751"/>
                  <a:pt x="113112" y="1390099"/>
                  <a:pt x="113060" y="1397080"/>
                </a:cubicBezTo>
                <a:cubicBezTo>
                  <a:pt x="113008" y="1406753"/>
                  <a:pt x="112543" y="1425998"/>
                  <a:pt x="112181" y="1437965"/>
                </a:cubicBezTo>
                <a:cubicBezTo>
                  <a:pt x="111974" y="1445643"/>
                  <a:pt x="110732" y="1468180"/>
                  <a:pt x="109853" y="1485233"/>
                </a:cubicBezTo>
                <a:cubicBezTo>
                  <a:pt x="109750" y="1485133"/>
                  <a:pt x="109647" y="1485233"/>
                  <a:pt x="109543" y="1485032"/>
                </a:cubicBezTo>
                <a:cubicBezTo>
                  <a:pt x="103492" y="1499193"/>
                  <a:pt x="105095" y="1575080"/>
                  <a:pt x="101578" y="1609583"/>
                </a:cubicBezTo>
                <a:cubicBezTo>
                  <a:pt x="100026" y="1598813"/>
                  <a:pt x="97544" y="1594525"/>
                  <a:pt x="94389" y="1595523"/>
                </a:cubicBezTo>
                <a:cubicBezTo>
                  <a:pt x="95320" y="1549851"/>
                  <a:pt x="98992" y="1526316"/>
                  <a:pt x="102198" y="1498695"/>
                </a:cubicBezTo>
                <a:cubicBezTo>
                  <a:pt x="101991" y="1480345"/>
                  <a:pt x="102716" y="1469975"/>
                  <a:pt x="100802" y="1464690"/>
                </a:cubicBezTo>
                <a:lnTo>
                  <a:pt x="100543" y="1373446"/>
                </a:lnTo>
                <a:cubicBezTo>
                  <a:pt x="100543" y="1373446"/>
                  <a:pt x="102302" y="1343031"/>
                  <a:pt x="102613" y="1316207"/>
                </a:cubicBezTo>
                <a:cubicBezTo>
                  <a:pt x="107371" y="1316406"/>
                  <a:pt x="106595" y="1296163"/>
                  <a:pt x="112387" y="1304838"/>
                </a:cubicBezTo>
                <a:cubicBezTo>
                  <a:pt x="107474" y="1340838"/>
                  <a:pt x="115128" y="1316406"/>
                  <a:pt x="113887" y="1359485"/>
                </a:cubicBezTo>
                <a:close/>
                <a:moveTo>
                  <a:pt x="117456" y="1099815"/>
                </a:moveTo>
                <a:cubicBezTo>
                  <a:pt x="116525" y="1130429"/>
                  <a:pt x="106698" y="1118063"/>
                  <a:pt x="110370" y="1071892"/>
                </a:cubicBezTo>
                <a:cubicBezTo>
                  <a:pt x="113939" y="1072092"/>
                  <a:pt x="112439" y="1109787"/>
                  <a:pt x="117456" y="1099815"/>
                </a:cubicBezTo>
                <a:close/>
                <a:moveTo>
                  <a:pt x="118542" y="826482"/>
                </a:moveTo>
                <a:lnTo>
                  <a:pt x="118387" y="854204"/>
                </a:lnTo>
                <a:lnTo>
                  <a:pt x="114767" y="854103"/>
                </a:lnTo>
                <a:lnTo>
                  <a:pt x="114922" y="826382"/>
                </a:lnTo>
                <a:close/>
                <a:moveTo>
                  <a:pt x="120353" y="4399152"/>
                </a:moveTo>
                <a:cubicBezTo>
                  <a:pt x="115491" y="4403440"/>
                  <a:pt x="122473" y="4321569"/>
                  <a:pt x="115232" y="4343607"/>
                </a:cubicBezTo>
                <a:cubicBezTo>
                  <a:pt x="112387" y="4345901"/>
                  <a:pt x="113577" y="4377214"/>
                  <a:pt x="113112" y="4398951"/>
                </a:cubicBezTo>
                <a:cubicBezTo>
                  <a:pt x="112646" y="4419095"/>
                  <a:pt x="110474" y="4421988"/>
                  <a:pt x="112853" y="4440535"/>
                </a:cubicBezTo>
                <a:cubicBezTo>
                  <a:pt x="117404" y="4443028"/>
                  <a:pt x="118645" y="4419395"/>
                  <a:pt x="120353" y="4399152"/>
                </a:cubicBezTo>
                <a:close/>
                <a:moveTo>
                  <a:pt x="120611" y="4676473"/>
                </a:moveTo>
                <a:cubicBezTo>
                  <a:pt x="116370" y="4680760"/>
                  <a:pt x="113629" y="4674080"/>
                  <a:pt x="111612" y="4662313"/>
                </a:cubicBezTo>
                <a:cubicBezTo>
                  <a:pt x="111560" y="4681459"/>
                  <a:pt x="110577" y="4692728"/>
                  <a:pt x="109543" y="4703896"/>
                </a:cubicBezTo>
                <a:cubicBezTo>
                  <a:pt x="116473" y="4688239"/>
                  <a:pt x="117715" y="4717359"/>
                  <a:pt x="120611" y="4676473"/>
                </a:cubicBezTo>
                <a:close/>
                <a:moveTo>
                  <a:pt x="121361" y="1453907"/>
                </a:moveTo>
                <a:cubicBezTo>
                  <a:pt x="121154" y="1477105"/>
                  <a:pt x="119887" y="1497797"/>
                  <a:pt x="117043" y="1487925"/>
                </a:cubicBezTo>
                <a:cubicBezTo>
                  <a:pt x="115956" y="1445544"/>
                  <a:pt x="120404" y="1447239"/>
                  <a:pt x="119318" y="1404857"/>
                </a:cubicBezTo>
                <a:cubicBezTo>
                  <a:pt x="120714" y="1405007"/>
                  <a:pt x="121568" y="1430710"/>
                  <a:pt x="121361" y="1453907"/>
                </a:cubicBezTo>
                <a:close/>
                <a:moveTo>
                  <a:pt x="121665" y="4617563"/>
                </a:moveTo>
                <a:cubicBezTo>
                  <a:pt x="121658" y="4605896"/>
                  <a:pt x="120197" y="4595351"/>
                  <a:pt x="117301" y="4620929"/>
                </a:cubicBezTo>
                <a:cubicBezTo>
                  <a:pt x="120223" y="4642020"/>
                  <a:pt x="121671" y="4629231"/>
                  <a:pt x="121665" y="4617563"/>
                </a:cubicBezTo>
                <a:close/>
                <a:moveTo>
                  <a:pt x="122162" y="905958"/>
                </a:moveTo>
                <a:cubicBezTo>
                  <a:pt x="120611" y="957414"/>
                  <a:pt x="121076" y="942156"/>
                  <a:pt x="119783" y="1002886"/>
                </a:cubicBezTo>
                <a:lnTo>
                  <a:pt x="112543" y="1002687"/>
                </a:lnTo>
                <a:cubicBezTo>
                  <a:pt x="113112" y="985036"/>
                  <a:pt x="112181" y="964495"/>
                  <a:pt x="112853" y="947242"/>
                </a:cubicBezTo>
                <a:cubicBezTo>
                  <a:pt x="112905" y="945149"/>
                  <a:pt x="116422" y="949437"/>
                  <a:pt x="116473" y="947342"/>
                </a:cubicBezTo>
                <a:cubicBezTo>
                  <a:pt x="117043" y="930789"/>
                  <a:pt x="114818" y="939265"/>
                  <a:pt x="114715" y="933481"/>
                </a:cubicBezTo>
                <a:cubicBezTo>
                  <a:pt x="114405" y="916329"/>
                  <a:pt x="117456" y="901072"/>
                  <a:pt x="122162" y="905958"/>
                </a:cubicBezTo>
                <a:close/>
                <a:moveTo>
                  <a:pt x="126507" y="781209"/>
                </a:moveTo>
                <a:cubicBezTo>
                  <a:pt x="124852" y="791979"/>
                  <a:pt x="122318" y="795967"/>
                  <a:pt x="119163" y="794870"/>
                </a:cubicBezTo>
                <a:cubicBezTo>
                  <a:pt x="122887" y="754084"/>
                  <a:pt x="119163" y="709111"/>
                  <a:pt x="121594" y="684081"/>
                </a:cubicBezTo>
                <a:cubicBezTo>
                  <a:pt x="131059" y="699538"/>
                  <a:pt x="122990" y="731648"/>
                  <a:pt x="126507" y="781209"/>
                </a:cubicBezTo>
                <a:close/>
                <a:moveTo>
                  <a:pt x="129920" y="504087"/>
                </a:moveTo>
                <a:cubicBezTo>
                  <a:pt x="127283" y="522136"/>
                  <a:pt x="122990" y="577281"/>
                  <a:pt x="129455" y="587253"/>
                </a:cubicBezTo>
                <a:cubicBezTo>
                  <a:pt x="128938" y="602311"/>
                  <a:pt x="125783" y="596527"/>
                  <a:pt x="125680" y="614876"/>
                </a:cubicBezTo>
                <a:cubicBezTo>
                  <a:pt x="121232" y="583663"/>
                  <a:pt x="121232" y="519145"/>
                  <a:pt x="129920" y="504087"/>
                </a:cubicBezTo>
                <a:close/>
                <a:moveTo>
                  <a:pt x="132028" y="2042281"/>
                </a:moveTo>
                <a:cubicBezTo>
                  <a:pt x="132558" y="2055955"/>
                  <a:pt x="131886" y="2069791"/>
                  <a:pt x="128265" y="2070489"/>
                </a:cubicBezTo>
                <a:cubicBezTo>
                  <a:pt x="128472" y="2059421"/>
                  <a:pt x="130386" y="2056429"/>
                  <a:pt x="130231" y="2042767"/>
                </a:cubicBezTo>
                <a:cubicBezTo>
                  <a:pt x="130127" y="2034590"/>
                  <a:pt x="124645" y="2014944"/>
                  <a:pt x="128576" y="2015045"/>
                </a:cubicBezTo>
                <a:cubicBezTo>
                  <a:pt x="129766" y="2015095"/>
                  <a:pt x="131498" y="2028607"/>
                  <a:pt x="132028" y="2042281"/>
                </a:cubicBezTo>
                <a:close/>
                <a:moveTo>
                  <a:pt x="133024" y="1182981"/>
                </a:moveTo>
                <a:cubicBezTo>
                  <a:pt x="131059" y="1184576"/>
                  <a:pt x="129093" y="1186670"/>
                  <a:pt x="127800" y="1183379"/>
                </a:cubicBezTo>
                <a:cubicBezTo>
                  <a:pt x="125938" y="1207911"/>
                  <a:pt x="131213" y="1218281"/>
                  <a:pt x="131213" y="1225062"/>
                </a:cubicBezTo>
                <a:cubicBezTo>
                  <a:pt x="131265" y="1238126"/>
                  <a:pt x="122318" y="1293271"/>
                  <a:pt x="130748" y="1308229"/>
                </a:cubicBezTo>
                <a:cubicBezTo>
                  <a:pt x="130334" y="1339441"/>
                  <a:pt x="126041" y="1301249"/>
                  <a:pt x="125318" y="1308029"/>
                </a:cubicBezTo>
                <a:cubicBezTo>
                  <a:pt x="124955" y="1311720"/>
                  <a:pt x="123714" y="1318001"/>
                  <a:pt x="121852" y="1321591"/>
                </a:cubicBezTo>
                <a:cubicBezTo>
                  <a:pt x="121852" y="1313215"/>
                  <a:pt x="121748" y="1305138"/>
                  <a:pt x="121542" y="1298756"/>
                </a:cubicBezTo>
                <a:cubicBezTo>
                  <a:pt x="120714" y="1274623"/>
                  <a:pt x="122162" y="1241017"/>
                  <a:pt x="122576" y="1224066"/>
                </a:cubicBezTo>
                <a:cubicBezTo>
                  <a:pt x="122731" y="1216487"/>
                  <a:pt x="123093" y="1204121"/>
                  <a:pt x="123404" y="1192754"/>
                </a:cubicBezTo>
                <a:cubicBezTo>
                  <a:pt x="124542" y="1187069"/>
                  <a:pt x="125162" y="1177396"/>
                  <a:pt x="126094" y="1169319"/>
                </a:cubicBezTo>
                <a:cubicBezTo>
                  <a:pt x="128834" y="1146084"/>
                  <a:pt x="130696" y="1132223"/>
                  <a:pt x="128369" y="1086252"/>
                </a:cubicBezTo>
                <a:cubicBezTo>
                  <a:pt x="129869" y="1087847"/>
                  <a:pt x="131110" y="1087648"/>
                  <a:pt x="132300" y="1086751"/>
                </a:cubicBezTo>
                <a:cubicBezTo>
                  <a:pt x="132300" y="1087349"/>
                  <a:pt x="132300" y="1087847"/>
                  <a:pt x="132300" y="1088446"/>
                </a:cubicBezTo>
                <a:cubicBezTo>
                  <a:pt x="131938" y="1108291"/>
                  <a:pt x="132300" y="1126339"/>
                  <a:pt x="132454" y="1139004"/>
                </a:cubicBezTo>
                <a:cubicBezTo>
                  <a:pt x="132610" y="1148178"/>
                  <a:pt x="132868" y="1169119"/>
                  <a:pt x="133024" y="1182981"/>
                </a:cubicBezTo>
                <a:close/>
                <a:moveTo>
                  <a:pt x="134162" y="1507968"/>
                </a:moveTo>
                <a:lnTo>
                  <a:pt x="134006" y="1535691"/>
                </a:lnTo>
                <a:lnTo>
                  <a:pt x="130386" y="1535591"/>
                </a:lnTo>
                <a:lnTo>
                  <a:pt x="130541" y="1507869"/>
                </a:lnTo>
                <a:close/>
                <a:moveTo>
                  <a:pt x="134524" y="975564"/>
                </a:moveTo>
                <a:cubicBezTo>
                  <a:pt x="132507" y="988427"/>
                  <a:pt x="133644" y="1026619"/>
                  <a:pt x="128834" y="1016947"/>
                </a:cubicBezTo>
                <a:cubicBezTo>
                  <a:pt x="130852" y="1004082"/>
                  <a:pt x="129713" y="965890"/>
                  <a:pt x="134524" y="975564"/>
                </a:cubicBezTo>
                <a:close/>
                <a:moveTo>
                  <a:pt x="134938" y="1835050"/>
                </a:moveTo>
                <a:cubicBezTo>
                  <a:pt x="134524" y="1894283"/>
                  <a:pt x="131938" y="1936565"/>
                  <a:pt x="130438" y="1987422"/>
                </a:cubicBezTo>
                <a:cubicBezTo>
                  <a:pt x="126041" y="1970868"/>
                  <a:pt x="119163" y="1972364"/>
                  <a:pt x="121852" y="1903957"/>
                </a:cubicBezTo>
                <a:cubicBezTo>
                  <a:pt x="116370" y="1893685"/>
                  <a:pt x="116370" y="1927691"/>
                  <a:pt x="110888" y="1917519"/>
                </a:cubicBezTo>
                <a:cubicBezTo>
                  <a:pt x="109336" y="1959799"/>
                  <a:pt x="112439" y="1968076"/>
                  <a:pt x="112232" y="2000686"/>
                </a:cubicBezTo>
                <a:cubicBezTo>
                  <a:pt x="106388" y="2012551"/>
                  <a:pt x="108974" y="1955810"/>
                  <a:pt x="108922" y="1945141"/>
                </a:cubicBezTo>
                <a:cubicBezTo>
                  <a:pt x="108767" y="1912931"/>
                  <a:pt x="108560" y="1868855"/>
                  <a:pt x="111302" y="1848213"/>
                </a:cubicBezTo>
                <a:cubicBezTo>
                  <a:pt x="114042" y="1827771"/>
                  <a:pt x="111456" y="1828169"/>
                  <a:pt x="111560" y="1806630"/>
                </a:cubicBezTo>
                <a:cubicBezTo>
                  <a:pt x="111612" y="1796758"/>
                  <a:pt x="113215" y="1791373"/>
                  <a:pt x="113526" y="1779007"/>
                </a:cubicBezTo>
                <a:cubicBezTo>
                  <a:pt x="113887" y="1764747"/>
                  <a:pt x="112284" y="1679387"/>
                  <a:pt x="114146" y="1668119"/>
                </a:cubicBezTo>
                <a:cubicBezTo>
                  <a:pt x="114249" y="1667421"/>
                  <a:pt x="115956" y="1669016"/>
                  <a:pt x="115956" y="1668219"/>
                </a:cubicBezTo>
                <a:cubicBezTo>
                  <a:pt x="116473" y="1647876"/>
                  <a:pt x="114301" y="1647277"/>
                  <a:pt x="114301" y="1640397"/>
                </a:cubicBezTo>
                <a:cubicBezTo>
                  <a:pt x="114301" y="1628729"/>
                  <a:pt x="116215" y="1626735"/>
                  <a:pt x="116215" y="1626635"/>
                </a:cubicBezTo>
                <a:cubicBezTo>
                  <a:pt x="116163" y="1603201"/>
                  <a:pt x="113784" y="1590437"/>
                  <a:pt x="116473" y="1585051"/>
                </a:cubicBezTo>
                <a:cubicBezTo>
                  <a:pt x="121748" y="1583557"/>
                  <a:pt x="117818" y="1596619"/>
                  <a:pt x="118128" y="1612774"/>
                </a:cubicBezTo>
                <a:cubicBezTo>
                  <a:pt x="118542" y="1634513"/>
                  <a:pt x="121490" y="1653260"/>
                  <a:pt x="117715" y="1682080"/>
                </a:cubicBezTo>
                <a:cubicBezTo>
                  <a:pt x="115853" y="1696539"/>
                  <a:pt x="118128" y="1753778"/>
                  <a:pt x="116939" y="1820690"/>
                </a:cubicBezTo>
                <a:cubicBezTo>
                  <a:pt x="117404" y="1839537"/>
                  <a:pt x="121438" y="1832357"/>
                  <a:pt x="124128" y="1834750"/>
                </a:cubicBezTo>
                <a:cubicBezTo>
                  <a:pt x="123197" y="1863669"/>
                  <a:pt x="125162" y="1871448"/>
                  <a:pt x="125628" y="1890195"/>
                </a:cubicBezTo>
                <a:cubicBezTo>
                  <a:pt x="130489" y="1901264"/>
                  <a:pt x="127489" y="1850008"/>
                  <a:pt x="129558" y="1834851"/>
                </a:cubicBezTo>
                <a:cubicBezTo>
                  <a:pt x="132661" y="1812413"/>
                  <a:pt x="126610" y="1817400"/>
                  <a:pt x="129817" y="1793267"/>
                </a:cubicBezTo>
                <a:cubicBezTo>
                  <a:pt x="134575" y="1785090"/>
                  <a:pt x="136334" y="1799050"/>
                  <a:pt x="134938" y="1835050"/>
                </a:cubicBezTo>
                <a:close/>
                <a:moveTo>
                  <a:pt x="139550" y="252514"/>
                </a:moveTo>
                <a:cubicBezTo>
                  <a:pt x="138975" y="256507"/>
                  <a:pt x="137601" y="258402"/>
                  <a:pt x="134989" y="254687"/>
                </a:cubicBezTo>
                <a:cubicBezTo>
                  <a:pt x="135804" y="209664"/>
                  <a:pt x="141273" y="240534"/>
                  <a:pt x="139550" y="252514"/>
                </a:cubicBezTo>
                <a:close/>
                <a:moveTo>
                  <a:pt x="139844" y="2977418"/>
                </a:moveTo>
                <a:cubicBezTo>
                  <a:pt x="138312" y="2977966"/>
                  <a:pt x="136696" y="2967421"/>
                  <a:pt x="139592" y="2944137"/>
                </a:cubicBezTo>
                <a:cubicBezTo>
                  <a:pt x="142825" y="2965227"/>
                  <a:pt x="141377" y="2976869"/>
                  <a:pt x="139844" y="2977418"/>
                </a:cubicBezTo>
                <a:close/>
                <a:moveTo>
                  <a:pt x="139850" y="1627234"/>
                </a:moveTo>
                <a:cubicBezTo>
                  <a:pt x="140213" y="1702722"/>
                  <a:pt x="139178" y="1766841"/>
                  <a:pt x="128265" y="1751684"/>
                </a:cubicBezTo>
                <a:cubicBezTo>
                  <a:pt x="129869" y="1696539"/>
                  <a:pt x="129920" y="1696040"/>
                  <a:pt x="128886" y="1640796"/>
                </a:cubicBezTo>
                <a:cubicBezTo>
                  <a:pt x="133179" y="1641195"/>
                  <a:pt x="134369" y="1617062"/>
                  <a:pt x="139850" y="1627234"/>
                </a:cubicBezTo>
                <a:close/>
                <a:moveTo>
                  <a:pt x="140161" y="310330"/>
                </a:moveTo>
                <a:cubicBezTo>
                  <a:pt x="140006" y="323793"/>
                  <a:pt x="137885" y="321000"/>
                  <a:pt x="136437" y="324092"/>
                </a:cubicBezTo>
                <a:cubicBezTo>
                  <a:pt x="137368" y="374650"/>
                  <a:pt x="140523" y="357199"/>
                  <a:pt x="134938" y="391802"/>
                </a:cubicBezTo>
                <a:cubicBezTo>
                  <a:pt x="135765" y="392101"/>
                  <a:pt x="135713" y="402771"/>
                  <a:pt x="137679" y="406261"/>
                </a:cubicBezTo>
                <a:lnTo>
                  <a:pt x="135299" y="445950"/>
                </a:lnTo>
                <a:lnTo>
                  <a:pt x="133437" y="485140"/>
                </a:lnTo>
                <a:cubicBezTo>
                  <a:pt x="131524" y="484243"/>
                  <a:pt x="129455" y="481350"/>
                  <a:pt x="126455" y="476264"/>
                </a:cubicBezTo>
                <a:cubicBezTo>
                  <a:pt x="128369" y="418926"/>
                  <a:pt x="128110" y="344734"/>
                  <a:pt x="131162" y="296270"/>
                </a:cubicBezTo>
                <a:cubicBezTo>
                  <a:pt x="135558" y="290686"/>
                  <a:pt x="134938" y="321699"/>
                  <a:pt x="140161" y="310330"/>
                </a:cubicBezTo>
                <a:close/>
                <a:moveTo>
                  <a:pt x="140782" y="1460900"/>
                </a:moveTo>
                <a:cubicBezTo>
                  <a:pt x="146471" y="1493708"/>
                  <a:pt x="134110" y="1516743"/>
                  <a:pt x="140782" y="1460900"/>
                </a:cubicBezTo>
                <a:close/>
                <a:moveTo>
                  <a:pt x="140821" y="2140142"/>
                </a:moveTo>
                <a:cubicBezTo>
                  <a:pt x="141279" y="2165360"/>
                  <a:pt x="137963" y="2210870"/>
                  <a:pt x="138661" y="2153955"/>
                </a:cubicBezTo>
                <a:lnTo>
                  <a:pt x="138816" y="2126233"/>
                </a:lnTo>
                <a:cubicBezTo>
                  <a:pt x="140096" y="2125585"/>
                  <a:pt x="140668" y="2131736"/>
                  <a:pt x="140821" y="2140142"/>
                </a:cubicBezTo>
                <a:close/>
                <a:moveTo>
                  <a:pt x="142850" y="2057026"/>
                </a:moveTo>
                <a:lnTo>
                  <a:pt x="142592" y="2098610"/>
                </a:lnTo>
                <a:lnTo>
                  <a:pt x="137161" y="2098411"/>
                </a:lnTo>
                <a:lnTo>
                  <a:pt x="137420" y="2056827"/>
                </a:lnTo>
                <a:close/>
                <a:moveTo>
                  <a:pt x="142954" y="767846"/>
                </a:moveTo>
                <a:cubicBezTo>
                  <a:pt x="144092" y="821296"/>
                  <a:pt x="133955" y="820997"/>
                  <a:pt x="135713" y="767647"/>
                </a:cubicBezTo>
                <a:close/>
                <a:moveTo>
                  <a:pt x="146212" y="593835"/>
                </a:moveTo>
                <a:cubicBezTo>
                  <a:pt x="143575" y="609590"/>
                  <a:pt x="140885" y="706019"/>
                  <a:pt x="137834" y="664437"/>
                </a:cubicBezTo>
                <a:cubicBezTo>
                  <a:pt x="134782" y="622854"/>
                  <a:pt x="139230" y="547166"/>
                  <a:pt x="139230" y="547265"/>
                </a:cubicBezTo>
                <a:lnTo>
                  <a:pt x="144402" y="547366"/>
                </a:lnTo>
                <a:cubicBezTo>
                  <a:pt x="145023" y="561525"/>
                  <a:pt x="145695" y="579476"/>
                  <a:pt x="146212" y="593835"/>
                </a:cubicBezTo>
                <a:close/>
                <a:moveTo>
                  <a:pt x="146212" y="3374129"/>
                </a:moveTo>
                <a:cubicBezTo>
                  <a:pt x="138816" y="3374927"/>
                  <a:pt x="137885" y="3328657"/>
                  <a:pt x="128214" y="3345908"/>
                </a:cubicBezTo>
                <a:lnTo>
                  <a:pt x="128524" y="3290463"/>
                </a:lnTo>
                <a:cubicBezTo>
                  <a:pt x="132765" y="3332146"/>
                  <a:pt x="139334" y="3287971"/>
                  <a:pt x="140989" y="3332347"/>
                </a:cubicBezTo>
                <a:cubicBezTo>
                  <a:pt x="147143" y="3326861"/>
                  <a:pt x="136489" y="3278497"/>
                  <a:pt x="144868" y="3290862"/>
                </a:cubicBezTo>
                <a:cubicBezTo>
                  <a:pt x="143316" y="3333243"/>
                  <a:pt x="147764" y="3331747"/>
                  <a:pt x="146212" y="3374129"/>
                </a:cubicBezTo>
                <a:close/>
                <a:moveTo>
                  <a:pt x="148333" y="2680975"/>
                </a:moveTo>
                <a:lnTo>
                  <a:pt x="148178" y="2708697"/>
                </a:lnTo>
                <a:lnTo>
                  <a:pt x="144557" y="2708597"/>
                </a:lnTo>
                <a:lnTo>
                  <a:pt x="144712" y="2680875"/>
                </a:lnTo>
                <a:close/>
                <a:moveTo>
                  <a:pt x="149212" y="310530"/>
                </a:moveTo>
                <a:cubicBezTo>
                  <a:pt x="148436" y="328680"/>
                  <a:pt x="145902" y="332270"/>
                  <a:pt x="145333" y="352013"/>
                </a:cubicBezTo>
                <a:cubicBezTo>
                  <a:pt x="143368" y="348524"/>
                  <a:pt x="144247" y="324392"/>
                  <a:pt x="141868" y="324191"/>
                </a:cubicBezTo>
                <a:cubicBezTo>
                  <a:pt x="142540" y="305444"/>
                  <a:pt x="146471" y="312824"/>
                  <a:pt x="149212" y="310530"/>
                </a:cubicBezTo>
                <a:close/>
                <a:moveTo>
                  <a:pt x="150816" y="377741"/>
                </a:moveTo>
                <a:cubicBezTo>
                  <a:pt x="150609" y="380634"/>
                  <a:pt x="149212" y="426006"/>
                  <a:pt x="149108" y="428199"/>
                </a:cubicBezTo>
                <a:cubicBezTo>
                  <a:pt x="148591" y="440765"/>
                  <a:pt x="149781" y="475168"/>
                  <a:pt x="149264" y="484142"/>
                </a:cubicBezTo>
                <a:cubicBezTo>
                  <a:pt x="149057" y="488331"/>
                  <a:pt x="147453" y="511366"/>
                  <a:pt x="147195" y="519544"/>
                </a:cubicBezTo>
                <a:cubicBezTo>
                  <a:pt x="142902" y="513859"/>
                  <a:pt x="137782" y="516951"/>
                  <a:pt x="142799" y="476663"/>
                </a:cubicBezTo>
                <a:cubicBezTo>
                  <a:pt x="140678" y="480054"/>
                  <a:pt x="139075" y="482348"/>
                  <a:pt x="137627" y="483844"/>
                </a:cubicBezTo>
                <a:cubicBezTo>
                  <a:pt x="138351" y="471279"/>
                  <a:pt x="139178" y="448343"/>
                  <a:pt x="139799" y="442459"/>
                </a:cubicBezTo>
                <a:cubicBezTo>
                  <a:pt x="140419" y="436576"/>
                  <a:pt x="140368" y="411546"/>
                  <a:pt x="140316" y="402572"/>
                </a:cubicBezTo>
                <a:cubicBezTo>
                  <a:pt x="141351" y="390007"/>
                  <a:pt x="141919" y="374451"/>
                  <a:pt x="143420" y="365775"/>
                </a:cubicBezTo>
                <a:cubicBezTo>
                  <a:pt x="147919" y="373953"/>
                  <a:pt x="148850" y="351416"/>
                  <a:pt x="150816" y="377741"/>
                </a:cubicBezTo>
                <a:close/>
                <a:moveTo>
                  <a:pt x="150919" y="1918715"/>
                </a:moveTo>
                <a:cubicBezTo>
                  <a:pt x="147299" y="1944543"/>
                  <a:pt x="146316" y="1920011"/>
                  <a:pt x="141816" y="1918416"/>
                </a:cubicBezTo>
                <a:cubicBezTo>
                  <a:pt x="140368" y="1862473"/>
                  <a:pt x="152987" y="1862871"/>
                  <a:pt x="150919" y="1918715"/>
                </a:cubicBezTo>
                <a:close/>
                <a:moveTo>
                  <a:pt x="150970" y="2542465"/>
                </a:moveTo>
                <a:cubicBezTo>
                  <a:pt x="149988" y="2577266"/>
                  <a:pt x="147195" y="2519329"/>
                  <a:pt x="147557" y="2500781"/>
                </a:cubicBezTo>
                <a:cubicBezTo>
                  <a:pt x="149212" y="2511051"/>
                  <a:pt x="150195" y="2526109"/>
                  <a:pt x="150970" y="2542465"/>
                </a:cubicBezTo>
                <a:close/>
                <a:moveTo>
                  <a:pt x="153091" y="2805923"/>
                </a:moveTo>
                <a:cubicBezTo>
                  <a:pt x="150609" y="2824672"/>
                  <a:pt x="150298" y="2808318"/>
                  <a:pt x="147660" y="2805725"/>
                </a:cubicBezTo>
                <a:cubicBezTo>
                  <a:pt x="144816" y="2803032"/>
                  <a:pt x="140678" y="2813303"/>
                  <a:pt x="140471" y="2791663"/>
                </a:cubicBezTo>
                <a:cubicBezTo>
                  <a:pt x="139799" y="2765040"/>
                  <a:pt x="142178" y="2769527"/>
                  <a:pt x="144247" y="2764042"/>
                </a:cubicBezTo>
                <a:cubicBezTo>
                  <a:pt x="147299" y="2756065"/>
                  <a:pt x="154488" y="2741405"/>
                  <a:pt x="153091" y="2805923"/>
                </a:cubicBezTo>
                <a:close/>
                <a:moveTo>
                  <a:pt x="155211" y="2431575"/>
                </a:moveTo>
                <a:cubicBezTo>
                  <a:pt x="155832" y="2460593"/>
                  <a:pt x="153763" y="2468273"/>
                  <a:pt x="153091" y="2487020"/>
                </a:cubicBezTo>
                <a:cubicBezTo>
                  <a:pt x="151074" y="2484327"/>
                  <a:pt x="152211" y="2473059"/>
                  <a:pt x="153194" y="2473159"/>
                </a:cubicBezTo>
                <a:cubicBezTo>
                  <a:pt x="152522" y="2453015"/>
                  <a:pt x="151591" y="2474555"/>
                  <a:pt x="149522" y="2473059"/>
                </a:cubicBezTo>
                <a:cubicBezTo>
                  <a:pt x="148643" y="2493203"/>
                  <a:pt x="147971" y="2471563"/>
                  <a:pt x="145902" y="2472960"/>
                </a:cubicBezTo>
                <a:cubicBezTo>
                  <a:pt x="147299" y="2445636"/>
                  <a:pt x="150970" y="2436063"/>
                  <a:pt x="155211" y="2431575"/>
                </a:cubicBezTo>
                <a:close/>
                <a:moveTo>
                  <a:pt x="157384" y="2695135"/>
                </a:moveTo>
                <a:lnTo>
                  <a:pt x="157229" y="2722857"/>
                </a:lnTo>
                <a:lnTo>
                  <a:pt x="153608" y="2722758"/>
                </a:lnTo>
                <a:lnTo>
                  <a:pt x="153763" y="2695035"/>
                </a:lnTo>
                <a:close/>
                <a:moveTo>
                  <a:pt x="157849" y="807435"/>
                </a:moveTo>
                <a:cubicBezTo>
                  <a:pt x="157901" y="841141"/>
                  <a:pt x="155677" y="849817"/>
                  <a:pt x="155056" y="878934"/>
                </a:cubicBezTo>
                <a:cubicBezTo>
                  <a:pt x="154591" y="901870"/>
                  <a:pt x="157487" y="914435"/>
                  <a:pt x="154746" y="934379"/>
                </a:cubicBezTo>
                <a:cubicBezTo>
                  <a:pt x="154849" y="969081"/>
                  <a:pt x="154798" y="1044071"/>
                  <a:pt x="152057" y="1056037"/>
                </a:cubicBezTo>
                <a:cubicBezTo>
                  <a:pt x="150919" y="1176898"/>
                  <a:pt x="142902" y="1287687"/>
                  <a:pt x="145075" y="1388303"/>
                </a:cubicBezTo>
                <a:cubicBezTo>
                  <a:pt x="144454" y="1426597"/>
                  <a:pt x="144816" y="1438863"/>
                  <a:pt x="139178" y="1402265"/>
                </a:cubicBezTo>
                <a:cubicBezTo>
                  <a:pt x="139954" y="1355397"/>
                  <a:pt x="142488" y="1322788"/>
                  <a:pt x="141765" y="1263754"/>
                </a:cubicBezTo>
                <a:cubicBezTo>
                  <a:pt x="141765" y="1251588"/>
                  <a:pt x="140523" y="1248298"/>
                  <a:pt x="138868" y="1247998"/>
                </a:cubicBezTo>
                <a:cubicBezTo>
                  <a:pt x="139127" y="1236530"/>
                  <a:pt x="139437" y="1221274"/>
                  <a:pt x="139592" y="1218083"/>
                </a:cubicBezTo>
                <a:cubicBezTo>
                  <a:pt x="139850" y="1212697"/>
                  <a:pt x="139127" y="1171114"/>
                  <a:pt x="139178" y="1165730"/>
                </a:cubicBezTo>
                <a:cubicBezTo>
                  <a:pt x="139178" y="1163037"/>
                  <a:pt x="139178" y="1154361"/>
                  <a:pt x="139075" y="1145985"/>
                </a:cubicBezTo>
                <a:cubicBezTo>
                  <a:pt x="139644" y="1143990"/>
                  <a:pt x="140161" y="1141696"/>
                  <a:pt x="140678" y="1139004"/>
                </a:cubicBezTo>
                <a:cubicBezTo>
                  <a:pt x="140161" y="1076779"/>
                  <a:pt x="142178" y="1035196"/>
                  <a:pt x="143368" y="986631"/>
                </a:cubicBezTo>
                <a:cubicBezTo>
                  <a:pt x="153505" y="1014455"/>
                  <a:pt x="144402" y="846824"/>
                  <a:pt x="151591" y="851212"/>
                </a:cubicBezTo>
                <a:cubicBezTo>
                  <a:pt x="150298" y="802151"/>
                  <a:pt x="151539" y="817208"/>
                  <a:pt x="150246" y="768046"/>
                </a:cubicBezTo>
                <a:cubicBezTo>
                  <a:pt x="152471" y="769142"/>
                  <a:pt x="153815" y="762162"/>
                  <a:pt x="154642" y="751393"/>
                </a:cubicBezTo>
                <a:lnTo>
                  <a:pt x="157694" y="755082"/>
                </a:lnTo>
                <a:cubicBezTo>
                  <a:pt x="157746" y="757575"/>
                  <a:pt x="157849" y="798561"/>
                  <a:pt x="157849" y="807435"/>
                </a:cubicBezTo>
                <a:close/>
                <a:moveTo>
                  <a:pt x="158366" y="2279452"/>
                </a:moveTo>
                <a:cubicBezTo>
                  <a:pt x="156686" y="2288303"/>
                  <a:pt x="153970" y="2294760"/>
                  <a:pt x="152418" y="2292965"/>
                </a:cubicBezTo>
                <a:cubicBezTo>
                  <a:pt x="149884" y="2243603"/>
                  <a:pt x="158625" y="2284787"/>
                  <a:pt x="158108" y="2251581"/>
                </a:cubicBezTo>
                <a:cubicBezTo>
                  <a:pt x="160694" y="2259359"/>
                  <a:pt x="160047" y="2270602"/>
                  <a:pt x="158366" y="2279452"/>
                </a:cubicBezTo>
                <a:close/>
                <a:moveTo>
                  <a:pt x="161780" y="1918915"/>
                </a:moveTo>
                <a:cubicBezTo>
                  <a:pt x="158625" y="1969572"/>
                  <a:pt x="159246" y="1886605"/>
                  <a:pt x="154591" y="1904854"/>
                </a:cubicBezTo>
                <a:cubicBezTo>
                  <a:pt x="153298" y="1860578"/>
                  <a:pt x="157694" y="1862074"/>
                  <a:pt x="158625" y="1835649"/>
                </a:cubicBezTo>
                <a:cubicBezTo>
                  <a:pt x="165969" y="1834651"/>
                  <a:pt x="158625" y="1920011"/>
                  <a:pt x="161780" y="1918915"/>
                </a:cubicBezTo>
                <a:close/>
                <a:moveTo>
                  <a:pt x="162273" y="1654241"/>
                </a:moveTo>
                <a:cubicBezTo>
                  <a:pt x="162555" y="1661338"/>
                  <a:pt x="162387" y="1674826"/>
                  <a:pt x="161262" y="1697138"/>
                </a:cubicBezTo>
                <a:cubicBezTo>
                  <a:pt x="156530" y="1669166"/>
                  <a:pt x="161428" y="1632949"/>
                  <a:pt x="162273" y="1654241"/>
                </a:cubicBezTo>
                <a:close/>
                <a:moveTo>
                  <a:pt x="165025" y="506468"/>
                </a:moveTo>
                <a:cubicBezTo>
                  <a:pt x="165685" y="542255"/>
                  <a:pt x="165245" y="577580"/>
                  <a:pt x="162090" y="602112"/>
                </a:cubicBezTo>
                <a:cubicBezTo>
                  <a:pt x="158832" y="627541"/>
                  <a:pt x="159091" y="603607"/>
                  <a:pt x="160021" y="643694"/>
                </a:cubicBezTo>
                <a:cubicBezTo>
                  <a:pt x="160280" y="655063"/>
                  <a:pt x="160539" y="689267"/>
                  <a:pt x="159867" y="715193"/>
                </a:cubicBezTo>
                <a:cubicBezTo>
                  <a:pt x="156453" y="724568"/>
                  <a:pt x="155005" y="680890"/>
                  <a:pt x="152211" y="675705"/>
                </a:cubicBezTo>
                <a:cubicBezTo>
                  <a:pt x="151850" y="629934"/>
                  <a:pt x="155574" y="622455"/>
                  <a:pt x="152987" y="601813"/>
                </a:cubicBezTo>
                <a:cubicBezTo>
                  <a:pt x="152522" y="601114"/>
                  <a:pt x="152211" y="601713"/>
                  <a:pt x="151850" y="601613"/>
                </a:cubicBezTo>
                <a:lnTo>
                  <a:pt x="153763" y="567409"/>
                </a:lnTo>
                <a:cubicBezTo>
                  <a:pt x="153763" y="567409"/>
                  <a:pt x="155936" y="520541"/>
                  <a:pt x="155470" y="515355"/>
                </a:cubicBezTo>
                <a:cubicBezTo>
                  <a:pt x="155056" y="509870"/>
                  <a:pt x="154488" y="486436"/>
                  <a:pt x="153815" y="475567"/>
                </a:cubicBezTo>
                <a:cubicBezTo>
                  <a:pt x="153453" y="469683"/>
                  <a:pt x="153919" y="457418"/>
                  <a:pt x="154384" y="447047"/>
                </a:cubicBezTo>
                <a:cubicBezTo>
                  <a:pt x="156039" y="438570"/>
                  <a:pt x="158935" y="439568"/>
                  <a:pt x="159453" y="421918"/>
                </a:cubicBezTo>
                <a:cubicBezTo>
                  <a:pt x="158987" y="394095"/>
                  <a:pt x="160073" y="378539"/>
                  <a:pt x="163331" y="380434"/>
                </a:cubicBezTo>
                <a:cubicBezTo>
                  <a:pt x="163538" y="396488"/>
                  <a:pt x="162814" y="405065"/>
                  <a:pt x="161366" y="408057"/>
                </a:cubicBezTo>
                <a:cubicBezTo>
                  <a:pt x="162608" y="434433"/>
                  <a:pt x="164366" y="470681"/>
                  <a:pt x="165025" y="506468"/>
                </a:cubicBezTo>
                <a:close/>
                <a:moveTo>
                  <a:pt x="168607" y="1161640"/>
                </a:moveTo>
                <a:cubicBezTo>
                  <a:pt x="168193" y="1172909"/>
                  <a:pt x="166693" y="1175402"/>
                  <a:pt x="166642" y="1189263"/>
                </a:cubicBezTo>
                <a:lnTo>
                  <a:pt x="163021" y="1189164"/>
                </a:lnTo>
                <a:cubicBezTo>
                  <a:pt x="162297" y="1159646"/>
                  <a:pt x="165762" y="1162937"/>
                  <a:pt x="168607" y="1161640"/>
                </a:cubicBezTo>
                <a:close/>
                <a:moveTo>
                  <a:pt x="232584" y="249003"/>
                </a:moveTo>
                <a:lnTo>
                  <a:pt x="213241" y="249003"/>
                </a:lnTo>
                <a:cubicBezTo>
                  <a:pt x="213603" y="240427"/>
                  <a:pt x="230567" y="239230"/>
                  <a:pt x="232584" y="249003"/>
                </a:cubicBezTo>
                <a:close/>
                <a:moveTo>
                  <a:pt x="1167782" y="40588"/>
                </a:moveTo>
                <a:cubicBezTo>
                  <a:pt x="1167782" y="55646"/>
                  <a:pt x="1102978" y="42782"/>
                  <a:pt x="1149422" y="40588"/>
                </a:cubicBezTo>
                <a:cubicBezTo>
                  <a:pt x="1155525" y="40289"/>
                  <a:pt x="1161680" y="40787"/>
                  <a:pt x="1167782" y="40588"/>
                </a:cubicBezTo>
                <a:close/>
                <a:moveTo>
                  <a:pt x="1346785" y="99522"/>
                </a:moveTo>
                <a:cubicBezTo>
                  <a:pt x="1347664" y="117971"/>
                  <a:pt x="1312443" y="97728"/>
                  <a:pt x="1337630" y="99522"/>
                </a:cubicBezTo>
                <a:cubicBezTo>
                  <a:pt x="1340682" y="99522"/>
                  <a:pt x="1343733" y="99522"/>
                  <a:pt x="1346785" y="99522"/>
                </a:cubicBezTo>
                <a:close/>
                <a:moveTo>
                  <a:pt x="1612935" y="125649"/>
                </a:moveTo>
                <a:cubicBezTo>
                  <a:pt x="1609884" y="125649"/>
                  <a:pt x="1606832" y="125649"/>
                  <a:pt x="1603781" y="125649"/>
                </a:cubicBezTo>
                <a:cubicBezTo>
                  <a:pt x="1603781" y="121262"/>
                  <a:pt x="1603781" y="116973"/>
                  <a:pt x="1603781" y="112586"/>
                </a:cubicBezTo>
                <a:cubicBezTo>
                  <a:pt x="1606832" y="112586"/>
                  <a:pt x="1609884" y="112586"/>
                  <a:pt x="1612935" y="112586"/>
                </a:cubicBezTo>
                <a:cubicBezTo>
                  <a:pt x="1612935" y="116973"/>
                  <a:pt x="1612935" y="121361"/>
                  <a:pt x="1612935" y="125649"/>
                </a:cubicBezTo>
                <a:close/>
                <a:moveTo>
                  <a:pt x="1741459" y="125649"/>
                </a:moveTo>
                <a:cubicBezTo>
                  <a:pt x="1742132" y="134424"/>
                  <a:pt x="1722789" y="145493"/>
                  <a:pt x="1736856" y="151875"/>
                </a:cubicBezTo>
                <a:cubicBezTo>
                  <a:pt x="1725374" y="178102"/>
                  <a:pt x="1721909" y="112586"/>
                  <a:pt x="1741459" y="125649"/>
                </a:cubicBezTo>
                <a:close/>
                <a:moveTo>
                  <a:pt x="1892895" y="248904"/>
                </a:moveTo>
                <a:lnTo>
                  <a:pt x="1883741" y="248904"/>
                </a:lnTo>
                <a:cubicBezTo>
                  <a:pt x="1883741" y="244915"/>
                  <a:pt x="1883741" y="240925"/>
                  <a:pt x="1883741" y="236936"/>
                </a:cubicBezTo>
                <a:cubicBezTo>
                  <a:pt x="1886792" y="236936"/>
                  <a:pt x="1889843" y="236936"/>
                  <a:pt x="1892895" y="236936"/>
                </a:cubicBezTo>
                <a:cubicBezTo>
                  <a:pt x="1892895" y="241026"/>
                  <a:pt x="1892895" y="245014"/>
                  <a:pt x="1892895" y="248904"/>
                </a:cubicBezTo>
                <a:close/>
                <a:moveTo>
                  <a:pt x="1920410" y="99522"/>
                </a:moveTo>
                <a:cubicBezTo>
                  <a:pt x="1921185" y="118071"/>
                  <a:pt x="1892119" y="94037"/>
                  <a:pt x="1892843" y="112586"/>
                </a:cubicBezTo>
                <a:cubicBezTo>
                  <a:pt x="1878723" y="106005"/>
                  <a:pt x="1902825" y="101816"/>
                  <a:pt x="1902050" y="92942"/>
                </a:cubicBezTo>
                <a:cubicBezTo>
                  <a:pt x="1906135" y="98026"/>
                  <a:pt x="1912393" y="100021"/>
                  <a:pt x="1920410" y="99522"/>
                </a:cubicBezTo>
                <a:close/>
                <a:moveTo>
                  <a:pt x="1921651" y="249003"/>
                </a:moveTo>
                <a:lnTo>
                  <a:pt x="1906601" y="249003"/>
                </a:lnTo>
                <a:cubicBezTo>
                  <a:pt x="1906394" y="239928"/>
                  <a:pt x="1919996" y="240327"/>
                  <a:pt x="1921651" y="249003"/>
                </a:cubicBezTo>
                <a:close/>
                <a:moveTo>
                  <a:pt x="1925013" y="151875"/>
                </a:moveTo>
                <a:cubicBezTo>
                  <a:pt x="1923823" y="167233"/>
                  <a:pt x="1904842" y="155665"/>
                  <a:pt x="1902050" y="151875"/>
                </a:cubicBezTo>
                <a:cubicBezTo>
                  <a:pt x="1905980" y="132630"/>
                  <a:pt x="1913635" y="160452"/>
                  <a:pt x="1925013" y="151875"/>
                </a:cubicBezTo>
                <a:close/>
                <a:moveTo>
                  <a:pt x="1952528" y="158458"/>
                </a:moveTo>
                <a:cubicBezTo>
                  <a:pt x="1951131" y="167332"/>
                  <a:pt x="1941046" y="163842"/>
                  <a:pt x="1934219" y="165038"/>
                </a:cubicBezTo>
                <a:cubicBezTo>
                  <a:pt x="1934322" y="158656"/>
                  <a:pt x="1939805" y="159853"/>
                  <a:pt x="1943373" y="158458"/>
                </a:cubicBezTo>
                <a:cubicBezTo>
                  <a:pt x="1946425" y="158458"/>
                  <a:pt x="1949476" y="158458"/>
                  <a:pt x="1952528" y="158458"/>
                </a:cubicBezTo>
                <a:close/>
                <a:moveTo>
                  <a:pt x="2067294" y="125649"/>
                </a:moveTo>
                <a:cubicBezTo>
                  <a:pt x="2070656" y="130535"/>
                  <a:pt x="2048675" y="145095"/>
                  <a:pt x="2053536" y="132231"/>
                </a:cubicBezTo>
                <a:cubicBezTo>
                  <a:pt x="2054209" y="130436"/>
                  <a:pt x="2063415" y="120065"/>
                  <a:pt x="2067294" y="125649"/>
                </a:cubicBezTo>
                <a:close/>
                <a:moveTo>
                  <a:pt x="2094809" y="178102"/>
                </a:moveTo>
                <a:cubicBezTo>
                  <a:pt x="2095740" y="196551"/>
                  <a:pt x="2060519" y="176307"/>
                  <a:pt x="2085655" y="178102"/>
                </a:cubicBezTo>
                <a:cubicBezTo>
                  <a:pt x="2088706" y="178102"/>
                  <a:pt x="2091758" y="178102"/>
                  <a:pt x="2094809" y="178102"/>
                </a:cubicBezTo>
                <a:close/>
                <a:moveTo>
                  <a:pt x="2108567" y="99522"/>
                </a:moveTo>
                <a:cubicBezTo>
                  <a:pt x="2097757" y="120563"/>
                  <a:pt x="2090051" y="76487"/>
                  <a:pt x="2108567" y="99522"/>
                </a:cubicBezTo>
                <a:close/>
                <a:moveTo>
                  <a:pt x="2126927" y="132231"/>
                </a:moveTo>
                <a:cubicBezTo>
                  <a:pt x="2128168" y="136319"/>
                  <a:pt x="2122996" y="138014"/>
                  <a:pt x="2122376" y="132231"/>
                </a:cubicBezTo>
                <a:lnTo>
                  <a:pt x="2122376" y="127064"/>
                </a:lnTo>
                <a:lnTo>
                  <a:pt x="2121129" y="125649"/>
                </a:lnTo>
                <a:lnTo>
                  <a:pt x="2117772" y="125649"/>
                </a:lnTo>
                <a:cubicBezTo>
                  <a:pt x="2113170" y="121560"/>
                  <a:pt x="2114618" y="120413"/>
                  <a:pt x="2117637" y="121685"/>
                </a:cubicBezTo>
                <a:lnTo>
                  <a:pt x="2121129" y="125649"/>
                </a:lnTo>
                <a:lnTo>
                  <a:pt x="2122376" y="125649"/>
                </a:lnTo>
                <a:lnTo>
                  <a:pt x="2122376" y="127064"/>
                </a:lnTo>
                <a:close/>
                <a:moveTo>
                  <a:pt x="2159045" y="106104"/>
                </a:moveTo>
                <a:cubicBezTo>
                  <a:pt x="2155684" y="110792"/>
                  <a:pt x="2154442" y="99522"/>
                  <a:pt x="2154442" y="99522"/>
                </a:cubicBezTo>
                <a:cubicBezTo>
                  <a:pt x="2152477" y="99024"/>
                  <a:pt x="2146788" y="101217"/>
                  <a:pt x="2145287" y="99522"/>
                </a:cubicBezTo>
                <a:cubicBezTo>
                  <a:pt x="2139650" y="93240"/>
                  <a:pt x="2147305" y="88653"/>
                  <a:pt x="2154442" y="92942"/>
                </a:cubicBezTo>
                <a:cubicBezTo>
                  <a:pt x="2154804" y="93140"/>
                  <a:pt x="2160131" y="104509"/>
                  <a:pt x="2159045" y="106104"/>
                </a:cubicBezTo>
                <a:close/>
                <a:moveTo>
                  <a:pt x="2196363" y="110993"/>
                </a:moveTo>
                <a:cubicBezTo>
                  <a:pt x="2195488" y="118949"/>
                  <a:pt x="2180728" y="116051"/>
                  <a:pt x="2191163" y="99522"/>
                </a:cubicBezTo>
                <a:cubicBezTo>
                  <a:pt x="2195404" y="104483"/>
                  <a:pt x="2196655" y="108341"/>
                  <a:pt x="2196363" y="110993"/>
                </a:cubicBezTo>
                <a:close/>
                <a:moveTo>
                  <a:pt x="2200369" y="151875"/>
                </a:moveTo>
                <a:cubicBezTo>
                  <a:pt x="2194577" y="162546"/>
                  <a:pt x="2182112" y="162845"/>
                  <a:pt x="2177405" y="158458"/>
                </a:cubicBezTo>
                <a:cubicBezTo>
                  <a:pt x="2176733" y="157759"/>
                  <a:pt x="2189818" y="139111"/>
                  <a:pt x="2200369" y="151875"/>
                </a:cubicBezTo>
                <a:close/>
                <a:moveTo>
                  <a:pt x="2227884" y="165038"/>
                </a:moveTo>
                <a:cubicBezTo>
                  <a:pt x="2226333" y="166834"/>
                  <a:pt x="2211489" y="166135"/>
                  <a:pt x="2209523" y="165038"/>
                </a:cubicBezTo>
                <a:cubicBezTo>
                  <a:pt x="2209007" y="164740"/>
                  <a:pt x="2210041" y="158756"/>
                  <a:pt x="2209523" y="158458"/>
                </a:cubicBezTo>
                <a:cubicBezTo>
                  <a:pt x="2208489" y="157859"/>
                  <a:pt x="2202127" y="155964"/>
                  <a:pt x="2204921" y="151875"/>
                </a:cubicBezTo>
                <a:cubicBezTo>
                  <a:pt x="2208231" y="147188"/>
                  <a:pt x="2209679" y="158458"/>
                  <a:pt x="2209523" y="158458"/>
                </a:cubicBezTo>
                <a:cubicBezTo>
                  <a:pt x="2212524" y="158557"/>
                  <a:pt x="2232590" y="159654"/>
                  <a:pt x="2227884" y="165038"/>
                </a:cubicBezTo>
                <a:close/>
                <a:moveTo>
                  <a:pt x="2292172" y="158458"/>
                </a:moveTo>
                <a:cubicBezTo>
                  <a:pt x="2287828" y="183985"/>
                  <a:pt x="2269001" y="163942"/>
                  <a:pt x="2255451" y="165038"/>
                </a:cubicBezTo>
                <a:cubicBezTo>
                  <a:pt x="2261502" y="137417"/>
                  <a:pt x="2278466" y="175111"/>
                  <a:pt x="2292172" y="158458"/>
                </a:cubicBezTo>
                <a:close/>
                <a:moveTo>
                  <a:pt x="2356408" y="178002"/>
                </a:moveTo>
                <a:cubicBezTo>
                  <a:pt x="2354494" y="180794"/>
                  <a:pt x="2350926" y="161649"/>
                  <a:pt x="2347202" y="164939"/>
                </a:cubicBezTo>
                <a:cubicBezTo>
                  <a:pt x="2355063" y="142602"/>
                  <a:pt x="2359925" y="173016"/>
                  <a:pt x="2356408" y="178002"/>
                </a:cubicBezTo>
                <a:close/>
                <a:moveTo>
                  <a:pt x="2374888" y="141980"/>
                </a:moveTo>
                <a:cubicBezTo>
                  <a:pt x="2375858" y="142802"/>
                  <a:pt x="2376023" y="143874"/>
                  <a:pt x="2374769" y="145295"/>
                </a:cubicBezTo>
                <a:cubicBezTo>
                  <a:pt x="2368665" y="152274"/>
                  <a:pt x="2362149" y="139810"/>
                  <a:pt x="2361011" y="138713"/>
                </a:cubicBezTo>
                <a:cubicBezTo>
                  <a:pt x="2358891" y="136818"/>
                  <a:pt x="2353770" y="140806"/>
                  <a:pt x="2351805" y="138713"/>
                </a:cubicBezTo>
                <a:cubicBezTo>
                  <a:pt x="2352218" y="139211"/>
                  <a:pt x="2356667" y="125649"/>
                  <a:pt x="2356408" y="125649"/>
                </a:cubicBezTo>
                <a:cubicBezTo>
                  <a:pt x="2362666" y="124752"/>
                  <a:pt x="2357805" y="136518"/>
                  <a:pt x="2361011" y="138713"/>
                </a:cubicBezTo>
                <a:cubicBezTo>
                  <a:pt x="2361825" y="139311"/>
                  <a:pt x="2371979" y="139516"/>
                  <a:pt x="2374888" y="141980"/>
                </a:cubicBezTo>
                <a:close/>
                <a:moveTo>
                  <a:pt x="2440039" y="148001"/>
                </a:moveTo>
                <a:cubicBezTo>
                  <a:pt x="2433600" y="147968"/>
                  <a:pt x="2408309" y="141555"/>
                  <a:pt x="2397680" y="145295"/>
                </a:cubicBezTo>
                <a:cubicBezTo>
                  <a:pt x="2389095" y="115578"/>
                  <a:pt x="2415938" y="136419"/>
                  <a:pt x="2411438" y="112486"/>
                </a:cubicBezTo>
                <a:cubicBezTo>
                  <a:pt x="2417644" y="118968"/>
                  <a:pt x="2420593" y="130037"/>
                  <a:pt x="2425195" y="138713"/>
                </a:cubicBezTo>
                <a:cubicBezTo>
                  <a:pt x="2431712" y="138214"/>
                  <a:pt x="2438177" y="137615"/>
                  <a:pt x="2438953" y="145295"/>
                </a:cubicBezTo>
                <a:cubicBezTo>
                  <a:pt x="2442237" y="147314"/>
                  <a:pt x="2442185" y="148012"/>
                  <a:pt x="2440039" y="148001"/>
                </a:cubicBezTo>
                <a:close/>
                <a:moveTo>
                  <a:pt x="2443607" y="178102"/>
                </a:moveTo>
                <a:cubicBezTo>
                  <a:pt x="2446245" y="196350"/>
                  <a:pt x="2434660" y="183587"/>
                  <a:pt x="2429954" y="184783"/>
                </a:cubicBezTo>
                <a:cubicBezTo>
                  <a:pt x="2422196" y="186478"/>
                  <a:pt x="2419817" y="191963"/>
                  <a:pt x="2411593" y="191365"/>
                </a:cubicBezTo>
                <a:cubicBezTo>
                  <a:pt x="2412265" y="191365"/>
                  <a:pt x="2409783" y="184983"/>
                  <a:pt x="2406990" y="184783"/>
                </a:cubicBezTo>
                <a:cubicBezTo>
                  <a:pt x="2405748" y="184684"/>
                  <a:pt x="2403525" y="185382"/>
                  <a:pt x="2402387" y="184783"/>
                </a:cubicBezTo>
                <a:cubicBezTo>
                  <a:pt x="2401197" y="184085"/>
                  <a:pt x="2396387" y="178002"/>
                  <a:pt x="2397784" y="178201"/>
                </a:cubicBezTo>
                <a:cubicBezTo>
                  <a:pt x="2386044" y="176506"/>
                  <a:pt x="2384492" y="189869"/>
                  <a:pt x="2370217" y="178201"/>
                </a:cubicBezTo>
                <a:cubicBezTo>
                  <a:pt x="2370941" y="170523"/>
                  <a:pt x="2378544" y="172617"/>
                  <a:pt x="2383975" y="171620"/>
                </a:cubicBezTo>
                <a:cubicBezTo>
                  <a:pt x="2389250" y="166135"/>
                  <a:pt x="2396232" y="162945"/>
                  <a:pt x="2406887" y="165038"/>
                </a:cubicBezTo>
                <a:cubicBezTo>
                  <a:pt x="2405594" y="175609"/>
                  <a:pt x="2411231" y="176307"/>
                  <a:pt x="2411489" y="184684"/>
                </a:cubicBezTo>
                <a:cubicBezTo>
                  <a:pt x="2421316" y="179498"/>
                  <a:pt x="2437143" y="168729"/>
                  <a:pt x="2443607" y="178102"/>
                </a:cubicBezTo>
                <a:close/>
                <a:moveTo>
                  <a:pt x="2466520" y="184584"/>
                </a:moveTo>
                <a:cubicBezTo>
                  <a:pt x="2461193" y="202135"/>
                  <a:pt x="2442159" y="185182"/>
                  <a:pt x="2448159" y="164939"/>
                </a:cubicBezTo>
                <a:cubicBezTo>
                  <a:pt x="2466416" y="161448"/>
                  <a:pt x="2443194" y="188174"/>
                  <a:pt x="2466520" y="184584"/>
                </a:cubicBezTo>
                <a:close/>
                <a:moveTo>
                  <a:pt x="2471123" y="138812"/>
                </a:moveTo>
                <a:cubicBezTo>
                  <a:pt x="2466209" y="144896"/>
                  <a:pt x="2469674" y="162945"/>
                  <a:pt x="2457365" y="158458"/>
                </a:cubicBezTo>
                <a:cubicBezTo>
                  <a:pt x="2462278" y="152374"/>
                  <a:pt x="2458813" y="134325"/>
                  <a:pt x="2471123" y="138812"/>
                </a:cubicBezTo>
                <a:close/>
                <a:moveTo>
                  <a:pt x="2494086" y="125649"/>
                </a:moveTo>
                <a:cubicBezTo>
                  <a:pt x="2481984" y="127644"/>
                  <a:pt x="2479036" y="116574"/>
                  <a:pt x="2480329" y="99423"/>
                </a:cubicBezTo>
                <a:cubicBezTo>
                  <a:pt x="2487000" y="105207"/>
                  <a:pt x="2498069" y="104708"/>
                  <a:pt x="2494086" y="125649"/>
                </a:cubicBezTo>
                <a:close/>
                <a:moveTo>
                  <a:pt x="2507844" y="184584"/>
                </a:moveTo>
                <a:cubicBezTo>
                  <a:pt x="2503913" y="194356"/>
                  <a:pt x="2496310" y="198744"/>
                  <a:pt x="2484880" y="197646"/>
                </a:cubicBezTo>
                <a:cubicBezTo>
                  <a:pt x="2480174" y="175708"/>
                  <a:pt x="2499155" y="187476"/>
                  <a:pt x="2507844" y="184584"/>
                </a:cubicBezTo>
                <a:close/>
                <a:moveTo>
                  <a:pt x="2512447" y="138812"/>
                </a:moveTo>
                <a:cubicBezTo>
                  <a:pt x="2507017" y="150679"/>
                  <a:pt x="2488500" y="143898"/>
                  <a:pt x="2480329" y="151875"/>
                </a:cubicBezTo>
                <a:cubicBezTo>
                  <a:pt x="2476657" y="127046"/>
                  <a:pt x="2502051" y="143598"/>
                  <a:pt x="2512447" y="138812"/>
                </a:cubicBezTo>
                <a:close/>
                <a:moveTo>
                  <a:pt x="2558322" y="236936"/>
                </a:moveTo>
                <a:cubicBezTo>
                  <a:pt x="2551443" y="252194"/>
                  <a:pt x="2547099" y="247009"/>
                  <a:pt x="2535359" y="243518"/>
                </a:cubicBezTo>
                <a:cubicBezTo>
                  <a:pt x="2540996" y="234144"/>
                  <a:pt x="2552891" y="228661"/>
                  <a:pt x="2558322" y="236936"/>
                </a:cubicBezTo>
                <a:close/>
                <a:moveTo>
                  <a:pt x="2575219" y="141798"/>
                </a:moveTo>
                <a:cubicBezTo>
                  <a:pt x="2576987" y="148585"/>
                  <a:pt x="2563197" y="163618"/>
                  <a:pt x="2553771" y="158458"/>
                </a:cubicBezTo>
                <a:cubicBezTo>
                  <a:pt x="2549323" y="158557"/>
                  <a:pt x="2550202" y="166435"/>
                  <a:pt x="2549168" y="171521"/>
                </a:cubicBezTo>
                <a:cubicBezTo>
                  <a:pt x="2542910" y="169426"/>
                  <a:pt x="2545341" y="155066"/>
                  <a:pt x="2544565" y="145295"/>
                </a:cubicBezTo>
                <a:cubicBezTo>
                  <a:pt x="2556254" y="138114"/>
                  <a:pt x="2568201" y="167731"/>
                  <a:pt x="2567528" y="138812"/>
                </a:cubicBezTo>
                <a:cubicBezTo>
                  <a:pt x="2572312" y="138189"/>
                  <a:pt x="2574630" y="139535"/>
                  <a:pt x="2575219" y="141798"/>
                </a:cubicBezTo>
                <a:close/>
                <a:moveTo>
                  <a:pt x="2576683" y="197747"/>
                </a:moveTo>
                <a:cubicBezTo>
                  <a:pt x="2577459" y="211907"/>
                  <a:pt x="2560391" y="200639"/>
                  <a:pt x="2553771" y="204328"/>
                </a:cubicBezTo>
                <a:cubicBezTo>
                  <a:pt x="2554495" y="196650"/>
                  <a:pt x="2562149" y="198744"/>
                  <a:pt x="2567528" y="197747"/>
                </a:cubicBezTo>
                <a:cubicBezTo>
                  <a:pt x="2567528" y="193459"/>
                  <a:pt x="2567528" y="189071"/>
                  <a:pt x="2567528" y="184684"/>
                </a:cubicBezTo>
                <a:cubicBezTo>
                  <a:pt x="2572494" y="186279"/>
                  <a:pt x="2570632" y="197646"/>
                  <a:pt x="2576683" y="197747"/>
                </a:cubicBezTo>
                <a:close/>
                <a:moveTo>
                  <a:pt x="2595354" y="248904"/>
                </a:moveTo>
                <a:lnTo>
                  <a:pt x="2589509" y="248904"/>
                </a:lnTo>
                <a:cubicBezTo>
                  <a:pt x="2585475" y="246809"/>
                  <a:pt x="2582993" y="242421"/>
                  <a:pt x="2576683" y="243518"/>
                </a:cubicBezTo>
                <a:cubicBezTo>
                  <a:pt x="2575286" y="232250"/>
                  <a:pt x="2601146" y="231951"/>
                  <a:pt x="2595354" y="248904"/>
                </a:cubicBezTo>
                <a:close/>
                <a:moveTo>
                  <a:pt x="2636174" y="196429"/>
                </a:moveTo>
                <a:cubicBezTo>
                  <a:pt x="2635388" y="196195"/>
                  <a:pt x="2621976" y="183985"/>
                  <a:pt x="2622558" y="197747"/>
                </a:cubicBezTo>
                <a:cubicBezTo>
                  <a:pt x="2605180" y="194057"/>
                  <a:pt x="2632540" y="171122"/>
                  <a:pt x="2631765" y="191265"/>
                </a:cubicBezTo>
                <a:cubicBezTo>
                  <a:pt x="2635295" y="195254"/>
                  <a:pt x="2636436" y="196507"/>
                  <a:pt x="2636174" y="196429"/>
                </a:cubicBezTo>
                <a:close/>
                <a:moveTo>
                  <a:pt x="2636368" y="243518"/>
                </a:moveTo>
                <a:cubicBezTo>
                  <a:pt x="2636005" y="246211"/>
                  <a:pt x="2634816" y="247807"/>
                  <a:pt x="2633420" y="248904"/>
                </a:cubicBezTo>
                <a:lnTo>
                  <a:pt x="2604663" y="248904"/>
                </a:lnTo>
                <a:cubicBezTo>
                  <a:pt x="2607715" y="236438"/>
                  <a:pt x="2627161" y="247308"/>
                  <a:pt x="2636368" y="243518"/>
                </a:cubicBezTo>
                <a:close/>
                <a:moveTo>
                  <a:pt x="2643257" y="149324"/>
                </a:moveTo>
                <a:cubicBezTo>
                  <a:pt x="2644129" y="151489"/>
                  <a:pt x="2643686" y="154519"/>
                  <a:pt x="2640919" y="158458"/>
                </a:cubicBezTo>
                <a:cubicBezTo>
                  <a:pt x="2642677" y="155964"/>
                  <a:pt x="2627110" y="151377"/>
                  <a:pt x="2627161" y="151875"/>
                </a:cubicBezTo>
                <a:cubicBezTo>
                  <a:pt x="2626192" y="144098"/>
                  <a:pt x="2640641" y="142826"/>
                  <a:pt x="2643257" y="149324"/>
                </a:cubicBezTo>
                <a:close/>
                <a:moveTo>
                  <a:pt x="2645522" y="132231"/>
                </a:moveTo>
                <a:cubicBezTo>
                  <a:pt x="2641849" y="126647"/>
                  <a:pt x="2632954" y="128342"/>
                  <a:pt x="2631765" y="119168"/>
                </a:cubicBezTo>
                <a:cubicBezTo>
                  <a:pt x="2627110" y="123355"/>
                  <a:pt x="2627006" y="134226"/>
                  <a:pt x="2618007" y="132231"/>
                </a:cubicBezTo>
                <a:cubicBezTo>
                  <a:pt x="2614077" y="103312"/>
                  <a:pt x="2647746" y="108996"/>
                  <a:pt x="2645522" y="132231"/>
                </a:cubicBezTo>
                <a:close/>
                <a:moveTo>
                  <a:pt x="2673037" y="204229"/>
                </a:moveTo>
                <a:cubicBezTo>
                  <a:pt x="2666417" y="229059"/>
                  <a:pt x="2623075" y="216195"/>
                  <a:pt x="2608801" y="210710"/>
                </a:cubicBezTo>
                <a:cubicBezTo>
                  <a:pt x="2607197" y="206423"/>
                  <a:pt x="2620231" y="200837"/>
                  <a:pt x="2622558" y="204229"/>
                </a:cubicBezTo>
                <a:cubicBezTo>
                  <a:pt x="2627886" y="211807"/>
                  <a:pt x="2623282" y="205326"/>
                  <a:pt x="2627161" y="204229"/>
                </a:cubicBezTo>
                <a:cubicBezTo>
                  <a:pt x="2631196" y="203032"/>
                  <a:pt x="2631919" y="210710"/>
                  <a:pt x="2631765" y="210710"/>
                </a:cubicBezTo>
                <a:cubicBezTo>
                  <a:pt x="2635436" y="209813"/>
                  <a:pt x="2636368" y="203830"/>
                  <a:pt x="2640919" y="204229"/>
                </a:cubicBezTo>
                <a:cubicBezTo>
                  <a:pt x="2648522" y="204927"/>
                  <a:pt x="2659538" y="221979"/>
                  <a:pt x="2659279" y="197646"/>
                </a:cubicBezTo>
                <a:cubicBezTo>
                  <a:pt x="2662951" y="201137"/>
                  <a:pt x="2666727" y="204528"/>
                  <a:pt x="2673037" y="204229"/>
                </a:cubicBezTo>
                <a:close/>
                <a:moveTo>
                  <a:pt x="2691397" y="119168"/>
                </a:moveTo>
                <a:cubicBezTo>
                  <a:pt x="2692329" y="137615"/>
                  <a:pt x="2657107" y="117372"/>
                  <a:pt x="2682243" y="119168"/>
                </a:cubicBezTo>
                <a:cubicBezTo>
                  <a:pt x="2685295" y="119168"/>
                  <a:pt x="2688346" y="119168"/>
                  <a:pt x="2691397" y="119168"/>
                </a:cubicBezTo>
                <a:close/>
                <a:moveTo>
                  <a:pt x="2723515" y="145295"/>
                </a:moveTo>
                <a:cubicBezTo>
                  <a:pt x="2713637" y="157061"/>
                  <a:pt x="2702465" y="156862"/>
                  <a:pt x="2691397" y="151776"/>
                </a:cubicBezTo>
                <a:cubicBezTo>
                  <a:pt x="2699672" y="131533"/>
                  <a:pt x="2705465" y="148286"/>
                  <a:pt x="2723515" y="145295"/>
                </a:cubicBezTo>
                <a:close/>
                <a:moveTo>
                  <a:pt x="2741876" y="164939"/>
                </a:moveTo>
                <a:cubicBezTo>
                  <a:pt x="2742807" y="183388"/>
                  <a:pt x="2707586" y="163143"/>
                  <a:pt x="2732722" y="164939"/>
                </a:cubicBezTo>
                <a:cubicBezTo>
                  <a:pt x="2735773" y="164939"/>
                  <a:pt x="2738825" y="164939"/>
                  <a:pt x="2741876" y="164939"/>
                </a:cubicBezTo>
                <a:close/>
                <a:moveTo>
                  <a:pt x="2778597" y="145295"/>
                </a:moveTo>
                <a:cubicBezTo>
                  <a:pt x="2773270" y="144297"/>
                  <a:pt x="2770425" y="146789"/>
                  <a:pt x="2769391" y="151776"/>
                </a:cubicBezTo>
                <a:cubicBezTo>
                  <a:pt x="2752789" y="156563"/>
                  <a:pt x="2752789" y="140507"/>
                  <a:pt x="2769391" y="145295"/>
                </a:cubicBezTo>
                <a:cubicBezTo>
                  <a:pt x="2768563" y="139709"/>
                  <a:pt x="2771201" y="139111"/>
                  <a:pt x="2773994" y="138713"/>
                </a:cubicBezTo>
                <a:cubicBezTo>
                  <a:pt x="2777924" y="137516"/>
                  <a:pt x="2778339" y="141305"/>
                  <a:pt x="2778597" y="145295"/>
                </a:cubicBezTo>
                <a:close/>
                <a:moveTo>
                  <a:pt x="2810715" y="138812"/>
                </a:moveTo>
                <a:cubicBezTo>
                  <a:pt x="2811025" y="157261"/>
                  <a:pt x="2787183" y="150879"/>
                  <a:pt x="2787751" y="132231"/>
                </a:cubicBezTo>
                <a:cubicBezTo>
                  <a:pt x="2793078" y="137715"/>
                  <a:pt x="2800061" y="140906"/>
                  <a:pt x="2810715" y="138812"/>
                </a:cubicBezTo>
                <a:close/>
                <a:moveTo>
                  <a:pt x="2829076" y="92942"/>
                </a:moveTo>
                <a:cubicBezTo>
                  <a:pt x="2833627" y="97429"/>
                  <a:pt x="2815525" y="99223"/>
                  <a:pt x="2815318" y="99522"/>
                </a:cubicBezTo>
                <a:cubicBezTo>
                  <a:pt x="2810922" y="105805"/>
                  <a:pt x="2811232" y="99522"/>
                  <a:pt x="2801560" y="99522"/>
                </a:cubicBezTo>
                <a:cubicBezTo>
                  <a:pt x="2797734" y="92841"/>
                  <a:pt x="2822766" y="86659"/>
                  <a:pt x="2829076" y="92942"/>
                </a:cubicBezTo>
                <a:close/>
                <a:moveTo>
                  <a:pt x="2878397" y="114767"/>
                </a:moveTo>
                <a:cubicBezTo>
                  <a:pt x="2880252" y="117422"/>
                  <a:pt x="2878675" y="120414"/>
                  <a:pt x="2870400" y="119067"/>
                </a:cubicBezTo>
                <a:cubicBezTo>
                  <a:pt x="2869055" y="119267"/>
                  <a:pt x="2859901" y="130237"/>
                  <a:pt x="2856642" y="125649"/>
                </a:cubicBezTo>
                <a:cubicBezTo>
                  <a:pt x="2854729" y="122956"/>
                  <a:pt x="2868124" y="117870"/>
                  <a:pt x="2865796" y="112486"/>
                </a:cubicBezTo>
                <a:cubicBezTo>
                  <a:pt x="2871253" y="109794"/>
                  <a:pt x="2876541" y="112112"/>
                  <a:pt x="2878397" y="114767"/>
                </a:cubicBezTo>
                <a:close/>
                <a:moveTo>
                  <a:pt x="2884158" y="158458"/>
                </a:moveTo>
                <a:cubicBezTo>
                  <a:pt x="2882554" y="160750"/>
                  <a:pt x="2855659" y="133527"/>
                  <a:pt x="2838230" y="145493"/>
                </a:cubicBezTo>
                <a:cubicBezTo>
                  <a:pt x="2833989" y="127544"/>
                  <a:pt x="2856332" y="147388"/>
                  <a:pt x="2861194" y="138911"/>
                </a:cubicBezTo>
                <a:cubicBezTo>
                  <a:pt x="2861400" y="138513"/>
                  <a:pt x="2861038" y="132331"/>
                  <a:pt x="2861194" y="132331"/>
                </a:cubicBezTo>
                <a:cubicBezTo>
                  <a:pt x="2868280" y="132529"/>
                  <a:pt x="2877227" y="142801"/>
                  <a:pt x="2884158" y="145394"/>
                </a:cubicBezTo>
                <a:cubicBezTo>
                  <a:pt x="2882968" y="148087"/>
                  <a:pt x="2885709" y="156263"/>
                  <a:pt x="2884158" y="158458"/>
                </a:cubicBezTo>
                <a:close/>
                <a:moveTo>
                  <a:pt x="2925482" y="92942"/>
                </a:moveTo>
                <a:cubicBezTo>
                  <a:pt x="2926412" y="111389"/>
                  <a:pt x="2891191" y="91146"/>
                  <a:pt x="2916327" y="92942"/>
                </a:cubicBezTo>
                <a:cubicBezTo>
                  <a:pt x="2919379" y="92942"/>
                  <a:pt x="2922430" y="92942"/>
                  <a:pt x="2925482" y="92942"/>
                </a:cubicBezTo>
                <a:close/>
                <a:moveTo>
                  <a:pt x="2939239" y="164939"/>
                </a:moveTo>
                <a:cubicBezTo>
                  <a:pt x="2938618" y="164141"/>
                  <a:pt x="2926309" y="164241"/>
                  <a:pt x="2925482" y="164939"/>
                </a:cubicBezTo>
                <a:cubicBezTo>
                  <a:pt x="2911465" y="176506"/>
                  <a:pt x="2947721" y="177004"/>
                  <a:pt x="2939239" y="164939"/>
                </a:cubicBezTo>
                <a:close/>
                <a:moveTo>
                  <a:pt x="2966418" y="172328"/>
                </a:moveTo>
                <a:cubicBezTo>
                  <a:pt x="2966686" y="169788"/>
                  <a:pt x="2965513" y="167208"/>
                  <a:pt x="2962203" y="164939"/>
                </a:cubicBezTo>
                <a:cubicBezTo>
                  <a:pt x="2954548" y="180296"/>
                  <a:pt x="2962616" y="162546"/>
                  <a:pt x="2962203" y="151875"/>
                </a:cubicBezTo>
                <a:cubicBezTo>
                  <a:pt x="2947462" y="150480"/>
                  <a:pt x="2951031" y="175210"/>
                  <a:pt x="2943842" y="184584"/>
                </a:cubicBezTo>
                <a:cubicBezTo>
                  <a:pt x="2951832" y="187201"/>
                  <a:pt x="2965613" y="179947"/>
                  <a:pt x="2966418" y="172328"/>
                </a:cubicBezTo>
                <a:close/>
                <a:moveTo>
                  <a:pt x="3012630" y="151875"/>
                </a:moveTo>
                <a:cubicBezTo>
                  <a:pt x="3012630" y="147488"/>
                  <a:pt x="3012630" y="143200"/>
                  <a:pt x="3012630" y="138812"/>
                </a:cubicBezTo>
                <a:cubicBezTo>
                  <a:pt x="3005440" y="139411"/>
                  <a:pt x="2996752" y="137915"/>
                  <a:pt x="2998872" y="151875"/>
                </a:cubicBezTo>
                <a:cubicBezTo>
                  <a:pt x="3003475" y="151875"/>
                  <a:pt x="3008078" y="151875"/>
                  <a:pt x="3012630" y="151875"/>
                </a:cubicBezTo>
                <a:close/>
                <a:moveTo>
                  <a:pt x="3031041" y="178102"/>
                </a:moveTo>
                <a:cubicBezTo>
                  <a:pt x="3032387" y="165238"/>
                  <a:pt x="3024835" y="165139"/>
                  <a:pt x="3021887" y="158458"/>
                </a:cubicBezTo>
                <a:cubicBezTo>
                  <a:pt x="3020853" y="153372"/>
                  <a:pt x="3021732" y="145593"/>
                  <a:pt x="3017285" y="145394"/>
                </a:cubicBezTo>
                <a:cubicBezTo>
                  <a:pt x="3021060" y="163842"/>
                  <a:pt x="3010819" y="162346"/>
                  <a:pt x="3012681" y="178102"/>
                </a:cubicBezTo>
                <a:cubicBezTo>
                  <a:pt x="3018784" y="178102"/>
                  <a:pt x="3024887" y="178102"/>
                  <a:pt x="3031041" y="178102"/>
                </a:cubicBezTo>
                <a:close/>
                <a:moveTo>
                  <a:pt x="3031041" y="236936"/>
                </a:moveTo>
                <a:cubicBezTo>
                  <a:pt x="3029386" y="240526"/>
                  <a:pt x="3027835" y="244217"/>
                  <a:pt x="3027111" y="248904"/>
                </a:cubicBezTo>
                <a:lnTo>
                  <a:pt x="2893571" y="248904"/>
                </a:lnTo>
                <a:cubicBezTo>
                  <a:pt x="2890053" y="247308"/>
                  <a:pt x="2888760" y="244316"/>
                  <a:pt x="2884261" y="243518"/>
                </a:cubicBezTo>
                <a:cubicBezTo>
                  <a:pt x="2885088" y="243618"/>
                  <a:pt x="2884261" y="246709"/>
                  <a:pt x="2882968" y="248904"/>
                </a:cubicBezTo>
                <a:lnTo>
                  <a:pt x="2879606" y="248904"/>
                </a:lnTo>
                <a:cubicBezTo>
                  <a:pt x="2879606" y="247108"/>
                  <a:pt x="2879968" y="243618"/>
                  <a:pt x="2879658" y="243518"/>
                </a:cubicBezTo>
                <a:cubicBezTo>
                  <a:pt x="2872313" y="240627"/>
                  <a:pt x="2856591" y="250398"/>
                  <a:pt x="2861297" y="230455"/>
                </a:cubicBezTo>
                <a:cubicBezTo>
                  <a:pt x="2869986" y="229857"/>
                  <a:pt x="2908517" y="250698"/>
                  <a:pt x="2916379" y="236936"/>
                </a:cubicBezTo>
                <a:cubicBezTo>
                  <a:pt x="2921499" y="227962"/>
                  <a:pt x="2918292" y="239329"/>
                  <a:pt x="2925533" y="236936"/>
                </a:cubicBezTo>
                <a:cubicBezTo>
                  <a:pt x="2926464" y="236737"/>
                  <a:pt x="2926154" y="230754"/>
                  <a:pt x="2930136" y="230455"/>
                </a:cubicBezTo>
                <a:cubicBezTo>
                  <a:pt x="2935412" y="230056"/>
                  <a:pt x="2938360" y="230155"/>
                  <a:pt x="2939290" y="223874"/>
                </a:cubicBezTo>
                <a:cubicBezTo>
                  <a:pt x="2953514" y="223176"/>
                  <a:pt x="2952376" y="244516"/>
                  <a:pt x="2971409" y="236936"/>
                </a:cubicBezTo>
                <a:cubicBezTo>
                  <a:pt x="2972702" y="226367"/>
                  <a:pt x="2967064" y="225668"/>
                  <a:pt x="2966805" y="217292"/>
                </a:cubicBezTo>
                <a:cubicBezTo>
                  <a:pt x="2968719" y="200837"/>
                  <a:pt x="2976684" y="228161"/>
                  <a:pt x="2975960" y="236936"/>
                </a:cubicBezTo>
                <a:cubicBezTo>
                  <a:pt x="2999493" y="240228"/>
                  <a:pt x="3006992" y="247408"/>
                  <a:pt x="3031041" y="236936"/>
                </a:cubicBezTo>
                <a:close/>
                <a:moveTo>
                  <a:pt x="3095226" y="125649"/>
                </a:moveTo>
                <a:cubicBezTo>
                  <a:pt x="3093209" y="147986"/>
                  <a:pt x="3067245" y="159454"/>
                  <a:pt x="3053954" y="145295"/>
                </a:cubicBezTo>
                <a:cubicBezTo>
                  <a:pt x="3056385" y="140108"/>
                  <a:pt x="3058764" y="134724"/>
                  <a:pt x="3058505" y="125649"/>
                </a:cubicBezTo>
                <a:cubicBezTo>
                  <a:pt x="3063884" y="126647"/>
                  <a:pt x="3062384" y="137615"/>
                  <a:pt x="3063108" y="145295"/>
                </a:cubicBezTo>
                <a:cubicBezTo>
                  <a:pt x="3071590" y="148486"/>
                  <a:pt x="3068849" y="128940"/>
                  <a:pt x="3072314" y="125649"/>
                </a:cubicBezTo>
                <a:cubicBezTo>
                  <a:pt x="3073038" y="124951"/>
                  <a:pt x="3082606" y="132331"/>
                  <a:pt x="3095226" y="125649"/>
                </a:cubicBezTo>
                <a:close/>
                <a:moveTo>
                  <a:pt x="3127395" y="138713"/>
                </a:moveTo>
                <a:cubicBezTo>
                  <a:pt x="3125999" y="147587"/>
                  <a:pt x="3115914" y="144197"/>
                  <a:pt x="3109035" y="145295"/>
                </a:cubicBezTo>
                <a:cubicBezTo>
                  <a:pt x="3110329" y="130136"/>
                  <a:pt x="3121293" y="130237"/>
                  <a:pt x="3127395" y="138713"/>
                </a:cubicBezTo>
                <a:close/>
                <a:moveTo>
                  <a:pt x="3164117" y="158458"/>
                </a:moveTo>
                <a:cubicBezTo>
                  <a:pt x="3164375" y="147188"/>
                  <a:pt x="3160600" y="141703"/>
                  <a:pt x="3154962" y="138812"/>
                </a:cubicBezTo>
                <a:cubicBezTo>
                  <a:pt x="3154962" y="145394"/>
                  <a:pt x="3151238" y="146591"/>
                  <a:pt x="3150359" y="151875"/>
                </a:cubicBezTo>
                <a:cubicBezTo>
                  <a:pt x="3156256" y="152274"/>
                  <a:pt x="3156721" y="160252"/>
                  <a:pt x="3164117" y="158458"/>
                </a:cubicBezTo>
                <a:close/>
                <a:moveTo>
                  <a:pt x="3191684" y="197747"/>
                </a:moveTo>
                <a:cubicBezTo>
                  <a:pt x="3190236" y="206622"/>
                  <a:pt x="3180150" y="203131"/>
                  <a:pt x="3173323" y="204328"/>
                </a:cubicBezTo>
                <a:cubicBezTo>
                  <a:pt x="3173426" y="197946"/>
                  <a:pt x="3178909" y="199242"/>
                  <a:pt x="3182477" y="197747"/>
                </a:cubicBezTo>
                <a:cubicBezTo>
                  <a:pt x="3185581" y="197747"/>
                  <a:pt x="3188581" y="197747"/>
                  <a:pt x="3191684" y="197747"/>
                </a:cubicBezTo>
                <a:close/>
                <a:moveTo>
                  <a:pt x="3214595" y="92942"/>
                </a:moveTo>
                <a:cubicBezTo>
                  <a:pt x="3211544" y="92942"/>
                  <a:pt x="3208492" y="92942"/>
                  <a:pt x="3205441" y="92942"/>
                </a:cubicBezTo>
                <a:cubicBezTo>
                  <a:pt x="3205441" y="88554"/>
                  <a:pt x="3205441" y="84266"/>
                  <a:pt x="3205441" y="79878"/>
                </a:cubicBezTo>
                <a:cubicBezTo>
                  <a:pt x="3208492" y="79878"/>
                  <a:pt x="3211544" y="79878"/>
                  <a:pt x="3214595" y="79878"/>
                </a:cubicBezTo>
                <a:cubicBezTo>
                  <a:pt x="3214595" y="84165"/>
                  <a:pt x="3214595" y="88554"/>
                  <a:pt x="3214595" y="92942"/>
                </a:cubicBezTo>
                <a:close/>
                <a:moveTo>
                  <a:pt x="3242162" y="204328"/>
                </a:moveTo>
                <a:cubicBezTo>
                  <a:pt x="3230991" y="200040"/>
                  <a:pt x="3218526" y="191066"/>
                  <a:pt x="3219198" y="217391"/>
                </a:cubicBezTo>
                <a:cubicBezTo>
                  <a:pt x="3227370" y="213802"/>
                  <a:pt x="3238283" y="214002"/>
                  <a:pt x="3242162" y="204328"/>
                </a:cubicBezTo>
                <a:close/>
                <a:moveTo>
                  <a:pt x="3315553" y="249003"/>
                </a:moveTo>
                <a:lnTo>
                  <a:pt x="3304692" y="249003"/>
                </a:lnTo>
                <a:cubicBezTo>
                  <a:pt x="3306708" y="245014"/>
                  <a:pt x="3309087" y="241425"/>
                  <a:pt x="3315553" y="243618"/>
                </a:cubicBezTo>
                <a:cubicBezTo>
                  <a:pt x="3315501" y="245812"/>
                  <a:pt x="3315501" y="247507"/>
                  <a:pt x="3315553" y="249003"/>
                </a:cubicBezTo>
                <a:close/>
                <a:moveTo>
                  <a:pt x="3333913" y="86459"/>
                </a:moveTo>
                <a:cubicBezTo>
                  <a:pt x="3333448" y="76088"/>
                  <a:pt x="3334534" y="63723"/>
                  <a:pt x="3324759" y="66815"/>
                </a:cubicBezTo>
                <a:cubicBezTo>
                  <a:pt x="3324965" y="75789"/>
                  <a:pt x="3322587" y="81174"/>
                  <a:pt x="3320156" y="86459"/>
                </a:cubicBezTo>
                <a:cubicBezTo>
                  <a:pt x="3324759" y="86459"/>
                  <a:pt x="3329310" y="86459"/>
                  <a:pt x="3333913" y="86459"/>
                </a:cubicBezTo>
                <a:close/>
                <a:moveTo>
                  <a:pt x="3341309" y="249003"/>
                </a:moveTo>
                <a:lnTo>
                  <a:pt x="3329310" y="249003"/>
                </a:lnTo>
                <a:cubicBezTo>
                  <a:pt x="3330396" y="238133"/>
                  <a:pt x="3337482" y="245912"/>
                  <a:pt x="3341309" y="249003"/>
                </a:cubicBezTo>
                <a:close/>
                <a:moveTo>
                  <a:pt x="3352274" y="249003"/>
                </a:moveTo>
                <a:lnTo>
                  <a:pt x="3345912" y="249003"/>
                </a:lnTo>
                <a:cubicBezTo>
                  <a:pt x="3347153" y="247207"/>
                  <a:pt x="3346895" y="243818"/>
                  <a:pt x="3347671" y="243618"/>
                </a:cubicBezTo>
                <a:cubicBezTo>
                  <a:pt x="3350256" y="242820"/>
                  <a:pt x="3351911" y="246909"/>
                  <a:pt x="3352274" y="249003"/>
                </a:cubicBezTo>
                <a:close/>
                <a:moveTo>
                  <a:pt x="3357474" y="58640"/>
                </a:moveTo>
                <a:cubicBezTo>
                  <a:pt x="3357766" y="55988"/>
                  <a:pt x="3356515" y="52130"/>
                  <a:pt x="3352274" y="47169"/>
                </a:cubicBezTo>
                <a:cubicBezTo>
                  <a:pt x="3341839" y="63698"/>
                  <a:pt x="3356599" y="66596"/>
                  <a:pt x="3357474" y="58640"/>
                </a:cubicBezTo>
                <a:close/>
                <a:moveTo>
                  <a:pt x="3375754" y="249003"/>
                </a:moveTo>
                <a:lnTo>
                  <a:pt x="3356567" y="249003"/>
                </a:lnTo>
                <a:cubicBezTo>
                  <a:pt x="3362411" y="246709"/>
                  <a:pt x="3366859" y="241723"/>
                  <a:pt x="3375237" y="243618"/>
                </a:cubicBezTo>
                <a:cubicBezTo>
                  <a:pt x="3375341" y="245413"/>
                  <a:pt x="3375496" y="247308"/>
                  <a:pt x="3375754" y="249003"/>
                </a:cubicBezTo>
                <a:close/>
                <a:moveTo>
                  <a:pt x="3385245" y="168242"/>
                </a:moveTo>
                <a:cubicBezTo>
                  <a:pt x="3385245" y="160925"/>
                  <a:pt x="3381909" y="153621"/>
                  <a:pt x="3375237" y="158458"/>
                </a:cubicBezTo>
                <a:cubicBezTo>
                  <a:pt x="3375237" y="165038"/>
                  <a:pt x="3375237" y="171521"/>
                  <a:pt x="3375237" y="178102"/>
                </a:cubicBezTo>
                <a:cubicBezTo>
                  <a:pt x="3381909" y="182889"/>
                  <a:pt x="3385245" y="175559"/>
                  <a:pt x="3385245" y="168242"/>
                </a:cubicBezTo>
                <a:close/>
                <a:moveTo>
                  <a:pt x="3419613" y="249003"/>
                </a:moveTo>
                <a:lnTo>
                  <a:pt x="3404925" y="249003"/>
                </a:lnTo>
                <a:cubicBezTo>
                  <a:pt x="3408390" y="246610"/>
                  <a:pt x="3412114" y="244316"/>
                  <a:pt x="3416510" y="243618"/>
                </a:cubicBezTo>
                <a:cubicBezTo>
                  <a:pt x="3414906" y="243818"/>
                  <a:pt x="3417647" y="247207"/>
                  <a:pt x="3419613" y="249003"/>
                </a:cubicBezTo>
                <a:close/>
                <a:moveTo>
                  <a:pt x="3430267" y="184584"/>
                </a:moveTo>
                <a:cubicBezTo>
                  <a:pt x="3430267" y="175909"/>
                  <a:pt x="3430267" y="167133"/>
                  <a:pt x="3430267" y="158357"/>
                </a:cubicBezTo>
                <a:cubicBezTo>
                  <a:pt x="3415527" y="163842"/>
                  <a:pt x="3420751" y="163942"/>
                  <a:pt x="3411907" y="151776"/>
                </a:cubicBezTo>
                <a:cubicBezTo>
                  <a:pt x="3413872" y="169825"/>
                  <a:pt x="3394788" y="157958"/>
                  <a:pt x="3393546" y="171420"/>
                </a:cubicBezTo>
                <a:cubicBezTo>
                  <a:pt x="3399856" y="171122"/>
                  <a:pt x="3403632" y="174512"/>
                  <a:pt x="3407356" y="178002"/>
                </a:cubicBezTo>
                <a:cubicBezTo>
                  <a:pt x="3405441" y="154368"/>
                  <a:pt x="3415734" y="169027"/>
                  <a:pt x="3411907" y="184584"/>
                </a:cubicBezTo>
                <a:cubicBezTo>
                  <a:pt x="3418062" y="184584"/>
                  <a:pt x="3424164" y="184584"/>
                  <a:pt x="3430267" y="184584"/>
                </a:cubicBezTo>
                <a:close/>
                <a:moveTo>
                  <a:pt x="3434870" y="40588"/>
                </a:moveTo>
                <a:cubicBezTo>
                  <a:pt x="3402080" y="37098"/>
                  <a:pt x="3381651" y="50560"/>
                  <a:pt x="3366031" y="40588"/>
                </a:cubicBezTo>
                <a:cubicBezTo>
                  <a:pt x="3362204" y="48167"/>
                  <a:pt x="3359980" y="58139"/>
                  <a:pt x="3361428" y="73296"/>
                </a:cubicBezTo>
                <a:cubicBezTo>
                  <a:pt x="3356049" y="74294"/>
                  <a:pt x="3348395" y="72199"/>
                  <a:pt x="3347671" y="79878"/>
                </a:cubicBezTo>
                <a:cubicBezTo>
                  <a:pt x="3353515" y="80176"/>
                  <a:pt x="3354032" y="88254"/>
                  <a:pt x="3361428" y="86459"/>
                </a:cubicBezTo>
                <a:cubicBezTo>
                  <a:pt x="3369031" y="86359"/>
                  <a:pt x="3364014" y="68311"/>
                  <a:pt x="3370634" y="66815"/>
                </a:cubicBezTo>
                <a:cubicBezTo>
                  <a:pt x="3367220" y="86958"/>
                  <a:pt x="3383202" y="79379"/>
                  <a:pt x="3379788" y="99522"/>
                </a:cubicBezTo>
                <a:cubicBezTo>
                  <a:pt x="3371772" y="100021"/>
                  <a:pt x="3365514" y="98026"/>
                  <a:pt x="3361428" y="92942"/>
                </a:cubicBezTo>
                <a:cubicBezTo>
                  <a:pt x="3365359" y="113782"/>
                  <a:pt x="3357446" y="117771"/>
                  <a:pt x="3352274" y="125649"/>
                </a:cubicBezTo>
                <a:cubicBezTo>
                  <a:pt x="3375030" y="136319"/>
                  <a:pt x="3366910" y="102913"/>
                  <a:pt x="3384392" y="106005"/>
                </a:cubicBezTo>
                <a:cubicBezTo>
                  <a:pt x="3399132" y="114181"/>
                  <a:pt x="3395408" y="130336"/>
                  <a:pt x="3407356" y="132231"/>
                </a:cubicBezTo>
                <a:cubicBezTo>
                  <a:pt x="3406580" y="132131"/>
                  <a:pt x="3411752" y="119466"/>
                  <a:pt x="3411907" y="119168"/>
                </a:cubicBezTo>
                <a:cubicBezTo>
                  <a:pt x="3421372" y="105706"/>
                  <a:pt x="3419406" y="123157"/>
                  <a:pt x="3430267" y="119168"/>
                </a:cubicBezTo>
                <a:cubicBezTo>
                  <a:pt x="3430267" y="103910"/>
                  <a:pt x="3430267" y="88653"/>
                  <a:pt x="3430267" y="73296"/>
                </a:cubicBezTo>
                <a:cubicBezTo>
                  <a:pt x="3418888" y="74294"/>
                  <a:pt x="3408028" y="74493"/>
                  <a:pt x="3407356" y="60233"/>
                </a:cubicBezTo>
                <a:cubicBezTo>
                  <a:pt x="3421268" y="60532"/>
                  <a:pt x="3437559" y="64023"/>
                  <a:pt x="3434870" y="40588"/>
                </a:cubicBezTo>
                <a:close/>
                <a:moveTo>
                  <a:pt x="3443300" y="249003"/>
                </a:moveTo>
                <a:lnTo>
                  <a:pt x="3432491" y="249003"/>
                </a:lnTo>
                <a:cubicBezTo>
                  <a:pt x="3436887" y="245513"/>
                  <a:pt x="3437870" y="240127"/>
                  <a:pt x="3443300" y="249003"/>
                </a:cubicBezTo>
                <a:close/>
                <a:moveTo>
                  <a:pt x="3448679" y="53751"/>
                </a:moveTo>
                <a:cubicBezTo>
                  <a:pt x="3448162" y="45774"/>
                  <a:pt x="3447283" y="38295"/>
                  <a:pt x="3439474" y="40688"/>
                </a:cubicBezTo>
                <a:cubicBezTo>
                  <a:pt x="3440197" y="48266"/>
                  <a:pt x="3438698" y="59135"/>
                  <a:pt x="3444076" y="60233"/>
                </a:cubicBezTo>
                <a:cubicBezTo>
                  <a:pt x="3444335" y="56244"/>
                  <a:pt x="3444749" y="52455"/>
                  <a:pt x="3448679" y="53751"/>
                </a:cubicBezTo>
                <a:close/>
                <a:moveTo>
                  <a:pt x="3471591" y="164939"/>
                </a:moveTo>
                <a:cubicBezTo>
                  <a:pt x="3462489" y="154070"/>
                  <a:pt x="3465747" y="165538"/>
                  <a:pt x="3453231" y="164939"/>
                </a:cubicBezTo>
                <a:cubicBezTo>
                  <a:pt x="3448731" y="154368"/>
                  <a:pt x="3440973" y="149881"/>
                  <a:pt x="3434870" y="158357"/>
                </a:cubicBezTo>
                <a:cubicBezTo>
                  <a:pt x="3432491" y="190667"/>
                  <a:pt x="3465385" y="176407"/>
                  <a:pt x="3471591" y="164939"/>
                </a:cubicBezTo>
                <a:close/>
                <a:moveTo>
                  <a:pt x="3471591" y="197747"/>
                </a:moveTo>
                <a:cubicBezTo>
                  <a:pt x="3471591" y="193360"/>
                  <a:pt x="3471591" y="189071"/>
                  <a:pt x="3471591" y="184684"/>
                </a:cubicBezTo>
                <a:cubicBezTo>
                  <a:pt x="3466988" y="184684"/>
                  <a:pt x="3462437" y="184684"/>
                  <a:pt x="3457834" y="184684"/>
                </a:cubicBezTo>
                <a:cubicBezTo>
                  <a:pt x="3457834" y="189071"/>
                  <a:pt x="3457834" y="193459"/>
                  <a:pt x="3457834" y="197747"/>
                </a:cubicBezTo>
                <a:cubicBezTo>
                  <a:pt x="3462437" y="197747"/>
                  <a:pt x="3466988" y="197747"/>
                  <a:pt x="3471591" y="197747"/>
                </a:cubicBezTo>
                <a:close/>
                <a:moveTo>
                  <a:pt x="3476194" y="40588"/>
                </a:moveTo>
                <a:cubicBezTo>
                  <a:pt x="3468540" y="40588"/>
                  <a:pt x="3460885" y="40588"/>
                  <a:pt x="3453231" y="40588"/>
                </a:cubicBezTo>
                <a:cubicBezTo>
                  <a:pt x="3449248" y="67612"/>
                  <a:pt x="3476143" y="60532"/>
                  <a:pt x="3476194" y="40588"/>
                </a:cubicBezTo>
                <a:close/>
                <a:moveTo>
                  <a:pt x="3494555" y="165038"/>
                </a:moveTo>
                <a:cubicBezTo>
                  <a:pt x="3488349" y="162945"/>
                  <a:pt x="3485763" y="155665"/>
                  <a:pt x="3476194" y="158458"/>
                </a:cubicBezTo>
                <a:cubicBezTo>
                  <a:pt x="3476194" y="165038"/>
                  <a:pt x="3476194" y="171521"/>
                  <a:pt x="3476194" y="178102"/>
                </a:cubicBezTo>
                <a:cubicBezTo>
                  <a:pt x="3484729" y="177205"/>
                  <a:pt x="3491555" y="173813"/>
                  <a:pt x="3494555" y="165038"/>
                </a:cubicBezTo>
                <a:close/>
                <a:moveTo>
                  <a:pt x="3503710" y="191165"/>
                </a:moveTo>
                <a:cubicBezTo>
                  <a:pt x="3496830" y="192262"/>
                  <a:pt x="3486797" y="188772"/>
                  <a:pt x="3485349" y="197646"/>
                </a:cubicBezTo>
                <a:cubicBezTo>
                  <a:pt x="3491452" y="206223"/>
                  <a:pt x="3502416" y="206322"/>
                  <a:pt x="3503710" y="191165"/>
                </a:cubicBezTo>
                <a:close/>
                <a:moveTo>
                  <a:pt x="3520518" y="249003"/>
                </a:moveTo>
                <a:lnTo>
                  <a:pt x="3510846" y="249003"/>
                </a:lnTo>
                <a:cubicBezTo>
                  <a:pt x="3511985" y="246709"/>
                  <a:pt x="3514105" y="244814"/>
                  <a:pt x="3517519" y="243618"/>
                </a:cubicBezTo>
                <a:cubicBezTo>
                  <a:pt x="3520467" y="244316"/>
                  <a:pt x="3521036" y="246410"/>
                  <a:pt x="3520518" y="249003"/>
                </a:cubicBezTo>
                <a:close/>
                <a:moveTo>
                  <a:pt x="3545033" y="178002"/>
                </a:moveTo>
                <a:cubicBezTo>
                  <a:pt x="3547568" y="145992"/>
                  <a:pt x="3516225" y="162346"/>
                  <a:pt x="3499158" y="158357"/>
                </a:cubicBezTo>
                <a:cubicBezTo>
                  <a:pt x="3498744" y="148087"/>
                  <a:pt x="3499778" y="135621"/>
                  <a:pt x="3490004" y="138713"/>
                </a:cubicBezTo>
                <a:cubicBezTo>
                  <a:pt x="3489280" y="154967"/>
                  <a:pt x="3497193" y="158956"/>
                  <a:pt x="3499158" y="171420"/>
                </a:cubicBezTo>
                <a:cubicBezTo>
                  <a:pt x="3511053" y="182291"/>
                  <a:pt x="3518398" y="169925"/>
                  <a:pt x="3526673" y="171521"/>
                </a:cubicBezTo>
                <a:cubicBezTo>
                  <a:pt x="3527087" y="171620"/>
                  <a:pt x="3530138" y="183985"/>
                  <a:pt x="3531276" y="184584"/>
                </a:cubicBezTo>
                <a:cubicBezTo>
                  <a:pt x="3536397" y="187176"/>
                  <a:pt x="3538206" y="173914"/>
                  <a:pt x="3545033" y="178002"/>
                </a:cubicBezTo>
                <a:close/>
                <a:moveTo>
                  <a:pt x="3549637" y="47169"/>
                </a:moveTo>
                <a:cubicBezTo>
                  <a:pt x="3539758" y="35004"/>
                  <a:pt x="3516018" y="42782"/>
                  <a:pt x="3499158" y="40588"/>
                </a:cubicBezTo>
                <a:cubicBezTo>
                  <a:pt x="3497762" y="53452"/>
                  <a:pt x="3505312" y="53551"/>
                  <a:pt x="3508312" y="60233"/>
                </a:cubicBezTo>
                <a:cubicBezTo>
                  <a:pt x="3527552" y="49064"/>
                  <a:pt x="3539707" y="66715"/>
                  <a:pt x="3549637" y="47169"/>
                </a:cubicBezTo>
                <a:close/>
                <a:moveTo>
                  <a:pt x="3561273" y="249003"/>
                </a:moveTo>
                <a:lnTo>
                  <a:pt x="3530966" y="249003"/>
                </a:lnTo>
                <a:cubicBezTo>
                  <a:pt x="3533707" y="246610"/>
                  <a:pt x="3536500" y="244415"/>
                  <a:pt x="3540430" y="243618"/>
                </a:cubicBezTo>
                <a:cubicBezTo>
                  <a:pt x="3548396" y="241823"/>
                  <a:pt x="3554240" y="246709"/>
                  <a:pt x="3561273" y="249003"/>
                </a:cubicBezTo>
                <a:close/>
                <a:moveTo>
                  <a:pt x="3581755" y="164939"/>
                </a:moveTo>
                <a:cubicBezTo>
                  <a:pt x="3570221" y="159055"/>
                  <a:pt x="3547464" y="154070"/>
                  <a:pt x="3549637" y="184584"/>
                </a:cubicBezTo>
                <a:cubicBezTo>
                  <a:pt x="3561377" y="179498"/>
                  <a:pt x="3575652" y="178102"/>
                  <a:pt x="3581755" y="164939"/>
                </a:cubicBezTo>
                <a:close/>
                <a:moveTo>
                  <a:pt x="3595512" y="92942"/>
                </a:moveTo>
                <a:cubicBezTo>
                  <a:pt x="3569083" y="100021"/>
                  <a:pt x="3573738" y="62826"/>
                  <a:pt x="3545033" y="73296"/>
                </a:cubicBezTo>
                <a:cubicBezTo>
                  <a:pt x="3537793" y="98925"/>
                  <a:pt x="3556929" y="86858"/>
                  <a:pt x="3558791" y="99522"/>
                </a:cubicBezTo>
                <a:cubicBezTo>
                  <a:pt x="3569756" y="95534"/>
                  <a:pt x="3592099" y="107700"/>
                  <a:pt x="3595512" y="92942"/>
                </a:cubicBezTo>
                <a:close/>
                <a:moveTo>
                  <a:pt x="3595512" y="191165"/>
                </a:moveTo>
                <a:cubicBezTo>
                  <a:pt x="3590081" y="183587"/>
                  <a:pt x="3579272" y="183787"/>
                  <a:pt x="3567997" y="184584"/>
                </a:cubicBezTo>
                <a:cubicBezTo>
                  <a:pt x="3561480" y="205525"/>
                  <a:pt x="3595409" y="201137"/>
                  <a:pt x="3595512" y="191165"/>
                </a:cubicBezTo>
                <a:close/>
                <a:moveTo>
                  <a:pt x="3596109" y="150283"/>
                </a:moveTo>
                <a:cubicBezTo>
                  <a:pt x="3596401" y="147631"/>
                  <a:pt x="3595150" y="143773"/>
                  <a:pt x="3590909" y="138812"/>
                </a:cubicBezTo>
                <a:cubicBezTo>
                  <a:pt x="3580475" y="155341"/>
                  <a:pt x="3595234" y="158239"/>
                  <a:pt x="3596109" y="150283"/>
                </a:cubicBezTo>
                <a:close/>
                <a:moveTo>
                  <a:pt x="3613873" y="164939"/>
                </a:moveTo>
                <a:cubicBezTo>
                  <a:pt x="3609942" y="159454"/>
                  <a:pt x="3600787" y="169725"/>
                  <a:pt x="3600115" y="171521"/>
                </a:cubicBezTo>
                <a:cubicBezTo>
                  <a:pt x="3595253" y="184384"/>
                  <a:pt x="3617287" y="169825"/>
                  <a:pt x="3613873" y="164939"/>
                </a:cubicBezTo>
                <a:close/>
                <a:moveTo>
                  <a:pt x="3622975" y="132131"/>
                </a:moveTo>
                <a:cubicBezTo>
                  <a:pt x="3627837" y="107700"/>
                  <a:pt x="3613304" y="110990"/>
                  <a:pt x="3609218" y="99423"/>
                </a:cubicBezTo>
                <a:cubicBezTo>
                  <a:pt x="3621165" y="103312"/>
                  <a:pt x="3625717" y="96830"/>
                  <a:pt x="3622975" y="79777"/>
                </a:cubicBezTo>
                <a:cubicBezTo>
                  <a:pt x="3603477" y="71601"/>
                  <a:pt x="3610718" y="101616"/>
                  <a:pt x="3600011" y="106005"/>
                </a:cubicBezTo>
                <a:cubicBezTo>
                  <a:pt x="3581186" y="117870"/>
                  <a:pt x="3560239" y="98824"/>
                  <a:pt x="3535776" y="99423"/>
                </a:cubicBezTo>
                <a:cubicBezTo>
                  <a:pt x="3541413" y="73596"/>
                  <a:pt x="3519691" y="64221"/>
                  <a:pt x="3517415" y="86359"/>
                </a:cubicBezTo>
                <a:cubicBezTo>
                  <a:pt x="3522846" y="89550"/>
                  <a:pt x="3527811" y="93340"/>
                  <a:pt x="3531173" y="99423"/>
                </a:cubicBezTo>
                <a:cubicBezTo>
                  <a:pt x="3516225" y="110093"/>
                  <a:pt x="3502055" y="97728"/>
                  <a:pt x="3485297" y="99423"/>
                </a:cubicBezTo>
                <a:cubicBezTo>
                  <a:pt x="3478677" y="100121"/>
                  <a:pt x="3469523" y="106303"/>
                  <a:pt x="3466937" y="106005"/>
                </a:cubicBezTo>
                <a:cubicBezTo>
                  <a:pt x="3465178" y="105706"/>
                  <a:pt x="3467350" y="93140"/>
                  <a:pt x="3462385" y="92942"/>
                </a:cubicBezTo>
                <a:cubicBezTo>
                  <a:pt x="3462695" y="92942"/>
                  <a:pt x="3460679" y="105406"/>
                  <a:pt x="3457782" y="106005"/>
                </a:cubicBezTo>
                <a:cubicBezTo>
                  <a:pt x="3448938" y="107899"/>
                  <a:pt x="3437456" y="84565"/>
                  <a:pt x="3434819" y="99423"/>
                </a:cubicBezTo>
                <a:cubicBezTo>
                  <a:pt x="3431457" y="121859"/>
                  <a:pt x="3453541" y="107799"/>
                  <a:pt x="3448628" y="132231"/>
                </a:cubicBezTo>
                <a:cubicBezTo>
                  <a:pt x="3464299" y="137117"/>
                  <a:pt x="3454472" y="105606"/>
                  <a:pt x="3471591" y="112586"/>
                </a:cubicBezTo>
                <a:cubicBezTo>
                  <a:pt x="3472626" y="117672"/>
                  <a:pt x="3471695" y="125450"/>
                  <a:pt x="3476194" y="125649"/>
                </a:cubicBezTo>
                <a:cubicBezTo>
                  <a:pt x="3477229" y="120563"/>
                  <a:pt x="3476298" y="112786"/>
                  <a:pt x="3480797" y="112586"/>
                </a:cubicBezTo>
                <a:cubicBezTo>
                  <a:pt x="3486228" y="115777"/>
                  <a:pt x="3491193" y="119567"/>
                  <a:pt x="3494555" y="125649"/>
                </a:cubicBezTo>
                <a:cubicBezTo>
                  <a:pt x="3503141" y="125749"/>
                  <a:pt x="3504796" y="120065"/>
                  <a:pt x="3512916" y="119067"/>
                </a:cubicBezTo>
                <a:cubicBezTo>
                  <a:pt x="3520053" y="118269"/>
                  <a:pt x="3517415" y="127445"/>
                  <a:pt x="3522070" y="119067"/>
                </a:cubicBezTo>
                <a:cubicBezTo>
                  <a:pt x="3524190" y="115278"/>
                  <a:pt x="3528225" y="125350"/>
                  <a:pt x="3526673" y="125649"/>
                </a:cubicBezTo>
                <a:cubicBezTo>
                  <a:pt x="3533293" y="124254"/>
                  <a:pt x="3531845" y="118668"/>
                  <a:pt x="3535828" y="125649"/>
                </a:cubicBezTo>
                <a:cubicBezTo>
                  <a:pt x="3540534" y="133827"/>
                  <a:pt x="3555481" y="119067"/>
                  <a:pt x="3558791" y="119067"/>
                </a:cubicBezTo>
                <a:cubicBezTo>
                  <a:pt x="3564739" y="119168"/>
                  <a:pt x="3564997" y="126147"/>
                  <a:pt x="3572548" y="125649"/>
                </a:cubicBezTo>
                <a:cubicBezTo>
                  <a:pt x="3578392" y="125250"/>
                  <a:pt x="3579065" y="119765"/>
                  <a:pt x="3586306" y="119067"/>
                </a:cubicBezTo>
                <a:cubicBezTo>
                  <a:pt x="3592254" y="118569"/>
                  <a:pt x="3592512" y="127046"/>
                  <a:pt x="3600064" y="125649"/>
                </a:cubicBezTo>
                <a:cubicBezTo>
                  <a:pt x="3603063" y="125052"/>
                  <a:pt x="3607304" y="118370"/>
                  <a:pt x="3609218" y="119067"/>
                </a:cubicBezTo>
                <a:cubicBezTo>
                  <a:pt x="3612425" y="120264"/>
                  <a:pt x="3614131" y="137715"/>
                  <a:pt x="3622975" y="132131"/>
                </a:cubicBezTo>
                <a:close/>
                <a:moveTo>
                  <a:pt x="3641387" y="178102"/>
                </a:moveTo>
                <a:cubicBezTo>
                  <a:pt x="3641387" y="173714"/>
                  <a:pt x="3641387" y="169326"/>
                  <a:pt x="3641387" y="165038"/>
                </a:cubicBezTo>
                <a:cubicBezTo>
                  <a:pt x="3638336" y="165038"/>
                  <a:pt x="3635285" y="165038"/>
                  <a:pt x="3632233" y="165038"/>
                </a:cubicBezTo>
                <a:cubicBezTo>
                  <a:pt x="3632233" y="169326"/>
                  <a:pt x="3632233" y="173714"/>
                  <a:pt x="3632233" y="178102"/>
                </a:cubicBezTo>
                <a:cubicBezTo>
                  <a:pt x="3635285" y="178102"/>
                  <a:pt x="3638336" y="178102"/>
                  <a:pt x="3641387" y="178102"/>
                </a:cubicBezTo>
                <a:close/>
                <a:moveTo>
                  <a:pt x="3673506" y="53652"/>
                </a:moveTo>
                <a:cubicBezTo>
                  <a:pt x="3673506" y="49264"/>
                  <a:pt x="3673506" y="44976"/>
                  <a:pt x="3673506" y="40588"/>
                </a:cubicBezTo>
                <a:cubicBezTo>
                  <a:pt x="3670454" y="40588"/>
                  <a:pt x="3667403" y="40588"/>
                  <a:pt x="3664300" y="40588"/>
                </a:cubicBezTo>
                <a:cubicBezTo>
                  <a:pt x="3664300" y="44976"/>
                  <a:pt x="3664300" y="49264"/>
                  <a:pt x="3664300" y="53652"/>
                </a:cubicBezTo>
                <a:cubicBezTo>
                  <a:pt x="3667351" y="53652"/>
                  <a:pt x="3670402" y="53652"/>
                  <a:pt x="3673506" y="53652"/>
                </a:cubicBezTo>
                <a:close/>
                <a:moveTo>
                  <a:pt x="3682660" y="125649"/>
                </a:moveTo>
                <a:cubicBezTo>
                  <a:pt x="3682660" y="121262"/>
                  <a:pt x="3682660" y="116973"/>
                  <a:pt x="3682660" y="112586"/>
                </a:cubicBezTo>
                <a:cubicBezTo>
                  <a:pt x="3679661" y="112586"/>
                  <a:pt x="3676609" y="112586"/>
                  <a:pt x="3673506" y="112586"/>
                </a:cubicBezTo>
                <a:cubicBezTo>
                  <a:pt x="3673506" y="116973"/>
                  <a:pt x="3673506" y="121262"/>
                  <a:pt x="3673506" y="125649"/>
                </a:cubicBezTo>
                <a:cubicBezTo>
                  <a:pt x="3676557" y="125649"/>
                  <a:pt x="3679608" y="125649"/>
                  <a:pt x="3682660" y="125649"/>
                </a:cubicBezTo>
                <a:close/>
                <a:moveTo>
                  <a:pt x="3705675" y="92942"/>
                </a:moveTo>
                <a:cubicBezTo>
                  <a:pt x="3705469" y="57042"/>
                  <a:pt x="3681419" y="80575"/>
                  <a:pt x="3664403" y="79878"/>
                </a:cubicBezTo>
                <a:cubicBezTo>
                  <a:pt x="3648991" y="79180"/>
                  <a:pt x="3640353" y="76088"/>
                  <a:pt x="3627682" y="73296"/>
                </a:cubicBezTo>
                <a:cubicBezTo>
                  <a:pt x="3628096" y="83567"/>
                  <a:pt x="3627010" y="96032"/>
                  <a:pt x="3636836" y="92942"/>
                </a:cubicBezTo>
                <a:cubicBezTo>
                  <a:pt x="3661765" y="85063"/>
                  <a:pt x="3674385" y="95633"/>
                  <a:pt x="3705675" y="92942"/>
                </a:cubicBezTo>
                <a:close/>
                <a:moveTo>
                  <a:pt x="3741052" y="249003"/>
                </a:moveTo>
                <a:lnTo>
                  <a:pt x="3720105" y="249003"/>
                </a:lnTo>
                <a:cubicBezTo>
                  <a:pt x="3724657" y="246809"/>
                  <a:pt x="3727242" y="242322"/>
                  <a:pt x="3733190" y="243618"/>
                </a:cubicBezTo>
                <a:cubicBezTo>
                  <a:pt x="3735983" y="244117"/>
                  <a:pt x="3738673" y="246310"/>
                  <a:pt x="3741052" y="249003"/>
                </a:cubicBezTo>
                <a:close/>
                <a:moveTo>
                  <a:pt x="3766860" y="249003"/>
                </a:moveTo>
                <a:lnTo>
                  <a:pt x="3758481" y="249003"/>
                </a:lnTo>
                <a:cubicBezTo>
                  <a:pt x="3759154" y="243119"/>
                  <a:pt x="3759309" y="238632"/>
                  <a:pt x="3760705" y="243618"/>
                </a:cubicBezTo>
                <a:cubicBezTo>
                  <a:pt x="3760447" y="249900"/>
                  <a:pt x="3763705" y="248704"/>
                  <a:pt x="3766860" y="249003"/>
                </a:cubicBezTo>
                <a:close/>
                <a:moveTo>
                  <a:pt x="3769860" y="164939"/>
                </a:moveTo>
                <a:cubicBezTo>
                  <a:pt x="3762981" y="159654"/>
                  <a:pt x="3754137" y="172718"/>
                  <a:pt x="3751499" y="171521"/>
                </a:cubicBezTo>
                <a:cubicBezTo>
                  <a:pt x="3746172" y="169027"/>
                  <a:pt x="3752379" y="150579"/>
                  <a:pt x="3742293" y="164939"/>
                </a:cubicBezTo>
                <a:cubicBezTo>
                  <a:pt x="3737587" y="171620"/>
                  <a:pt x="3714830" y="162546"/>
                  <a:pt x="3705572" y="164939"/>
                </a:cubicBezTo>
                <a:cubicBezTo>
                  <a:pt x="3699728" y="166534"/>
                  <a:pt x="3699314" y="171720"/>
                  <a:pt x="3691866" y="171521"/>
                </a:cubicBezTo>
                <a:cubicBezTo>
                  <a:pt x="3684004" y="171321"/>
                  <a:pt x="3669885" y="157859"/>
                  <a:pt x="3659748" y="164939"/>
                </a:cubicBezTo>
                <a:cubicBezTo>
                  <a:pt x="3656645" y="194057"/>
                  <a:pt x="3675471" y="177105"/>
                  <a:pt x="3682712" y="178002"/>
                </a:cubicBezTo>
                <a:cubicBezTo>
                  <a:pt x="3687263" y="178600"/>
                  <a:pt x="3688142" y="184085"/>
                  <a:pt x="3691866" y="184584"/>
                </a:cubicBezTo>
                <a:cubicBezTo>
                  <a:pt x="3690728" y="184484"/>
                  <a:pt x="3694038" y="178501"/>
                  <a:pt x="3696469" y="178002"/>
                </a:cubicBezTo>
                <a:cubicBezTo>
                  <a:pt x="3700244" y="177304"/>
                  <a:pt x="3703089" y="185880"/>
                  <a:pt x="3705623" y="184584"/>
                </a:cubicBezTo>
                <a:cubicBezTo>
                  <a:pt x="3708158" y="183287"/>
                  <a:pt x="3709555" y="169725"/>
                  <a:pt x="3714778" y="171521"/>
                </a:cubicBezTo>
                <a:cubicBezTo>
                  <a:pt x="3714054" y="182689"/>
                  <a:pt x="3724036" y="174014"/>
                  <a:pt x="3728587" y="178102"/>
                </a:cubicBezTo>
                <a:cubicBezTo>
                  <a:pt x="3731483" y="180695"/>
                  <a:pt x="3728122" y="197747"/>
                  <a:pt x="3737742" y="191165"/>
                </a:cubicBezTo>
                <a:cubicBezTo>
                  <a:pt x="3733759" y="166036"/>
                  <a:pt x="3768929" y="197148"/>
                  <a:pt x="3769860" y="164939"/>
                </a:cubicBezTo>
                <a:close/>
                <a:moveTo>
                  <a:pt x="3769911" y="217292"/>
                </a:moveTo>
                <a:cubicBezTo>
                  <a:pt x="3765309" y="217292"/>
                  <a:pt x="3760757" y="217292"/>
                  <a:pt x="3756154" y="217292"/>
                </a:cubicBezTo>
                <a:cubicBezTo>
                  <a:pt x="3752585" y="218788"/>
                  <a:pt x="3747103" y="217491"/>
                  <a:pt x="3746948" y="223874"/>
                </a:cubicBezTo>
                <a:cubicBezTo>
                  <a:pt x="3753620" y="220283"/>
                  <a:pt x="3770687" y="231552"/>
                  <a:pt x="3769911" y="217292"/>
                </a:cubicBezTo>
                <a:close/>
                <a:moveTo>
                  <a:pt x="3774657" y="139024"/>
                </a:moveTo>
                <a:cubicBezTo>
                  <a:pt x="3775096" y="133103"/>
                  <a:pt x="3773946" y="124901"/>
                  <a:pt x="3774463" y="119067"/>
                </a:cubicBezTo>
                <a:cubicBezTo>
                  <a:pt x="3754550" y="124254"/>
                  <a:pt x="3741207" y="100818"/>
                  <a:pt x="3737742" y="132131"/>
                </a:cubicBezTo>
                <a:cubicBezTo>
                  <a:pt x="3748499" y="130037"/>
                  <a:pt x="3754964" y="121760"/>
                  <a:pt x="3769860" y="125550"/>
                </a:cubicBezTo>
                <a:cubicBezTo>
                  <a:pt x="3769653" y="134026"/>
                  <a:pt x="3764015" y="134724"/>
                  <a:pt x="3765309" y="145295"/>
                </a:cubicBezTo>
                <a:cubicBezTo>
                  <a:pt x="3772187" y="148585"/>
                  <a:pt x="3774217" y="144945"/>
                  <a:pt x="3774657" y="139024"/>
                </a:cubicBezTo>
                <a:close/>
                <a:moveTo>
                  <a:pt x="3792823" y="86459"/>
                </a:moveTo>
                <a:cubicBezTo>
                  <a:pt x="3785945" y="84565"/>
                  <a:pt x="3773480" y="58238"/>
                  <a:pt x="3769911" y="73296"/>
                </a:cubicBezTo>
                <a:cubicBezTo>
                  <a:pt x="3772705" y="73695"/>
                  <a:pt x="3775342" y="74294"/>
                  <a:pt x="3774514" y="79878"/>
                </a:cubicBezTo>
                <a:cubicBezTo>
                  <a:pt x="3762774" y="67712"/>
                  <a:pt x="3752223" y="80277"/>
                  <a:pt x="3746948" y="79878"/>
                </a:cubicBezTo>
                <a:cubicBezTo>
                  <a:pt x="3744517" y="79678"/>
                  <a:pt x="3744672" y="71302"/>
                  <a:pt x="3737742" y="73296"/>
                </a:cubicBezTo>
                <a:cubicBezTo>
                  <a:pt x="3738259" y="73197"/>
                  <a:pt x="3734949" y="78880"/>
                  <a:pt x="3733138" y="79878"/>
                </a:cubicBezTo>
                <a:cubicBezTo>
                  <a:pt x="3729725" y="81873"/>
                  <a:pt x="3723984" y="79678"/>
                  <a:pt x="3723984" y="86459"/>
                </a:cubicBezTo>
                <a:cubicBezTo>
                  <a:pt x="3744983" y="92543"/>
                  <a:pt x="3778807" y="107799"/>
                  <a:pt x="3792823" y="86459"/>
                </a:cubicBezTo>
                <a:close/>
                <a:moveTo>
                  <a:pt x="3797426" y="119168"/>
                </a:moveTo>
                <a:cubicBezTo>
                  <a:pt x="3794375" y="119168"/>
                  <a:pt x="3791271" y="119168"/>
                  <a:pt x="3788272" y="119168"/>
                </a:cubicBezTo>
                <a:cubicBezTo>
                  <a:pt x="3763136" y="117372"/>
                  <a:pt x="3798357" y="137615"/>
                  <a:pt x="3797426" y="119168"/>
                </a:cubicBezTo>
                <a:close/>
                <a:moveTo>
                  <a:pt x="3801098" y="249003"/>
                </a:moveTo>
                <a:lnTo>
                  <a:pt x="3781652" y="249003"/>
                </a:lnTo>
                <a:cubicBezTo>
                  <a:pt x="3785427" y="241425"/>
                  <a:pt x="3792875" y="246511"/>
                  <a:pt x="3801098" y="249003"/>
                </a:cubicBezTo>
                <a:close/>
                <a:moveTo>
                  <a:pt x="3815787" y="79878"/>
                </a:moveTo>
                <a:cubicBezTo>
                  <a:pt x="3812735" y="79878"/>
                  <a:pt x="3809684" y="79878"/>
                  <a:pt x="3806632" y="79878"/>
                </a:cubicBezTo>
                <a:cubicBezTo>
                  <a:pt x="3806632" y="86459"/>
                  <a:pt x="3802909" y="87655"/>
                  <a:pt x="3802029" y="92942"/>
                </a:cubicBezTo>
                <a:cubicBezTo>
                  <a:pt x="3809219" y="92343"/>
                  <a:pt x="3817907" y="93839"/>
                  <a:pt x="3815787" y="79878"/>
                </a:cubicBezTo>
                <a:close/>
                <a:moveTo>
                  <a:pt x="3820390" y="184584"/>
                </a:moveTo>
                <a:cubicBezTo>
                  <a:pt x="3821270" y="171920"/>
                  <a:pt x="3817183" y="175111"/>
                  <a:pt x="3811236" y="171521"/>
                </a:cubicBezTo>
                <a:cubicBezTo>
                  <a:pt x="3796547" y="162546"/>
                  <a:pt x="3800633" y="171321"/>
                  <a:pt x="3788324" y="171521"/>
                </a:cubicBezTo>
                <a:cubicBezTo>
                  <a:pt x="3788013" y="167532"/>
                  <a:pt x="3787548" y="163742"/>
                  <a:pt x="3783669" y="164939"/>
                </a:cubicBezTo>
                <a:cubicBezTo>
                  <a:pt x="3780048" y="208816"/>
                  <a:pt x="3811960" y="162945"/>
                  <a:pt x="3820390" y="184584"/>
                </a:cubicBezTo>
                <a:close/>
                <a:moveTo>
                  <a:pt x="3824993" y="119168"/>
                </a:moveTo>
                <a:cubicBezTo>
                  <a:pt x="3821942" y="119168"/>
                  <a:pt x="3818890" y="119168"/>
                  <a:pt x="3815839" y="119168"/>
                </a:cubicBezTo>
                <a:cubicBezTo>
                  <a:pt x="3790651" y="117372"/>
                  <a:pt x="3825872" y="137615"/>
                  <a:pt x="3824993" y="119168"/>
                </a:cubicBezTo>
                <a:close/>
                <a:moveTo>
                  <a:pt x="3831820" y="249003"/>
                </a:moveTo>
                <a:lnTo>
                  <a:pt x="3824787" y="249003"/>
                </a:lnTo>
                <a:cubicBezTo>
                  <a:pt x="3832389" y="246610"/>
                  <a:pt x="3832958" y="244117"/>
                  <a:pt x="3831820" y="249003"/>
                </a:cubicBezTo>
                <a:close/>
                <a:moveTo>
                  <a:pt x="3870868" y="171521"/>
                </a:moveTo>
                <a:cubicBezTo>
                  <a:pt x="3866265" y="171521"/>
                  <a:pt x="3861663" y="171521"/>
                  <a:pt x="3857111" y="171521"/>
                </a:cubicBezTo>
                <a:cubicBezTo>
                  <a:pt x="3851732" y="172517"/>
                  <a:pt x="3844078" y="170424"/>
                  <a:pt x="3843354" y="178102"/>
                </a:cubicBezTo>
                <a:cubicBezTo>
                  <a:pt x="3851370" y="174313"/>
                  <a:pt x="3870300" y="185980"/>
                  <a:pt x="3870868" y="171521"/>
                </a:cubicBezTo>
                <a:close/>
                <a:moveTo>
                  <a:pt x="3944311" y="92942"/>
                </a:moveTo>
                <a:cubicBezTo>
                  <a:pt x="3932932" y="84165"/>
                  <a:pt x="3895849" y="80575"/>
                  <a:pt x="3889229" y="92942"/>
                </a:cubicBezTo>
                <a:cubicBezTo>
                  <a:pt x="3895436" y="101916"/>
                  <a:pt x="3897401" y="92343"/>
                  <a:pt x="3902986" y="92942"/>
                </a:cubicBezTo>
                <a:cubicBezTo>
                  <a:pt x="3915244" y="94238"/>
                  <a:pt x="3934846" y="109196"/>
                  <a:pt x="3944311" y="92942"/>
                </a:cubicBezTo>
                <a:close/>
                <a:moveTo>
                  <a:pt x="3944311" y="178102"/>
                </a:moveTo>
                <a:cubicBezTo>
                  <a:pt x="3941259" y="178102"/>
                  <a:pt x="3938208" y="178102"/>
                  <a:pt x="3935104" y="178102"/>
                </a:cubicBezTo>
                <a:cubicBezTo>
                  <a:pt x="3909969" y="176307"/>
                  <a:pt x="3945190" y="196551"/>
                  <a:pt x="3944311" y="178102"/>
                </a:cubicBezTo>
                <a:close/>
                <a:moveTo>
                  <a:pt x="3953413" y="132231"/>
                </a:moveTo>
                <a:cubicBezTo>
                  <a:pt x="3942862" y="123555"/>
                  <a:pt x="3938673" y="131832"/>
                  <a:pt x="3935104" y="125649"/>
                </a:cubicBezTo>
                <a:cubicBezTo>
                  <a:pt x="3932415" y="120962"/>
                  <a:pt x="3906245" y="124353"/>
                  <a:pt x="3912141" y="132231"/>
                </a:cubicBezTo>
                <a:cubicBezTo>
                  <a:pt x="3924812" y="129937"/>
                  <a:pt x="3944362" y="151078"/>
                  <a:pt x="3953413" y="132231"/>
                </a:cubicBezTo>
                <a:close/>
                <a:moveTo>
                  <a:pt x="3976429" y="66815"/>
                </a:moveTo>
                <a:cubicBezTo>
                  <a:pt x="3971515" y="63324"/>
                  <a:pt x="3960241" y="62028"/>
                  <a:pt x="3953465" y="73296"/>
                </a:cubicBezTo>
                <a:cubicBezTo>
                  <a:pt x="3966085" y="85961"/>
                  <a:pt x="3978497" y="68210"/>
                  <a:pt x="3976429" y="66815"/>
                </a:cubicBezTo>
                <a:close/>
                <a:moveTo>
                  <a:pt x="3985583" y="106005"/>
                </a:moveTo>
                <a:cubicBezTo>
                  <a:pt x="3984807" y="85363"/>
                  <a:pt x="3967429" y="88254"/>
                  <a:pt x="3953465" y="86359"/>
                </a:cubicBezTo>
                <a:cubicBezTo>
                  <a:pt x="3953672" y="95335"/>
                  <a:pt x="3951293" y="100719"/>
                  <a:pt x="3948914" y="106005"/>
                </a:cubicBezTo>
                <a:cubicBezTo>
                  <a:pt x="3962257" y="113084"/>
                  <a:pt x="3966136" y="107601"/>
                  <a:pt x="3985583" y="106005"/>
                </a:cubicBezTo>
                <a:close/>
                <a:moveTo>
                  <a:pt x="4022304" y="236936"/>
                </a:moveTo>
                <a:cubicBezTo>
                  <a:pt x="4022304" y="232649"/>
                  <a:pt x="4022304" y="228262"/>
                  <a:pt x="4022304" y="223874"/>
                </a:cubicBezTo>
                <a:cubicBezTo>
                  <a:pt x="4019253" y="223874"/>
                  <a:pt x="4016202" y="223874"/>
                  <a:pt x="4013150" y="223874"/>
                </a:cubicBezTo>
                <a:cubicBezTo>
                  <a:pt x="4013150" y="228262"/>
                  <a:pt x="4013150" y="232649"/>
                  <a:pt x="4013150" y="236936"/>
                </a:cubicBezTo>
                <a:cubicBezTo>
                  <a:pt x="4016202" y="236936"/>
                  <a:pt x="4019253" y="236936"/>
                  <a:pt x="4022304" y="236936"/>
                </a:cubicBezTo>
                <a:close/>
                <a:moveTo>
                  <a:pt x="4026907" y="79878"/>
                </a:moveTo>
                <a:cubicBezTo>
                  <a:pt x="4026907" y="75491"/>
                  <a:pt x="4026907" y="71103"/>
                  <a:pt x="4026907" y="66815"/>
                </a:cubicBezTo>
                <a:cubicBezTo>
                  <a:pt x="4023856" y="66815"/>
                  <a:pt x="4020752" y="66815"/>
                  <a:pt x="4017701" y="66815"/>
                </a:cubicBezTo>
                <a:cubicBezTo>
                  <a:pt x="4017701" y="71202"/>
                  <a:pt x="4017701" y="75491"/>
                  <a:pt x="4017701" y="79878"/>
                </a:cubicBezTo>
                <a:cubicBezTo>
                  <a:pt x="4020752" y="79878"/>
                  <a:pt x="4023804" y="79878"/>
                  <a:pt x="4026907" y="79878"/>
                </a:cubicBezTo>
                <a:close/>
                <a:moveTo>
                  <a:pt x="4054422" y="138713"/>
                </a:moveTo>
                <a:cubicBezTo>
                  <a:pt x="4040717" y="140507"/>
                  <a:pt x="4026494" y="120464"/>
                  <a:pt x="4022304" y="145295"/>
                </a:cubicBezTo>
                <a:cubicBezTo>
                  <a:pt x="4031821" y="141405"/>
                  <a:pt x="4052457" y="153372"/>
                  <a:pt x="4054422" y="138713"/>
                </a:cubicBezTo>
                <a:close/>
                <a:moveTo>
                  <a:pt x="4115917" y="150230"/>
                </a:moveTo>
                <a:cubicBezTo>
                  <a:pt x="4115723" y="144721"/>
                  <a:pt x="4111857" y="139760"/>
                  <a:pt x="4104901" y="151875"/>
                </a:cubicBezTo>
                <a:cubicBezTo>
                  <a:pt x="4112633" y="161797"/>
                  <a:pt x="4116111" y="155740"/>
                  <a:pt x="4115917" y="150230"/>
                </a:cubicBezTo>
                <a:close/>
                <a:moveTo>
                  <a:pt x="4132467" y="158357"/>
                </a:moveTo>
                <a:cubicBezTo>
                  <a:pt x="4132467" y="154070"/>
                  <a:pt x="4132467" y="149682"/>
                  <a:pt x="4132467" y="145295"/>
                </a:cubicBezTo>
                <a:cubicBezTo>
                  <a:pt x="4129416" y="145295"/>
                  <a:pt x="4126365" y="145295"/>
                  <a:pt x="4123313" y="145295"/>
                </a:cubicBezTo>
                <a:cubicBezTo>
                  <a:pt x="4123313" y="149682"/>
                  <a:pt x="4123313" y="154070"/>
                  <a:pt x="4123313" y="158357"/>
                </a:cubicBezTo>
                <a:cubicBezTo>
                  <a:pt x="4126365" y="158357"/>
                  <a:pt x="4129416" y="158357"/>
                  <a:pt x="4132467" y="158357"/>
                </a:cubicBezTo>
                <a:close/>
                <a:moveTo>
                  <a:pt x="4700307" y="11598562"/>
                </a:moveTo>
                <a:cubicBezTo>
                  <a:pt x="4700096" y="11625425"/>
                  <a:pt x="4694016" y="11638252"/>
                  <a:pt x="4697972" y="11569520"/>
                </a:cubicBezTo>
                <a:cubicBezTo>
                  <a:pt x="4699795" y="11579093"/>
                  <a:pt x="4700377" y="11589607"/>
                  <a:pt x="4700307" y="11598562"/>
                </a:cubicBezTo>
                <a:close/>
                <a:moveTo>
                  <a:pt x="4705728" y="11382598"/>
                </a:moveTo>
                <a:cubicBezTo>
                  <a:pt x="4704870" y="11402633"/>
                  <a:pt x="4701786" y="11406877"/>
                  <a:pt x="4700972" y="11427220"/>
                </a:cubicBezTo>
                <a:cubicBezTo>
                  <a:pt x="4692439" y="11428316"/>
                  <a:pt x="4700972" y="11340563"/>
                  <a:pt x="4697299" y="11341659"/>
                </a:cubicBezTo>
                <a:cubicBezTo>
                  <a:pt x="4700972" y="11289706"/>
                  <a:pt x="4700247" y="11374867"/>
                  <a:pt x="4705678" y="11356119"/>
                </a:cubicBezTo>
                <a:cubicBezTo>
                  <a:pt x="4706053" y="11367487"/>
                  <a:pt x="4706014" y="11375920"/>
                  <a:pt x="4705728" y="11382598"/>
                </a:cubicBezTo>
                <a:close/>
                <a:moveTo>
                  <a:pt x="4706919" y="10516278"/>
                </a:moveTo>
                <a:lnTo>
                  <a:pt x="4706713" y="10544698"/>
                </a:lnTo>
                <a:lnTo>
                  <a:pt x="4702472" y="10544598"/>
                </a:lnTo>
                <a:lnTo>
                  <a:pt x="4702679" y="10516178"/>
                </a:lnTo>
                <a:close/>
                <a:moveTo>
                  <a:pt x="4708387" y="10980851"/>
                </a:moveTo>
                <a:cubicBezTo>
                  <a:pt x="4706794" y="10991929"/>
                  <a:pt x="4701179" y="10974541"/>
                  <a:pt x="4701644" y="11000118"/>
                </a:cubicBezTo>
                <a:cubicBezTo>
                  <a:pt x="4695593" y="10984163"/>
                  <a:pt x="4704644" y="10953948"/>
                  <a:pt x="4708265" y="10957638"/>
                </a:cubicBezTo>
                <a:cubicBezTo>
                  <a:pt x="4709002" y="10970302"/>
                  <a:pt x="4708918" y="10977158"/>
                  <a:pt x="4708387" y="10980851"/>
                </a:cubicBezTo>
                <a:close/>
                <a:moveTo>
                  <a:pt x="4713850" y="10744238"/>
                </a:moveTo>
                <a:cubicBezTo>
                  <a:pt x="4711937" y="10733766"/>
                  <a:pt x="4710850" y="10718310"/>
                  <a:pt x="4709919" y="10701458"/>
                </a:cubicBezTo>
                <a:cubicBezTo>
                  <a:pt x="4711057" y="10665658"/>
                  <a:pt x="4714315" y="10725191"/>
                  <a:pt x="4713850" y="10744238"/>
                </a:cubicBezTo>
                <a:close/>
                <a:moveTo>
                  <a:pt x="4715764" y="10772758"/>
                </a:moveTo>
                <a:cubicBezTo>
                  <a:pt x="4714160" y="10800878"/>
                  <a:pt x="4709919" y="10810550"/>
                  <a:pt x="4704954" y="10815239"/>
                </a:cubicBezTo>
                <a:cubicBezTo>
                  <a:pt x="4704282" y="10785422"/>
                  <a:pt x="4706661" y="10777543"/>
                  <a:pt x="4707436" y="10758298"/>
                </a:cubicBezTo>
                <a:cubicBezTo>
                  <a:pt x="4709816" y="10761090"/>
                  <a:pt x="4708523" y="10772657"/>
                  <a:pt x="4707334" y="10772558"/>
                </a:cubicBezTo>
                <a:cubicBezTo>
                  <a:pt x="4708109" y="10793200"/>
                  <a:pt x="4709195" y="10771161"/>
                  <a:pt x="4711523" y="10772657"/>
                </a:cubicBezTo>
                <a:cubicBezTo>
                  <a:pt x="4712609" y="10752015"/>
                  <a:pt x="4713384" y="10774153"/>
                  <a:pt x="4715764" y="10772758"/>
                </a:cubicBezTo>
                <a:close/>
                <a:moveTo>
                  <a:pt x="4717368" y="10530837"/>
                </a:moveTo>
                <a:lnTo>
                  <a:pt x="4717160" y="10559256"/>
                </a:lnTo>
                <a:lnTo>
                  <a:pt x="4712919" y="10559157"/>
                </a:lnTo>
                <a:lnTo>
                  <a:pt x="4713126" y="10530737"/>
                </a:lnTo>
                <a:close/>
                <a:moveTo>
                  <a:pt x="4720522" y="11342258"/>
                </a:moveTo>
                <a:cubicBezTo>
                  <a:pt x="4722229" y="11399697"/>
                  <a:pt x="4707540" y="11399298"/>
                  <a:pt x="4709971" y="11341958"/>
                </a:cubicBezTo>
                <a:cubicBezTo>
                  <a:pt x="4714160" y="11315432"/>
                  <a:pt x="4715298" y="11340563"/>
                  <a:pt x="4720522" y="11342258"/>
                </a:cubicBezTo>
                <a:close/>
                <a:moveTo>
                  <a:pt x="4722125" y="10445576"/>
                </a:moveTo>
                <a:cubicBezTo>
                  <a:pt x="4722900" y="10472899"/>
                  <a:pt x="4720108" y="10468311"/>
                  <a:pt x="4717729" y="10473897"/>
                </a:cubicBezTo>
                <a:cubicBezTo>
                  <a:pt x="4714160" y="10482073"/>
                  <a:pt x="4705834" y="10497131"/>
                  <a:pt x="4707436" y="10430917"/>
                </a:cubicBezTo>
                <a:cubicBezTo>
                  <a:pt x="4710333" y="10411670"/>
                  <a:pt x="4710695" y="10428523"/>
                  <a:pt x="4713746" y="10431117"/>
                </a:cubicBezTo>
                <a:cubicBezTo>
                  <a:pt x="4717057" y="10433909"/>
                  <a:pt x="4721919" y="10423338"/>
                  <a:pt x="4722125" y="10445576"/>
                </a:cubicBezTo>
                <a:close/>
                <a:moveTo>
                  <a:pt x="4724288" y="11079379"/>
                </a:moveTo>
                <a:cubicBezTo>
                  <a:pt x="4724375" y="11083864"/>
                  <a:pt x="4724375" y="11090689"/>
                  <a:pt x="4724246" y="11100437"/>
                </a:cubicBezTo>
                <a:lnTo>
                  <a:pt x="4724039" y="11128858"/>
                </a:lnTo>
                <a:cubicBezTo>
                  <a:pt x="4718789" y="11131213"/>
                  <a:pt x="4723677" y="11047982"/>
                  <a:pt x="4724288" y="11079379"/>
                </a:cubicBezTo>
                <a:close/>
                <a:moveTo>
                  <a:pt x="4724913" y="10262664"/>
                </a:moveTo>
                <a:cubicBezTo>
                  <a:pt x="4725190" y="10268292"/>
                  <a:pt x="4724828" y="10276974"/>
                  <a:pt x="4723160" y="10288915"/>
                </a:cubicBezTo>
                <a:cubicBezTo>
                  <a:pt x="4717496" y="10256381"/>
                  <a:pt x="4724081" y="10245780"/>
                  <a:pt x="4724913" y="10262664"/>
                </a:cubicBezTo>
                <a:close/>
                <a:moveTo>
                  <a:pt x="4726005" y="11157377"/>
                </a:moveTo>
                <a:lnTo>
                  <a:pt x="4725746" y="11200057"/>
                </a:lnTo>
                <a:lnTo>
                  <a:pt x="4719384" y="11199857"/>
                </a:lnTo>
                <a:lnTo>
                  <a:pt x="4719643" y="11157178"/>
                </a:lnTo>
                <a:close/>
                <a:moveTo>
                  <a:pt x="4736349" y="9876275"/>
                </a:moveTo>
                <a:lnTo>
                  <a:pt x="4735986" y="9933214"/>
                </a:lnTo>
                <a:cubicBezTo>
                  <a:pt x="4731073" y="9890434"/>
                  <a:pt x="4723418" y="9935806"/>
                  <a:pt x="4721505" y="9890235"/>
                </a:cubicBezTo>
                <a:cubicBezTo>
                  <a:pt x="4714315" y="9895819"/>
                  <a:pt x="4726780" y="9945579"/>
                  <a:pt x="4717005" y="9932815"/>
                </a:cubicBezTo>
                <a:cubicBezTo>
                  <a:pt x="4718816" y="9889337"/>
                  <a:pt x="4713644" y="9890932"/>
                  <a:pt x="4715401" y="9847255"/>
                </a:cubicBezTo>
                <a:cubicBezTo>
                  <a:pt x="4724039" y="9846459"/>
                  <a:pt x="4725125" y="9893924"/>
                  <a:pt x="4736349" y="9876275"/>
                </a:cubicBezTo>
                <a:close/>
                <a:moveTo>
                  <a:pt x="4736349" y="11513577"/>
                </a:moveTo>
                <a:cubicBezTo>
                  <a:pt x="4734435" y="11570219"/>
                  <a:pt x="4734435" y="11570818"/>
                  <a:pt x="4735624" y="11627458"/>
                </a:cubicBezTo>
                <a:cubicBezTo>
                  <a:pt x="4730659" y="11626958"/>
                  <a:pt x="4729210" y="11651789"/>
                  <a:pt x="4722849" y="11641319"/>
                </a:cubicBezTo>
                <a:cubicBezTo>
                  <a:pt x="4722384" y="11563835"/>
                  <a:pt x="4723573" y="11497922"/>
                  <a:pt x="4736349" y="11513577"/>
                </a:cubicBezTo>
                <a:close/>
                <a:moveTo>
                  <a:pt x="4736723" y="11231992"/>
                </a:moveTo>
                <a:cubicBezTo>
                  <a:pt x="4737758" y="11238075"/>
                  <a:pt x="4738210" y="11243086"/>
                  <a:pt x="4735934" y="11243036"/>
                </a:cubicBezTo>
                <a:cubicBezTo>
                  <a:pt x="4733142" y="11242937"/>
                  <a:pt x="4727866" y="11187492"/>
                  <a:pt x="4736297" y="11186097"/>
                </a:cubicBezTo>
                <a:cubicBezTo>
                  <a:pt x="4736039" y="11197464"/>
                  <a:pt x="4733866" y="11200456"/>
                  <a:pt x="4734021" y="11214516"/>
                </a:cubicBezTo>
                <a:cubicBezTo>
                  <a:pt x="4734072" y="11218754"/>
                  <a:pt x="4735689" y="11225909"/>
                  <a:pt x="4736723" y="11231992"/>
                </a:cubicBezTo>
                <a:close/>
                <a:moveTo>
                  <a:pt x="4749071" y="8567050"/>
                </a:moveTo>
                <a:cubicBezTo>
                  <a:pt x="4742244" y="8523572"/>
                  <a:pt x="4742296" y="8619503"/>
                  <a:pt x="4749071" y="8567050"/>
                </a:cubicBezTo>
                <a:close/>
                <a:moveTo>
                  <a:pt x="4755278" y="8772921"/>
                </a:moveTo>
                <a:cubicBezTo>
                  <a:pt x="4755627" y="8767212"/>
                  <a:pt x="4755562" y="8761703"/>
                  <a:pt x="4754192" y="8752130"/>
                </a:cubicBezTo>
                <a:cubicBezTo>
                  <a:pt x="4748916" y="8749637"/>
                  <a:pt x="4747416" y="8773869"/>
                  <a:pt x="4745451" y="8794611"/>
                </a:cubicBezTo>
                <a:cubicBezTo>
                  <a:pt x="4751089" y="8790223"/>
                  <a:pt x="4742968" y="8874287"/>
                  <a:pt x="4751398" y="8851750"/>
                </a:cubicBezTo>
                <a:cubicBezTo>
                  <a:pt x="4754708" y="8849357"/>
                  <a:pt x="4753312" y="8817247"/>
                  <a:pt x="4753881" y="8794910"/>
                </a:cubicBezTo>
                <a:cubicBezTo>
                  <a:pt x="4754166" y="8784538"/>
                  <a:pt x="4754929" y="8778630"/>
                  <a:pt x="4755278" y="8772921"/>
                </a:cubicBezTo>
                <a:close/>
                <a:moveTo>
                  <a:pt x="4758071" y="8481789"/>
                </a:moveTo>
                <a:cubicBezTo>
                  <a:pt x="4750002" y="8497845"/>
                  <a:pt x="4748554" y="8467928"/>
                  <a:pt x="4745193" y="8509910"/>
                </a:cubicBezTo>
                <a:cubicBezTo>
                  <a:pt x="4750106" y="8505523"/>
                  <a:pt x="4753260" y="8512403"/>
                  <a:pt x="4755640" y="8524469"/>
                </a:cubicBezTo>
                <a:cubicBezTo>
                  <a:pt x="4755691" y="8504825"/>
                  <a:pt x="4756881" y="8493156"/>
                  <a:pt x="4758071" y="8481789"/>
                </a:cubicBezTo>
                <a:close/>
                <a:moveTo>
                  <a:pt x="4759241" y="11277701"/>
                </a:moveTo>
                <a:cubicBezTo>
                  <a:pt x="4759351" y="11292124"/>
                  <a:pt x="4758614" y="11309451"/>
                  <a:pt x="4758640" y="11314936"/>
                </a:cubicBezTo>
                <a:cubicBezTo>
                  <a:pt x="4758846" y="11347941"/>
                  <a:pt x="4759053" y="11393215"/>
                  <a:pt x="4755898" y="11414455"/>
                </a:cubicBezTo>
                <a:cubicBezTo>
                  <a:pt x="4752795" y="11435496"/>
                  <a:pt x="4755795" y="11434998"/>
                  <a:pt x="4755640" y="11457136"/>
                </a:cubicBezTo>
                <a:cubicBezTo>
                  <a:pt x="4755588" y="11467406"/>
                  <a:pt x="4753726" y="11472891"/>
                  <a:pt x="4753364" y="11485555"/>
                </a:cubicBezTo>
                <a:cubicBezTo>
                  <a:pt x="4752950" y="11500214"/>
                  <a:pt x="4754812" y="11587868"/>
                  <a:pt x="4752640" y="11599436"/>
                </a:cubicBezTo>
                <a:cubicBezTo>
                  <a:pt x="4752484" y="11600134"/>
                  <a:pt x="4750519" y="11598438"/>
                  <a:pt x="4750519" y="11599336"/>
                </a:cubicBezTo>
                <a:cubicBezTo>
                  <a:pt x="4749899" y="11620177"/>
                  <a:pt x="4752433" y="11620775"/>
                  <a:pt x="4752433" y="11627856"/>
                </a:cubicBezTo>
                <a:cubicBezTo>
                  <a:pt x="4752433" y="11639823"/>
                  <a:pt x="4750209" y="11641916"/>
                  <a:pt x="4750209" y="11642016"/>
                </a:cubicBezTo>
                <a:cubicBezTo>
                  <a:pt x="4750261" y="11666049"/>
                  <a:pt x="4753105" y="11679112"/>
                  <a:pt x="4749950" y="11684697"/>
                </a:cubicBezTo>
                <a:cubicBezTo>
                  <a:pt x="4743848" y="11686193"/>
                  <a:pt x="4748398" y="11672830"/>
                  <a:pt x="4748037" y="11656176"/>
                </a:cubicBezTo>
                <a:cubicBezTo>
                  <a:pt x="4747519" y="11633840"/>
                  <a:pt x="4744106" y="11614593"/>
                  <a:pt x="4748502" y="11584975"/>
                </a:cubicBezTo>
                <a:cubicBezTo>
                  <a:pt x="4750726" y="11570219"/>
                  <a:pt x="4748088" y="11511383"/>
                  <a:pt x="4749433" y="11442676"/>
                </a:cubicBezTo>
                <a:cubicBezTo>
                  <a:pt x="4748916" y="11423331"/>
                  <a:pt x="4744261" y="11430710"/>
                  <a:pt x="4741106" y="11428217"/>
                </a:cubicBezTo>
                <a:cubicBezTo>
                  <a:pt x="4742193" y="11398500"/>
                  <a:pt x="4739865" y="11390523"/>
                  <a:pt x="4739347" y="11371277"/>
                </a:cubicBezTo>
                <a:cubicBezTo>
                  <a:pt x="4733659" y="11359909"/>
                  <a:pt x="4737176" y="11412560"/>
                  <a:pt x="4734745" y="11428118"/>
                </a:cubicBezTo>
                <a:cubicBezTo>
                  <a:pt x="4731177" y="11451153"/>
                  <a:pt x="4738210" y="11446067"/>
                  <a:pt x="4734486" y="11470797"/>
                </a:cubicBezTo>
                <a:cubicBezTo>
                  <a:pt x="4728952" y="11479173"/>
                  <a:pt x="4726935" y="11464913"/>
                  <a:pt x="4728331" y="11428118"/>
                </a:cubicBezTo>
                <a:cubicBezTo>
                  <a:pt x="4728850" y="11367289"/>
                  <a:pt x="4731848" y="11323910"/>
                  <a:pt x="4733555" y="11271657"/>
                </a:cubicBezTo>
                <a:cubicBezTo>
                  <a:pt x="4738675" y="11288609"/>
                  <a:pt x="4746692" y="11287013"/>
                  <a:pt x="4743537" y="11357316"/>
                </a:cubicBezTo>
                <a:cubicBezTo>
                  <a:pt x="4749950" y="11367786"/>
                  <a:pt x="4749899" y="11332883"/>
                  <a:pt x="4756312" y="11343355"/>
                </a:cubicBezTo>
                <a:cubicBezTo>
                  <a:pt x="4758123" y="11299878"/>
                  <a:pt x="4754502" y="11291401"/>
                  <a:pt x="4754761" y="11257895"/>
                </a:cubicBezTo>
                <a:cubicBezTo>
                  <a:pt x="4758174" y="11251761"/>
                  <a:pt x="4759131" y="11263279"/>
                  <a:pt x="4759241" y="11277701"/>
                </a:cubicBezTo>
                <a:close/>
                <a:moveTo>
                  <a:pt x="4760973" y="6914938"/>
                </a:moveTo>
                <a:cubicBezTo>
                  <a:pt x="4759182" y="6920348"/>
                  <a:pt x="4756312" y="6921320"/>
                  <a:pt x="4755536" y="6915786"/>
                </a:cubicBezTo>
                <a:cubicBezTo>
                  <a:pt x="4754657" y="6909803"/>
                  <a:pt x="4760915" y="6898933"/>
                  <a:pt x="4759933" y="6887466"/>
                </a:cubicBezTo>
                <a:cubicBezTo>
                  <a:pt x="4763475" y="6899681"/>
                  <a:pt x="4762764" y="6909528"/>
                  <a:pt x="4760973" y="6914938"/>
                </a:cubicBezTo>
                <a:close/>
                <a:moveTo>
                  <a:pt x="4766708" y="11058754"/>
                </a:moveTo>
                <a:lnTo>
                  <a:pt x="4765777" y="11201054"/>
                </a:lnTo>
                <a:lnTo>
                  <a:pt x="4755226" y="11200754"/>
                </a:lnTo>
                <a:cubicBezTo>
                  <a:pt x="4751503" y="11170142"/>
                  <a:pt x="4754502" y="11096548"/>
                  <a:pt x="4754141" y="11044195"/>
                </a:cubicBezTo>
                <a:cubicBezTo>
                  <a:pt x="4760398" y="11065634"/>
                  <a:pt x="4762363" y="11039708"/>
                  <a:pt x="4766708" y="11058754"/>
                </a:cubicBezTo>
                <a:close/>
                <a:moveTo>
                  <a:pt x="4767432" y="10959033"/>
                </a:moveTo>
                <a:lnTo>
                  <a:pt x="4767225" y="10987455"/>
                </a:lnTo>
                <a:cubicBezTo>
                  <a:pt x="4765414" y="10984762"/>
                  <a:pt x="4765156" y="10992939"/>
                  <a:pt x="4765001" y="11001615"/>
                </a:cubicBezTo>
                <a:cubicBezTo>
                  <a:pt x="4763346" y="10994036"/>
                  <a:pt x="4761639" y="10986755"/>
                  <a:pt x="4758743" y="10987255"/>
                </a:cubicBezTo>
                <a:cubicBezTo>
                  <a:pt x="4753933" y="10995132"/>
                  <a:pt x="4761174" y="11009592"/>
                  <a:pt x="4756364" y="11029935"/>
                </a:cubicBezTo>
                <a:cubicBezTo>
                  <a:pt x="4751761" y="11032329"/>
                  <a:pt x="4755691" y="10979476"/>
                  <a:pt x="4754761" y="10958735"/>
                </a:cubicBezTo>
                <a:cubicBezTo>
                  <a:pt x="4758536" y="10986656"/>
                  <a:pt x="4762467" y="10963323"/>
                  <a:pt x="4767432" y="10959033"/>
                </a:cubicBezTo>
                <a:close/>
                <a:moveTo>
                  <a:pt x="4768259" y="8539028"/>
                </a:moveTo>
                <a:cubicBezTo>
                  <a:pt x="4756777" y="8480094"/>
                  <a:pt x="4746744" y="8686414"/>
                  <a:pt x="4767535" y="8652909"/>
                </a:cubicBezTo>
                <a:cubicBezTo>
                  <a:pt x="4767122" y="8601653"/>
                  <a:pt x="4764742" y="8584202"/>
                  <a:pt x="4768259" y="8539028"/>
                </a:cubicBezTo>
                <a:close/>
                <a:moveTo>
                  <a:pt x="4768518" y="11590462"/>
                </a:moveTo>
                <a:lnTo>
                  <a:pt x="4768311" y="11618881"/>
                </a:lnTo>
                <a:lnTo>
                  <a:pt x="4764070" y="11618782"/>
                </a:lnTo>
                <a:lnTo>
                  <a:pt x="4764276" y="11590361"/>
                </a:lnTo>
                <a:close/>
                <a:moveTo>
                  <a:pt x="4772895" y="9044546"/>
                </a:moveTo>
                <a:cubicBezTo>
                  <a:pt x="4773056" y="9035085"/>
                  <a:pt x="4772681" y="9025612"/>
                  <a:pt x="4771414" y="9023169"/>
                </a:cubicBezTo>
                <a:cubicBezTo>
                  <a:pt x="4766604" y="9013497"/>
                  <a:pt x="4766500" y="9078614"/>
                  <a:pt x="4771155" y="9065849"/>
                </a:cubicBezTo>
                <a:cubicBezTo>
                  <a:pt x="4772035" y="9063456"/>
                  <a:pt x="4772733" y="9054007"/>
                  <a:pt x="4772895" y="9044546"/>
                </a:cubicBezTo>
                <a:close/>
                <a:moveTo>
                  <a:pt x="4776742" y="11471795"/>
                </a:moveTo>
                <a:lnTo>
                  <a:pt x="4776483" y="11514575"/>
                </a:lnTo>
                <a:lnTo>
                  <a:pt x="4772241" y="11514474"/>
                </a:lnTo>
                <a:lnTo>
                  <a:pt x="4772501" y="11471694"/>
                </a:lnTo>
                <a:close/>
                <a:moveTo>
                  <a:pt x="4779172" y="11414955"/>
                </a:moveTo>
                <a:cubicBezTo>
                  <a:pt x="4775500" y="11411463"/>
                  <a:pt x="4774569" y="11390323"/>
                  <a:pt x="4775345" y="11357913"/>
                </a:cubicBezTo>
                <a:cubicBezTo>
                  <a:pt x="4779017" y="11361405"/>
                  <a:pt x="4780000" y="11382446"/>
                  <a:pt x="4779172" y="11414955"/>
                </a:cubicBezTo>
                <a:close/>
                <a:moveTo>
                  <a:pt x="4780123" y="10020792"/>
                </a:moveTo>
                <a:cubicBezTo>
                  <a:pt x="4780349" y="10045074"/>
                  <a:pt x="4779379" y="10071375"/>
                  <a:pt x="4777259" y="10076710"/>
                </a:cubicBezTo>
                <a:cubicBezTo>
                  <a:pt x="4774310" y="10124178"/>
                  <a:pt x="4779586" y="10001822"/>
                  <a:pt x="4775811" y="9976991"/>
                </a:cubicBezTo>
                <a:cubicBezTo>
                  <a:pt x="4778474" y="9974248"/>
                  <a:pt x="4779896" y="9996511"/>
                  <a:pt x="4780123" y="10020792"/>
                </a:cubicBezTo>
                <a:close/>
                <a:moveTo>
                  <a:pt x="4784609" y="8581908"/>
                </a:moveTo>
                <a:cubicBezTo>
                  <a:pt x="4783413" y="8558674"/>
                  <a:pt x="4781215" y="8540225"/>
                  <a:pt x="4778810" y="8539228"/>
                </a:cubicBezTo>
                <a:cubicBezTo>
                  <a:pt x="4777982" y="8557178"/>
                  <a:pt x="4776742" y="8559172"/>
                  <a:pt x="4776431" y="8581908"/>
                </a:cubicBezTo>
                <a:cubicBezTo>
                  <a:pt x="4776069" y="8606937"/>
                  <a:pt x="4770639" y="8626583"/>
                  <a:pt x="4769656" y="8652909"/>
                </a:cubicBezTo>
                <a:cubicBezTo>
                  <a:pt x="4769707" y="8651313"/>
                  <a:pt x="4771880" y="8667768"/>
                  <a:pt x="4771570" y="8681429"/>
                </a:cubicBezTo>
                <a:cubicBezTo>
                  <a:pt x="4771311" y="8693994"/>
                  <a:pt x="4769242" y="8699977"/>
                  <a:pt x="4769294" y="8709848"/>
                </a:cubicBezTo>
                <a:cubicBezTo>
                  <a:pt x="4769294" y="8707455"/>
                  <a:pt x="4771104" y="8717228"/>
                  <a:pt x="4771311" y="8724110"/>
                </a:cubicBezTo>
                <a:cubicBezTo>
                  <a:pt x="4772914" y="8776561"/>
                  <a:pt x="4765725" y="8765991"/>
                  <a:pt x="4770845" y="8795208"/>
                </a:cubicBezTo>
                <a:cubicBezTo>
                  <a:pt x="4771259" y="8797603"/>
                  <a:pt x="4770639" y="8819442"/>
                  <a:pt x="4770639" y="8823730"/>
                </a:cubicBezTo>
                <a:cubicBezTo>
                  <a:pt x="4771259" y="8878974"/>
                  <a:pt x="4767846" y="8878375"/>
                  <a:pt x="4767897" y="8923249"/>
                </a:cubicBezTo>
                <a:cubicBezTo>
                  <a:pt x="4767897" y="8932125"/>
                  <a:pt x="4769914" y="8939404"/>
                  <a:pt x="4769914" y="8937509"/>
                </a:cubicBezTo>
                <a:cubicBezTo>
                  <a:pt x="4769914" y="8947082"/>
                  <a:pt x="4767277" y="8960644"/>
                  <a:pt x="4767639" y="8965930"/>
                </a:cubicBezTo>
                <a:cubicBezTo>
                  <a:pt x="4769345" y="8991159"/>
                  <a:pt x="4770845" y="9001231"/>
                  <a:pt x="4775914" y="8994649"/>
                </a:cubicBezTo>
                <a:cubicBezTo>
                  <a:pt x="4774931" y="8913178"/>
                  <a:pt x="4778965" y="8867506"/>
                  <a:pt x="4779328" y="8795408"/>
                </a:cubicBezTo>
                <a:lnTo>
                  <a:pt x="4783569" y="8795508"/>
                </a:lnTo>
                <a:cubicBezTo>
                  <a:pt x="4785378" y="8756718"/>
                  <a:pt x="4779534" y="8766789"/>
                  <a:pt x="4779690" y="8738469"/>
                </a:cubicBezTo>
                <a:cubicBezTo>
                  <a:pt x="4782948" y="8738370"/>
                  <a:pt x="4786878" y="8699777"/>
                  <a:pt x="4779897" y="8710048"/>
                </a:cubicBezTo>
                <a:lnTo>
                  <a:pt x="4780155" y="8667369"/>
                </a:lnTo>
                <a:cubicBezTo>
                  <a:pt x="4778965" y="8650714"/>
                  <a:pt x="4784034" y="8657995"/>
                  <a:pt x="4784396" y="8653307"/>
                </a:cubicBezTo>
                <a:cubicBezTo>
                  <a:pt x="4785999" y="8633164"/>
                  <a:pt x="4785805" y="8605143"/>
                  <a:pt x="4784609" y="8581908"/>
                </a:cubicBezTo>
                <a:close/>
                <a:moveTo>
                  <a:pt x="4786257" y="10973791"/>
                </a:moveTo>
                <a:cubicBezTo>
                  <a:pt x="4784758" y="10992839"/>
                  <a:pt x="4781551" y="11000118"/>
                  <a:pt x="4777621" y="11002013"/>
                </a:cubicBezTo>
                <a:cubicBezTo>
                  <a:pt x="4778293" y="10976984"/>
                  <a:pt x="4781499" y="10969705"/>
                  <a:pt x="4786257" y="10973791"/>
                </a:cubicBezTo>
                <a:close/>
                <a:moveTo>
                  <a:pt x="4786413" y="8296011"/>
                </a:moveTo>
                <a:cubicBezTo>
                  <a:pt x="4785534" y="8293018"/>
                  <a:pt x="4782586" y="8287136"/>
                  <a:pt x="4782586" y="8283047"/>
                </a:cubicBezTo>
                <a:cubicBezTo>
                  <a:pt x="4782068" y="8294116"/>
                  <a:pt x="4782327" y="8311069"/>
                  <a:pt x="4780310" y="8311467"/>
                </a:cubicBezTo>
                <a:cubicBezTo>
                  <a:pt x="4778035" y="8269185"/>
                  <a:pt x="4783723" y="8183327"/>
                  <a:pt x="4779379" y="8126387"/>
                </a:cubicBezTo>
                <a:cubicBezTo>
                  <a:pt x="4768518" y="8119008"/>
                  <a:pt x="4774828" y="8233287"/>
                  <a:pt x="4770018" y="8268488"/>
                </a:cubicBezTo>
                <a:cubicBezTo>
                  <a:pt x="4771621" y="8271678"/>
                  <a:pt x="4774208" y="8268987"/>
                  <a:pt x="4774156" y="8282848"/>
                </a:cubicBezTo>
                <a:cubicBezTo>
                  <a:pt x="4769397" y="8324531"/>
                  <a:pt x="4774724" y="8337594"/>
                  <a:pt x="4771518" y="8368208"/>
                </a:cubicBezTo>
                <a:cubicBezTo>
                  <a:pt x="4767949" y="8401814"/>
                  <a:pt x="4772294" y="8437215"/>
                  <a:pt x="4768569" y="8496248"/>
                </a:cubicBezTo>
                <a:cubicBezTo>
                  <a:pt x="4779741" y="8515794"/>
                  <a:pt x="4775552" y="8426644"/>
                  <a:pt x="4781810" y="8411187"/>
                </a:cubicBezTo>
                <a:cubicBezTo>
                  <a:pt x="4780931" y="8385759"/>
                  <a:pt x="4784500" y="8384363"/>
                  <a:pt x="4785844" y="8373792"/>
                </a:cubicBezTo>
                <a:lnTo>
                  <a:pt x="4785835" y="8373315"/>
                </a:lnTo>
                <a:lnTo>
                  <a:pt x="4785620" y="8362130"/>
                </a:lnTo>
                <a:cubicBezTo>
                  <a:pt x="4785593" y="8349250"/>
                  <a:pt x="4785782" y="8328412"/>
                  <a:pt x="4786026" y="8313114"/>
                </a:cubicBezTo>
                <a:lnTo>
                  <a:pt x="4786406" y="8296299"/>
                </a:lnTo>
                <a:close/>
                <a:moveTo>
                  <a:pt x="4786788" y="11122001"/>
                </a:moveTo>
                <a:cubicBezTo>
                  <a:pt x="4786413" y="11132721"/>
                  <a:pt x="4785172" y="11146208"/>
                  <a:pt x="4785069" y="11158773"/>
                </a:cubicBezTo>
                <a:cubicBezTo>
                  <a:pt x="4784551" y="11223093"/>
                  <a:pt x="4783931" y="11278936"/>
                  <a:pt x="4779741" y="11329494"/>
                </a:cubicBezTo>
                <a:cubicBezTo>
                  <a:pt x="4777931" y="11320719"/>
                  <a:pt x="4776069" y="11312142"/>
                  <a:pt x="4775500" y="11329394"/>
                </a:cubicBezTo>
                <a:cubicBezTo>
                  <a:pt x="4769500" y="11327301"/>
                  <a:pt x="4772034" y="11269961"/>
                  <a:pt x="4771931" y="11229673"/>
                </a:cubicBezTo>
                <a:cubicBezTo>
                  <a:pt x="4782586" y="11235557"/>
                  <a:pt x="4780879" y="11154187"/>
                  <a:pt x="4783310" y="11101834"/>
                </a:cubicBezTo>
                <a:cubicBezTo>
                  <a:pt x="4786672" y="11103329"/>
                  <a:pt x="4787163" y="11111282"/>
                  <a:pt x="4786788" y="11122001"/>
                </a:cubicBezTo>
                <a:close/>
                <a:moveTo>
                  <a:pt x="4789652" y="7961699"/>
                </a:moveTo>
                <a:cubicBezTo>
                  <a:pt x="4789349" y="7933628"/>
                  <a:pt x="4787344" y="7913035"/>
                  <a:pt x="4780776" y="7912885"/>
                </a:cubicBezTo>
                <a:cubicBezTo>
                  <a:pt x="4780207" y="7923955"/>
                  <a:pt x="4780516" y="7941007"/>
                  <a:pt x="4778500" y="7941306"/>
                </a:cubicBezTo>
                <a:cubicBezTo>
                  <a:pt x="4777311" y="7965937"/>
                  <a:pt x="4780672" y="7973317"/>
                  <a:pt x="4782378" y="7998346"/>
                </a:cubicBezTo>
                <a:cubicBezTo>
                  <a:pt x="4783672" y="8017692"/>
                  <a:pt x="4780879" y="8067950"/>
                  <a:pt x="4788327" y="8055387"/>
                </a:cubicBezTo>
                <a:cubicBezTo>
                  <a:pt x="4788560" y="8025321"/>
                  <a:pt x="4789956" y="7989770"/>
                  <a:pt x="4789652" y="7961699"/>
                </a:cubicBezTo>
                <a:close/>
                <a:moveTo>
                  <a:pt x="4792181" y="9850373"/>
                </a:moveTo>
                <a:cubicBezTo>
                  <a:pt x="4794077" y="9868103"/>
                  <a:pt x="4788598" y="9893475"/>
                  <a:pt x="4788793" y="9934609"/>
                </a:cubicBezTo>
                <a:cubicBezTo>
                  <a:pt x="4784086" y="9928328"/>
                  <a:pt x="4788378" y="9864408"/>
                  <a:pt x="4787344" y="9834890"/>
                </a:cubicBezTo>
                <a:cubicBezTo>
                  <a:pt x="4790098" y="9839402"/>
                  <a:pt x="4791550" y="9844463"/>
                  <a:pt x="4792181" y="9850373"/>
                </a:cubicBezTo>
                <a:close/>
                <a:moveTo>
                  <a:pt x="4795671" y="7571645"/>
                </a:moveTo>
                <a:lnTo>
                  <a:pt x="4787240" y="7571445"/>
                </a:lnTo>
                <a:cubicBezTo>
                  <a:pt x="4787499" y="7628385"/>
                  <a:pt x="4782896" y="7650323"/>
                  <a:pt x="4784137" y="7713746"/>
                </a:cubicBezTo>
                <a:cubicBezTo>
                  <a:pt x="4791482" y="7725013"/>
                  <a:pt x="4790706" y="7666378"/>
                  <a:pt x="4790861" y="7657005"/>
                </a:cubicBezTo>
                <a:cubicBezTo>
                  <a:pt x="4791326" y="7625394"/>
                  <a:pt x="4797016" y="7638058"/>
                  <a:pt x="4795464" y="7600165"/>
                </a:cubicBezTo>
                <a:close/>
                <a:moveTo>
                  <a:pt x="4797572" y="9606531"/>
                </a:moveTo>
                <a:cubicBezTo>
                  <a:pt x="4797093" y="9620667"/>
                  <a:pt x="4795464" y="9632708"/>
                  <a:pt x="4792930" y="9621589"/>
                </a:cubicBezTo>
                <a:lnTo>
                  <a:pt x="4793085" y="9593069"/>
                </a:lnTo>
                <a:cubicBezTo>
                  <a:pt x="4794895" y="9595762"/>
                  <a:pt x="4795154" y="9587584"/>
                  <a:pt x="4795308" y="9578908"/>
                </a:cubicBezTo>
                <a:cubicBezTo>
                  <a:pt x="4797378" y="9576166"/>
                  <a:pt x="4798050" y="9592396"/>
                  <a:pt x="4797572" y="9606531"/>
                </a:cubicBezTo>
                <a:close/>
                <a:moveTo>
                  <a:pt x="4798768" y="6308965"/>
                </a:moveTo>
                <a:cubicBezTo>
                  <a:pt x="4798658" y="6298694"/>
                  <a:pt x="4798128" y="6287002"/>
                  <a:pt x="4797792" y="6262022"/>
                </a:cubicBezTo>
                <a:cubicBezTo>
                  <a:pt x="4787034" y="6245269"/>
                  <a:pt x="4786257" y="6363436"/>
                  <a:pt x="4797223" y="6347382"/>
                </a:cubicBezTo>
                <a:cubicBezTo>
                  <a:pt x="4798567" y="6328086"/>
                  <a:pt x="4798878" y="6319236"/>
                  <a:pt x="4798768" y="6308965"/>
                </a:cubicBezTo>
                <a:close/>
                <a:moveTo>
                  <a:pt x="4803804" y="11142457"/>
                </a:moveTo>
                <a:cubicBezTo>
                  <a:pt x="4803985" y="11149550"/>
                  <a:pt x="4803558" y="11159871"/>
                  <a:pt x="4801929" y="11159273"/>
                </a:cubicBezTo>
                <a:cubicBezTo>
                  <a:pt x="4805498" y="11196368"/>
                  <a:pt x="4800739" y="11202151"/>
                  <a:pt x="4803480" y="11244731"/>
                </a:cubicBezTo>
                <a:cubicBezTo>
                  <a:pt x="4801774" y="11252210"/>
                  <a:pt x="4799964" y="11259491"/>
                  <a:pt x="4797067" y="11258792"/>
                </a:cubicBezTo>
                <a:cubicBezTo>
                  <a:pt x="4799136" y="11297584"/>
                  <a:pt x="4800326" y="11368186"/>
                  <a:pt x="4790085" y="11358313"/>
                </a:cubicBezTo>
                <a:cubicBezTo>
                  <a:pt x="4795205" y="11329593"/>
                  <a:pt x="4789827" y="11303966"/>
                  <a:pt x="4790654" y="11272854"/>
                </a:cubicBezTo>
                <a:cubicBezTo>
                  <a:pt x="4790706" y="11272455"/>
                  <a:pt x="4792723" y="11269263"/>
                  <a:pt x="4792879" y="11258693"/>
                </a:cubicBezTo>
                <a:cubicBezTo>
                  <a:pt x="4792930" y="11254903"/>
                  <a:pt x="4792775" y="11247924"/>
                  <a:pt x="4792981" y="11244432"/>
                </a:cubicBezTo>
                <a:cubicBezTo>
                  <a:pt x="4793860" y="11230671"/>
                  <a:pt x="4796343" y="11216512"/>
                  <a:pt x="4795516" y="11173331"/>
                </a:cubicBezTo>
                <a:cubicBezTo>
                  <a:pt x="4799136" y="11174031"/>
                  <a:pt x="4801049" y="11162861"/>
                  <a:pt x="4802033" y="11145011"/>
                </a:cubicBezTo>
                <a:cubicBezTo>
                  <a:pt x="4802834" y="11131499"/>
                  <a:pt x="4803623" y="11135364"/>
                  <a:pt x="4803804" y="11142457"/>
                </a:cubicBezTo>
                <a:close/>
                <a:moveTo>
                  <a:pt x="4804152" y="8852947"/>
                </a:moveTo>
                <a:cubicBezTo>
                  <a:pt x="4801877" y="8831807"/>
                  <a:pt x="4795568" y="8836095"/>
                  <a:pt x="4796137" y="8795907"/>
                </a:cubicBezTo>
                <a:cubicBezTo>
                  <a:pt x="4799447" y="8794710"/>
                  <a:pt x="4803429" y="8798002"/>
                  <a:pt x="4802653" y="8767587"/>
                </a:cubicBezTo>
                <a:cubicBezTo>
                  <a:pt x="4797688" y="8767785"/>
                  <a:pt x="4796602" y="8742956"/>
                  <a:pt x="4790085" y="8753027"/>
                </a:cubicBezTo>
                <a:cubicBezTo>
                  <a:pt x="4791947" y="8844072"/>
                  <a:pt x="4789620" y="8882464"/>
                  <a:pt x="4788585" y="8980788"/>
                </a:cubicBezTo>
                <a:cubicBezTo>
                  <a:pt x="4791585" y="8993254"/>
                  <a:pt x="4796705" y="8992256"/>
                  <a:pt x="4794534" y="9037828"/>
                </a:cubicBezTo>
                <a:cubicBezTo>
                  <a:pt x="4791429" y="9038027"/>
                  <a:pt x="4788224" y="8977597"/>
                  <a:pt x="4788224" y="9037629"/>
                </a:cubicBezTo>
                <a:cubicBezTo>
                  <a:pt x="4786257" y="9110424"/>
                  <a:pt x="4797430" y="9013795"/>
                  <a:pt x="4798567" y="9066348"/>
                </a:cubicBezTo>
                <a:cubicBezTo>
                  <a:pt x="4797739" y="9119200"/>
                  <a:pt x="4790033" y="9233977"/>
                  <a:pt x="4797378" y="9251428"/>
                </a:cubicBezTo>
                <a:cubicBezTo>
                  <a:pt x="4802239" y="9177038"/>
                  <a:pt x="4799757" y="9080608"/>
                  <a:pt x="4801154" y="8995248"/>
                </a:cubicBezTo>
                <a:cubicBezTo>
                  <a:pt x="4801412" y="8978095"/>
                  <a:pt x="4802911" y="8973707"/>
                  <a:pt x="4803532" y="8952567"/>
                </a:cubicBezTo>
                <a:cubicBezTo>
                  <a:pt x="4804515" y="8917764"/>
                  <a:pt x="4803377" y="8885655"/>
                  <a:pt x="4804152" y="8852947"/>
                </a:cubicBezTo>
                <a:close/>
                <a:moveTo>
                  <a:pt x="4806933" y="10146752"/>
                </a:moveTo>
                <a:cubicBezTo>
                  <a:pt x="4806959" y="10162919"/>
                  <a:pt x="4806454" y="10179722"/>
                  <a:pt x="4806118" y="10191389"/>
                </a:cubicBezTo>
                <a:cubicBezTo>
                  <a:pt x="4805291" y="10219709"/>
                  <a:pt x="4802291" y="10222203"/>
                  <a:pt x="4803532" y="10262490"/>
                </a:cubicBezTo>
                <a:cubicBezTo>
                  <a:pt x="4804463" y="10294301"/>
                  <a:pt x="4803273" y="10286123"/>
                  <a:pt x="4802963" y="10347850"/>
                </a:cubicBezTo>
                <a:cubicBezTo>
                  <a:pt x="4802860" y="10370785"/>
                  <a:pt x="4804308" y="10372481"/>
                  <a:pt x="4804825" y="10390629"/>
                </a:cubicBezTo>
                <a:cubicBezTo>
                  <a:pt x="4805136" y="10401301"/>
                  <a:pt x="4803429" y="10440290"/>
                  <a:pt x="4804463" y="10447570"/>
                </a:cubicBezTo>
                <a:cubicBezTo>
                  <a:pt x="4805705" y="10456645"/>
                  <a:pt x="4805911" y="10459736"/>
                  <a:pt x="4804256" y="10475991"/>
                </a:cubicBezTo>
                <a:cubicBezTo>
                  <a:pt x="4802498" y="10493142"/>
                  <a:pt x="4802704" y="10522260"/>
                  <a:pt x="4803688" y="10561350"/>
                </a:cubicBezTo>
                <a:cubicBezTo>
                  <a:pt x="4798360" y="10556863"/>
                  <a:pt x="4798308" y="10595355"/>
                  <a:pt x="4796963" y="10618191"/>
                </a:cubicBezTo>
                <a:cubicBezTo>
                  <a:pt x="4794844" y="10654589"/>
                  <a:pt x="4795205" y="10689392"/>
                  <a:pt x="4796137" y="10746332"/>
                </a:cubicBezTo>
                <a:lnTo>
                  <a:pt x="4789827" y="10746131"/>
                </a:lnTo>
                <a:cubicBezTo>
                  <a:pt x="4788585" y="10806762"/>
                  <a:pt x="4790912" y="10892819"/>
                  <a:pt x="4786517" y="10931113"/>
                </a:cubicBezTo>
                <a:cubicBezTo>
                  <a:pt x="4782224" y="10923035"/>
                  <a:pt x="4782224" y="10908775"/>
                  <a:pt x="4784706" y="10888333"/>
                </a:cubicBezTo>
                <a:cubicBezTo>
                  <a:pt x="4786465" y="10871281"/>
                  <a:pt x="4782793" y="10863602"/>
                  <a:pt x="4782793" y="10859813"/>
                </a:cubicBezTo>
                <a:cubicBezTo>
                  <a:pt x="4782793" y="10857220"/>
                  <a:pt x="4787292" y="10814539"/>
                  <a:pt x="4785378" y="10802773"/>
                </a:cubicBezTo>
                <a:cubicBezTo>
                  <a:pt x="4781862" y="10782629"/>
                  <a:pt x="4785690" y="10783926"/>
                  <a:pt x="4785637" y="10760093"/>
                </a:cubicBezTo>
                <a:cubicBezTo>
                  <a:pt x="4785637" y="10748325"/>
                  <a:pt x="4783465" y="10746131"/>
                  <a:pt x="4783723" y="10731573"/>
                </a:cubicBezTo>
                <a:cubicBezTo>
                  <a:pt x="4784137" y="10708737"/>
                  <a:pt x="4785482" y="10707441"/>
                  <a:pt x="4786103" y="10688992"/>
                </a:cubicBezTo>
                <a:cubicBezTo>
                  <a:pt x="4787551" y="10644019"/>
                  <a:pt x="4786620" y="10640329"/>
                  <a:pt x="4788844" y="10589372"/>
                </a:cubicBezTo>
                <a:cubicBezTo>
                  <a:pt x="4790033" y="10562049"/>
                  <a:pt x="4789774" y="10575111"/>
                  <a:pt x="4789103" y="10546692"/>
                </a:cubicBezTo>
                <a:cubicBezTo>
                  <a:pt x="4788430" y="10516975"/>
                  <a:pt x="4790809" y="10509097"/>
                  <a:pt x="4791585" y="10489852"/>
                </a:cubicBezTo>
                <a:cubicBezTo>
                  <a:pt x="4791326" y="10473197"/>
                  <a:pt x="4787809" y="10477785"/>
                  <a:pt x="4785327" y="10475491"/>
                </a:cubicBezTo>
                <a:cubicBezTo>
                  <a:pt x="4783362" y="10445675"/>
                  <a:pt x="4788844" y="10456046"/>
                  <a:pt x="4789723" y="10447171"/>
                </a:cubicBezTo>
                <a:cubicBezTo>
                  <a:pt x="4791585" y="10428323"/>
                  <a:pt x="4789516" y="10401301"/>
                  <a:pt x="4792206" y="10390331"/>
                </a:cubicBezTo>
                <a:cubicBezTo>
                  <a:pt x="4791120" y="10356127"/>
                  <a:pt x="4789567" y="10325313"/>
                  <a:pt x="4790809" y="10276351"/>
                </a:cubicBezTo>
                <a:cubicBezTo>
                  <a:pt x="4795877" y="10270865"/>
                  <a:pt x="4789206" y="10341169"/>
                  <a:pt x="4796861" y="10319231"/>
                </a:cubicBezTo>
                <a:cubicBezTo>
                  <a:pt x="4800739" y="10323718"/>
                  <a:pt x="4797532" y="10272062"/>
                  <a:pt x="4799343" y="10262389"/>
                </a:cubicBezTo>
                <a:cubicBezTo>
                  <a:pt x="4800326" y="10257005"/>
                  <a:pt x="4802084" y="10248728"/>
                  <a:pt x="4801618" y="10233970"/>
                </a:cubicBezTo>
                <a:cubicBezTo>
                  <a:pt x="4801463" y="10229483"/>
                  <a:pt x="4799706" y="10213626"/>
                  <a:pt x="4799601" y="10219611"/>
                </a:cubicBezTo>
                <a:cubicBezTo>
                  <a:pt x="4799808" y="10207544"/>
                  <a:pt x="4803946" y="10194281"/>
                  <a:pt x="4803998" y="10191289"/>
                </a:cubicBezTo>
                <a:cubicBezTo>
                  <a:pt x="4804359" y="10158381"/>
                  <a:pt x="4797842" y="10171246"/>
                  <a:pt x="4802343" y="10120090"/>
                </a:cubicBezTo>
                <a:cubicBezTo>
                  <a:pt x="4802653" y="10116998"/>
                  <a:pt x="4805549" y="10118992"/>
                  <a:pt x="4804567" y="10105929"/>
                </a:cubicBezTo>
                <a:cubicBezTo>
                  <a:pt x="4806351" y="10115053"/>
                  <a:pt x="4806907" y="10130585"/>
                  <a:pt x="4806933" y="10146752"/>
                </a:cubicBezTo>
                <a:close/>
                <a:moveTo>
                  <a:pt x="4808394" y="4625117"/>
                </a:moveTo>
                <a:cubicBezTo>
                  <a:pt x="4808291" y="4566482"/>
                  <a:pt x="4808860" y="4504057"/>
                  <a:pt x="4802963" y="4482617"/>
                </a:cubicBezTo>
                <a:cubicBezTo>
                  <a:pt x="4803067" y="4508146"/>
                  <a:pt x="4800636" y="4515824"/>
                  <a:pt x="4796447" y="4510938"/>
                </a:cubicBezTo>
                <a:cubicBezTo>
                  <a:pt x="4794636" y="4544444"/>
                  <a:pt x="4791637" y="4609162"/>
                  <a:pt x="4795619" y="4639077"/>
                </a:cubicBezTo>
                <a:cubicBezTo>
                  <a:pt x="4800585" y="4639477"/>
                  <a:pt x="4801981" y="4614647"/>
                  <a:pt x="4808394" y="4625117"/>
                </a:cubicBezTo>
                <a:close/>
                <a:moveTo>
                  <a:pt x="4811016" y="9962793"/>
                </a:moveTo>
                <a:cubicBezTo>
                  <a:pt x="4810996" y="9982108"/>
                  <a:pt x="4807980" y="9982800"/>
                  <a:pt x="4807204" y="10020569"/>
                </a:cubicBezTo>
                <a:cubicBezTo>
                  <a:pt x="4802343" y="10015882"/>
                  <a:pt x="4799084" y="10022662"/>
                  <a:pt x="4796550" y="10034529"/>
                </a:cubicBezTo>
                <a:cubicBezTo>
                  <a:pt x="4797119" y="10051980"/>
                  <a:pt x="4795671" y="10122384"/>
                  <a:pt x="4794171" y="10077210"/>
                </a:cubicBezTo>
                <a:lnTo>
                  <a:pt x="4794636" y="10006011"/>
                </a:lnTo>
                <a:cubicBezTo>
                  <a:pt x="4800533" y="10017876"/>
                  <a:pt x="4800274" y="9986066"/>
                  <a:pt x="4805239" y="9992049"/>
                </a:cubicBezTo>
                <a:cubicBezTo>
                  <a:pt x="4805911" y="9966820"/>
                  <a:pt x="4803584" y="9920750"/>
                  <a:pt x="4809842" y="9935208"/>
                </a:cubicBezTo>
                <a:cubicBezTo>
                  <a:pt x="4810695" y="9947847"/>
                  <a:pt x="4811022" y="9956355"/>
                  <a:pt x="4811016" y="9962793"/>
                </a:cubicBezTo>
                <a:close/>
                <a:moveTo>
                  <a:pt x="4811478" y="9812827"/>
                </a:moveTo>
                <a:cubicBezTo>
                  <a:pt x="4809519" y="9815245"/>
                  <a:pt x="4806610" y="9813351"/>
                  <a:pt x="4806480" y="9806969"/>
                </a:cubicBezTo>
                <a:cubicBezTo>
                  <a:pt x="4806326" y="9798493"/>
                  <a:pt x="4809584" y="9789119"/>
                  <a:pt x="4810773" y="9792808"/>
                </a:cubicBezTo>
                <a:cubicBezTo>
                  <a:pt x="4814445" y="9803677"/>
                  <a:pt x="4813436" y="9810409"/>
                  <a:pt x="4811478" y="9812827"/>
                </a:cubicBezTo>
                <a:close/>
                <a:moveTo>
                  <a:pt x="4811943" y="11264240"/>
                </a:moveTo>
                <a:cubicBezTo>
                  <a:pt x="4811962" y="11290080"/>
                  <a:pt x="4811523" y="11326053"/>
                  <a:pt x="4811290" y="11344452"/>
                </a:cubicBezTo>
                <a:cubicBezTo>
                  <a:pt x="4811032" y="11367686"/>
                  <a:pt x="4809429" y="11368585"/>
                  <a:pt x="4808911" y="11387132"/>
                </a:cubicBezTo>
                <a:cubicBezTo>
                  <a:pt x="4808187" y="11413459"/>
                  <a:pt x="4809221" y="11442278"/>
                  <a:pt x="4808343" y="11472492"/>
                </a:cubicBezTo>
                <a:cubicBezTo>
                  <a:pt x="4807722" y="11494332"/>
                  <a:pt x="4806480" y="11497223"/>
                  <a:pt x="4805963" y="11515173"/>
                </a:cubicBezTo>
                <a:cubicBezTo>
                  <a:pt x="4804825" y="11555060"/>
                  <a:pt x="4806687" y="11592855"/>
                  <a:pt x="4805239" y="11629053"/>
                </a:cubicBezTo>
                <a:cubicBezTo>
                  <a:pt x="4803946" y="11661562"/>
                  <a:pt x="4800429" y="11675522"/>
                  <a:pt x="4798464" y="11700054"/>
                </a:cubicBezTo>
                <a:cubicBezTo>
                  <a:pt x="4794688" y="11672131"/>
                  <a:pt x="4790757" y="11695466"/>
                  <a:pt x="4785792" y="11699754"/>
                </a:cubicBezTo>
                <a:cubicBezTo>
                  <a:pt x="4784758" y="11679013"/>
                  <a:pt x="4788741" y="11626261"/>
                  <a:pt x="4784137" y="11628553"/>
                </a:cubicBezTo>
                <a:cubicBezTo>
                  <a:pt x="4786103" y="11597940"/>
                  <a:pt x="4793550" y="11605818"/>
                  <a:pt x="4797067" y="11586172"/>
                </a:cubicBezTo>
                <a:cubicBezTo>
                  <a:pt x="4798360" y="11525543"/>
                  <a:pt x="4795464" y="11488448"/>
                  <a:pt x="4800015" y="11458132"/>
                </a:cubicBezTo>
                <a:cubicBezTo>
                  <a:pt x="4803894" y="11432206"/>
                  <a:pt x="4798826" y="11427818"/>
                  <a:pt x="4800585" y="11372772"/>
                </a:cubicBezTo>
                <a:cubicBezTo>
                  <a:pt x="4804980" y="11383343"/>
                  <a:pt x="4803532" y="11354823"/>
                  <a:pt x="4804980" y="11344252"/>
                </a:cubicBezTo>
                <a:cubicBezTo>
                  <a:pt x="4805447" y="11340762"/>
                  <a:pt x="4809066" y="11333383"/>
                  <a:pt x="4809273" y="11330192"/>
                </a:cubicBezTo>
                <a:cubicBezTo>
                  <a:pt x="4810566" y="11310447"/>
                  <a:pt x="4807256" y="11303268"/>
                  <a:pt x="4807411" y="11287412"/>
                </a:cubicBezTo>
                <a:cubicBezTo>
                  <a:pt x="4807359" y="11293695"/>
                  <a:pt x="4809480" y="11276742"/>
                  <a:pt x="4809635" y="11273251"/>
                </a:cubicBezTo>
                <a:cubicBezTo>
                  <a:pt x="4810049" y="11264377"/>
                  <a:pt x="4809531" y="11253907"/>
                  <a:pt x="4809842" y="11244832"/>
                </a:cubicBezTo>
                <a:cubicBezTo>
                  <a:pt x="4811445" y="11222694"/>
                  <a:pt x="4811924" y="11238400"/>
                  <a:pt x="4811943" y="11264240"/>
                </a:cubicBezTo>
                <a:close/>
                <a:moveTo>
                  <a:pt x="4811956" y="9321506"/>
                </a:moveTo>
                <a:cubicBezTo>
                  <a:pt x="4811665" y="9337013"/>
                  <a:pt x="4810928" y="9355386"/>
                  <a:pt x="4811446" y="9365707"/>
                </a:cubicBezTo>
                <a:cubicBezTo>
                  <a:pt x="4802033" y="9367902"/>
                  <a:pt x="4806326" y="9315549"/>
                  <a:pt x="4809790" y="9294508"/>
                </a:cubicBezTo>
                <a:cubicBezTo>
                  <a:pt x="4812092" y="9293361"/>
                  <a:pt x="4812247" y="9306000"/>
                  <a:pt x="4811956" y="9321506"/>
                </a:cubicBezTo>
                <a:close/>
                <a:moveTo>
                  <a:pt x="4813463" y="10362409"/>
                </a:moveTo>
                <a:cubicBezTo>
                  <a:pt x="4810928" y="10356027"/>
                  <a:pt x="4809273" y="10344060"/>
                  <a:pt x="4809531" y="10319529"/>
                </a:cubicBezTo>
                <a:cubicBezTo>
                  <a:pt x="4814083" y="10312948"/>
                  <a:pt x="4813411" y="10339972"/>
                  <a:pt x="4813463" y="10362409"/>
                </a:cubicBezTo>
                <a:close/>
                <a:moveTo>
                  <a:pt x="4815065" y="9138046"/>
                </a:moveTo>
                <a:cubicBezTo>
                  <a:pt x="4809324" y="9152008"/>
                  <a:pt x="4817031" y="9261301"/>
                  <a:pt x="4807980" y="9251728"/>
                </a:cubicBezTo>
                <a:cubicBezTo>
                  <a:pt x="4811962" y="9194687"/>
                  <a:pt x="4805239" y="9154002"/>
                  <a:pt x="4815065" y="9138046"/>
                </a:cubicBezTo>
                <a:close/>
                <a:moveTo>
                  <a:pt x="4815273" y="7145043"/>
                </a:moveTo>
                <a:lnTo>
                  <a:pt x="4814911" y="7201982"/>
                </a:lnTo>
                <a:lnTo>
                  <a:pt x="4810669" y="7201883"/>
                </a:lnTo>
                <a:lnTo>
                  <a:pt x="4811032" y="7144942"/>
                </a:lnTo>
                <a:close/>
                <a:moveTo>
                  <a:pt x="4820083" y="6732401"/>
                </a:moveTo>
                <a:cubicBezTo>
                  <a:pt x="4814807" y="6734495"/>
                  <a:pt x="4813669" y="6709863"/>
                  <a:pt x="4809687" y="6703681"/>
                </a:cubicBezTo>
                <a:cubicBezTo>
                  <a:pt x="4809893" y="6712655"/>
                  <a:pt x="4809221" y="6723326"/>
                  <a:pt x="4809480" y="6732202"/>
                </a:cubicBezTo>
                <a:cubicBezTo>
                  <a:pt x="4810152" y="6753142"/>
                  <a:pt x="4811911" y="6734395"/>
                  <a:pt x="4813617" y="6746562"/>
                </a:cubicBezTo>
                <a:cubicBezTo>
                  <a:pt x="4814342" y="6751249"/>
                  <a:pt x="4812790" y="6769597"/>
                  <a:pt x="4813463" y="6774882"/>
                </a:cubicBezTo>
                <a:cubicBezTo>
                  <a:pt x="4814342" y="6781961"/>
                  <a:pt x="4818687" y="6769297"/>
                  <a:pt x="4819824" y="6775081"/>
                </a:cubicBezTo>
                <a:close/>
                <a:moveTo>
                  <a:pt x="4821996" y="7088201"/>
                </a:moveTo>
                <a:cubicBezTo>
                  <a:pt x="4816049" y="7085708"/>
                  <a:pt x="4813359" y="7061876"/>
                  <a:pt x="4807411" y="7059383"/>
                </a:cubicBezTo>
                <a:cubicBezTo>
                  <a:pt x="4810411" y="7111236"/>
                  <a:pt x="4798722" y="7146837"/>
                  <a:pt x="4802498" y="7173263"/>
                </a:cubicBezTo>
                <a:cubicBezTo>
                  <a:pt x="4805705" y="7195999"/>
                  <a:pt x="4806015" y="7254236"/>
                  <a:pt x="4805963" y="7287243"/>
                </a:cubicBezTo>
                <a:cubicBezTo>
                  <a:pt x="4808445" y="7289537"/>
                  <a:pt x="4812015" y="7284949"/>
                  <a:pt x="4812221" y="7301602"/>
                </a:cubicBezTo>
                <a:cubicBezTo>
                  <a:pt x="4809273" y="7356448"/>
                  <a:pt x="4811032" y="7409700"/>
                  <a:pt x="4811290" y="7443904"/>
                </a:cubicBezTo>
                <a:cubicBezTo>
                  <a:pt x="4811548" y="7478407"/>
                  <a:pt x="4807566" y="7550205"/>
                  <a:pt x="4814859" y="7543623"/>
                </a:cubicBezTo>
                <a:cubicBezTo>
                  <a:pt x="4816049" y="7543623"/>
                  <a:pt x="4817341" y="7532155"/>
                  <a:pt x="4814962" y="7529363"/>
                </a:cubicBezTo>
                <a:cubicBezTo>
                  <a:pt x="4818428" y="7444801"/>
                  <a:pt x="4816566" y="7322444"/>
                  <a:pt x="4821013" y="7244762"/>
                </a:cubicBezTo>
                <a:cubicBezTo>
                  <a:pt x="4817083" y="7242469"/>
                  <a:pt x="4820031" y="7196498"/>
                  <a:pt x="4817135" y="7187722"/>
                </a:cubicBezTo>
                <a:cubicBezTo>
                  <a:pt x="4822669" y="7148932"/>
                  <a:pt x="4818375" y="7127093"/>
                  <a:pt x="4821996" y="7088201"/>
                </a:cubicBezTo>
                <a:close/>
                <a:moveTo>
                  <a:pt x="4822979" y="7913983"/>
                </a:moveTo>
                <a:cubicBezTo>
                  <a:pt x="4820652" y="7910891"/>
                  <a:pt x="4819772" y="7898127"/>
                  <a:pt x="4818944" y="7885463"/>
                </a:cubicBezTo>
                <a:cubicBezTo>
                  <a:pt x="4817652" y="7831813"/>
                  <a:pt x="4821945" y="7817553"/>
                  <a:pt x="4821790" y="7771683"/>
                </a:cubicBezTo>
                <a:cubicBezTo>
                  <a:pt x="4815738" y="7783250"/>
                  <a:pt x="4816462" y="7751440"/>
                  <a:pt x="4811342" y="7757123"/>
                </a:cubicBezTo>
                <a:cubicBezTo>
                  <a:pt x="4814445" y="7819748"/>
                  <a:pt x="4805601" y="7823438"/>
                  <a:pt x="4804463" y="7842384"/>
                </a:cubicBezTo>
                <a:cubicBezTo>
                  <a:pt x="4802550" y="7873997"/>
                  <a:pt x="4804256" y="7912088"/>
                  <a:pt x="4801618" y="7956165"/>
                </a:cubicBezTo>
                <a:cubicBezTo>
                  <a:pt x="4800739" y="7988972"/>
                  <a:pt x="4807618" y="7972120"/>
                  <a:pt x="4807670" y="7999045"/>
                </a:cubicBezTo>
                <a:cubicBezTo>
                  <a:pt x="4807464" y="8018590"/>
                  <a:pt x="4808445" y="8030357"/>
                  <a:pt x="4809480" y="8041824"/>
                </a:cubicBezTo>
                <a:cubicBezTo>
                  <a:pt x="4806997" y="8092881"/>
                  <a:pt x="4810980" y="8137056"/>
                  <a:pt x="4810669" y="8184224"/>
                </a:cubicBezTo>
                <a:cubicBezTo>
                  <a:pt x="4810721" y="8180136"/>
                  <a:pt x="4808704" y="8192801"/>
                  <a:pt x="4808445" y="8198385"/>
                </a:cubicBezTo>
                <a:cubicBezTo>
                  <a:pt x="4805756" y="8260111"/>
                  <a:pt x="4811032" y="8341482"/>
                  <a:pt x="4805239" y="8369106"/>
                </a:cubicBezTo>
                <a:cubicBezTo>
                  <a:pt x="4802446" y="8368806"/>
                  <a:pt x="4803480" y="8344076"/>
                  <a:pt x="4801205" y="8340486"/>
                </a:cubicBezTo>
                <a:cubicBezTo>
                  <a:pt x="4801101" y="8354845"/>
                  <a:pt x="4797378" y="8358236"/>
                  <a:pt x="4796963" y="8340386"/>
                </a:cubicBezTo>
                <a:cubicBezTo>
                  <a:pt x="4794946" y="8268787"/>
                  <a:pt x="4803171" y="8216433"/>
                  <a:pt x="4798051" y="8169565"/>
                </a:cubicBezTo>
                <a:cubicBezTo>
                  <a:pt x="4792412" y="8159594"/>
                  <a:pt x="4793757" y="8198883"/>
                  <a:pt x="4791429" y="8212046"/>
                </a:cubicBezTo>
                <a:cubicBezTo>
                  <a:pt x="4790396" y="8286736"/>
                  <a:pt x="4796861" y="8339389"/>
                  <a:pt x="4792361" y="8397126"/>
                </a:cubicBezTo>
                <a:cubicBezTo>
                  <a:pt x="4800843" y="8388052"/>
                  <a:pt x="4798051" y="8451374"/>
                  <a:pt x="4798051" y="8496946"/>
                </a:cubicBezTo>
                <a:cubicBezTo>
                  <a:pt x="4800480" y="8503927"/>
                  <a:pt x="4802756" y="8512304"/>
                  <a:pt x="4804205" y="8525566"/>
                </a:cubicBezTo>
                <a:cubicBezTo>
                  <a:pt x="4805498" y="8564457"/>
                  <a:pt x="4799808" y="8554086"/>
                  <a:pt x="4799601" y="8582406"/>
                </a:cubicBezTo>
                <a:cubicBezTo>
                  <a:pt x="4802033" y="8584799"/>
                  <a:pt x="4801722" y="8604943"/>
                  <a:pt x="4801412" y="8625186"/>
                </a:cubicBezTo>
                <a:cubicBezTo>
                  <a:pt x="4803377" y="8644233"/>
                  <a:pt x="4806946" y="8653307"/>
                  <a:pt x="4807359" y="8682226"/>
                </a:cubicBezTo>
                <a:cubicBezTo>
                  <a:pt x="4802291" y="8713439"/>
                  <a:pt x="4807515" y="8739067"/>
                  <a:pt x="4813307" y="8739366"/>
                </a:cubicBezTo>
                <a:cubicBezTo>
                  <a:pt x="4817289" y="8692099"/>
                  <a:pt x="4812636" y="8676243"/>
                  <a:pt x="4814135" y="8611325"/>
                </a:cubicBezTo>
                <a:cubicBezTo>
                  <a:pt x="4811652" y="8609031"/>
                  <a:pt x="4808135" y="8613619"/>
                  <a:pt x="4807876" y="8596966"/>
                </a:cubicBezTo>
                <a:cubicBezTo>
                  <a:pt x="4815738" y="8595670"/>
                  <a:pt x="4810721" y="8539925"/>
                  <a:pt x="4810566" y="8511605"/>
                </a:cubicBezTo>
                <a:cubicBezTo>
                  <a:pt x="4810152" y="8452670"/>
                  <a:pt x="4812946" y="8429137"/>
                  <a:pt x="4813411" y="8397824"/>
                </a:cubicBezTo>
                <a:cubicBezTo>
                  <a:pt x="4813928" y="8364817"/>
                  <a:pt x="4813876" y="8309573"/>
                  <a:pt x="4814031" y="8298204"/>
                </a:cubicBezTo>
                <a:cubicBezTo>
                  <a:pt x="4814186" y="8288631"/>
                  <a:pt x="4816255" y="8283247"/>
                  <a:pt x="4816255" y="8284045"/>
                </a:cubicBezTo>
                <a:cubicBezTo>
                  <a:pt x="4816618" y="8265895"/>
                  <a:pt x="4813876" y="8264599"/>
                  <a:pt x="4814445" y="8241264"/>
                </a:cubicBezTo>
                <a:cubicBezTo>
                  <a:pt x="4814962" y="8220023"/>
                  <a:pt x="4816928" y="8215936"/>
                  <a:pt x="4816928" y="8184325"/>
                </a:cubicBezTo>
                <a:cubicBezTo>
                  <a:pt x="4816928" y="8157698"/>
                  <a:pt x="4815118" y="8137955"/>
                  <a:pt x="4815273" y="8113124"/>
                </a:cubicBezTo>
                <a:cubicBezTo>
                  <a:pt x="4815376" y="8094974"/>
                  <a:pt x="4817341" y="8084604"/>
                  <a:pt x="4817755" y="8056284"/>
                </a:cubicBezTo>
                <a:cubicBezTo>
                  <a:pt x="4818221" y="8022678"/>
                  <a:pt x="4817135" y="8003432"/>
                  <a:pt x="4816204" y="7970823"/>
                </a:cubicBezTo>
                <a:cubicBezTo>
                  <a:pt x="4819048" y="7974313"/>
                  <a:pt x="4817445" y="7950581"/>
                  <a:pt x="4818583" y="7942304"/>
                </a:cubicBezTo>
                <a:cubicBezTo>
                  <a:pt x="4819876" y="7932830"/>
                  <a:pt x="4824582" y="7944298"/>
                  <a:pt x="4822979" y="7913983"/>
                </a:cubicBezTo>
                <a:close/>
                <a:moveTo>
                  <a:pt x="4823651" y="5849779"/>
                </a:moveTo>
                <a:cubicBezTo>
                  <a:pt x="4815480" y="5826743"/>
                  <a:pt x="4822513" y="5911306"/>
                  <a:pt x="4816980" y="5906619"/>
                </a:cubicBezTo>
                <a:cubicBezTo>
                  <a:pt x="4816720" y="5890066"/>
                  <a:pt x="4813721" y="5891063"/>
                  <a:pt x="4810721" y="5892259"/>
                </a:cubicBezTo>
                <a:cubicBezTo>
                  <a:pt x="4813152" y="5844792"/>
                  <a:pt x="4808084" y="5845490"/>
                  <a:pt x="4802550" y="5849380"/>
                </a:cubicBezTo>
                <a:cubicBezTo>
                  <a:pt x="4803067" y="5886576"/>
                  <a:pt x="4804308" y="5929356"/>
                  <a:pt x="4803998" y="5949100"/>
                </a:cubicBezTo>
                <a:cubicBezTo>
                  <a:pt x="4803843" y="5959470"/>
                  <a:pt x="4801774" y="5963061"/>
                  <a:pt x="4801774" y="5963260"/>
                </a:cubicBezTo>
                <a:cubicBezTo>
                  <a:pt x="4801101" y="5990185"/>
                  <a:pt x="4804101" y="5994773"/>
                  <a:pt x="4803532" y="6020201"/>
                </a:cubicBezTo>
                <a:cubicBezTo>
                  <a:pt x="4803532" y="6019004"/>
                  <a:pt x="4801670" y="6026682"/>
                  <a:pt x="4801308" y="6034360"/>
                </a:cubicBezTo>
                <a:cubicBezTo>
                  <a:pt x="4800946" y="6043336"/>
                  <a:pt x="4801463" y="6053806"/>
                  <a:pt x="4801101" y="6062781"/>
                </a:cubicBezTo>
                <a:cubicBezTo>
                  <a:pt x="4800067" y="6088508"/>
                  <a:pt x="4799239" y="6096387"/>
                  <a:pt x="4800843" y="6105461"/>
                </a:cubicBezTo>
                <a:cubicBezTo>
                  <a:pt x="4801256" y="6107854"/>
                  <a:pt x="4800636" y="6129692"/>
                  <a:pt x="4800636" y="6133881"/>
                </a:cubicBezTo>
                <a:cubicBezTo>
                  <a:pt x="4800895" y="6157216"/>
                  <a:pt x="4800480" y="6165194"/>
                  <a:pt x="4802498" y="6176661"/>
                </a:cubicBezTo>
                <a:cubicBezTo>
                  <a:pt x="4804980" y="6190821"/>
                  <a:pt x="4800429" y="6248359"/>
                  <a:pt x="4806326" y="6233700"/>
                </a:cubicBezTo>
                <a:cubicBezTo>
                  <a:pt x="4810360" y="6203287"/>
                  <a:pt x="4806532" y="6140563"/>
                  <a:pt x="4815118" y="6176960"/>
                </a:cubicBezTo>
                <a:cubicBezTo>
                  <a:pt x="4817962" y="6086116"/>
                  <a:pt x="4807876" y="6028377"/>
                  <a:pt x="4816410" y="5977719"/>
                </a:cubicBezTo>
                <a:cubicBezTo>
                  <a:pt x="4817341" y="5994572"/>
                  <a:pt x="4818428" y="6010029"/>
                  <a:pt x="4820342" y="6020499"/>
                </a:cubicBezTo>
                <a:cubicBezTo>
                  <a:pt x="4820806" y="5958573"/>
                  <a:pt x="4820600" y="5892460"/>
                  <a:pt x="4823651" y="5849779"/>
                </a:cubicBezTo>
                <a:close/>
                <a:moveTo>
                  <a:pt x="4825255" y="5000663"/>
                </a:moveTo>
                <a:lnTo>
                  <a:pt x="4825255" y="4965362"/>
                </a:lnTo>
                <a:cubicBezTo>
                  <a:pt x="4821996" y="4964166"/>
                  <a:pt x="4815997" y="4980420"/>
                  <a:pt x="4816824" y="4952698"/>
                </a:cubicBezTo>
                <a:cubicBezTo>
                  <a:pt x="4818479" y="4919191"/>
                  <a:pt x="4815634" y="4885486"/>
                  <a:pt x="4815376" y="4852978"/>
                </a:cubicBezTo>
                <a:cubicBezTo>
                  <a:pt x="4815014" y="4811395"/>
                  <a:pt x="4822461" y="4757545"/>
                  <a:pt x="4809584" y="4767418"/>
                </a:cubicBezTo>
                <a:cubicBezTo>
                  <a:pt x="4812790" y="4854772"/>
                  <a:pt x="4806584" y="4910317"/>
                  <a:pt x="4812221" y="5009538"/>
                </a:cubicBezTo>
                <a:cubicBezTo>
                  <a:pt x="4818687" y="5019809"/>
                  <a:pt x="4821738" y="4988995"/>
                  <a:pt x="4825255" y="5000663"/>
                </a:cubicBezTo>
                <a:close/>
                <a:moveTo>
                  <a:pt x="4825255" y="7006232"/>
                </a:moveTo>
                <a:lnTo>
                  <a:pt x="4825255" y="6559686"/>
                </a:lnTo>
                <a:cubicBezTo>
                  <a:pt x="4824685" y="6559686"/>
                  <a:pt x="4824065" y="6560184"/>
                  <a:pt x="4823289" y="6561579"/>
                </a:cubicBezTo>
                <a:cubicBezTo>
                  <a:pt x="4824995" y="6621513"/>
                  <a:pt x="4821479" y="6671771"/>
                  <a:pt x="4824582" y="6689721"/>
                </a:cubicBezTo>
                <a:cubicBezTo>
                  <a:pt x="4826910" y="6703182"/>
                  <a:pt x="4822203" y="6753142"/>
                  <a:pt x="4821996" y="6760822"/>
                </a:cubicBezTo>
                <a:cubicBezTo>
                  <a:pt x="4821273" y="6788543"/>
                  <a:pt x="4823807" y="6831422"/>
                  <a:pt x="4819256" y="6860442"/>
                </a:cubicBezTo>
                <a:cubicBezTo>
                  <a:pt x="4814652" y="6862734"/>
                  <a:pt x="4818635" y="6809883"/>
                  <a:pt x="4817600" y="6789241"/>
                </a:cubicBezTo>
                <a:cubicBezTo>
                  <a:pt x="4807980" y="6786848"/>
                  <a:pt x="4809377" y="6777275"/>
                  <a:pt x="4800688" y="6788842"/>
                </a:cubicBezTo>
                <a:cubicBezTo>
                  <a:pt x="4796188" y="6832321"/>
                  <a:pt x="4802911" y="6863034"/>
                  <a:pt x="4797842" y="6902623"/>
                </a:cubicBezTo>
                <a:cubicBezTo>
                  <a:pt x="4801825" y="6939121"/>
                  <a:pt x="4811652" y="6953081"/>
                  <a:pt x="4805549" y="7016702"/>
                </a:cubicBezTo>
                <a:cubicBezTo>
                  <a:pt x="4810566" y="7006133"/>
                  <a:pt x="4815273" y="7032260"/>
                  <a:pt x="4818221" y="7017002"/>
                </a:cubicBezTo>
                <a:cubicBezTo>
                  <a:pt x="4819669" y="7009324"/>
                  <a:pt x="4817341" y="6969635"/>
                  <a:pt x="4820600" y="6974421"/>
                </a:cubicBezTo>
                <a:cubicBezTo>
                  <a:pt x="4823082" y="6979009"/>
                  <a:pt x="4822669" y="7002045"/>
                  <a:pt x="4825255" y="7006232"/>
                </a:cubicBezTo>
                <a:close/>
                <a:moveTo>
                  <a:pt x="4829044" y="10750914"/>
                </a:moveTo>
                <a:cubicBezTo>
                  <a:pt x="4829077" y="10740189"/>
                  <a:pt x="4828788" y="10727515"/>
                  <a:pt x="4828468" y="10714583"/>
                </a:cubicBezTo>
                <a:lnTo>
                  <a:pt x="4827892" y="10685908"/>
                </a:lnTo>
                <a:lnTo>
                  <a:pt x="4825203" y="10831493"/>
                </a:lnTo>
                <a:cubicBezTo>
                  <a:pt x="4825255" y="10817831"/>
                  <a:pt x="4827426" y="10815437"/>
                  <a:pt x="4827479" y="10803969"/>
                </a:cubicBezTo>
                <a:cubicBezTo>
                  <a:pt x="4827633" y="10782131"/>
                  <a:pt x="4825048" y="10789310"/>
                  <a:pt x="4827686" y="10775550"/>
                </a:cubicBezTo>
                <a:cubicBezTo>
                  <a:pt x="4828655" y="10770414"/>
                  <a:pt x="4829011" y="10761639"/>
                  <a:pt x="4829044" y="10750914"/>
                </a:cubicBezTo>
                <a:close/>
                <a:moveTo>
                  <a:pt x="4838702" y="11048185"/>
                </a:moveTo>
                <a:cubicBezTo>
                  <a:pt x="4834512" y="11048084"/>
                  <a:pt x="4830323" y="11048084"/>
                  <a:pt x="4826185" y="11047985"/>
                </a:cubicBezTo>
                <a:cubicBezTo>
                  <a:pt x="4826082" y="11052173"/>
                  <a:pt x="4825978" y="11056460"/>
                  <a:pt x="4825824" y="11060149"/>
                </a:cubicBezTo>
                <a:cubicBezTo>
                  <a:pt x="4822928" y="11074610"/>
                  <a:pt x="4817910" y="11073911"/>
                  <a:pt x="4815065" y="11088371"/>
                </a:cubicBezTo>
                <a:cubicBezTo>
                  <a:pt x="4812894" y="11127661"/>
                  <a:pt x="4818531" y="11221995"/>
                  <a:pt x="4809997" y="11216312"/>
                </a:cubicBezTo>
                <a:cubicBezTo>
                  <a:pt x="4809945" y="11146508"/>
                  <a:pt x="4814393" y="11108714"/>
                  <a:pt x="4813307" y="11031331"/>
                </a:cubicBezTo>
                <a:lnTo>
                  <a:pt x="4806997" y="11031131"/>
                </a:lnTo>
                <a:cubicBezTo>
                  <a:pt x="4803584" y="11024650"/>
                  <a:pt x="4803015" y="11108613"/>
                  <a:pt x="4806532" y="11102331"/>
                </a:cubicBezTo>
                <a:cubicBezTo>
                  <a:pt x="4806687" y="11133245"/>
                  <a:pt x="4798981" y="11108514"/>
                  <a:pt x="4795877" y="11116293"/>
                </a:cubicBezTo>
                <a:cubicBezTo>
                  <a:pt x="4797895" y="11076104"/>
                  <a:pt x="4793137" y="11079396"/>
                  <a:pt x="4794223" y="11045092"/>
                </a:cubicBezTo>
                <a:cubicBezTo>
                  <a:pt x="4797326" y="11045292"/>
                  <a:pt x="4795361" y="11015974"/>
                  <a:pt x="4796602" y="11002412"/>
                </a:cubicBezTo>
                <a:cubicBezTo>
                  <a:pt x="4797016" y="10998124"/>
                  <a:pt x="4800274" y="11006300"/>
                  <a:pt x="4800843" y="11002512"/>
                </a:cubicBezTo>
                <a:cubicBezTo>
                  <a:pt x="4802704" y="10990446"/>
                  <a:pt x="4800636" y="10951555"/>
                  <a:pt x="4803326" y="10945672"/>
                </a:cubicBezTo>
                <a:cubicBezTo>
                  <a:pt x="4802239" y="10902991"/>
                  <a:pt x="4798722" y="10959233"/>
                  <a:pt x="4794895" y="10945471"/>
                </a:cubicBezTo>
                <a:cubicBezTo>
                  <a:pt x="4793343" y="10899502"/>
                  <a:pt x="4801929" y="10925627"/>
                  <a:pt x="4803636" y="10902991"/>
                </a:cubicBezTo>
                <a:cubicBezTo>
                  <a:pt x="4806326" y="10858416"/>
                  <a:pt x="4803273" y="10865396"/>
                  <a:pt x="4806222" y="10831891"/>
                </a:cubicBezTo>
                <a:lnTo>
                  <a:pt x="4814652" y="10832091"/>
                </a:lnTo>
                <a:cubicBezTo>
                  <a:pt x="4817445" y="10850439"/>
                  <a:pt x="4815532" y="10899401"/>
                  <a:pt x="4818324" y="10917651"/>
                </a:cubicBezTo>
                <a:cubicBezTo>
                  <a:pt x="4827013" y="10906481"/>
                  <a:pt x="4817600" y="10859115"/>
                  <a:pt x="4823082" y="10832390"/>
                </a:cubicBezTo>
                <a:cubicBezTo>
                  <a:pt x="4822979" y="10801277"/>
                  <a:pt x="4817962" y="10801677"/>
                  <a:pt x="4812738" y="10803670"/>
                </a:cubicBezTo>
                <a:cubicBezTo>
                  <a:pt x="4813928" y="10792202"/>
                  <a:pt x="4815065" y="10780635"/>
                  <a:pt x="4815118" y="10760990"/>
                </a:cubicBezTo>
                <a:cubicBezTo>
                  <a:pt x="4814755" y="10731472"/>
                  <a:pt x="4805860" y="10756901"/>
                  <a:pt x="4804722" y="10732270"/>
                </a:cubicBezTo>
                <a:cubicBezTo>
                  <a:pt x="4806687" y="10680417"/>
                  <a:pt x="4811497" y="10733766"/>
                  <a:pt x="4819617" y="10718409"/>
                </a:cubicBezTo>
                <a:cubicBezTo>
                  <a:pt x="4829496" y="10710532"/>
                  <a:pt x="4819979" y="10651498"/>
                  <a:pt x="4828513" y="10647408"/>
                </a:cubicBezTo>
                <a:cubicBezTo>
                  <a:pt x="4827789" y="10654613"/>
                  <a:pt x="4827618" y="10664940"/>
                  <a:pt x="4827707" y="10676700"/>
                </a:cubicBezTo>
                <a:lnTo>
                  <a:pt x="4827892" y="10685908"/>
                </a:lnTo>
                <a:lnTo>
                  <a:pt x="4831668" y="10481474"/>
                </a:lnTo>
                <a:cubicBezTo>
                  <a:pt x="4830582" y="10505906"/>
                  <a:pt x="4828151" y="10533529"/>
                  <a:pt x="4829134" y="10560952"/>
                </a:cubicBezTo>
                <a:cubicBezTo>
                  <a:pt x="4827479" y="10553473"/>
                  <a:pt x="4825772" y="10546094"/>
                  <a:pt x="4822875" y="10546591"/>
                </a:cubicBezTo>
                <a:cubicBezTo>
                  <a:pt x="4819617" y="10568032"/>
                  <a:pt x="4819100" y="10609017"/>
                  <a:pt x="4818014" y="10646112"/>
                </a:cubicBezTo>
                <a:lnTo>
                  <a:pt x="4809584" y="10645914"/>
                </a:lnTo>
                <a:cubicBezTo>
                  <a:pt x="4808549" y="10634446"/>
                  <a:pt x="4807464" y="10622777"/>
                  <a:pt x="4807722" y="10603233"/>
                </a:cubicBezTo>
                <a:cubicBezTo>
                  <a:pt x="4807825" y="10591366"/>
                  <a:pt x="4809945" y="10572718"/>
                  <a:pt x="4809997" y="10574813"/>
                </a:cubicBezTo>
                <a:cubicBezTo>
                  <a:pt x="4809739" y="10550980"/>
                  <a:pt x="4803792" y="10535024"/>
                  <a:pt x="4808239" y="10517872"/>
                </a:cubicBezTo>
                <a:cubicBezTo>
                  <a:pt x="4812015" y="10509796"/>
                  <a:pt x="4820548" y="10535423"/>
                  <a:pt x="4821013" y="10504011"/>
                </a:cubicBezTo>
                <a:cubicBezTo>
                  <a:pt x="4822669" y="10429220"/>
                  <a:pt x="4808704" y="10518670"/>
                  <a:pt x="4808549" y="10475192"/>
                </a:cubicBezTo>
                <a:cubicBezTo>
                  <a:pt x="4809997" y="10415859"/>
                  <a:pt x="4819410" y="10458240"/>
                  <a:pt x="4825306" y="10460135"/>
                </a:cubicBezTo>
                <a:lnTo>
                  <a:pt x="4825306" y="10322920"/>
                </a:lnTo>
                <a:cubicBezTo>
                  <a:pt x="4823341" y="10304671"/>
                  <a:pt x="4821117" y="10291608"/>
                  <a:pt x="4818324" y="10276151"/>
                </a:cubicBezTo>
                <a:cubicBezTo>
                  <a:pt x="4820755" y="10238756"/>
                  <a:pt x="4821427" y="10188896"/>
                  <a:pt x="4821375" y="10133851"/>
                </a:cubicBezTo>
                <a:cubicBezTo>
                  <a:pt x="4822307" y="10140732"/>
                  <a:pt x="4823703" y="10144322"/>
                  <a:pt x="4825358" y="10146415"/>
                </a:cubicBezTo>
                <a:lnTo>
                  <a:pt x="4825358" y="10073720"/>
                </a:lnTo>
                <a:cubicBezTo>
                  <a:pt x="4824428" y="10076911"/>
                  <a:pt x="4823341" y="10078905"/>
                  <a:pt x="4821738" y="10077010"/>
                </a:cubicBezTo>
                <a:cubicBezTo>
                  <a:pt x="4822669" y="10017977"/>
                  <a:pt x="4819307" y="10021466"/>
                  <a:pt x="4822359" y="9977390"/>
                </a:cubicBezTo>
                <a:cubicBezTo>
                  <a:pt x="4822099" y="9960736"/>
                  <a:pt x="4818583" y="9965324"/>
                  <a:pt x="4816100" y="9963030"/>
                </a:cubicBezTo>
                <a:cubicBezTo>
                  <a:pt x="4817135" y="9945579"/>
                  <a:pt x="4818996" y="9933912"/>
                  <a:pt x="4822617" y="9934710"/>
                </a:cubicBezTo>
                <a:cubicBezTo>
                  <a:pt x="4822565" y="9899608"/>
                  <a:pt x="4822720" y="9866103"/>
                  <a:pt x="4825255" y="9849350"/>
                </a:cubicBezTo>
                <a:lnTo>
                  <a:pt x="4825255" y="9749031"/>
                </a:lnTo>
                <a:cubicBezTo>
                  <a:pt x="4824737" y="9749331"/>
                  <a:pt x="4824272" y="9749530"/>
                  <a:pt x="4823755" y="9749629"/>
                </a:cubicBezTo>
                <a:cubicBezTo>
                  <a:pt x="4821686" y="9736367"/>
                  <a:pt x="4823807" y="9717719"/>
                  <a:pt x="4825255" y="9701165"/>
                </a:cubicBezTo>
                <a:lnTo>
                  <a:pt x="4825255" y="9671847"/>
                </a:lnTo>
                <a:cubicBezTo>
                  <a:pt x="4824013" y="9666263"/>
                  <a:pt x="4822307" y="9660280"/>
                  <a:pt x="4822203" y="9664169"/>
                </a:cubicBezTo>
                <a:cubicBezTo>
                  <a:pt x="4822410" y="9655892"/>
                  <a:pt x="4823807" y="9651705"/>
                  <a:pt x="4825255" y="9648314"/>
                </a:cubicBezTo>
                <a:lnTo>
                  <a:pt x="4825255" y="9547997"/>
                </a:lnTo>
                <a:cubicBezTo>
                  <a:pt x="4823238" y="9549691"/>
                  <a:pt x="4823962" y="9571131"/>
                  <a:pt x="4822772" y="9578809"/>
                </a:cubicBezTo>
                <a:cubicBezTo>
                  <a:pt x="4821996" y="9583496"/>
                  <a:pt x="4819256" y="9574023"/>
                  <a:pt x="4818531" y="9578710"/>
                </a:cubicBezTo>
                <a:cubicBezTo>
                  <a:pt x="4817859" y="9582798"/>
                  <a:pt x="4819048" y="9603938"/>
                  <a:pt x="4818324" y="9607129"/>
                </a:cubicBezTo>
                <a:cubicBezTo>
                  <a:pt x="4816307" y="9616104"/>
                  <a:pt x="4811601" y="9596659"/>
                  <a:pt x="4811911" y="9621190"/>
                </a:cubicBezTo>
                <a:cubicBezTo>
                  <a:pt x="4810721" y="9651505"/>
                  <a:pt x="4814755" y="9648415"/>
                  <a:pt x="4818066" y="9649810"/>
                </a:cubicBezTo>
                <a:cubicBezTo>
                  <a:pt x="4814859" y="9684911"/>
                  <a:pt x="4810618" y="9674740"/>
                  <a:pt x="4805291" y="9663671"/>
                </a:cubicBezTo>
                <a:cubicBezTo>
                  <a:pt x="4807515" y="9644823"/>
                  <a:pt x="4803636" y="9604636"/>
                  <a:pt x="4803532" y="9606730"/>
                </a:cubicBezTo>
                <a:cubicBezTo>
                  <a:pt x="4804152" y="9591274"/>
                  <a:pt x="4807774" y="9597258"/>
                  <a:pt x="4807929" y="9578410"/>
                </a:cubicBezTo>
                <a:cubicBezTo>
                  <a:pt x="4805549" y="9529248"/>
                  <a:pt x="4802911" y="9522666"/>
                  <a:pt x="4806635" y="9450270"/>
                </a:cubicBezTo>
                <a:cubicBezTo>
                  <a:pt x="4809066" y="9452663"/>
                  <a:pt x="4808239" y="9476297"/>
                  <a:pt x="4808445" y="9493050"/>
                </a:cubicBezTo>
                <a:cubicBezTo>
                  <a:pt x="4809945" y="9507011"/>
                  <a:pt x="4810825" y="9521769"/>
                  <a:pt x="4812377" y="9535830"/>
                </a:cubicBezTo>
                <a:cubicBezTo>
                  <a:pt x="4813928" y="9549691"/>
                  <a:pt x="4811290" y="9558765"/>
                  <a:pt x="4814290" y="9564349"/>
                </a:cubicBezTo>
                <a:cubicBezTo>
                  <a:pt x="4815583" y="9566744"/>
                  <a:pt x="4817187" y="9562654"/>
                  <a:pt x="4818531" y="9564450"/>
                </a:cubicBezTo>
                <a:cubicBezTo>
                  <a:pt x="4820393" y="9563751"/>
                  <a:pt x="4819048" y="9513492"/>
                  <a:pt x="4819152" y="9464829"/>
                </a:cubicBezTo>
                <a:cubicBezTo>
                  <a:pt x="4819256" y="9426137"/>
                  <a:pt x="4820237" y="9377774"/>
                  <a:pt x="4819979" y="9336689"/>
                </a:cubicBezTo>
                <a:cubicBezTo>
                  <a:pt x="4819824" y="9311459"/>
                  <a:pt x="4818066" y="9306474"/>
                  <a:pt x="4818221" y="9279748"/>
                </a:cubicBezTo>
                <a:cubicBezTo>
                  <a:pt x="4818790" y="9189802"/>
                  <a:pt x="4823651" y="9100453"/>
                  <a:pt x="4822099" y="9009308"/>
                </a:cubicBezTo>
                <a:cubicBezTo>
                  <a:pt x="4814083" y="9002228"/>
                  <a:pt x="4808601" y="9012997"/>
                  <a:pt x="4805032" y="9037330"/>
                </a:cubicBezTo>
                <a:cubicBezTo>
                  <a:pt x="4806067" y="9066846"/>
                  <a:pt x="4801774" y="9130767"/>
                  <a:pt x="4806480" y="9137050"/>
                </a:cubicBezTo>
                <a:cubicBezTo>
                  <a:pt x="4804670" y="9147221"/>
                  <a:pt x="4804980" y="9161680"/>
                  <a:pt x="4804101" y="9179730"/>
                </a:cubicBezTo>
                <a:cubicBezTo>
                  <a:pt x="4803843" y="9184517"/>
                  <a:pt x="4804412" y="9205358"/>
                  <a:pt x="4803894" y="9208150"/>
                </a:cubicBezTo>
                <a:cubicBezTo>
                  <a:pt x="4801360" y="9221513"/>
                  <a:pt x="4804256" y="9220914"/>
                  <a:pt x="4803636" y="9250829"/>
                </a:cubicBezTo>
                <a:cubicBezTo>
                  <a:pt x="4802963" y="9282042"/>
                  <a:pt x="4801567" y="9306773"/>
                  <a:pt x="4800791" y="9364610"/>
                </a:cubicBezTo>
                <a:cubicBezTo>
                  <a:pt x="4800480" y="9387147"/>
                  <a:pt x="4801463" y="9418858"/>
                  <a:pt x="4798308" y="9421452"/>
                </a:cubicBezTo>
                <a:cubicBezTo>
                  <a:pt x="4786465" y="9443390"/>
                  <a:pt x="4796602" y="9323626"/>
                  <a:pt x="4786206" y="9335792"/>
                </a:cubicBezTo>
                <a:cubicBezTo>
                  <a:pt x="4779586" y="9341575"/>
                  <a:pt x="4786051" y="9369297"/>
                  <a:pt x="4785844" y="9392731"/>
                </a:cubicBezTo>
                <a:cubicBezTo>
                  <a:pt x="4785637" y="9414969"/>
                  <a:pt x="4783465" y="9417961"/>
                  <a:pt x="4783465" y="9435412"/>
                </a:cubicBezTo>
                <a:cubicBezTo>
                  <a:pt x="4783516" y="9446481"/>
                  <a:pt x="4785224" y="9459444"/>
                  <a:pt x="4785327" y="9478092"/>
                </a:cubicBezTo>
                <a:cubicBezTo>
                  <a:pt x="4785690" y="9533836"/>
                  <a:pt x="4783569" y="9611219"/>
                  <a:pt x="4784034" y="9677433"/>
                </a:cubicBezTo>
                <a:cubicBezTo>
                  <a:pt x="4784137" y="9692090"/>
                  <a:pt x="4785844" y="9733275"/>
                  <a:pt x="4785690" y="9748632"/>
                </a:cubicBezTo>
                <a:cubicBezTo>
                  <a:pt x="4785690" y="9745642"/>
                  <a:pt x="4783569" y="9754816"/>
                  <a:pt x="4783465" y="9762793"/>
                </a:cubicBezTo>
                <a:cubicBezTo>
                  <a:pt x="4782948" y="9799489"/>
                  <a:pt x="4783775" y="9898612"/>
                  <a:pt x="4780155" y="9947774"/>
                </a:cubicBezTo>
                <a:cubicBezTo>
                  <a:pt x="4775965" y="9938600"/>
                  <a:pt x="4779224" y="9881260"/>
                  <a:pt x="4774310" y="9876473"/>
                </a:cubicBezTo>
                <a:cubicBezTo>
                  <a:pt x="4770742" y="9871189"/>
                  <a:pt x="4770276" y="9887542"/>
                  <a:pt x="4769914" y="9904894"/>
                </a:cubicBezTo>
                <a:cubicBezTo>
                  <a:pt x="4763501" y="9894722"/>
                  <a:pt x="4765932" y="9894822"/>
                  <a:pt x="4759364" y="9904595"/>
                </a:cubicBezTo>
                <a:cubicBezTo>
                  <a:pt x="4761019" y="9921149"/>
                  <a:pt x="4761898" y="9942787"/>
                  <a:pt x="4761019" y="9975794"/>
                </a:cubicBezTo>
                <a:cubicBezTo>
                  <a:pt x="4768880" y="9996537"/>
                  <a:pt x="4765363" y="9936804"/>
                  <a:pt x="4771776" y="9947574"/>
                </a:cubicBezTo>
                <a:cubicBezTo>
                  <a:pt x="4770897" y="9981080"/>
                  <a:pt x="4768104" y="10000925"/>
                  <a:pt x="4769036" y="10047194"/>
                </a:cubicBezTo>
                <a:cubicBezTo>
                  <a:pt x="4765570" y="10051183"/>
                  <a:pt x="4765467" y="10033732"/>
                  <a:pt x="4762777" y="10032834"/>
                </a:cubicBezTo>
                <a:cubicBezTo>
                  <a:pt x="4758846" y="10034829"/>
                  <a:pt x="4761174" y="10080999"/>
                  <a:pt x="4758174" y="10089675"/>
                </a:cubicBezTo>
                <a:cubicBezTo>
                  <a:pt x="4753520" y="10087781"/>
                  <a:pt x="4757657" y="10029245"/>
                  <a:pt x="4756622" y="10004215"/>
                </a:cubicBezTo>
                <a:cubicBezTo>
                  <a:pt x="4747519" y="9994442"/>
                  <a:pt x="4750519" y="10070130"/>
                  <a:pt x="4749537" y="10117895"/>
                </a:cubicBezTo>
                <a:cubicBezTo>
                  <a:pt x="4758692" y="10120090"/>
                  <a:pt x="4767173" y="10078307"/>
                  <a:pt x="4768363" y="10146814"/>
                </a:cubicBezTo>
                <a:cubicBezTo>
                  <a:pt x="4771983" y="10147513"/>
                  <a:pt x="4773898" y="10136443"/>
                  <a:pt x="4774879" y="10118494"/>
                </a:cubicBezTo>
                <a:cubicBezTo>
                  <a:pt x="4779172" y="10136245"/>
                  <a:pt x="4773276" y="10219709"/>
                  <a:pt x="4784965" y="10189894"/>
                </a:cubicBezTo>
                <a:cubicBezTo>
                  <a:pt x="4785120" y="10235766"/>
                  <a:pt x="4780827" y="10250024"/>
                  <a:pt x="4782120" y="10303774"/>
                </a:cubicBezTo>
                <a:cubicBezTo>
                  <a:pt x="4775862" y="10310654"/>
                  <a:pt x="4763708" y="10221006"/>
                  <a:pt x="4763036" y="10317535"/>
                </a:cubicBezTo>
                <a:cubicBezTo>
                  <a:pt x="4758640" y="10352637"/>
                  <a:pt x="4761950" y="10233671"/>
                  <a:pt x="4763656" y="10217914"/>
                </a:cubicBezTo>
                <a:cubicBezTo>
                  <a:pt x="4763087" y="10198570"/>
                  <a:pt x="4758432" y="10205948"/>
                  <a:pt x="4755278" y="10203456"/>
                </a:cubicBezTo>
                <a:cubicBezTo>
                  <a:pt x="4753002" y="10206847"/>
                  <a:pt x="4753674" y="10231676"/>
                  <a:pt x="4750882" y="10231776"/>
                </a:cubicBezTo>
                <a:cubicBezTo>
                  <a:pt x="4749486" y="10263387"/>
                  <a:pt x="4754761" y="10252118"/>
                  <a:pt x="4754812" y="10274556"/>
                </a:cubicBezTo>
                <a:cubicBezTo>
                  <a:pt x="4757812" y="10344759"/>
                  <a:pt x="4745864" y="10428724"/>
                  <a:pt x="4758018" y="10431216"/>
                </a:cubicBezTo>
                <a:cubicBezTo>
                  <a:pt x="4764018" y="10417355"/>
                  <a:pt x="4755226" y="10393123"/>
                  <a:pt x="4760501" y="10374275"/>
                </a:cubicBezTo>
                <a:cubicBezTo>
                  <a:pt x="4765105" y="10372082"/>
                  <a:pt x="4761122" y="10424834"/>
                  <a:pt x="4762156" y="10445576"/>
                </a:cubicBezTo>
                <a:cubicBezTo>
                  <a:pt x="4767018" y="10450261"/>
                  <a:pt x="4770276" y="10443482"/>
                  <a:pt x="4772810" y="10431614"/>
                </a:cubicBezTo>
                <a:cubicBezTo>
                  <a:pt x="4772294" y="10403095"/>
                  <a:pt x="4773535" y="10387039"/>
                  <a:pt x="4777311" y="10389035"/>
                </a:cubicBezTo>
                <a:cubicBezTo>
                  <a:pt x="4776896" y="10407683"/>
                  <a:pt x="4777414" y="10427327"/>
                  <a:pt x="4776948" y="10445975"/>
                </a:cubicBezTo>
                <a:cubicBezTo>
                  <a:pt x="4776431" y="10466617"/>
                  <a:pt x="4774672" y="10472101"/>
                  <a:pt x="4774569" y="10488555"/>
                </a:cubicBezTo>
                <a:cubicBezTo>
                  <a:pt x="4774414" y="10511092"/>
                  <a:pt x="4776638" y="10513784"/>
                  <a:pt x="4776379" y="10531335"/>
                </a:cubicBezTo>
                <a:cubicBezTo>
                  <a:pt x="4775758" y="10572818"/>
                  <a:pt x="4770535" y="10697767"/>
                  <a:pt x="4772914" y="10744835"/>
                </a:cubicBezTo>
                <a:lnTo>
                  <a:pt x="4768673" y="10744736"/>
                </a:lnTo>
                <a:cubicBezTo>
                  <a:pt x="4771001" y="10799681"/>
                  <a:pt x="4767897" y="10810452"/>
                  <a:pt x="4769966" y="10872875"/>
                </a:cubicBezTo>
                <a:cubicBezTo>
                  <a:pt x="4765829" y="10884942"/>
                  <a:pt x="4765260" y="10846948"/>
                  <a:pt x="4763812" y="10844256"/>
                </a:cubicBezTo>
                <a:cubicBezTo>
                  <a:pt x="4762726" y="10842261"/>
                  <a:pt x="4759933" y="10860609"/>
                  <a:pt x="4757398" y="10858317"/>
                </a:cubicBezTo>
                <a:cubicBezTo>
                  <a:pt x="4755640" y="10856621"/>
                  <a:pt x="4755433" y="10843458"/>
                  <a:pt x="4753260" y="10843957"/>
                </a:cubicBezTo>
                <a:cubicBezTo>
                  <a:pt x="4749433" y="10844855"/>
                  <a:pt x="4745657" y="10871081"/>
                  <a:pt x="4740486" y="10857918"/>
                </a:cubicBezTo>
                <a:cubicBezTo>
                  <a:pt x="4740641" y="10902494"/>
                  <a:pt x="4738417" y="10962325"/>
                  <a:pt x="4741778" y="10986058"/>
                </a:cubicBezTo>
                <a:cubicBezTo>
                  <a:pt x="4743796" y="10975688"/>
                  <a:pt x="4745141" y="10960330"/>
                  <a:pt x="4746278" y="10943478"/>
                </a:cubicBezTo>
                <a:cubicBezTo>
                  <a:pt x="4749537" y="10943876"/>
                  <a:pt x="4750261" y="11049082"/>
                  <a:pt x="4743640" y="11028837"/>
                </a:cubicBezTo>
                <a:cubicBezTo>
                  <a:pt x="4743382" y="11062344"/>
                  <a:pt x="4747003" y="11070821"/>
                  <a:pt x="4745193" y="11114298"/>
                </a:cubicBezTo>
                <a:cubicBezTo>
                  <a:pt x="4741623" y="11108913"/>
                  <a:pt x="4741158" y="11125268"/>
                  <a:pt x="4740796" y="11142618"/>
                </a:cubicBezTo>
                <a:cubicBezTo>
                  <a:pt x="4737227" y="11137334"/>
                  <a:pt x="4736762" y="11153687"/>
                  <a:pt x="4736400" y="11171039"/>
                </a:cubicBezTo>
                <a:cubicBezTo>
                  <a:pt x="4734797" y="11169443"/>
                  <a:pt x="4732727" y="11116691"/>
                  <a:pt x="4732624" y="11099739"/>
                </a:cubicBezTo>
                <a:cubicBezTo>
                  <a:pt x="4732417" y="11067829"/>
                  <a:pt x="4732832" y="11035020"/>
                  <a:pt x="4735314" y="11014378"/>
                </a:cubicBezTo>
                <a:cubicBezTo>
                  <a:pt x="4731486" y="10987553"/>
                  <a:pt x="4730038" y="11012684"/>
                  <a:pt x="4724763" y="11014079"/>
                </a:cubicBezTo>
                <a:cubicBezTo>
                  <a:pt x="4725021" y="10988551"/>
                  <a:pt x="4727091" y="10984163"/>
                  <a:pt x="4727246" y="10957239"/>
                </a:cubicBezTo>
                <a:cubicBezTo>
                  <a:pt x="4727401" y="10931610"/>
                  <a:pt x="4725125" y="10927224"/>
                  <a:pt x="4725487" y="10900200"/>
                </a:cubicBezTo>
                <a:cubicBezTo>
                  <a:pt x="4725487" y="10902294"/>
                  <a:pt x="4727608" y="10894614"/>
                  <a:pt x="4727711" y="10886039"/>
                </a:cubicBezTo>
                <a:cubicBezTo>
                  <a:pt x="4727866" y="10874770"/>
                  <a:pt x="4728176" y="10819426"/>
                  <a:pt x="4728331" y="10786419"/>
                </a:cubicBezTo>
                <a:cubicBezTo>
                  <a:pt x="4728435" y="10756103"/>
                  <a:pt x="4726314" y="10719208"/>
                  <a:pt x="4727039" y="10658279"/>
                </a:cubicBezTo>
                <a:cubicBezTo>
                  <a:pt x="4727711" y="10603830"/>
                  <a:pt x="4733142" y="10558857"/>
                  <a:pt x="4730090" y="10515979"/>
                </a:cubicBezTo>
                <a:lnTo>
                  <a:pt x="4740641" y="10516278"/>
                </a:lnTo>
                <a:cubicBezTo>
                  <a:pt x="4737382" y="10590669"/>
                  <a:pt x="4731746" y="10716815"/>
                  <a:pt x="4736710" y="10800878"/>
                </a:cubicBezTo>
                <a:cubicBezTo>
                  <a:pt x="4740848" y="10795194"/>
                  <a:pt x="4738727" y="10745733"/>
                  <a:pt x="4745451" y="10758397"/>
                </a:cubicBezTo>
                <a:cubicBezTo>
                  <a:pt x="4745916" y="10730377"/>
                  <a:pt x="4739916" y="10687196"/>
                  <a:pt x="4745916" y="10687297"/>
                </a:cubicBezTo>
                <a:cubicBezTo>
                  <a:pt x="4749640" y="10687396"/>
                  <a:pt x="4746433" y="10653591"/>
                  <a:pt x="4746175" y="10644618"/>
                </a:cubicBezTo>
                <a:cubicBezTo>
                  <a:pt x="4748606" y="10646911"/>
                  <a:pt x="4749899" y="10641526"/>
                  <a:pt x="4750468" y="10630457"/>
                </a:cubicBezTo>
                <a:cubicBezTo>
                  <a:pt x="4758174" y="10634545"/>
                  <a:pt x="4750829" y="10661670"/>
                  <a:pt x="4752226" y="10687496"/>
                </a:cubicBezTo>
                <a:cubicBezTo>
                  <a:pt x="4753416" y="10708937"/>
                  <a:pt x="4756933" y="10687596"/>
                  <a:pt x="4758484" y="10701856"/>
                </a:cubicBezTo>
                <a:cubicBezTo>
                  <a:pt x="4760088" y="10716515"/>
                  <a:pt x="4756829" y="10756204"/>
                  <a:pt x="4758018" y="10773057"/>
                </a:cubicBezTo>
                <a:lnTo>
                  <a:pt x="4764381" y="10773255"/>
                </a:lnTo>
                <a:cubicBezTo>
                  <a:pt x="4768931" y="10749422"/>
                  <a:pt x="4766242" y="10701357"/>
                  <a:pt x="4767225" y="10659475"/>
                </a:cubicBezTo>
                <a:cubicBezTo>
                  <a:pt x="4768001" y="10627365"/>
                  <a:pt x="4771052" y="10602435"/>
                  <a:pt x="4769914" y="10574115"/>
                </a:cubicBezTo>
                <a:cubicBezTo>
                  <a:pt x="4768363" y="10520066"/>
                  <a:pt x="4761484" y="10563546"/>
                  <a:pt x="4755226" y="10559555"/>
                </a:cubicBezTo>
                <a:cubicBezTo>
                  <a:pt x="4752330" y="10563943"/>
                  <a:pt x="4753260" y="10595156"/>
                  <a:pt x="4752744" y="10616496"/>
                </a:cubicBezTo>
                <a:cubicBezTo>
                  <a:pt x="4738883" y="10569128"/>
                  <a:pt x="4758174" y="10374375"/>
                  <a:pt x="4748347" y="10317435"/>
                </a:cubicBezTo>
                <a:cubicBezTo>
                  <a:pt x="4742399" y="10314743"/>
                  <a:pt x="4750313" y="10410573"/>
                  <a:pt x="4741572" y="10388436"/>
                </a:cubicBezTo>
                <a:cubicBezTo>
                  <a:pt x="4743589" y="10353034"/>
                  <a:pt x="4744830" y="10312250"/>
                  <a:pt x="4744519" y="10260396"/>
                </a:cubicBezTo>
                <a:cubicBezTo>
                  <a:pt x="4738624" y="10248528"/>
                  <a:pt x="4738934" y="10280340"/>
                  <a:pt x="4733866" y="10274357"/>
                </a:cubicBezTo>
                <a:cubicBezTo>
                  <a:pt x="4735159" y="10253714"/>
                  <a:pt x="4731900" y="10200763"/>
                  <a:pt x="4736451" y="10203255"/>
                </a:cubicBezTo>
                <a:cubicBezTo>
                  <a:pt x="4735676" y="10180918"/>
                  <a:pt x="4729883" y="10190890"/>
                  <a:pt x="4732573" y="10146217"/>
                </a:cubicBezTo>
                <a:cubicBezTo>
                  <a:pt x="4725953" y="10139035"/>
                  <a:pt x="4724918" y="10171645"/>
                  <a:pt x="4717677" y="10160078"/>
                </a:cubicBezTo>
                <a:cubicBezTo>
                  <a:pt x="4717316" y="10127668"/>
                  <a:pt x="4718557" y="10106627"/>
                  <a:pt x="4722281" y="10103236"/>
                </a:cubicBezTo>
                <a:cubicBezTo>
                  <a:pt x="4729263" y="10085886"/>
                  <a:pt x="4723625" y="10149408"/>
                  <a:pt x="4730556" y="10131956"/>
                </a:cubicBezTo>
                <a:cubicBezTo>
                  <a:pt x="4729883" y="10133153"/>
                  <a:pt x="4736865" y="10096057"/>
                  <a:pt x="4737176" y="10089476"/>
                </a:cubicBezTo>
                <a:cubicBezTo>
                  <a:pt x="4737900" y="10074218"/>
                  <a:pt x="4733193" y="10066839"/>
                  <a:pt x="4733142" y="10060856"/>
                </a:cubicBezTo>
                <a:cubicBezTo>
                  <a:pt x="4732727" y="10032037"/>
                  <a:pt x="4739761" y="10035726"/>
                  <a:pt x="4735779" y="9975496"/>
                </a:cubicBezTo>
                <a:cubicBezTo>
                  <a:pt x="4733296" y="9941092"/>
                  <a:pt x="4740692" y="9949270"/>
                  <a:pt x="4742399" y="9932915"/>
                </a:cubicBezTo>
                <a:cubicBezTo>
                  <a:pt x="4742968" y="9927829"/>
                  <a:pt x="4741882" y="9908184"/>
                  <a:pt x="4742606" y="9904495"/>
                </a:cubicBezTo>
                <a:cubicBezTo>
                  <a:pt x="4745606" y="9888539"/>
                  <a:pt x="4743330" y="9874380"/>
                  <a:pt x="4745089" y="9847554"/>
                </a:cubicBezTo>
                <a:cubicBezTo>
                  <a:pt x="4745864" y="9835489"/>
                  <a:pt x="4748864" y="9838281"/>
                  <a:pt x="4749486" y="9819135"/>
                </a:cubicBezTo>
                <a:cubicBezTo>
                  <a:pt x="4751295" y="9764387"/>
                  <a:pt x="4746796" y="9743348"/>
                  <a:pt x="4748295" y="9676735"/>
                </a:cubicBezTo>
                <a:cubicBezTo>
                  <a:pt x="4748606" y="9663372"/>
                  <a:pt x="4751864" y="9652004"/>
                  <a:pt x="4748502" y="9648314"/>
                </a:cubicBezTo>
                <a:cubicBezTo>
                  <a:pt x="4749227" y="9611617"/>
                  <a:pt x="4752019" y="9667959"/>
                  <a:pt x="4756933" y="9648513"/>
                </a:cubicBezTo>
                <a:cubicBezTo>
                  <a:pt x="4759829" y="9631561"/>
                  <a:pt x="4760294" y="9643128"/>
                  <a:pt x="4763295" y="9648713"/>
                </a:cubicBezTo>
                <a:cubicBezTo>
                  <a:pt x="4762053" y="9709343"/>
                  <a:pt x="4764381" y="9795401"/>
                  <a:pt x="4759984" y="9833693"/>
                </a:cubicBezTo>
                <a:cubicBezTo>
                  <a:pt x="4759104" y="9866502"/>
                  <a:pt x="4765984" y="9849650"/>
                  <a:pt x="4766035" y="9876573"/>
                </a:cubicBezTo>
                <a:cubicBezTo>
                  <a:pt x="4768155" y="9881758"/>
                  <a:pt x="4769552" y="9849249"/>
                  <a:pt x="4770432" y="9848253"/>
                </a:cubicBezTo>
                <a:cubicBezTo>
                  <a:pt x="4771259" y="9847255"/>
                  <a:pt x="4773587" y="9868695"/>
                  <a:pt x="4774569" y="9862612"/>
                </a:cubicBezTo>
                <a:cubicBezTo>
                  <a:pt x="4779430" y="9832397"/>
                  <a:pt x="4779121" y="9770271"/>
                  <a:pt x="4779897" y="9691892"/>
                </a:cubicBezTo>
                <a:cubicBezTo>
                  <a:pt x="4778448" y="9678529"/>
                  <a:pt x="4776173" y="9670252"/>
                  <a:pt x="4773742" y="9663272"/>
                </a:cubicBezTo>
                <a:cubicBezTo>
                  <a:pt x="4774931" y="9649211"/>
                  <a:pt x="4777206" y="9652104"/>
                  <a:pt x="4778138" y="9634951"/>
                </a:cubicBezTo>
                <a:cubicBezTo>
                  <a:pt x="4779379" y="9611816"/>
                  <a:pt x="4774724" y="9602045"/>
                  <a:pt x="4776379" y="9578011"/>
                </a:cubicBezTo>
                <a:cubicBezTo>
                  <a:pt x="4776431" y="9577412"/>
                  <a:pt x="4778500" y="9578510"/>
                  <a:pt x="4778500" y="9578111"/>
                </a:cubicBezTo>
                <a:cubicBezTo>
                  <a:pt x="4778345" y="9538622"/>
                  <a:pt x="4776379" y="9537027"/>
                  <a:pt x="4779069" y="9492751"/>
                </a:cubicBezTo>
                <a:cubicBezTo>
                  <a:pt x="4780000" y="9477494"/>
                  <a:pt x="4781241" y="9462734"/>
                  <a:pt x="4781448" y="9450071"/>
                </a:cubicBezTo>
                <a:cubicBezTo>
                  <a:pt x="4781966" y="9412676"/>
                  <a:pt x="4776534" y="9368599"/>
                  <a:pt x="4782172" y="9336189"/>
                </a:cubicBezTo>
                <a:cubicBezTo>
                  <a:pt x="4780724" y="9304480"/>
                  <a:pt x="4778086" y="9280547"/>
                  <a:pt x="4778603" y="9236470"/>
                </a:cubicBezTo>
                <a:cubicBezTo>
                  <a:pt x="4783154" y="9202766"/>
                  <a:pt x="4786826" y="9256215"/>
                  <a:pt x="4791378" y="9222509"/>
                </a:cubicBezTo>
                <a:lnTo>
                  <a:pt x="4791844" y="9151310"/>
                </a:lnTo>
                <a:cubicBezTo>
                  <a:pt x="4784344" y="9162379"/>
                  <a:pt x="4784655" y="9191197"/>
                  <a:pt x="4779172" y="9151010"/>
                </a:cubicBezTo>
                <a:cubicBezTo>
                  <a:pt x="4772966" y="9154899"/>
                  <a:pt x="4775397" y="9204859"/>
                  <a:pt x="4774310" y="9250531"/>
                </a:cubicBezTo>
                <a:cubicBezTo>
                  <a:pt x="4774208" y="9254718"/>
                  <a:pt x="4774569" y="9276557"/>
                  <a:pt x="4774104" y="9278950"/>
                </a:cubicBezTo>
                <a:cubicBezTo>
                  <a:pt x="4774000" y="9279450"/>
                  <a:pt x="4771983" y="9278551"/>
                  <a:pt x="4771983" y="9278851"/>
                </a:cubicBezTo>
                <a:cubicBezTo>
                  <a:pt x="4772087" y="9312955"/>
                  <a:pt x="4776638" y="9337685"/>
                  <a:pt x="4775655" y="9364311"/>
                </a:cubicBezTo>
                <a:cubicBezTo>
                  <a:pt x="4772759" y="9368599"/>
                  <a:pt x="4773690" y="9399911"/>
                  <a:pt x="4773173" y="9421152"/>
                </a:cubicBezTo>
                <a:cubicBezTo>
                  <a:pt x="4763812" y="9403600"/>
                  <a:pt x="4758278" y="9408488"/>
                  <a:pt x="4747727" y="9434813"/>
                </a:cubicBezTo>
                <a:cubicBezTo>
                  <a:pt x="4748295" y="9454159"/>
                  <a:pt x="4752950" y="9446779"/>
                  <a:pt x="4756106" y="9449273"/>
                </a:cubicBezTo>
                <a:cubicBezTo>
                  <a:pt x="4754192" y="9500130"/>
                  <a:pt x="4750674" y="9539619"/>
                  <a:pt x="4742813" y="9548594"/>
                </a:cubicBezTo>
                <a:cubicBezTo>
                  <a:pt x="4744003" y="9616603"/>
                  <a:pt x="4738934" y="9640138"/>
                  <a:pt x="4739710" y="9705154"/>
                </a:cubicBezTo>
                <a:cubicBezTo>
                  <a:pt x="4733814" y="9702362"/>
                  <a:pt x="4734228" y="9658585"/>
                  <a:pt x="4729521" y="9648014"/>
                </a:cubicBezTo>
                <a:cubicBezTo>
                  <a:pt x="4727814" y="9621090"/>
                  <a:pt x="4733659" y="9614709"/>
                  <a:pt x="4734021" y="9605434"/>
                </a:cubicBezTo>
                <a:cubicBezTo>
                  <a:pt x="4734745" y="9586090"/>
                  <a:pt x="4729935" y="9565347"/>
                  <a:pt x="4732469" y="9519975"/>
                </a:cubicBezTo>
                <a:cubicBezTo>
                  <a:pt x="4738883" y="9530445"/>
                  <a:pt x="4738831" y="9495543"/>
                  <a:pt x="4745244" y="9506014"/>
                </a:cubicBezTo>
                <a:cubicBezTo>
                  <a:pt x="4746227" y="9458747"/>
                  <a:pt x="4734951" y="9490357"/>
                  <a:pt x="4739452" y="9420454"/>
                </a:cubicBezTo>
                <a:cubicBezTo>
                  <a:pt x="4734176" y="9421850"/>
                  <a:pt x="4732727" y="9446880"/>
                  <a:pt x="4728901" y="9420154"/>
                </a:cubicBezTo>
                <a:cubicBezTo>
                  <a:pt x="4728280" y="9396022"/>
                  <a:pt x="4730710" y="9393430"/>
                  <a:pt x="4733296" y="9391834"/>
                </a:cubicBezTo>
                <a:cubicBezTo>
                  <a:pt x="4733038" y="9354140"/>
                  <a:pt x="4729521" y="9350550"/>
                  <a:pt x="4729521" y="9320633"/>
                </a:cubicBezTo>
                <a:cubicBezTo>
                  <a:pt x="4729470" y="9325421"/>
                  <a:pt x="4731590" y="9312955"/>
                  <a:pt x="4731694" y="9306373"/>
                </a:cubicBezTo>
                <a:cubicBezTo>
                  <a:pt x="4731952" y="9287427"/>
                  <a:pt x="4731848" y="9268381"/>
                  <a:pt x="4732055" y="9249434"/>
                </a:cubicBezTo>
                <a:cubicBezTo>
                  <a:pt x="4737020" y="9249932"/>
                  <a:pt x="4738468" y="9225102"/>
                  <a:pt x="4744830" y="9235573"/>
                </a:cubicBezTo>
                <a:cubicBezTo>
                  <a:pt x="4740692" y="9262597"/>
                  <a:pt x="4745916" y="9261301"/>
                  <a:pt x="4744365" y="9306673"/>
                </a:cubicBezTo>
                <a:cubicBezTo>
                  <a:pt x="4751450" y="9305377"/>
                  <a:pt x="4755743" y="9278551"/>
                  <a:pt x="4759053" y="9321332"/>
                </a:cubicBezTo>
                <a:cubicBezTo>
                  <a:pt x="4763553" y="9308468"/>
                  <a:pt x="4765725" y="9279450"/>
                  <a:pt x="4765932" y="9236071"/>
                </a:cubicBezTo>
                <a:cubicBezTo>
                  <a:pt x="4769552" y="9236769"/>
                  <a:pt x="4771466" y="9225601"/>
                  <a:pt x="4772449" y="9207751"/>
                </a:cubicBezTo>
                <a:cubicBezTo>
                  <a:pt x="4772139" y="9196183"/>
                  <a:pt x="4770432" y="9193491"/>
                  <a:pt x="4770535" y="9179231"/>
                </a:cubicBezTo>
                <a:cubicBezTo>
                  <a:pt x="4770484" y="9147720"/>
                  <a:pt x="4761639" y="9172948"/>
                  <a:pt x="4757967" y="9164673"/>
                </a:cubicBezTo>
                <a:cubicBezTo>
                  <a:pt x="4754399" y="9151508"/>
                  <a:pt x="4747468" y="9159486"/>
                  <a:pt x="4745502" y="9135853"/>
                </a:cubicBezTo>
                <a:cubicBezTo>
                  <a:pt x="4741417" y="9141836"/>
                  <a:pt x="4741417" y="9176439"/>
                  <a:pt x="4734745" y="9164074"/>
                </a:cubicBezTo>
                <a:cubicBezTo>
                  <a:pt x="4735159" y="9147420"/>
                  <a:pt x="4738675" y="9152207"/>
                  <a:pt x="4741158" y="9150014"/>
                </a:cubicBezTo>
                <a:cubicBezTo>
                  <a:pt x="4740900" y="9133360"/>
                  <a:pt x="4737382" y="9137947"/>
                  <a:pt x="4734900" y="9135653"/>
                </a:cubicBezTo>
                <a:cubicBezTo>
                  <a:pt x="4738883" y="9109427"/>
                  <a:pt x="4747778" y="9117505"/>
                  <a:pt x="4752071" y="9093372"/>
                </a:cubicBezTo>
                <a:cubicBezTo>
                  <a:pt x="4751761" y="9069639"/>
                  <a:pt x="4736762" y="9035834"/>
                  <a:pt x="4737279" y="9092973"/>
                </a:cubicBezTo>
                <a:cubicBezTo>
                  <a:pt x="4736503" y="9083998"/>
                  <a:pt x="4732832" y="9065052"/>
                  <a:pt x="4733348" y="9050193"/>
                </a:cubicBezTo>
                <a:cubicBezTo>
                  <a:pt x="4734280" y="9024166"/>
                  <a:pt x="4736814" y="9060464"/>
                  <a:pt x="4737589" y="9050293"/>
                </a:cubicBezTo>
                <a:cubicBezTo>
                  <a:pt x="4739347" y="9026759"/>
                  <a:pt x="4738314" y="9011701"/>
                  <a:pt x="4740072" y="8993452"/>
                </a:cubicBezTo>
                <a:cubicBezTo>
                  <a:pt x="4741211" y="8981187"/>
                  <a:pt x="4745657" y="8979990"/>
                  <a:pt x="4744572" y="8950872"/>
                </a:cubicBezTo>
                <a:cubicBezTo>
                  <a:pt x="4744209" y="8921354"/>
                  <a:pt x="4735314" y="8946783"/>
                  <a:pt x="4734176" y="8922153"/>
                </a:cubicBezTo>
                <a:cubicBezTo>
                  <a:pt x="4735107" y="8893034"/>
                  <a:pt x="4741831" y="8829114"/>
                  <a:pt x="4737020" y="8808373"/>
                </a:cubicBezTo>
                <a:cubicBezTo>
                  <a:pt x="4737641" y="8787830"/>
                  <a:pt x="4743330" y="8803586"/>
                  <a:pt x="4743537" y="8780053"/>
                </a:cubicBezTo>
                <a:cubicBezTo>
                  <a:pt x="4743123" y="8762102"/>
                  <a:pt x="4739400" y="8765592"/>
                  <a:pt x="4739296" y="8779952"/>
                </a:cubicBezTo>
                <a:cubicBezTo>
                  <a:pt x="4735572" y="8769482"/>
                  <a:pt x="4739141" y="8754124"/>
                  <a:pt x="4739555" y="8737271"/>
                </a:cubicBezTo>
                <a:cubicBezTo>
                  <a:pt x="4739969" y="8711743"/>
                  <a:pt x="4737176" y="8707157"/>
                  <a:pt x="4737796" y="8680232"/>
                </a:cubicBezTo>
                <a:cubicBezTo>
                  <a:pt x="4739813" y="8679833"/>
                  <a:pt x="4739555" y="8662880"/>
                  <a:pt x="4740072" y="8651811"/>
                </a:cubicBezTo>
                <a:cubicBezTo>
                  <a:pt x="4742503" y="8654205"/>
                  <a:pt x="4743848" y="8648820"/>
                  <a:pt x="4744365" y="8637751"/>
                </a:cubicBezTo>
                <a:cubicBezTo>
                  <a:pt x="4743020" y="8625785"/>
                  <a:pt x="4741469" y="8623192"/>
                  <a:pt x="4740330" y="8609132"/>
                </a:cubicBezTo>
                <a:cubicBezTo>
                  <a:pt x="4739916" y="8603847"/>
                  <a:pt x="4741158" y="8584301"/>
                  <a:pt x="4740537" y="8580612"/>
                </a:cubicBezTo>
                <a:cubicBezTo>
                  <a:pt x="4740330" y="8579515"/>
                  <a:pt x="4738468" y="8581908"/>
                  <a:pt x="4738417" y="8580512"/>
                </a:cubicBezTo>
                <a:cubicBezTo>
                  <a:pt x="4736865" y="8545510"/>
                  <a:pt x="4739969" y="8493656"/>
                  <a:pt x="4737020" y="8466632"/>
                </a:cubicBezTo>
                <a:cubicBezTo>
                  <a:pt x="4739037" y="8467130"/>
                  <a:pt x="4738521" y="8484083"/>
                  <a:pt x="4738934" y="8495152"/>
                </a:cubicBezTo>
                <a:cubicBezTo>
                  <a:pt x="4742038" y="8495252"/>
                  <a:pt x="4744106" y="8478299"/>
                  <a:pt x="4745451" y="8466831"/>
                </a:cubicBezTo>
                <a:cubicBezTo>
                  <a:pt x="4746537" y="8457359"/>
                  <a:pt x="4747778" y="8457956"/>
                  <a:pt x="4745554" y="8452571"/>
                </a:cubicBezTo>
                <a:cubicBezTo>
                  <a:pt x="4749692" y="8401116"/>
                  <a:pt x="4751192" y="8477801"/>
                  <a:pt x="4756001" y="8467031"/>
                </a:cubicBezTo>
                <a:cubicBezTo>
                  <a:pt x="4761536" y="8440505"/>
                  <a:pt x="4756570" y="8406500"/>
                  <a:pt x="4756570" y="8381670"/>
                </a:cubicBezTo>
                <a:cubicBezTo>
                  <a:pt x="4756622" y="8385858"/>
                  <a:pt x="4760036" y="8374491"/>
                  <a:pt x="4758794" y="8367510"/>
                </a:cubicBezTo>
                <a:cubicBezTo>
                  <a:pt x="4755019" y="8346568"/>
                  <a:pt x="4759622" y="8348364"/>
                  <a:pt x="4759053" y="8324829"/>
                </a:cubicBezTo>
                <a:cubicBezTo>
                  <a:pt x="4759415" y="8340785"/>
                  <a:pt x="4753260" y="8254727"/>
                  <a:pt x="4759519" y="8253629"/>
                </a:cubicBezTo>
                <a:cubicBezTo>
                  <a:pt x="4759673" y="8235879"/>
                  <a:pt x="4756519" y="8234682"/>
                  <a:pt x="4755485" y="8225010"/>
                </a:cubicBezTo>
                <a:cubicBezTo>
                  <a:pt x="4753364" y="8204767"/>
                  <a:pt x="4754399" y="8157898"/>
                  <a:pt x="4747519" y="8153610"/>
                </a:cubicBezTo>
                <a:lnTo>
                  <a:pt x="4748347" y="8025470"/>
                </a:lnTo>
                <a:cubicBezTo>
                  <a:pt x="4756467" y="8023077"/>
                  <a:pt x="4749071" y="8037138"/>
                  <a:pt x="4750209" y="8068250"/>
                </a:cubicBezTo>
                <a:cubicBezTo>
                  <a:pt x="4752484" y="8054389"/>
                  <a:pt x="4754657" y="8040228"/>
                  <a:pt x="4756829" y="8025670"/>
                </a:cubicBezTo>
                <a:cubicBezTo>
                  <a:pt x="4759467" y="8019487"/>
                  <a:pt x="4761277" y="8007521"/>
                  <a:pt x="4761328" y="7983090"/>
                </a:cubicBezTo>
                <a:cubicBezTo>
                  <a:pt x="4760243" y="7940410"/>
                  <a:pt x="4756726" y="7996551"/>
                  <a:pt x="4752899" y="7982890"/>
                </a:cubicBezTo>
                <a:cubicBezTo>
                  <a:pt x="4754399" y="7961649"/>
                  <a:pt x="4750157" y="7955965"/>
                  <a:pt x="4751089" y="7940110"/>
                </a:cubicBezTo>
                <a:cubicBezTo>
                  <a:pt x="4751192" y="7938314"/>
                  <a:pt x="4755381" y="7925151"/>
                  <a:pt x="4755381" y="7926050"/>
                </a:cubicBezTo>
                <a:cubicBezTo>
                  <a:pt x="4755433" y="7910095"/>
                  <a:pt x="4752123" y="7899923"/>
                  <a:pt x="4751450" y="7883270"/>
                </a:cubicBezTo>
                <a:cubicBezTo>
                  <a:pt x="4751709" y="7890249"/>
                  <a:pt x="4753778" y="7875491"/>
                  <a:pt x="4753623" y="7869109"/>
                </a:cubicBezTo>
                <a:cubicBezTo>
                  <a:pt x="4753570" y="7866815"/>
                  <a:pt x="4751605" y="7866815"/>
                  <a:pt x="4751605" y="7854750"/>
                </a:cubicBezTo>
                <a:cubicBezTo>
                  <a:pt x="4751605" y="7831714"/>
                  <a:pt x="4750985" y="7800900"/>
                  <a:pt x="4754243" y="7769389"/>
                </a:cubicBezTo>
                <a:cubicBezTo>
                  <a:pt x="4753468" y="7748148"/>
                  <a:pt x="4751503" y="7774874"/>
                  <a:pt x="4747933" y="7769191"/>
                </a:cubicBezTo>
                <a:cubicBezTo>
                  <a:pt x="4747158" y="7724216"/>
                  <a:pt x="4752071" y="7719031"/>
                  <a:pt x="4750674" y="7669570"/>
                </a:cubicBezTo>
                <a:cubicBezTo>
                  <a:pt x="4754141" y="7665681"/>
                  <a:pt x="4754243" y="7683232"/>
                  <a:pt x="4756933" y="7684029"/>
                </a:cubicBezTo>
                <a:cubicBezTo>
                  <a:pt x="4761950" y="7641747"/>
                  <a:pt x="4754450" y="7596874"/>
                  <a:pt x="4761795" y="7584508"/>
                </a:cubicBezTo>
                <a:cubicBezTo>
                  <a:pt x="4762570" y="7567356"/>
                  <a:pt x="4758329" y="7577428"/>
                  <a:pt x="4757657" y="7570149"/>
                </a:cubicBezTo>
                <a:cubicBezTo>
                  <a:pt x="4756726" y="7560076"/>
                  <a:pt x="4758794" y="7537740"/>
                  <a:pt x="4757915" y="7527469"/>
                </a:cubicBezTo>
                <a:cubicBezTo>
                  <a:pt x="4756829" y="7514704"/>
                  <a:pt x="4754295" y="7515701"/>
                  <a:pt x="4753881" y="7498948"/>
                </a:cubicBezTo>
                <a:cubicBezTo>
                  <a:pt x="4753260" y="7474816"/>
                  <a:pt x="4755691" y="7472224"/>
                  <a:pt x="4758278" y="7470628"/>
                </a:cubicBezTo>
                <a:cubicBezTo>
                  <a:pt x="4756829" y="7457366"/>
                  <a:pt x="4754553" y="7448988"/>
                  <a:pt x="4752123" y="7442009"/>
                </a:cubicBezTo>
                <a:cubicBezTo>
                  <a:pt x="4752795" y="7416979"/>
                  <a:pt x="4755950" y="7409700"/>
                  <a:pt x="4760759" y="7413788"/>
                </a:cubicBezTo>
                <a:cubicBezTo>
                  <a:pt x="4760605" y="7387362"/>
                  <a:pt x="4753674" y="7404812"/>
                  <a:pt x="4752484" y="7385069"/>
                </a:cubicBezTo>
                <a:cubicBezTo>
                  <a:pt x="4753985" y="7366023"/>
                  <a:pt x="4757191" y="7358643"/>
                  <a:pt x="4761122" y="7356847"/>
                </a:cubicBezTo>
                <a:cubicBezTo>
                  <a:pt x="4761691" y="7325834"/>
                  <a:pt x="4759673" y="7311475"/>
                  <a:pt x="4755071" y="7313967"/>
                </a:cubicBezTo>
                <a:cubicBezTo>
                  <a:pt x="4758071" y="7305293"/>
                  <a:pt x="4755743" y="7259221"/>
                  <a:pt x="4759673" y="7257127"/>
                </a:cubicBezTo>
                <a:cubicBezTo>
                  <a:pt x="4758432" y="7242669"/>
                  <a:pt x="4754916" y="7242270"/>
                  <a:pt x="4755743" y="7214347"/>
                </a:cubicBezTo>
                <a:cubicBezTo>
                  <a:pt x="4762932" y="7260917"/>
                  <a:pt x="4764329" y="7176055"/>
                  <a:pt x="4768776" y="7157707"/>
                </a:cubicBezTo>
                <a:cubicBezTo>
                  <a:pt x="4776896" y="7146239"/>
                  <a:pt x="4776742" y="7188121"/>
                  <a:pt x="4778965" y="7214847"/>
                </a:cubicBezTo>
                <a:cubicBezTo>
                  <a:pt x="4787034" y="7180044"/>
                  <a:pt x="4779069" y="7113631"/>
                  <a:pt x="4784086" y="7072645"/>
                </a:cubicBezTo>
                <a:cubicBezTo>
                  <a:pt x="4774777" y="7051406"/>
                  <a:pt x="4777362" y="7114229"/>
                  <a:pt x="4769138" y="7100766"/>
                </a:cubicBezTo>
                <a:cubicBezTo>
                  <a:pt x="4764587" y="7107348"/>
                  <a:pt x="4765260" y="7080324"/>
                  <a:pt x="4765208" y="7057986"/>
                </a:cubicBezTo>
                <a:cubicBezTo>
                  <a:pt x="4758794" y="7047516"/>
                  <a:pt x="4758846" y="7082418"/>
                  <a:pt x="4752433" y="7071947"/>
                </a:cubicBezTo>
                <a:lnTo>
                  <a:pt x="4752899" y="7000848"/>
                </a:lnTo>
                <a:cubicBezTo>
                  <a:pt x="4759415" y="7017101"/>
                  <a:pt x="4758484" y="6996858"/>
                  <a:pt x="4763346" y="7015307"/>
                </a:cubicBezTo>
                <a:cubicBezTo>
                  <a:pt x="4763243" y="6975119"/>
                  <a:pt x="4753468" y="6997257"/>
                  <a:pt x="4755381" y="6943907"/>
                </a:cubicBezTo>
                <a:cubicBezTo>
                  <a:pt x="4760036" y="6935033"/>
                  <a:pt x="4761847" y="6984493"/>
                  <a:pt x="4761795" y="6929846"/>
                </a:cubicBezTo>
                <a:cubicBezTo>
                  <a:pt x="4767846" y="6918278"/>
                  <a:pt x="4767122" y="6950090"/>
                  <a:pt x="4772241" y="6944405"/>
                </a:cubicBezTo>
                <a:cubicBezTo>
                  <a:pt x="4777827" y="6942312"/>
                  <a:pt x="4773380" y="6892052"/>
                  <a:pt x="4772810" y="6859045"/>
                </a:cubicBezTo>
                <a:cubicBezTo>
                  <a:pt x="4772139" y="6819656"/>
                  <a:pt x="4774931" y="6777872"/>
                  <a:pt x="4767018" y="6773484"/>
                </a:cubicBezTo>
                <a:lnTo>
                  <a:pt x="4767588" y="6688025"/>
                </a:lnTo>
                <a:cubicBezTo>
                  <a:pt x="4766087" y="6681343"/>
                  <a:pt x="4764897" y="6666786"/>
                  <a:pt x="4763553" y="6659406"/>
                </a:cubicBezTo>
                <a:cubicBezTo>
                  <a:pt x="4762570" y="6653921"/>
                  <a:pt x="4761847" y="6641655"/>
                  <a:pt x="4759415" y="6645145"/>
                </a:cubicBezTo>
                <a:cubicBezTo>
                  <a:pt x="4758432" y="6613535"/>
                  <a:pt x="4763604" y="6625003"/>
                  <a:pt x="4763915" y="6602566"/>
                </a:cubicBezTo>
                <a:cubicBezTo>
                  <a:pt x="4764018" y="6595784"/>
                  <a:pt x="4767380" y="6565270"/>
                  <a:pt x="4768518" y="6545725"/>
                </a:cubicBezTo>
                <a:cubicBezTo>
                  <a:pt x="4769605" y="6511421"/>
                  <a:pt x="4764846" y="6514713"/>
                  <a:pt x="4766863" y="6474525"/>
                </a:cubicBezTo>
                <a:cubicBezTo>
                  <a:pt x="4761795" y="6468541"/>
                  <a:pt x="4762105" y="6500353"/>
                  <a:pt x="4756208" y="6488486"/>
                </a:cubicBezTo>
                <a:cubicBezTo>
                  <a:pt x="4761588" y="6450592"/>
                  <a:pt x="4758381" y="6387071"/>
                  <a:pt x="4759260" y="6346185"/>
                </a:cubicBezTo>
                <a:cubicBezTo>
                  <a:pt x="4759725" y="6322652"/>
                  <a:pt x="4760243" y="6318762"/>
                  <a:pt x="4763656" y="6317766"/>
                </a:cubicBezTo>
                <a:cubicBezTo>
                  <a:pt x="4762622" y="6288149"/>
                  <a:pt x="4759519" y="6271694"/>
                  <a:pt x="4757812" y="6246466"/>
                </a:cubicBezTo>
                <a:cubicBezTo>
                  <a:pt x="4759260" y="6234399"/>
                  <a:pt x="4758588" y="6198798"/>
                  <a:pt x="4760294" y="6189624"/>
                </a:cubicBezTo>
                <a:cubicBezTo>
                  <a:pt x="4762467" y="6177957"/>
                  <a:pt x="4764225" y="6128097"/>
                  <a:pt x="4765052" y="6104365"/>
                </a:cubicBezTo>
                <a:cubicBezTo>
                  <a:pt x="4764846" y="6109649"/>
                  <a:pt x="4761795" y="6096387"/>
                  <a:pt x="4763036" y="6090105"/>
                </a:cubicBezTo>
                <a:cubicBezTo>
                  <a:pt x="4763243" y="6089007"/>
                  <a:pt x="4765052" y="6091700"/>
                  <a:pt x="4765156" y="6090204"/>
                </a:cubicBezTo>
                <a:cubicBezTo>
                  <a:pt x="4765518" y="6085219"/>
                  <a:pt x="4764794" y="6064875"/>
                  <a:pt x="4765363" y="6061783"/>
                </a:cubicBezTo>
                <a:cubicBezTo>
                  <a:pt x="4767949" y="6048122"/>
                  <a:pt x="4766139" y="6051712"/>
                  <a:pt x="4763346" y="6047523"/>
                </a:cubicBezTo>
                <a:cubicBezTo>
                  <a:pt x="4766242" y="6018606"/>
                  <a:pt x="4773742" y="6021896"/>
                  <a:pt x="4772345" y="5962363"/>
                </a:cubicBezTo>
                <a:cubicBezTo>
                  <a:pt x="4772449" y="5947704"/>
                  <a:pt x="4769759" y="5952291"/>
                  <a:pt x="4768208" y="5948004"/>
                </a:cubicBezTo>
                <a:cubicBezTo>
                  <a:pt x="4765467" y="5940524"/>
                  <a:pt x="4765777" y="5920581"/>
                  <a:pt x="4759933" y="5919283"/>
                </a:cubicBezTo>
                <a:cubicBezTo>
                  <a:pt x="4758640" y="5875707"/>
                  <a:pt x="4763812" y="5877501"/>
                  <a:pt x="4762570" y="5833923"/>
                </a:cubicBezTo>
                <a:cubicBezTo>
                  <a:pt x="4764225" y="5841502"/>
                  <a:pt x="4765932" y="5848882"/>
                  <a:pt x="4768828" y="5848283"/>
                </a:cubicBezTo>
                <a:cubicBezTo>
                  <a:pt x="4769449" y="5811386"/>
                  <a:pt x="4767742" y="5735001"/>
                  <a:pt x="4773535" y="5777182"/>
                </a:cubicBezTo>
                <a:cubicBezTo>
                  <a:pt x="4766914" y="5733305"/>
                  <a:pt x="4764897" y="5660012"/>
                  <a:pt x="4766449" y="5563483"/>
                </a:cubicBezTo>
                <a:cubicBezTo>
                  <a:pt x="4768880" y="5565876"/>
                  <a:pt x="4768052" y="5589509"/>
                  <a:pt x="4768259" y="5606262"/>
                </a:cubicBezTo>
                <a:cubicBezTo>
                  <a:pt x="4773018" y="5600379"/>
                  <a:pt x="4770432" y="5530774"/>
                  <a:pt x="4768828" y="5520902"/>
                </a:cubicBezTo>
                <a:cubicBezTo>
                  <a:pt x="4768104" y="5498565"/>
                  <a:pt x="4762311" y="5508537"/>
                  <a:pt x="4765001" y="5463863"/>
                </a:cubicBezTo>
                <a:cubicBezTo>
                  <a:pt x="4767018" y="5464262"/>
                  <a:pt x="4766500" y="5481314"/>
                  <a:pt x="4766914" y="5492383"/>
                </a:cubicBezTo>
                <a:cubicBezTo>
                  <a:pt x="4772397" y="5473535"/>
                  <a:pt x="4764225" y="5429159"/>
                  <a:pt x="4765467" y="5392662"/>
                </a:cubicBezTo>
                <a:cubicBezTo>
                  <a:pt x="4769036" y="5398047"/>
                  <a:pt x="4769500" y="5381692"/>
                  <a:pt x="4769863" y="5364342"/>
                </a:cubicBezTo>
                <a:cubicBezTo>
                  <a:pt x="4772034" y="5318670"/>
                  <a:pt x="4764587" y="5334625"/>
                  <a:pt x="4763915" y="5307202"/>
                </a:cubicBezTo>
                <a:cubicBezTo>
                  <a:pt x="4762829" y="5273197"/>
                  <a:pt x="4767225" y="5203992"/>
                  <a:pt x="4762518" y="5193322"/>
                </a:cubicBezTo>
                <a:cubicBezTo>
                  <a:pt x="4763915" y="5161311"/>
                  <a:pt x="4765673" y="5210674"/>
                  <a:pt x="4768931" y="5179261"/>
                </a:cubicBezTo>
                <a:cubicBezTo>
                  <a:pt x="4765932" y="5149645"/>
                  <a:pt x="4756675" y="5115241"/>
                  <a:pt x="4763346" y="5065281"/>
                </a:cubicBezTo>
                <a:cubicBezTo>
                  <a:pt x="4766190" y="5069668"/>
                  <a:pt x="4764897" y="5100881"/>
                  <a:pt x="4765105" y="5122222"/>
                </a:cubicBezTo>
                <a:cubicBezTo>
                  <a:pt x="4768931" y="5099485"/>
                  <a:pt x="4770070" y="5058301"/>
                  <a:pt x="4770070" y="5008441"/>
                </a:cubicBezTo>
                <a:cubicBezTo>
                  <a:pt x="4767794" y="4997770"/>
                  <a:pt x="4767897" y="5051221"/>
                  <a:pt x="4767690" y="5051121"/>
                </a:cubicBezTo>
                <a:cubicBezTo>
                  <a:pt x="4764742" y="5049824"/>
                  <a:pt x="4764276" y="4948808"/>
                  <a:pt x="4762208" y="4922880"/>
                </a:cubicBezTo>
                <a:cubicBezTo>
                  <a:pt x="4766398" y="4922880"/>
                  <a:pt x="4765156" y="4884190"/>
                  <a:pt x="4770845" y="4894660"/>
                </a:cubicBezTo>
                <a:cubicBezTo>
                  <a:pt x="4770586" y="4877907"/>
                  <a:pt x="4767069" y="4882495"/>
                  <a:pt x="4764587" y="4880201"/>
                </a:cubicBezTo>
                <a:cubicBezTo>
                  <a:pt x="4764432" y="4849089"/>
                  <a:pt x="4766604" y="4834928"/>
                  <a:pt x="4771207" y="4837621"/>
                </a:cubicBezTo>
                <a:cubicBezTo>
                  <a:pt x="4766087" y="4813987"/>
                  <a:pt x="4761795" y="4726632"/>
                  <a:pt x="4770018" y="4695220"/>
                </a:cubicBezTo>
                <a:cubicBezTo>
                  <a:pt x="4770070" y="4644862"/>
                  <a:pt x="4762829" y="4725336"/>
                  <a:pt x="4763759" y="4680861"/>
                </a:cubicBezTo>
                <a:cubicBezTo>
                  <a:pt x="4762984" y="4650446"/>
                  <a:pt x="4766967" y="4653837"/>
                  <a:pt x="4770276" y="4652540"/>
                </a:cubicBezTo>
                <a:cubicBezTo>
                  <a:pt x="4772655" y="4607866"/>
                  <a:pt x="4771104" y="4567179"/>
                  <a:pt x="4775397" y="4510339"/>
                </a:cubicBezTo>
                <a:cubicBezTo>
                  <a:pt x="4775138" y="4493686"/>
                  <a:pt x="4771621" y="4498274"/>
                  <a:pt x="4769138" y="4495980"/>
                </a:cubicBezTo>
                <a:cubicBezTo>
                  <a:pt x="4769656" y="4434651"/>
                  <a:pt x="4773948" y="4455394"/>
                  <a:pt x="4771880" y="4396359"/>
                </a:cubicBezTo>
                <a:cubicBezTo>
                  <a:pt x="4771725" y="4391872"/>
                  <a:pt x="4769294" y="4397058"/>
                  <a:pt x="4769863" y="4382000"/>
                </a:cubicBezTo>
                <a:cubicBezTo>
                  <a:pt x="4769966" y="4379506"/>
                  <a:pt x="4772810" y="4381500"/>
                  <a:pt x="4772087" y="4367839"/>
                </a:cubicBezTo>
                <a:cubicBezTo>
                  <a:pt x="4771311" y="4353280"/>
                  <a:pt x="4768208" y="4357269"/>
                  <a:pt x="4768052" y="4339220"/>
                </a:cubicBezTo>
                <a:cubicBezTo>
                  <a:pt x="4765777" y="4293050"/>
                  <a:pt x="4774983" y="4328450"/>
                  <a:pt x="4772655" y="4282380"/>
                </a:cubicBezTo>
                <a:cubicBezTo>
                  <a:pt x="4771466" y="4265626"/>
                  <a:pt x="4763346" y="4299631"/>
                  <a:pt x="4766708" y="4225240"/>
                </a:cubicBezTo>
                <a:cubicBezTo>
                  <a:pt x="4770328" y="4220154"/>
                  <a:pt x="4770639" y="4236508"/>
                  <a:pt x="4770742" y="4253860"/>
                </a:cubicBezTo>
                <a:cubicBezTo>
                  <a:pt x="4777000" y="4241893"/>
                  <a:pt x="4769759" y="4207988"/>
                  <a:pt x="4771207" y="4182660"/>
                </a:cubicBezTo>
                <a:cubicBezTo>
                  <a:pt x="4776844" y="4192632"/>
                  <a:pt x="4775500" y="4153342"/>
                  <a:pt x="4777827" y="4140079"/>
                </a:cubicBezTo>
                <a:cubicBezTo>
                  <a:pt x="4779897" y="4113154"/>
                  <a:pt x="4774156" y="4106573"/>
                  <a:pt x="4773898" y="4097298"/>
                </a:cubicBezTo>
                <a:cubicBezTo>
                  <a:pt x="4773587" y="4086229"/>
                  <a:pt x="4778551" y="4041754"/>
                  <a:pt x="4776638" y="3997678"/>
                </a:cubicBezTo>
                <a:cubicBezTo>
                  <a:pt x="4776379" y="3981025"/>
                  <a:pt x="4772862" y="3985612"/>
                  <a:pt x="4770380" y="3983319"/>
                </a:cubicBezTo>
                <a:cubicBezTo>
                  <a:pt x="4768984" y="3934057"/>
                  <a:pt x="4773121" y="3923288"/>
                  <a:pt x="4775138" y="3898058"/>
                </a:cubicBezTo>
                <a:cubicBezTo>
                  <a:pt x="4776534" y="3884696"/>
                  <a:pt x="4773173" y="3886191"/>
                  <a:pt x="4773121" y="3883798"/>
                </a:cubicBezTo>
                <a:cubicBezTo>
                  <a:pt x="4772862" y="3870934"/>
                  <a:pt x="4775345" y="3869638"/>
                  <a:pt x="4775345" y="3869638"/>
                </a:cubicBezTo>
                <a:cubicBezTo>
                  <a:pt x="4774569" y="3820576"/>
                  <a:pt x="4766967" y="3761741"/>
                  <a:pt x="4776276" y="3727337"/>
                </a:cubicBezTo>
                <a:cubicBezTo>
                  <a:pt x="4775500" y="3705000"/>
                  <a:pt x="4769707" y="3714972"/>
                  <a:pt x="4772397" y="3670298"/>
                </a:cubicBezTo>
                <a:cubicBezTo>
                  <a:pt x="4771466" y="3638687"/>
                  <a:pt x="4776586" y="3650155"/>
                  <a:pt x="4776896" y="3627717"/>
                </a:cubicBezTo>
                <a:cubicBezTo>
                  <a:pt x="4775655" y="3613157"/>
                  <a:pt x="4772139" y="3612859"/>
                  <a:pt x="4772966" y="3584837"/>
                </a:cubicBezTo>
                <a:cubicBezTo>
                  <a:pt x="4775397" y="3587231"/>
                  <a:pt x="4776742" y="3581746"/>
                  <a:pt x="4777259" y="3570677"/>
                </a:cubicBezTo>
                <a:cubicBezTo>
                  <a:pt x="4776173" y="3556817"/>
                  <a:pt x="4774000" y="3558810"/>
                  <a:pt x="4773224" y="3542158"/>
                </a:cubicBezTo>
                <a:cubicBezTo>
                  <a:pt x="4770432" y="3481827"/>
                  <a:pt x="4775086" y="3274010"/>
                  <a:pt x="4779586" y="3214876"/>
                </a:cubicBezTo>
                <a:cubicBezTo>
                  <a:pt x="4779172" y="3199419"/>
                  <a:pt x="4775448" y="3205103"/>
                  <a:pt x="4775552" y="3186356"/>
                </a:cubicBezTo>
                <a:cubicBezTo>
                  <a:pt x="4776638" y="3138889"/>
                  <a:pt x="4774362" y="3071279"/>
                  <a:pt x="4778603" y="3044055"/>
                </a:cubicBezTo>
                <a:cubicBezTo>
                  <a:pt x="4777466" y="3051534"/>
                  <a:pt x="4777982" y="2971161"/>
                  <a:pt x="4777155" y="2944335"/>
                </a:cubicBezTo>
                <a:cubicBezTo>
                  <a:pt x="4776534" y="2924092"/>
                  <a:pt x="4774259" y="2917012"/>
                  <a:pt x="4779430" y="2915916"/>
                </a:cubicBezTo>
                <a:cubicBezTo>
                  <a:pt x="4780362" y="2891783"/>
                  <a:pt x="4777982" y="2888991"/>
                  <a:pt x="4775397" y="2887396"/>
                </a:cubicBezTo>
                <a:cubicBezTo>
                  <a:pt x="4776379" y="2857181"/>
                  <a:pt x="4777880" y="2843818"/>
                  <a:pt x="4777982" y="2816296"/>
                </a:cubicBezTo>
                <a:cubicBezTo>
                  <a:pt x="4778086" y="2787177"/>
                  <a:pt x="4776069" y="2778102"/>
                  <a:pt x="4776225" y="2759355"/>
                </a:cubicBezTo>
                <a:cubicBezTo>
                  <a:pt x="4776431" y="2734425"/>
                  <a:pt x="4778190" y="2728641"/>
                  <a:pt x="4778707" y="2702515"/>
                </a:cubicBezTo>
                <a:cubicBezTo>
                  <a:pt x="4779534" y="2658937"/>
                  <a:pt x="4773742" y="2612269"/>
                  <a:pt x="4781397" y="2617155"/>
                </a:cubicBezTo>
                <a:cubicBezTo>
                  <a:pt x="4778138" y="2606484"/>
                  <a:pt x="4782327" y="2547450"/>
                  <a:pt x="4775448" y="2560015"/>
                </a:cubicBezTo>
                <a:cubicBezTo>
                  <a:pt x="4773898" y="2542863"/>
                  <a:pt x="4777672" y="2535384"/>
                  <a:pt x="4777724" y="2531594"/>
                </a:cubicBezTo>
                <a:cubicBezTo>
                  <a:pt x="4777931" y="2520227"/>
                  <a:pt x="4775552" y="2517334"/>
                  <a:pt x="4775811" y="2503074"/>
                </a:cubicBezTo>
                <a:cubicBezTo>
                  <a:pt x="4776225" y="2480239"/>
                  <a:pt x="4777672" y="2478842"/>
                  <a:pt x="4778190" y="2460395"/>
                </a:cubicBezTo>
                <a:cubicBezTo>
                  <a:pt x="4779276" y="2422800"/>
                  <a:pt x="4776276" y="2372141"/>
                  <a:pt x="4781034" y="2346613"/>
                </a:cubicBezTo>
                <a:cubicBezTo>
                  <a:pt x="4778035" y="2322981"/>
                  <a:pt x="4777206" y="2368452"/>
                  <a:pt x="4777155" y="2289573"/>
                </a:cubicBezTo>
                <a:cubicBezTo>
                  <a:pt x="4777155" y="2229542"/>
                  <a:pt x="4779121" y="2156648"/>
                  <a:pt x="4778551" y="2076073"/>
                </a:cubicBezTo>
                <a:cubicBezTo>
                  <a:pt x="4778345" y="2048251"/>
                  <a:pt x="4774672" y="2036185"/>
                  <a:pt x="4777000" y="1990613"/>
                </a:cubicBezTo>
                <a:cubicBezTo>
                  <a:pt x="4778035" y="1970868"/>
                  <a:pt x="4778914" y="1971068"/>
                  <a:pt x="4777466" y="1919413"/>
                </a:cubicBezTo>
                <a:cubicBezTo>
                  <a:pt x="4776844" y="1897375"/>
                  <a:pt x="4775345" y="1886605"/>
                  <a:pt x="4775707" y="1862473"/>
                </a:cubicBezTo>
                <a:cubicBezTo>
                  <a:pt x="4775655" y="1863869"/>
                  <a:pt x="4781448" y="1860180"/>
                  <a:pt x="4780000" y="1848313"/>
                </a:cubicBezTo>
                <a:cubicBezTo>
                  <a:pt x="4780051" y="1834452"/>
                  <a:pt x="4777466" y="1837244"/>
                  <a:pt x="4775862" y="1833953"/>
                </a:cubicBezTo>
                <a:cubicBezTo>
                  <a:pt x="4775655" y="1811316"/>
                  <a:pt x="4777672" y="1809123"/>
                  <a:pt x="4778241" y="1791373"/>
                </a:cubicBezTo>
                <a:cubicBezTo>
                  <a:pt x="4778086" y="1795661"/>
                  <a:pt x="4775914" y="1785589"/>
                  <a:pt x="4776225" y="1777013"/>
                </a:cubicBezTo>
                <a:cubicBezTo>
                  <a:pt x="4776379" y="1773622"/>
                  <a:pt x="4778759" y="1777112"/>
                  <a:pt x="4778448" y="1762852"/>
                </a:cubicBezTo>
                <a:cubicBezTo>
                  <a:pt x="4777724" y="1729047"/>
                  <a:pt x="4770380" y="1695441"/>
                  <a:pt x="4777155" y="1634712"/>
                </a:cubicBezTo>
                <a:cubicBezTo>
                  <a:pt x="4770535" y="1566505"/>
                  <a:pt x="4773018" y="1473765"/>
                  <a:pt x="4772397" y="1392592"/>
                </a:cubicBezTo>
                <a:cubicBezTo>
                  <a:pt x="4772139" y="1361480"/>
                  <a:pt x="4771052" y="1336549"/>
                  <a:pt x="4771001" y="1278711"/>
                </a:cubicBezTo>
                <a:cubicBezTo>
                  <a:pt x="4771001" y="1269537"/>
                  <a:pt x="4772190" y="1227656"/>
                  <a:pt x="4771362" y="1221772"/>
                </a:cubicBezTo>
                <a:cubicBezTo>
                  <a:pt x="4768621" y="1202227"/>
                  <a:pt x="4772139" y="1219976"/>
                  <a:pt x="4771725" y="1164831"/>
                </a:cubicBezTo>
                <a:cubicBezTo>
                  <a:pt x="4771466" y="1134417"/>
                  <a:pt x="4768621" y="1106794"/>
                  <a:pt x="4768052" y="1079272"/>
                </a:cubicBezTo>
                <a:cubicBezTo>
                  <a:pt x="4767069" y="1034498"/>
                  <a:pt x="4768673" y="989423"/>
                  <a:pt x="4766760" y="951132"/>
                </a:cubicBezTo>
                <a:cubicBezTo>
                  <a:pt x="4766553" y="946145"/>
                  <a:pt x="4767535" y="925803"/>
                  <a:pt x="4766967" y="922711"/>
                </a:cubicBezTo>
                <a:cubicBezTo>
                  <a:pt x="4764381" y="907953"/>
                  <a:pt x="4765984" y="893793"/>
                  <a:pt x="4765208" y="865771"/>
                </a:cubicBezTo>
                <a:cubicBezTo>
                  <a:pt x="4764070" y="826881"/>
                  <a:pt x="4761432" y="722174"/>
                  <a:pt x="4760139" y="666331"/>
                </a:cubicBezTo>
                <a:cubicBezTo>
                  <a:pt x="4759829" y="653069"/>
                  <a:pt x="4760915" y="636614"/>
                  <a:pt x="4760398" y="623651"/>
                </a:cubicBezTo>
                <a:cubicBezTo>
                  <a:pt x="4760191" y="618166"/>
                  <a:pt x="4758381" y="606000"/>
                  <a:pt x="4758381" y="609391"/>
                </a:cubicBezTo>
                <a:cubicBezTo>
                  <a:pt x="4758278" y="584262"/>
                  <a:pt x="4761432" y="578877"/>
                  <a:pt x="4760863" y="552551"/>
                </a:cubicBezTo>
                <a:cubicBezTo>
                  <a:pt x="4760553" y="537791"/>
                  <a:pt x="4758950" y="502192"/>
                  <a:pt x="4757088" y="481251"/>
                </a:cubicBezTo>
                <a:cubicBezTo>
                  <a:pt x="4755640" y="464697"/>
                  <a:pt x="4754553" y="385520"/>
                  <a:pt x="4753778" y="338850"/>
                </a:cubicBezTo>
                <a:cubicBezTo>
                  <a:pt x="4753623" y="307738"/>
                  <a:pt x="4748658" y="308137"/>
                  <a:pt x="4743382" y="310131"/>
                </a:cubicBezTo>
                <a:cubicBezTo>
                  <a:pt x="4743382" y="279916"/>
                  <a:pt x="4740951" y="265456"/>
                  <a:pt x="4738779" y="249103"/>
                </a:cubicBezTo>
                <a:lnTo>
                  <a:pt x="3984963" y="249103"/>
                </a:lnTo>
                <a:cubicBezTo>
                  <a:pt x="3978394" y="242820"/>
                  <a:pt x="3954654" y="237835"/>
                  <a:pt x="3949741" y="249103"/>
                </a:cubicBezTo>
                <a:lnTo>
                  <a:pt x="3910435" y="249103"/>
                </a:lnTo>
                <a:cubicBezTo>
                  <a:pt x="3912710" y="248005"/>
                  <a:pt x="3914986" y="246410"/>
                  <a:pt x="3917106" y="243718"/>
                </a:cubicBezTo>
                <a:cubicBezTo>
                  <a:pt x="3886850" y="242222"/>
                  <a:pt x="3837561" y="226666"/>
                  <a:pt x="3811546" y="237136"/>
                </a:cubicBezTo>
                <a:cubicBezTo>
                  <a:pt x="3805495" y="237136"/>
                  <a:pt x="3807357" y="225668"/>
                  <a:pt x="3802392" y="224073"/>
                </a:cubicBezTo>
                <a:cubicBezTo>
                  <a:pt x="3793185" y="236239"/>
                  <a:pt x="3778756" y="230355"/>
                  <a:pt x="3765670" y="230655"/>
                </a:cubicBezTo>
                <a:cubicBezTo>
                  <a:pt x="3730449" y="231453"/>
                  <a:pt x="3688349" y="232150"/>
                  <a:pt x="3660110" y="230655"/>
                </a:cubicBezTo>
                <a:cubicBezTo>
                  <a:pt x="3656852" y="230455"/>
                  <a:pt x="3660472" y="222079"/>
                  <a:pt x="3655559" y="230655"/>
                </a:cubicBezTo>
                <a:cubicBezTo>
                  <a:pt x="3654938" y="231651"/>
                  <a:pt x="3647387" y="230854"/>
                  <a:pt x="3646353" y="230655"/>
                </a:cubicBezTo>
                <a:cubicBezTo>
                  <a:pt x="3635336" y="228760"/>
                  <a:pt x="3630733" y="217491"/>
                  <a:pt x="3623389" y="230655"/>
                </a:cubicBezTo>
                <a:cubicBezTo>
                  <a:pt x="3621216" y="234444"/>
                  <a:pt x="3617287" y="224372"/>
                  <a:pt x="3618786" y="224073"/>
                </a:cubicBezTo>
                <a:cubicBezTo>
                  <a:pt x="3610356" y="225569"/>
                  <a:pt x="3601305" y="222378"/>
                  <a:pt x="3600426" y="237136"/>
                </a:cubicBezTo>
                <a:cubicBezTo>
                  <a:pt x="3613511" y="242721"/>
                  <a:pt x="3626699" y="246511"/>
                  <a:pt x="3641698" y="243718"/>
                </a:cubicBezTo>
                <a:cubicBezTo>
                  <a:pt x="3655300" y="241224"/>
                  <a:pt x="3654628" y="234045"/>
                  <a:pt x="3660058" y="243718"/>
                </a:cubicBezTo>
                <a:cubicBezTo>
                  <a:pt x="3662231" y="247507"/>
                  <a:pt x="3666213" y="237436"/>
                  <a:pt x="3664662" y="237136"/>
                </a:cubicBezTo>
                <a:cubicBezTo>
                  <a:pt x="3670610" y="238234"/>
                  <a:pt x="3671075" y="242921"/>
                  <a:pt x="3678419" y="243718"/>
                </a:cubicBezTo>
                <a:cubicBezTo>
                  <a:pt x="3689022" y="244814"/>
                  <a:pt x="3706865" y="243419"/>
                  <a:pt x="3710537" y="243718"/>
                </a:cubicBezTo>
                <a:cubicBezTo>
                  <a:pt x="3712451" y="243818"/>
                  <a:pt x="3714468" y="247308"/>
                  <a:pt x="3715089" y="249103"/>
                </a:cubicBezTo>
                <a:lnTo>
                  <a:pt x="3572238" y="249103"/>
                </a:lnTo>
                <a:cubicBezTo>
                  <a:pt x="3579013" y="246112"/>
                  <a:pt x="3587650" y="237934"/>
                  <a:pt x="3595822" y="243718"/>
                </a:cubicBezTo>
                <a:cubicBezTo>
                  <a:pt x="3596133" y="229159"/>
                  <a:pt x="3580048" y="218588"/>
                  <a:pt x="3572859" y="217491"/>
                </a:cubicBezTo>
                <a:cubicBezTo>
                  <a:pt x="3573427" y="217592"/>
                  <a:pt x="3571514" y="224073"/>
                  <a:pt x="3568256" y="224073"/>
                </a:cubicBezTo>
                <a:cubicBezTo>
                  <a:pt x="3565618" y="224073"/>
                  <a:pt x="3562618" y="217491"/>
                  <a:pt x="3563653" y="217491"/>
                </a:cubicBezTo>
                <a:cubicBezTo>
                  <a:pt x="3554912" y="217890"/>
                  <a:pt x="3546895" y="228560"/>
                  <a:pt x="3536138" y="224073"/>
                </a:cubicBezTo>
                <a:cubicBezTo>
                  <a:pt x="3528483" y="215397"/>
                  <a:pt x="3520777" y="206721"/>
                  <a:pt x="3504020" y="211009"/>
                </a:cubicBezTo>
                <a:cubicBezTo>
                  <a:pt x="3498382" y="212206"/>
                  <a:pt x="3499313" y="220882"/>
                  <a:pt x="3494866" y="224073"/>
                </a:cubicBezTo>
                <a:cubicBezTo>
                  <a:pt x="3480177" y="234543"/>
                  <a:pt x="3484056" y="221680"/>
                  <a:pt x="3471902" y="224073"/>
                </a:cubicBezTo>
                <a:cubicBezTo>
                  <a:pt x="3472005" y="224073"/>
                  <a:pt x="3469988" y="229657"/>
                  <a:pt x="3467299" y="230655"/>
                </a:cubicBezTo>
                <a:cubicBezTo>
                  <a:pt x="3463110" y="232150"/>
                  <a:pt x="3453076" y="232150"/>
                  <a:pt x="3448938" y="230655"/>
                </a:cubicBezTo>
                <a:cubicBezTo>
                  <a:pt x="3437663" y="226666"/>
                  <a:pt x="3434715" y="229756"/>
                  <a:pt x="3421372" y="230655"/>
                </a:cubicBezTo>
                <a:cubicBezTo>
                  <a:pt x="3412734" y="231153"/>
                  <a:pt x="3411182" y="222976"/>
                  <a:pt x="3403011" y="224073"/>
                </a:cubicBezTo>
                <a:cubicBezTo>
                  <a:pt x="3403942" y="223973"/>
                  <a:pt x="3400321" y="229857"/>
                  <a:pt x="3398408" y="230655"/>
                </a:cubicBezTo>
                <a:cubicBezTo>
                  <a:pt x="3394322" y="232449"/>
                  <a:pt x="3388891" y="229756"/>
                  <a:pt x="3384650" y="230655"/>
                </a:cubicBezTo>
                <a:cubicBezTo>
                  <a:pt x="3369497" y="233846"/>
                  <a:pt x="3369290" y="234942"/>
                  <a:pt x="3366290" y="230655"/>
                </a:cubicBezTo>
                <a:cubicBezTo>
                  <a:pt x="3363238" y="226267"/>
                  <a:pt x="3353722" y="231153"/>
                  <a:pt x="3352532" y="224073"/>
                </a:cubicBezTo>
                <a:cubicBezTo>
                  <a:pt x="3340120" y="246511"/>
                  <a:pt x="3328069" y="223874"/>
                  <a:pt x="3320414" y="237136"/>
                </a:cubicBezTo>
                <a:cubicBezTo>
                  <a:pt x="3317311" y="242522"/>
                  <a:pt x="3301640" y="233148"/>
                  <a:pt x="3297451" y="237136"/>
                </a:cubicBezTo>
                <a:cubicBezTo>
                  <a:pt x="3290210" y="239728"/>
                  <a:pt x="3295847" y="243718"/>
                  <a:pt x="3296364" y="249103"/>
                </a:cubicBezTo>
                <a:lnTo>
                  <a:pt x="3289124" y="249103"/>
                </a:lnTo>
                <a:cubicBezTo>
                  <a:pt x="3289797" y="246410"/>
                  <a:pt x="3289744" y="242820"/>
                  <a:pt x="3288296" y="237136"/>
                </a:cubicBezTo>
                <a:cubicBezTo>
                  <a:pt x="3281107" y="236537"/>
                  <a:pt x="3272418" y="238033"/>
                  <a:pt x="3274539" y="224073"/>
                </a:cubicBezTo>
                <a:cubicBezTo>
                  <a:pt x="3259230" y="224073"/>
                  <a:pt x="3258868" y="245413"/>
                  <a:pt x="3242421" y="243718"/>
                </a:cubicBezTo>
                <a:cubicBezTo>
                  <a:pt x="3242007" y="233447"/>
                  <a:pt x="3243041" y="220981"/>
                  <a:pt x="3233266" y="224073"/>
                </a:cubicBezTo>
                <a:cubicBezTo>
                  <a:pt x="3225664" y="224172"/>
                  <a:pt x="3230680" y="242222"/>
                  <a:pt x="3224060" y="243718"/>
                </a:cubicBezTo>
                <a:cubicBezTo>
                  <a:pt x="3212837" y="231352"/>
                  <a:pt x="3192460" y="232050"/>
                  <a:pt x="3196545" y="197847"/>
                </a:cubicBezTo>
                <a:cubicBezTo>
                  <a:pt x="3211441" y="199742"/>
                  <a:pt x="3225457" y="184783"/>
                  <a:pt x="3233266" y="184783"/>
                </a:cubicBezTo>
                <a:cubicBezTo>
                  <a:pt x="3239266" y="184883"/>
                  <a:pt x="3239421" y="192062"/>
                  <a:pt x="3247024" y="191365"/>
                </a:cubicBezTo>
                <a:cubicBezTo>
                  <a:pt x="3253437" y="190766"/>
                  <a:pt x="3255764" y="185382"/>
                  <a:pt x="3265384" y="184783"/>
                </a:cubicBezTo>
                <a:cubicBezTo>
                  <a:pt x="3270763" y="184484"/>
                  <a:pt x="3272263" y="190667"/>
                  <a:pt x="3279142" y="191365"/>
                </a:cubicBezTo>
                <a:cubicBezTo>
                  <a:pt x="3285451" y="191963"/>
                  <a:pt x="3289331" y="184484"/>
                  <a:pt x="3292899" y="184783"/>
                </a:cubicBezTo>
                <a:cubicBezTo>
                  <a:pt x="3299778" y="185382"/>
                  <a:pt x="3297761" y="192262"/>
                  <a:pt x="3302054" y="184783"/>
                </a:cubicBezTo>
                <a:cubicBezTo>
                  <a:pt x="3303088" y="182989"/>
                  <a:pt x="3309604" y="185680"/>
                  <a:pt x="3311260" y="184783"/>
                </a:cubicBezTo>
                <a:cubicBezTo>
                  <a:pt x="3315191" y="182489"/>
                  <a:pt x="3317208" y="181293"/>
                  <a:pt x="3320414" y="178201"/>
                </a:cubicBezTo>
                <a:cubicBezTo>
                  <a:pt x="3328017" y="189171"/>
                  <a:pt x="3347360" y="183487"/>
                  <a:pt x="3361687" y="184783"/>
                </a:cubicBezTo>
                <a:cubicBezTo>
                  <a:pt x="3363652" y="168429"/>
                  <a:pt x="3386771" y="148784"/>
                  <a:pt x="3366290" y="139012"/>
                </a:cubicBezTo>
                <a:cubicBezTo>
                  <a:pt x="3365514" y="148784"/>
                  <a:pt x="3367893" y="163143"/>
                  <a:pt x="3361687" y="165139"/>
                </a:cubicBezTo>
                <a:cubicBezTo>
                  <a:pt x="3362462" y="148784"/>
                  <a:pt x="3354652" y="144696"/>
                  <a:pt x="3347929" y="139012"/>
                </a:cubicBezTo>
                <a:cubicBezTo>
                  <a:pt x="3350153" y="159654"/>
                  <a:pt x="3326880" y="143898"/>
                  <a:pt x="3324965" y="158656"/>
                </a:cubicBezTo>
                <a:cubicBezTo>
                  <a:pt x="3328535" y="160053"/>
                  <a:pt x="3330293" y="164141"/>
                  <a:pt x="3329569" y="171720"/>
                </a:cubicBezTo>
                <a:cubicBezTo>
                  <a:pt x="3320880" y="160053"/>
                  <a:pt x="3299261" y="166933"/>
                  <a:pt x="3283693" y="165139"/>
                </a:cubicBezTo>
                <a:cubicBezTo>
                  <a:pt x="3297089" y="146690"/>
                  <a:pt x="3269987" y="157061"/>
                  <a:pt x="3274539" y="132430"/>
                </a:cubicBezTo>
                <a:cubicBezTo>
                  <a:pt x="3264091" y="130535"/>
                  <a:pt x="3257264" y="133926"/>
                  <a:pt x="3256178" y="145493"/>
                </a:cubicBezTo>
                <a:cubicBezTo>
                  <a:pt x="3247541" y="142602"/>
                  <a:pt x="3228560" y="154469"/>
                  <a:pt x="3233266" y="132430"/>
                </a:cubicBezTo>
                <a:cubicBezTo>
                  <a:pt x="3250179" y="152973"/>
                  <a:pt x="3253127" y="121262"/>
                  <a:pt x="3269987" y="119367"/>
                </a:cubicBezTo>
                <a:cubicBezTo>
                  <a:pt x="3269884" y="119367"/>
                  <a:pt x="3270866" y="126248"/>
                  <a:pt x="3274591" y="125949"/>
                </a:cubicBezTo>
                <a:cubicBezTo>
                  <a:pt x="3275832" y="125849"/>
                  <a:pt x="3278159" y="114381"/>
                  <a:pt x="3283745" y="119367"/>
                </a:cubicBezTo>
                <a:cubicBezTo>
                  <a:pt x="3286072" y="121460"/>
                  <a:pt x="3282814" y="134625"/>
                  <a:pt x="3288348" y="132430"/>
                </a:cubicBezTo>
                <a:cubicBezTo>
                  <a:pt x="3288089" y="121162"/>
                  <a:pt x="3291865" y="115677"/>
                  <a:pt x="3297502" y="112786"/>
                </a:cubicBezTo>
                <a:cubicBezTo>
                  <a:pt x="3300450" y="127046"/>
                  <a:pt x="3284521" y="133627"/>
                  <a:pt x="3302105" y="132430"/>
                </a:cubicBezTo>
                <a:cubicBezTo>
                  <a:pt x="3308312" y="125949"/>
                  <a:pt x="3311260" y="114979"/>
                  <a:pt x="3315863" y="106204"/>
                </a:cubicBezTo>
                <a:cubicBezTo>
                  <a:pt x="3312708" y="93340"/>
                  <a:pt x="3290262" y="107799"/>
                  <a:pt x="3288348" y="93140"/>
                </a:cubicBezTo>
                <a:cubicBezTo>
                  <a:pt x="3300347" y="95035"/>
                  <a:pt x="3308105" y="90747"/>
                  <a:pt x="3306708" y="73496"/>
                </a:cubicBezTo>
                <a:cubicBezTo>
                  <a:pt x="3289227" y="66416"/>
                  <a:pt x="3278055" y="90846"/>
                  <a:pt x="3274591" y="67013"/>
                </a:cubicBezTo>
                <a:cubicBezTo>
                  <a:pt x="3282710" y="65519"/>
                  <a:pt x="3297554" y="73596"/>
                  <a:pt x="3292951" y="53950"/>
                </a:cubicBezTo>
                <a:cubicBezTo>
                  <a:pt x="3292124" y="44178"/>
                  <a:pt x="3281883" y="47967"/>
                  <a:pt x="3274591" y="47369"/>
                </a:cubicBezTo>
                <a:cubicBezTo>
                  <a:pt x="3254316" y="45774"/>
                  <a:pt x="3243352" y="52854"/>
                  <a:pt x="3233318" y="53950"/>
                </a:cubicBezTo>
                <a:cubicBezTo>
                  <a:pt x="3226129" y="54648"/>
                  <a:pt x="3228818" y="45674"/>
                  <a:pt x="3224112" y="53950"/>
                </a:cubicBezTo>
                <a:cubicBezTo>
                  <a:pt x="3223388" y="55247"/>
                  <a:pt x="3216302" y="53751"/>
                  <a:pt x="3214958" y="53950"/>
                </a:cubicBezTo>
                <a:cubicBezTo>
                  <a:pt x="3206630" y="55047"/>
                  <a:pt x="3196235" y="50062"/>
                  <a:pt x="3187442" y="60433"/>
                </a:cubicBezTo>
                <a:cubicBezTo>
                  <a:pt x="3183409" y="81474"/>
                  <a:pt x="3202545" y="69407"/>
                  <a:pt x="3201200" y="86659"/>
                </a:cubicBezTo>
                <a:cubicBezTo>
                  <a:pt x="3194373" y="87856"/>
                  <a:pt x="3196959" y="102414"/>
                  <a:pt x="3196597" y="112786"/>
                </a:cubicBezTo>
                <a:cubicBezTo>
                  <a:pt x="3203476" y="113982"/>
                  <a:pt x="3213509" y="110492"/>
                  <a:pt x="3214958" y="119367"/>
                </a:cubicBezTo>
                <a:cubicBezTo>
                  <a:pt x="3212424" y="119367"/>
                  <a:pt x="3209733" y="124653"/>
                  <a:pt x="3214958" y="125949"/>
                </a:cubicBezTo>
                <a:cubicBezTo>
                  <a:pt x="3215320" y="137417"/>
                  <a:pt x="3213923" y="146391"/>
                  <a:pt x="3210355" y="152175"/>
                </a:cubicBezTo>
                <a:cubicBezTo>
                  <a:pt x="3202441" y="140806"/>
                  <a:pt x="3182012" y="144896"/>
                  <a:pt x="3178237" y="158756"/>
                </a:cubicBezTo>
                <a:cubicBezTo>
                  <a:pt x="3191218" y="159853"/>
                  <a:pt x="3209733" y="153072"/>
                  <a:pt x="3210355" y="171819"/>
                </a:cubicBezTo>
                <a:cubicBezTo>
                  <a:pt x="3185684" y="166435"/>
                  <a:pt x="3171151" y="182789"/>
                  <a:pt x="3155273" y="171819"/>
                </a:cubicBezTo>
                <a:cubicBezTo>
                  <a:pt x="3157135" y="187476"/>
                  <a:pt x="3134378" y="168130"/>
                  <a:pt x="3141515" y="191465"/>
                </a:cubicBezTo>
                <a:cubicBezTo>
                  <a:pt x="3140792" y="209912"/>
                  <a:pt x="3169806" y="185980"/>
                  <a:pt x="3169082" y="204528"/>
                </a:cubicBezTo>
                <a:cubicBezTo>
                  <a:pt x="3163496" y="205226"/>
                  <a:pt x="3158221" y="206423"/>
                  <a:pt x="3159928" y="217592"/>
                </a:cubicBezTo>
                <a:cubicBezTo>
                  <a:pt x="3167945" y="218090"/>
                  <a:pt x="3174202" y="216095"/>
                  <a:pt x="3178288" y="211009"/>
                </a:cubicBezTo>
                <a:cubicBezTo>
                  <a:pt x="3182943" y="219586"/>
                  <a:pt x="3182736" y="235142"/>
                  <a:pt x="3187442" y="243718"/>
                </a:cubicBezTo>
                <a:cubicBezTo>
                  <a:pt x="3174409" y="243320"/>
                  <a:pt x="3163496" y="244316"/>
                  <a:pt x="3155324" y="243718"/>
                </a:cubicBezTo>
                <a:cubicBezTo>
                  <a:pt x="3152893" y="243518"/>
                  <a:pt x="3149583" y="237136"/>
                  <a:pt x="3150722" y="237136"/>
                </a:cubicBezTo>
                <a:cubicBezTo>
                  <a:pt x="3139447" y="237136"/>
                  <a:pt x="3132620" y="245213"/>
                  <a:pt x="3123206" y="243718"/>
                </a:cubicBezTo>
                <a:cubicBezTo>
                  <a:pt x="3119793" y="243119"/>
                  <a:pt x="3119017" y="237236"/>
                  <a:pt x="3118604" y="237136"/>
                </a:cubicBezTo>
                <a:cubicBezTo>
                  <a:pt x="3116535" y="236537"/>
                  <a:pt x="3111776" y="242721"/>
                  <a:pt x="3114001" y="243718"/>
                </a:cubicBezTo>
                <a:cubicBezTo>
                  <a:pt x="3108414" y="241224"/>
                  <a:pt x="3105673" y="231253"/>
                  <a:pt x="3100242" y="230655"/>
                </a:cubicBezTo>
                <a:cubicBezTo>
                  <a:pt x="3100657" y="230655"/>
                  <a:pt x="3096157" y="243518"/>
                  <a:pt x="3095640" y="243718"/>
                </a:cubicBezTo>
                <a:cubicBezTo>
                  <a:pt x="3091399" y="245413"/>
                  <a:pt x="3089899" y="237037"/>
                  <a:pt x="3086486" y="237136"/>
                </a:cubicBezTo>
                <a:cubicBezTo>
                  <a:pt x="3088089" y="244017"/>
                  <a:pt x="3087261" y="247408"/>
                  <a:pt x="3085193" y="249103"/>
                </a:cubicBezTo>
                <a:lnTo>
                  <a:pt x="3068849" y="249103"/>
                </a:lnTo>
                <a:cubicBezTo>
                  <a:pt x="3080176" y="232250"/>
                  <a:pt x="3054471" y="241524"/>
                  <a:pt x="3058919" y="217491"/>
                </a:cubicBezTo>
                <a:cubicBezTo>
                  <a:pt x="3070659" y="210311"/>
                  <a:pt x="3082555" y="239829"/>
                  <a:pt x="3081882" y="210910"/>
                </a:cubicBezTo>
                <a:cubicBezTo>
                  <a:pt x="3041179" y="208916"/>
                  <a:pt x="3035748" y="216794"/>
                  <a:pt x="2999234" y="217491"/>
                </a:cubicBezTo>
                <a:cubicBezTo>
                  <a:pt x="3004561" y="207818"/>
                  <a:pt x="3004561" y="201038"/>
                  <a:pt x="2999234" y="191365"/>
                </a:cubicBezTo>
                <a:cubicBezTo>
                  <a:pt x="2995717" y="189869"/>
                  <a:pt x="2990235" y="191165"/>
                  <a:pt x="2990079" y="184783"/>
                </a:cubicBezTo>
                <a:cubicBezTo>
                  <a:pt x="2975546" y="194257"/>
                  <a:pt x="2959203" y="189470"/>
                  <a:pt x="2944204" y="191365"/>
                </a:cubicBezTo>
                <a:cubicBezTo>
                  <a:pt x="2926102" y="193658"/>
                  <a:pt x="2929878" y="194455"/>
                  <a:pt x="2921241" y="191365"/>
                </a:cubicBezTo>
                <a:cubicBezTo>
                  <a:pt x="2905259" y="185680"/>
                  <a:pt x="2887829" y="202534"/>
                  <a:pt x="2889123" y="191365"/>
                </a:cubicBezTo>
                <a:cubicBezTo>
                  <a:pt x="2889123" y="184783"/>
                  <a:pt x="2885399" y="183587"/>
                  <a:pt x="2884520" y="178302"/>
                </a:cubicBezTo>
                <a:cubicBezTo>
                  <a:pt x="2903242" y="172916"/>
                  <a:pt x="2900346" y="177304"/>
                  <a:pt x="2921241" y="178302"/>
                </a:cubicBezTo>
                <a:cubicBezTo>
                  <a:pt x="2920206" y="165836"/>
                  <a:pt x="2926412" y="163842"/>
                  <a:pt x="2925843" y="152076"/>
                </a:cubicBezTo>
                <a:cubicBezTo>
                  <a:pt x="2917724" y="140009"/>
                  <a:pt x="2912448" y="154967"/>
                  <a:pt x="2902880" y="158656"/>
                </a:cubicBezTo>
                <a:cubicBezTo>
                  <a:pt x="2900035" y="133827"/>
                  <a:pt x="2883692" y="165737"/>
                  <a:pt x="2884520" y="132430"/>
                </a:cubicBezTo>
                <a:cubicBezTo>
                  <a:pt x="2897035" y="127644"/>
                  <a:pt x="2893777" y="145394"/>
                  <a:pt x="2902880" y="145493"/>
                </a:cubicBezTo>
                <a:cubicBezTo>
                  <a:pt x="2898846" y="124453"/>
                  <a:pt x="2917982" y="136518"/>
                  <a:pt x="2916637" y="119267"/>
                </a:cubicBezTo>
                <a:cubicBezTo>
                  <a:pt x="2904897" y="122657"/>
                  <a:pt x="2900552" y="127943"/>
                  <a:pt x="2893674" y="112685"/>
                </a:cubicBezTo>
                <a:cubicBezTo>
                  <a:pt x="2904173" y="125151"/>
                  <a:pt x="2927033" y="99921"/>
                  <a:pt x="2939549" y="119267"/>
                </a:cubicBezTo>
                <a:cubicBezTo>
                  <a:pt x="2922016" y="114481"/>
                  <a:pt x="2934325" y="143400"/>
                  <a:pt x="2939549" y="145493"/>
                </a:cubicBezTo>
                <a:cubicBezTo>
                  <a:pt x="2941204" y="123854"/>
                  <a:pt x="2966029" y="135222"/>
                  <a:pt x="2980873" y="132430"/>
                </a:cubicBezTo>
                <a:cubicBezTo>
                  <a:pt x="2984442" y="133827"/>
                  <a:pt x="2986200" y="137915"/>
                  <a:pt x="2985477" y="145493"/>
                </a:cubicBezTo>
                <a:cubicBezTo>
                  <a:pt x="2999130" y="145394"/>
                  <a:pt x="3001044" y="128441"/>
                  <a:pt x="3012992" y="125849"/>
                </a:cubicBezTo>
                <a:cubicBezTo>
                  <a:pt x="3019663" y="122258"/>
                  <a:pt x="3036731" y="133428"/>
                  <a:pt x="3035955" y="119267"/>
                </a:cubicBezTo>
                <a:cubicBezTo>
                  <a:pt x="3026542" y="117472"/>
                  <a:pt x="3026801" y="101816"/>
                  <a:pt x="3022198" y="93140"/>
                </a:cubicBezTo>
                <a:cubicBezTo>
                  <a:pt x="3031197" y="95135"/>
                  <a:pt x="3031300" y="84365"/>
                  <a:pt x="3035955" y="80077"/>
                </a:cubicBezTo>
                <a:cubicBezTo>
                  <a:pt x="3037042" y="89451"/>
                  <a:pt x="3043506" y="91146"/>
                  <a:pt x="3045110" y="99722"/>
                </a:cubicBezTo>
                <a:cubicBezTo>
                  <a:pt x="3032076" y="107999"/>
                  <a:pt x="3028818" y="96830"/>
                  <a:pt x="3035955" y="112786"/>
                </a:cubicBezTo>
                <a:cubicBezTo>
                  <a:pt x="3043609" y="130037"/>
                  <a:pt x="3033938" y="124653"/>
                  <a:pt x="3031352" y="139012"/>
                </a:cubicBezTo>
                <a:cubicBezTo>
                  <a:pt x="3051730" y="130237"/>
                  <a:pt x="3041747" y="155864"/>
                  <a:pt x="3045110" y="165139"/>
                </a:cubicBezTo>
                <a:cubicBezTo>
                  <a:pt x="3046506" y="168928"/>
                  <a:pt x="3059229" y="164740"/>
                  <a:pt x="3054315" y="178201"/>
                </a:cubicBezTo>
                <a:cubicBezTo>
                  <a:pt x="3050126" y="186079"/>
                  <a:pt x="3042937" y="179897"/>
                  <a:pt x="3035955" y="184783"/>
                </a:cubicBezTo>
                <a:cubicBezTo>
                  <a:pt x="3033472" y="186478"/>
                  <a:pt x="3035334" y="195253"/>
                  <a:pt x="3031352" y="197847"/>
                </a:cubicBezTo>
                <a:cubicBezTo>
                  <a:pt x="3032335" y="197248"/>
                  <a:pt x="3026852" y="187974"/>
                  <a:pt x="3026749" y="197847"/>
                </a:cubicBezTo>
                <a:cubicBezTo>
                  <a:pt x="3032956" y="199940"/>
                  <a:pt x="3035541" y="207221"/>
                  <a:pt x="3045110" y="204429"/>
                </a:cubicBezTo>
                <a:cubicBezTo>
                  <a:pt x="3053747" y="199541"/>
                  <a:pt x="3048264" y="184883"/>
                  <a:pt x="3058867" y="197847"/>
                </a:cubicBezTo>
                <a:cubicBezTo>
                  <a:pt x="3063729" y="191764"/>
                  <a:pt x="3060263" y="173714"/>
                  <a:pt x="3072625" y="178201"/>
                </a:cubicBezTo>
                <a:cubicBezTo>
                  <a:pt x="3069779" y="184285"/>
                  <a:pt x="3061919" y="202334"/>
                  <a:pt x="3077176" y="197847"/>
                </a:cubicBezTo>
                <a:cubicBezTo>
                  <a:pt x="3097708" y="196152"/>
                  <a:pt x="3070504" y="163143"/>
                  <a:pt x="3081779" y="158557"/>
                </a:cubicBezTo>
                <a:cubicBezTo>
                  <a:pt x="3088451" y="170124"/>
                  <a:pt x="3117672" y="152873"/>
                  <a:pt x="3146015" y="158557"/>
                </a:cubicBezTo>
                <a:cubicBezTo>
                  <a:pt x="3149377" y="129937"/>
                  <a:pt x="3136912" y="163842"/>
                  <a:pt x="3136861" y="145493"/>
                </a:cubicBezTo>
                <a:cubicBezTo>
                  <a:pt x="3132568" y="119367"/>
                  <a:pt x="3186408" y="142501"/>
                  <a:pt x="3173582" y="125849"/>
                </a:cubicBezTo>
                <a:cubicBezTo>
                  <a:pt x="3155480" y="134226"/>
                  <a:pt x="3161686" y="107899"/>
                  <a:pt x="3155221" y="99622"/>
                </a:cubicBezTo>
                <a:cubicBezTo>
                  <a:pt x="3162410" y="99024"/>
                  <a:pt x="3171151" y="100520"/>
                  <a:pt x="3168979" y="86560"/>
                </a:cubicBezTo>
                <a:cubicBezTo>
                  <a:pt x="3145911" y="82869"/>
                  <a:pt x="3141567" y="82869"/>
                  <a:pt x="3118500" y="86560"/>
                </a:cubicBezTo>
                <a:cubicBezTo>
                  <a:pt x="3113380" y="85861"/>
                  <a:pt x="3111363" y="96032"/>
                  <a:pt x="3109346" y="86560"/>
                </a:cubicBezTo>
                <a:cubicBezTo>
                  <a:pt x="3112966" y="85063"/>
                  <a:pt x="3114673" y="80974"/>
                  <a:pt x="3113949" y="73395"/>
                </a:cubicBezTo>
                <a:cubicBezTo>
                  <a:pt x="3127758" y="73395"/>
                  <a:pt x="3141515" y="73395"/>
                  <a:pt x="3155273" y="73395"/>
                </a:cubicBezTo>
                <a:cubicBezTo>
                  <a:pt x="3156100" y="59135"/>
                  <a:pt x="3151549" y="52555"/>
                  <a:pt x="3141515" y="53751"/>
                </a:cubicBezTo>
                <a:cubicBezTo>
                  <a:pt x="3139291" y="60631"/>
                  <a:pt x="3127448" y="53352"/>
                  <a:pt x="3123155" y="53751"/>
                </a:cubicBezTo>
                <a:cubicBezTo>
                  <a:pt x="3117259" y="54250"/>
                  <a:pt x="3116742" y="59734"/>
                  <a:pt x="3109397" y="60233"/>
                </a:cubicBezTo>
                <a:cubicBezTo>
                  <a:pt x="3069573" y="63225"/>
                  <a:pt x="3017336" y="64321"/>
                  <a:pt x="2980873" y="53751"/>
                </a:cubicBezTo>
                <a:cubicBezTo>
                  <a:pt x="2969030" y="85861"/>
                  <a:pt x="2939859" y="52654"/>
                  <a:pt x="2925792" y="79878"/>
                </a:cubicBezTo>
                <a:cubicBezTo>
                  <a:pt x="2921603" y="68410"/>
                  <a:pt x="2911465" y="65418"/>
                  <a:pt x="2898277" y="66815"/>
                </a:cubicBezTo>
                <a:cubicBezTo>
                  <a:pt x="2888657" y="72698"/>
                  <a:pt x="2877899" y="76985"/>
                  <a:pt x="2870762" y="86459"/>
                </a:cubicBezTo>
                <a:cubicBezTo>
                  <a:pt x="2863883" y="78781"/>
                  <a:pt x="2859539" y="67513"/>
                  <a:pt x="2847798" y="66815"/>
                </a:cubicBezTo>
                <a:cubicBezTo>
                  <a:pt x="2829334" y="68510"/>
                  <a:pt x="2810146" y="64421"/>
                  <a:pt x="2797320" y="66815"/>
                </a:cubicBezTo>
                <a:cubicBezTo>
                  <a:pt x="2788579" y="68410"/>
                  <a:pt x="2786872" y="72598"/>
                  <a:pt x="2783562" y="66815"/>
                </a:cubicBezTo>
                <a:cubicBezTo>
                  <a:pt x="2776994" y="55347"/>
                  <a:pt x="2746841" y="73296"/>
                  <a:pt x="2746841" y="73296"/>
                </a:cubicBezTo>
                <a:cubicBezTo>
                  <a:pt x="2732670" y="73695"/>
                  <a:pt x="2722895" y="58736"/>
                  <a:pt x="2714723" y="73296"/>
                </a:cubicBezTo>
                <a:cubicBezTo>
                  <a:pt x="2712551" y="77185"/>
                  <a:pt x="2708569" y="67114"/>
                  <a:pt x="2710120" y="66815"/>
                </a:cubicBezTo>
                <a:cubicBezTo>
                  <a:pt x="2696466" y="69307"/>
                  <a:pt x="2697242" y="76388"/>
                  <a:pt x="2691759" y="66815"/>
                </a:cubicBezTo>
                <a:cubicBezTo>
                  <a:pt x="2691087" y="65519"/>
                  <a:pt x="2683898" y="66914"/>
                  <a:pt x="2682605" y="66815"/>
                </a:cubicBezTo>
                <a:cubicBezTo>
                  <a:pt x="2655452" y="64521"/>
                  <a:pt x="2613352" y="68111"/>
                  <a:pt x="2595405" y="66815"/>
                </a:cubicBezTo>
                <a:cubicBezTo>
                  <a:pt x="2593026" y="66615"/>
                  <a:pt x="2589613" y="60233"/>
                  <a:pt x="2590802" y="60233"/>
                </a:cubicBezTo>
                <a:cubicBezTo>
                  <a:pt x="2582320" y="60332"/>
                  <a:pt x="2580407" y="65319"/>
                  <a:pt x="2572442" y="66815"/>
                </a:cubicBezTo>
                <a:cubicBezTo>
                  <a:pt x="2566442" y="67912"/>
                  <a:pt x="2560133" y="66216"/>
                  <a:pt x="2554081" y="66815"/>
                </a:cubicBezTo>
                <a:cubicBezTo>
                  <a:pt x="2535876" y="68710"/>
                  <a:pt x="2539910" y="69906"/>
                  <a:pt x="2531118" y="66815"/>
                </a:cubicBezTo>
                <a:cubicBezTo>
                  <a:pt x="2528222" y="65817"/>
                  <a:pt x="2524808" y="67712"/>
                  <a:pt x="2521912" y="66815"/>
                </a:cubicBezTo>
                <a:cubicBezTo>
                  <a:pt x="2514205" y="64421"/>
                  <a:pt x="2511102" y="60631"/>
                  <a:pt x="2503551" y="60233"/>
                </a:cubicBezTo>
                <a:cubicBezTo>
                  <a:pt x="2498793" y="60034"/>
                  <a:pt x="2473450" y="80775"/>
                  <a:pt x="2480587" y="53751"/>
                </a:cubicBezTo>
                <a:cubicBezTo>
                  <a:pt x="2468071" y="48965"/>
                  <a:pt x="2471329" y="66715"/>
                  <a:pt x="2462227" y="66815"/>
                </a:cubicBezTo>
                <a:cubicBezTo>
                  <a:pt x="2441952" y="40190"/>
                  <a:pt x="2393594" y="59335"/>
                  <a:pt x="2361269" y="53751"/>
                </a:cubicBezTo>
                <a:cubicBezTo>
                  <a:pt x="2355270" y="52654"/>
                  <a:pt x="2355063" y="47070"/>
                  <a:pt x="2347512" y="47169"/>
                </a:cubicBezTo>
                <a:cubicBezTo>
                  <a:pt x="2339030" y="47369"/>
                  <a:pt x="2337168" y="52355"/>
                  <a:pt x="2329151" y="53751"/>
                </a:cubicBezTo>
                <a:cubicBezTo>
                  <a:pt x="2306240" y="57740"/>
                  <a:pt x="2277173" y="58937"/>
                  <a:pt x="2255710" y="53751"/>
                </a:cubicBezTo>
                <a:cubicBezTo>
                  <a:pt x="2248831" y="52056"/>
                  <a:pt x="2247382" y="47568"/>
                  <a:pt x="2237349" y="47169"/>
                </a:cubicBezTo>
                <a:cubicBezTo>
                  <a:pt x="2230470" y="46970"/>
                  <a:pt x="2221057" y="53053"/>
                  <a:pt x="2214385" y="53751"/>
                </a:cubicBezTo>
                <a:cubicBezTo>
                  <a:pt x="2208489" y="54250"/>
                  <a:pt x="2208127" y="46073"/>
                  <a:pt x="2200628" y="47169"/>
                </a:cubicBezTo>
                <a:cubicBezTo>
                  <a:pt x="2194938" y="47967"/>
                  <a:pt x="2193749" y="52255"/>
                  <a:pt x="2186819" y="53751"/>
                </a:cubicBezTo>
                <a:cubicBezTo>
                  <a:pt x="2163803" y="58637"/>
                  <a:pt x="2150511" y="47369"/>
                  <a:pt x="2136340" y="47169"/>
                </a:cubicBezTo>
                <a:cubicBezTo>
                  <a:pt x="2129823" y="47070"/>
                  <a:pt x="2120100" y="54051"/>
                  <a:pt x="2113376" y="53751"/>
                </a:cubicBezTo>
                <a:cubicBezTo>
                  <a:pt x="2101274" y="53253"/>
                  <a:pt x="2092947" y="45375"/>
                  <a:pt x="2081258" y="47169"/>
                </a:cubicBezTo>
                <a:cubicBezTo>
                  <a:pt x="2065225" y="49562"/>
                  <a:pt x="2073346" y="50860"/>
                  <a:pt x="2062898" y="47169"/>
                </a:cubicBezTo>
                <a:cubicBezTo>
                  <a:pt x="2046916" y="41486"/>
                  <a:pt x="2028659" y="48366"/>
                  <a:pt x="2017022" y="47169"/>
                </a:cubicBezTo>
                <a:cubicBezTo>
                  <a:pt x="2009368" y="46371"/>
                  <a:pt x="2002593" y="40787"/>
                  <a:pt x="1998662" y="40588"/>
                </a:cubicBezTo>
                <a:cubicBezTo>
                  <a:pt x="1997214" y="40588"/>
                  <a:pt x="1995559" y="48167"/>
                  <a:pt x="1989507" y="47169"/>
                </a:cubicBezTo>
                <a:cubicBezTo>
                  <a:pt x="1983508" y="46073"/>
                  <a:pt x="1983301" y="40488"/>
                  <a:pt x="1975750" y="40588"/>
                </a:cubicBezTo>
                <a:cubicBezTo>
                  <a:pt x="1971664" y="40588"/>
                  <a:pt x="1972026" y="46970"/>
                  <a:pt x="1971147" y="47169"/>
                </a:cubicBezTo>
                <a:cubicBezTo>
                  <a:pt x="1968354" y="47967"/>
                  <a:pt x="1965147" y="40887"/>
                  <a:pt x="1966544" y="40588"/>
                </a:cubicBezTo>
                <a:cubicBezTo>
                  <a:pt x="1960596" y="42083"/>
                  <a:pt x="1960182" y="46472"/>
                  <a:pt x="1952786" y="47169"/>
                </a:cubicBezTo>
                <a:cubicBezTo>
                  <a:pt x="1940528" y="48366"/>
                  <a:pt x="1918858" y="48266"/>
                  <a:pt x="1911462" y="47169"/>
                </a:cubicBezTo>
                <a:cubicBezTo>
                  <a:pt x="1906549" y="46371"/>
                  <a:pt x="1900032" y="40190"/>
                  <a:pt x="1897705" y="40588"/>
                </a:cubicBezTo>
                <a:cubicBezTo>
                  <a:pt x="1895222" y="40987"/>
                  <a:pt x="1892223" y="59834"/>
                  <a:pt x="1883948" y="53652"/>
                </a:cubicBezTo>
                <a:cubicBezTo>
                  <a:pt x="1874534" y="32810"/>
                  <a:pt x="1856070" y="47868"/>
                  <a:pt x="1847226" y="47070"/>
                </a:cubicBezTo>
                <a:cubicBezTo>
                  <a:pt x="1848002" y="47070"/>
                  <a:pt x="1844795" y="41285"/>
                  <a:pt x="1842623" y="40488"/>
                </a:cubicBezTo>
                <a:cubicBezTo>
                  <a:pt x="1839830" y="39491"/>
                  <a:pt x="1836262" y="40688"/>
                  <a:pt x="1833417" y="40488"/>
                </a:cubicBezTo>
                <a:cubicBezTo>
                  <a:pt x="1806522" y="38195"/>
                  <a:pt x="1774457" y="36999"/>
                  <a:pt x="1759975" y="33907"/>
                </a:cubicBezTo>
                <a:cubicBezTo>
                  <a:pt x="1749631" y="31712"/>
                  <a:pt x="1742390" y="35602"/>
                  <a:pt x="1732408" y="33907"/>
                </a:cubicBezTo>
                <a:cubicBezTo>
                  <a:pt x="1727960" y="40588"/>
                  <a:pt x="1723357" y="47169"/>
                  <a:pt x="1718650" y="53551"/>
                </a:cubicBezTo>
                <a:cubicBezTo>
                  <a:pt x="1720047" y="40688"/>
                  <a:pt x="1712444" y="40588"/>
                  <a:pt x="1709496" y="33907"/>
                </a:cubicBezTo>
                <a:cubicBezTo>
                  <a:pt x="1694032" y="45873"/>
                  <a:pt x="1679447" y="36798"/>
                  <a:pt x="1672775" y="33907"/>
                </a:cubicBezTo>
                <a:cubicBezTo>
                  <a:pt x="1654311" y="25930"/>
                  <a:pt x="1655552" y="31214"/>
                  <a:pt x="1645260" y="33907"/>
                </a:cubicBezTo>
                <a:cubicBezTo>
                  <a:pt x="1637813" y="35802"/>
                  <a:pt x="1629745" y="32411"/>
                  <a:pt x="1622296" y="33907"/>
                </a:cubicBezTo>
                <a:cubicBezTo>
                  <a:pt x="1617745" y="34903"/>
                  <a:pt x="1616970" y="39192"/>
                  <a:pt x="1613142" y="40488"/>
                </a:cubicBezTo>
                <a:cubicBezTo>
                  <a:pt x="1597627" y="45674"/>
                  <a:pt x="1588627" y="37098"/>
                  <a:pt x="1581024" y="33907"/>
                </a:cubicBezTo>
                <a:cubicBezTo>
                  <a:pt x="1569284" y="28920"/>
                  <a:pt x="1560026" y="26527"/>
                  <a:pt x="1548906" y="27325"/>
                </a:cubicBezTo>
                <a:cubicBezTo>
                  <a:pt x="1545492" y="27624"/>
                  <a:pt x="1544407" y="33907"/>
                  <a:pt x="1544303" y="33907"/>
                </a:cubicBezTo>
                <a:cubicBezTo>
                  <a:pt x="1537062" y="35302"/>
                  <a:pt x="1540011" y="25331"/>
                  <a:pt x="1535097" y="33907"/>
                </a:cubicBezTo>
                <a:cubicBezTo>
                  <a:pt x="1530753" y="41486"/>
                  <a:pt x="1514823" y="27724"/>
                  <a:pt x="1512185" y="27325"/>
                </a:cubicBezTo>
                <a:cubicBezTo>
                  <a:pt x="1481774" y="22838"/>
                  <a:pt x="1451983" y="13863"/>
                  <a:pt x="1424986" y="14261"/>
                </a:cubicBezTo>
                <a:cubicBezTo>
                  <a:pt x="1412676" y="27525"/>
                  <a:pt x="1407504" y="20445"/>
                  <a:pt x="1397419" y="27325"/>
                </a:cubicBezTo>
                <a:cubicBezTo>
                  <a:pt x="1386868" y="20544"/>
                  <a:pt x="1382627" y="4788"/>
                  <a:pt x="1365301" y="7681"/>
                </a:cubicBezTo>
                <a:cubicBezTo>
                  <a:pt x="1351388" y="9675"/>
                  <a:pt x="1348905" y="27924"/>
                  <a:pt x="1328579" y="20744"/>
                </a:cubicBezTo>
                <a:cubicBezTo>
                  <a:pt x="1321339" y="20145"/>
                  <a:pt x="1325011" y="4091"/>
                  <a:pt x="1314822" y="7681"/>
                </a:cubicBezTo>
                <a:cubicBezTo>
                  <a:pt x="1298996" y="2495"/>
                  <a:pt x="1295479" y="14960"/>
                  <a:pt x="1287307" y="20744"/>
                </a:cubicBezTo>
                <a:cubicBezTo>
                  <a:pt x="1286583" y="12068"/>
                  <a:pt x="1279963" y="14960"/>
                  <a:pt x="1273550" y="14162"/>
                </a:cubicBezTo>
                <a:cubicBezTo>
                  <a:pt x="1262534" y="12767"/>
                  <a:pt x="1245414" y="7780"/>
                  <a:pt x="1245983" y="7581"/>
                </a:cubicBezTo>
                <a:cubicBezTo>
                  <a:pt x="1244225" y="8080"/>
                  <a:pt x="1246707" y="16655"/>
                  <a:pt x="1241380" y="14162"/>
                </a:cubicBezTo>
                <a:cubicBezTo>
                  <a:pt x="1240190" y="13664"/>
                  <a:pt x="1238380" y="2196"/>
                  <a:pt x="1236777" y="1099"/>
                </a:cubicBezTo>
                <a:cubicBezTo>
                  <a:pt x="1231864" y="-2392"/>
                  <a:pt x="1223588" y="3791"/>
                  <a:pt x="1218416" y="1099"/>
                </a:cubicBezTo>
                <a:cubicBezTo>
                  <a:pt x="1217692" y="8778"/>
                  <a:pt x="1219192" y="19647"/>
                  <a:pt x="1213813" y="20744"/>
                </a:cubicBezTo>
                <a:cubicBezTo>
                  <a:pt x="1205745" y="8877"/>
                  <a:pt x="1192660" y="17952"/>
                  <a:pt x="1181695" y="14162"/>
                </a:cubicBezTo>
                <a:cubicBezTo>
                  <a:pt x="1173782" y="11469"/>
                  <a:pt x="1166748" y="-1295"/>
                  <a:pt x="1158731" y="1099"/>
                </a:cubicBezTo>
                <a:cubicBezTo>
                  <a:pt x="1159507" y="26926"/>
                  <a:pt x="1151698" y="-995"/>
                  <a:pt x="1144974" y="14162"/>
                </a:cubicBezTo>
                <a:cubicBezTo>
                  <a:pt x="1130027" y="20145"/>
                  <a:pt x="1114925" y="8578"/>
                  <a:pt x="1099099" y="7581"/>
                </a:cubicBezTo>
                <a:cubicBezTo>
                  <a:pt x="1091134" y="7082"/>
                  <a:pt x="1084668" y="14362"/>
                  <a:pt x="1080738" y="14162"/>
                </a:cubicBezTo>
                <a:cubicBezTo>
                  <a:pt x="1081721" y="14162"/>
                  <a:pt x="1078204" y="8278"/>
                  <a:pt x="1076135" y="7581"/>
                </a:cubicBezTo>
                <a:cubicBezTo>
                  <a:pt x="1062946" y="2894"/>
                  <a:pt x="1062533" y="12368"/>
                  <a:pt x="1053172" y="14162"/>
                </a:cubicBezTo>
                <a:cubicBezTo>
                  <a:pt x="1035277" y="17553"/>
                  <a:pt x="1031345" y="8179"/>
                  <a:pt x="1021053" y="7581"/>
                </a:cubicBezTo>
                <a:cubicBezTo>
                  <a:pt x="999486" y="6385"/>
                  <a:pt x="973522" y="11370"/>
                  <a:pt x="952214" y="7581"/>
                </a:cubicBezTo>
                <a:cubicBezTo>
                  <a:pt x="945387" y="6385"/>
                  <a:pt x="943939" y="999"/>
                  <a:pt x="933854" y="1099"/>
                </a:cubicBezTo>
                <a:cubicBezTo>
                  <a:pt x="927027" y="1099"/>
                  <a:pt x="922993" y="13364"/>
                  <a:pt x="915493" y="14162"/>
                </a:cubicBezTo>
                <a:cubicBezTo>
                  <a:pt x="917665" y="13863"/>
                  <a:pt x="911977" y="8080"/>
                  <a:pt x="910890" y="7581"/>
                </a:cubicBezTo>
                <a:cubicBezTo>
                  <a:pt x="884410" y="-3887"/>
                  <a:pt x="841534" y="11469"/>
                  <a:pt x="819087" y="7581"/>
                </a:cubicBezTo>
                <a:cubicBezTo>
                  <a:pt x="813088" y="6583"/>
                  <a:pt x="812829" y="1198"/>
                  <a:pt x="805330" y="1099"/>
                </a:cubicBezTo>
                <a:cubicBezTo>
                  <a:pt x="799382" y="900"/>
                  <a:pt x="796227" y="7182"/>
                  <a:pt x="786969" y="7581"/>
                </a:cubicBezTo>
                <a:cubicBezTo>
                  <a:pt x="778953" y="7980"/>
                  <a:pt x="772488" y="799"/>
                  <a:pt x="764006" y="1099"/>
                </a:cubicBezTo>
                <a:cubicBezTo>
                  <a:pt x="765143" y="999"/>
                  <a:pt x="761368" y="6883"/>
                  <a:pt x="759402" y="7581"/>
                </a:cubicBezTo>
                <a:cubicBezTo>
                  <a:pt x="738094" y="15259"/>
                  <a:pt x="718440" y="900"/>
                  <a:pt x="708924" y="1099"/>
                </a:cubicBezTo>
                <a:cubicBezTo>
                  <a:pt x="700338" y="1198"/>
                  <a:pt x="698683" y="6484"/>
                  <a:pt x="690564" y="7581"/>
                </a:cubicBezTo>
                <a:cubicBezTo>
                  <a:pt x="678306" y="9177"/>
                  <a:pt x="658032" y="5087"/>
                  <a:pt x="644637" y="7581"/>
                </a:cubicBezTo>
                <a:cubicBezTo>
                  <a:pt x="628810" y="10572"/>
                  <a:pt x="636465" y="11969"/>
                  <a:pt x="626276" y="7581"/>
                </a:cubicBezTo>
                <a:cubicBezTo>
                  <a:pt x="605846" y="-1195"/>
                  <a:pt x="584227" y="14063"/>
                  <a:pt x="575797" y="14162"/>
                </a:cubicBezTo>
                <a:cubicBezTo>
                  <a:pt x="569849" y="14261"/>
                  <a:pt x="566746" y="7980"/>
                  <a:pt x="557437" y="7581"/>
                </a:cubicBezTo>
                <a:cubicBezTo>
                  <a:pt x="548799" y="7282"/>
                  <a:pt x="547248" y="14960"/>
                  <a:pt x="539076" y="14162"/>
                </a:cubicBezTo>
                <a:cubicBezTo>
                  <a:pt x="533077" y="13564"/>
                  <a:pt x="532921" y="6883"/>
                  <a:pt x="525319" y="7581"/>
                </a:cubicBezTo>
                <a:cubicBezTo>
                  <a:pt x="518802" y="8179"/>
                  <a:pt x="516733" y="13863"/>
                  <a:pt x="506958" y="14162"/>
                </a:cubicBezTo>
                <a:cubicBezTo>
                  <a:pt x="504269" y="14261"/>
                  <a:pt x="500390" y="15059"/>
                  <a:pt x="497803" y="14162"/>
                </a:cubicBezTo>
                <a:cubicBezTo>
                  <a:pt x="485288" y="9675"/>
                  <a:pt x="488132" y="11769"/>
                  <a:pt x="474840" y="14162"/>
                </a:cubicBezTo>
                <a:cubicBezTo>
                  <a:pt x="475306" y="14063"/>
                  <a:pt x="473702" y="7381"/>
                  <a:pt x="470237" y="7581"/>
                </a:cubicBezTo>
                <a:cubicBezTo>
                  <a:pt x="470031" y="7681"/>
                  <a:pt x="470444" y="13763"/>
                  <a:pt x="470237" y="14162"/>
                </a:cubicBezTo>
                <a:cubicBezTo>
                  <a:pt x="469513" y="15458"/>
                  <a:pt x="462324" y="14063"/>
                  <a:pt x="461031" y="14162"/>
                </a:cubicBezTo>
                <a:cubicBezTo>
                  <a:pt x="424207" y="17054"/>
                  <a:pt x="388623" y="11969"/>
                  <a:pt x="350920" y="14162"/>
                </a:cubicBezTo>
                <a:cubicBezTo>
                  <a:pt x="350144" y="21840"/>
                  <a:pt x="343679" y="21342"/>
                  <a:pt x="337162" y="20744"/>
                </a:cubicBezTo>
                <a:cubicBezTo>
                  <a:pt x="331732" y="48266"/>
                  <a:pt x="356505" y="32510"/>
                  <a:pt x="360126" y="46970"/>
                </a:cubicBezTo>
                <a:cubicBezTo>
                  <a:pt x="327697" y="44377"/>
                  <a:pt x="300855" y="49763"/>
                  <a:pt x="282080" y="66615"/>
                </a:cubicBezTo>
                <a:cubicBezTo>
                  <a:pt x="274323" y="50461"/>
                  <a:pt x="256221" y="65319"/>
                  <a:pt x="249962" y="66615"/>
                </a:cubicBezTo>
                <a:cubicBezTo>
                  <a:pt x="238791" y="68908"/>
                  <a:pt x="225137" y="65219"/>
                  <a:pt x="213241" y="66615"/>
                </a:cubicBezTo>
                <a:cubicBezTo>
                  <a:pt x="207345" y="67214"/>
                  <a:pt x="206828" y="72399"/>
                  <a:pt x="199484" y="73097"/>
                </a:cubicBezTo>
                <a:cubicBezTo>
                  <a:pt x="178330" y="75092"/>
                  <a:pt x="155470" y="72300"/>
                  <a:pt x="135248" y="73097"/>
                </a:cubicBezTo>
                <a:cubicBezTo>
                  <a:pt x="130541" y="73296"/>
                  <a:pt x="129920" y="78880"/>
                  <a:pt x="126041" y="79678"/>
                </a:cubicBezTo>
                <a:cubicBezTo>
                  <a:pt x="123456" y="80176"/>
                  <a:pt x="122059" y="78083"/>
                  <a:pt x="120663" y="76088"/>
                </a:cubicBezTo>
                <a:cubicBezTo>
                  <a:pt x="121180" y="86858"/>
                  <a:pt x="121490" y="99024"/>
                  <a:pt x="123145" y="101717"/>
                </a:cubicBezTo>
                <a:cubicBezTo>
                  <a:pt x="119990" y="187377"/>
                  <a:pt x="125887" y="271340"/>
                  <a:pt x="121697" y="351215"/>
                </a:cubicBezTo>
                <a:cubicBezTo>
                  <a:pt x="118077" y="377144"/>
                  <a:pt x="118438" y="342839"/>
                  <a:pt x="112594" y="350917"/>
                </a:cubicBezTo>
                <a:cubicBezTo>
                  <a:pt x="113629" y="393597"/>
                  <a:pt x="113680" y="377542"/>
                  <a:pt x="112181" y="420222"/>
                </a:cubicBezTo>
                <a:cubicBezTo>
                  <a:pt x="112387" y="436476"/>
                  <a:pt x="115439" y="432089"/>
                  <a:pt x="117559" y="434283"/>
                </a:cubicBezTo>
                <a:cubicBezTo>
                  <a:pt x="115646" y="479356"/>
                  <a:pt x="118077" y="539288"/>
                  <a:pt x="114767" y="600517"/>
                </a:cubicBezTo>
                <a:cubicBezTo>
                  <a:pt x="103957" y="581569"/>
                  <a:pt x="103027" y="641801"/>
                  <a:pt x="92837" y="627640"/>
                </a:cubicBezTo>
                <a:lnTo>
                  <a:pt x="93562" y="502891"/>
                </a:lnTo>
                <a:cubicBezTo>
                  <a:pt x="97337" y="508874"/>
                  <a:pt x="98423" y="493517"/>
                  <a:pt x="100906" y="489228"/>
                </a:cubicBezTo>
                <a:cubicBezTo>
                  <a:pt x="102095" y="476663"/>
                  <a:pt x="99768" y="429098"/>
                  <a:pt x="101319" y="419924"/>
                </a:cubicBezTo>
                <a:cubicBezTo>
                  <a:pt x="101423" y="419125"/>
                  <a:pt x="104475" y="400179"/>
                  <a:pt x="103285" y="392301"/>
                </a:cubicBezTo>
                <a:cubicBezTo>
                  <a:pt x="101009" y="377442"/>
                  <a:pt x="103233" y="388411"/>
                  <a:pt x="103388" y="378440"/>
                </a:cubicBezTo>
                <a:cubicBezTo>
                  <a:pt x="103647" y="360689"/>
                  <a:pt x="103130" y="340346"/>
                  <a:pt x="103699" y="322995"/>
                </a:cubicBezTo>
                <a:cubicBezTo>
                  <a:pt x="103906" y="316813"/>
                  <a:pt x="107888" y="266454"/>
                  <a:pt x="105923" y="253790"/>
                </a:cubicBezTo>
                <a:cubicBezTo>
                  <a:pt x="104682" y="245713"/>
                  <a:pt x="104733" y="241125"/>
                  <a:pt x="106077" y="226067"/>
                </a:cubicBezTo>
                <a:cubicBezTo>
                  <a:pt x="107526" y="210013"/>
                  <a:pt x="108146" y="193658"/>
                  <a:pt x="106491" y="156761"/>
                </a:cubicBezTo>
                <a:cubicBezTo>
                  <a:pt x="108715" y="154368"/>
                  <a:pt x="109077" y="139909"/>
                  <a:pt x="110267" y="129140"/>
                </a:cubicBezTo>
                <a:cubicBezTo>
                  <a:pt x="111146" y="121262"/>
                  <a:pt x="113370" y="109295"/>
                  <a:pt x="114042" y="101517"/>
                </a:cubicBezTo>
                <a:cubicBezTo>
                  <a:pt x="114715" y="94138"/>
                  <a:pt x="115439" y="101816"/>
                  <a:pt x="115956" y="87756"/>
                </a:cubicBezTo>
                <a:cubicBezTo>
                  <a:pt x="116111" y="83268"/>
                  <a:pt x="116111" y="78481"/>
                  <a:pt x="116060" y="73596"/>
                </a:cubicBezTo>
                <a:cubicBezTo>
                  <a:pt x="114353" y="75191"/>
                  <a:pt x="113577" y="80974"/>
                  <a:pt x="107629" y="79777"/>
                </a:cubicBezTo>
                <a:cubicBezTo>
                  <a:pt x="101785" y="78581"/>
                  <a:pt x="101319" y="72399"/>
                  <a:pt x="93872" y="73197"/>
                </a:cubicBezTo>
                <a:cubicBezTo>
                  <a:pt x="94492" y="73197"/>
                  <a:pt x="91596" y="78980"/>
                  <a:pt x="89269" y="79777"/>
                </a:cubicBezTo>
                <a:cubicBezTo>
                  <a:pt x="76132" y="84465"/>
                  <a:pt x="70960" y="84863"/>
                  <a:pt x="61805" y="86359"/>
                </a:cubicBezTo>
                <a:cubicBezTo>
                  <a:pt x="64650" y="88554"/>
                  <a:pt x="64029" y="163044"/>
                  <a:pt x="59323" y="141604"/>
                </a:cubicBezTo>
                <a:cubicBezTo>
                  <a:pt x="58702" y="112685"/>
                  <a:pt x="60771" y="104908"/>
                  <a:pt x="61443" y="86260"/>
                </a:cubicBezTo>
                <a:cubicBezTo>
                  <a:pt x="57099" y="86659"/>
                  <a:pt x="56220" y="79777"/>
                  <a:pt x="52547" y="79777"/>
                </a:cubicBezTo>
                <a:cubicBezTo>
                  <a:pt x="54255" y="79777"/>
                  <a:pt x="49393" y="85762"/>
                  <a:pt x="47996" y="86359"/>
                </a:cubicBezTo>
                <a:cubicBezTo>
                  <a:pt x="43910" y="88155"/>
                  <a:pt x="39980" y="88653"/>
                  <a:pt x="36204" y="88753"/>
                </a:cubicBezTo>
                <a:cubicBezTo>
                  <a:pt x="35997" y="96830"/>
                  <a:pt x="35842" y="104908"/>
                  <a:pt x="36049" y="112685"/>
                </a:cubicBezTo>
                <a:cubicBezTo>
                  <a:pt x="33411" y="114979"/>
                  <a:pt x="31498" y="122558"/>
                  <a:pt x="30049" y="133926"/>
                </a:cubicBezTo>
                <a:cubicBezTo>
                  <a:pt x="31601" y="135023"/>
                  <a:pt x="33050" y="136319"/>
                  <a:pt x="34394" y="138214"/>
                </a:cubicBezTo>
                <a:cubicBezTo>
                  <a:pt x="32843" y="137615"/>
                  <a:pt x="31291" y="137217"/>
                  <a:pt x="29739" y="137018"/>
                </a:cubicBezTo>
                <a:cubicBezTo>
                  <a:pt x="27774" y="154368"/>
                  <a:pt x="26791" y="179398"/>
                  <a:pt x="26429" y="209513"/>
                </a:cubicBezTo>
                <a:cubicBezTo>
                  <a:pt x="27929" y="233846"/>
                  <a:pt x="32636" y="235043"/>
                  <a:pt x="35273" y="251297"/>
                </a:cubicBezTo>
                <a:cubicBezTo>
                  <a:pt x="37187" y="310231"/>
                  <a:pt x="35532" y="325987"/>
                  <a:pt x="34498" y="389907"/>
                </a:cubicBezTo>
                <a:cubicBezTo>
                  <a:pt x="34498" y="425208"/>
                  <a:pt x="36825" y="443757"/>
                  <a:pt x="41428" y="445551"/>
                </a:cubicBezTo>
                <a:cubicBezTo>
                  <a:pt x="40083" y="456719"/>
                  <a:pt x="38376" y="483445"/>
                  <a:pt x="41169" y="487135"/>
                </a:cubicBezTo>
                <a:cubicBezTo>
                  <a:pt x="42101" y="511865"/>
                  <a:pt x="35480" y="544574"/>
                  <a:pt x="40755" y="556439"/>
                </a:cubicBezTo>
                <a:cubicBezTo>
                  <a:pt x="40186" y="578178"/>
                  <a:pt x="36618" y="584062"/>
                  <a:pt x="35015" y="611685"/>
                </a:cubicBezTo>
                <a:cubicBezTo>
                  <a:pt x="34549" y="619563"/>
                  <a:pt x="35170" y="631131"/>
                  <a:pt x="34859" y="639407"/>
                </a:cubicBezTo>
                <a:cubicBezTo>
                  <a:pt x="34652" y="644792"/>
                  <a:pt x="32946" y="657157"/>
                  <a:pt x="32946" y="653168"/>
                </a:cubicBezTo>
                <a:cubicBezTo>
                  <a:pt x="32894" y="664437"/>
                  <a:pt x="34859" y="666830"/>
                  <a:pt x="34601" y="680890"/>
                </a:cubicBezTo>
                <a:cubicBezTo>
                  <a:pt x="34239" y="699439"/>
                  <a:pt x="28550" y="764655"/>
                  <a:pt x="35946" y="764057"/>
                </a:cubicBezTo>
                <a:cubicBezTo>
                  <a:pt x="31756" y="798061"/>
                  <a:pt x="30619" y="856697"/>
                  <a:pt x="29636" y="916430"/>
                </a:cubicBezTo>
                <a:cubicBezTo>
                  <a:pt x="25447" y="911842"/>
                  <a:pt x="22654" y="918424"/>
                  <a:pt x="20482" y="929991"/>
                </a:cubicBezTo>
                <a:cubicBezTo>
                  <a:pt x="19240" y="944550"/>
                  <a:pt x="21671" y="987530"/>
                  <a:pt x="20067" y="999296"/>
                </a:cubicBezTo>
                <a:cubicBezTo>
                  <a:pt x="19757" y="1001889"/>
                  <a:pt x="16603" y="996305"/>
                  <a:pt x="16447" y="999197"/>
                </a:cubicBezTo>
                <a:cubicBezTo>
                  <a:pt x="14792" y="1035794"/>
                  <a:pt x="16189" y="1068602"/>
                  <a:pt x="14016" y="1109985"/>
                </a:cubicBezTo>
                <a:lnTo>
                  <a:pt x="8586" y="1109787"/>
                </a:lnTo>
                <a:cubicBezTo>
                  <a:pt x="6620" y="1128434"/>
                  <a:pt x="10965" y="1160045"/>
                  <a:pt x="10086" y="1165230"/>
                </a:cubicBezTo>
                <a:cubicBezTo>
                  <a:pt x="5327" y="1193351"/>
                  <a:pt x="14430" y="1210603"/>
                  <a:pt x="6155" y="1220575"/>
                </a:cubicBezTo>
                <a:cubicBezTo>
                  <a:pt x="5690" y="1250890"/>
                  <a:pt x="7396" y="1264751"/>
                  <a:pt x="11378" y="1262358"/>
                </a:cubicBezTo>
                <a:cubicBezTo>
                  <a:pt x="8017" y="1316905"/>
                  <a:pt x="8068" y="1304640"/>
                  <a:pt x="10810" y="1359386"/>
                </a:cubicBezTo>
                <a:cubicBezTo>
                  <a:pt x="8793" y="1358189"/>
                  <a:pt x="7758" y="1364970"/>
                  <a:pt x="6465" y="1369457"/>
                </a:cubicBezTo>
                <a:cubicBezTo>
                  <a:pt x="6620" y="1369257"/>
                  <a:pt x="6724" y="1369058"/>
                  <a:pt x="6879" y="1368759"/>
                </a:cubicBezTo>
                <a:cubicBezTo>
                  <a:pt x="8637" y="1365568"/>
                  <a:pt x="15361" y="1378232"/>
                  <a:pt x="20636" y="1368759"/>
                </a:cubicBezTo>
                <a:cubicBezTo>
                  <a:pt x="23016" y="1364571"/>
                  <a:pt x="26377" y="1375440"/>
                  <a:pt x="25240" y="1375341"/>
                </a:cubicBezTo>
                <a:cubicBezTo>
                  <a:pt x="27412" y="1375440"/>
                  <a:pt x="29377" y="1375640"/>
                  <a:pt x="31342" y="1375839"/>
                </a:cubicBezTo>
                <a:lnTo>
                  <a:pt x="31342" y="1410243"/>
                </a:lnTo>
                <a:cubicBezTo>
                  <a:pt x="28136" y="1411041"/>
                  <a:pt x="25447" y="1414430"/>
                  <a:pt x="25240" y="1421211"/>
                </a:cubicBezTo>
                <a:cubicBezTo>
                  <a:pt x="27619" y="1422009"/>
                  <a:pt x="29429" y="1423505"/>
                  <a:pt x="31342" y="1425001"/>
                </a:cubicBezTo>
                <a:lnTo>
                  <a:pt x="31342" y="1433477"/>
                </a:lnTo>
                <a:cubicBezTo>
                  <a:pt x="20998" y="1430585"/>
                  <a:pt x="11689" y="1431383"/>
                  <a:pt x="3982" y="1430486"/>
                </a:cubicBezTo>
                <a:cubicBezTo>
                  <a:pt x="3724" y="1437567"/>
                  <a:pt x="3414" y="1444647"/>
                  <a:pt x="3052" y="1451726"/>
                </a:cubicBezTo>
                <a:cubicBezTo>
                  <a:pt x="6310" y="1462795"/>
                  <a:pt x="20274" y="1458407"/>
                  <a:pt x="20689" y="1473564"/>
                </a:cubicBezTo>
                <a:cubicBezTo>
                  <a:pt x="21568" y="1473266"/>
                  <a:pt x="22395" y="1473266"/>
                  <a:pt x="23274" y="1473066"/>
                </a:cubicBezTo>
                <a:cubicBezTo>
                  <a:pt x="24671" y="1448535"/>
                  <a:pt x="27774" y="1460501"/>
                  <a:pt x="28032" y="1472469"/>
                </a:cubicBezTo>
                <a:cubicBezTo>
                  <a:pt x="29170" y="1472469"/>
                  <a:pt x="30308" y="1472469"/>
                  <a:pt x="31395" y="1472568"/>
                </a:cubicBezTo>
                <a:lnTo>
                  <a:pt x="31395" y="1511359"/>
                </a:lnTo>
                <a:cubicBezTo>
                  <a:pt x="25757" y="1508966"/>
                  <a:pt x="20533" y="1510461"/>
                  <a:pt x="16137" y="1506273"/>
                </a:cubicBezTo>
                <a:cubicBezTo>
                  <a:pt x="11585" y="1501985"/>
                  <a:pt x="6051" y="1500189"/>
                  <a:pt x="725" y="1498993"/>
                </a:cubicBezTo>
                <a:cubicBezTo>
                  <a:pt x="362" y="1508367"/>
                  <a:pt x="52" y="1517442"/>
                  <a:pt x="0" y="1526118"/>
                </a:cubicBezTo>
                <a:cubicBezTo>
                  <a:pt x="879" y="1526017"/>
                  <a:pt x="1811" y="1525917"/>
                  <a:pt x="2431" y="1525917"/>
                </a:cubicBezTo>
                <a:cubicBezTo>
                  <a:pt x="6465" y="1526217"/>
                  <a:pt x="6103" y="1532200"/>
                  <a:pt x="7034" y="1532500"/>
                </a:cubicBezTo>
                <a:cubicBezTo>
                  <a:pt x="22084" y="1537485"/>
                  <a:pt x="24929" y="1530206"/>
                  <a:pt x="29998" y="1539082"/>
                </a:cubicBezTo>
                <a:cubicBezTo>
                  <a:pt x="30256" y="1539479"/>
                  <a:pt x="30774" y="1539679"/>
                  <a:pt x="31498" y="1539679"/>
                </a:cubicBezTo>
                <a:lnTo>
                  <a:pt x="31498" y="1739319"/>
                </a:lnTo>
                <a:cubicBezTo>
                  <a:pt x="32325" y="1742510"/>
                  <a:pt x="33204" y="1747396"/>
                  <a:pt x="34135" y="1748294"/>
                </a:cubicBezTo>
                <a:cubicBezTo>
                  <a:pt x="34963" y="1773822"/>
                  <a:pt x="33256" y="1779406"/>
                  <a:pt x="31498" y="1784292"/>
                </a:cubicBezTo>
                <a:lnTo>
                  <a:pt x="31498" y="2150564"/>
                </a:lnTo>
                <a:cubicBezTo>
                  <a:pt x="33204" y="2126133"/>
                  <a:pt x="31704" y="2113767"/>
                  <a:pt x="31704" y="2113767"/>
                </a:cubicBezTo>
                <a:lnTo>
                  <a:pt x="35066" y="2023620"/>
                </a:lnTo>
                <a:lnTo>
                  <a:pt x="35428" y="1958603"/>
                </a:lnTo>
                <a:cubicBezTo>
                  <a:pt x="39824" y="1957108"/>
                  <a:pt x="38376" y="1921607"/>
                  <a:pt x="40497" y="1900965"/>
                </a:cubicBezTo>
                <a:cubicBezTo>
                  <a:pt x="43031" y="1877032"/>
                  <a:pt x="41169" y="1836945"/>
                  <a:pt x="46548" y="1836246"/>
                </a:cubicBezTo>
                <a:cubicBezTo>
                  <a:pt x="50479" y="1867759"/>
                  <a:pt x="48617" y="1895081"/>
                  <a:pt x="47634" y="1928887"/>
                </a:cubicBezTo>
                <a:cubicBezTo>
                  <a:pt x="46290" y="1976254"/>
                  <a:pt x="47013" y="2016042"/>
                  <a:pt x="45048" y="2067498"/>
                </a:cubicBezTo>
                <a:cubicBezTo>
                  <a:pt x="44790" y="2073679"/>
                  <a:pt x="43083" y="2084250"/>
                  <a:pt x="43135" y="2081259"/>
                </a:cubicBezTo>
                <a:cubicBezTo>
                  <a:pt x="42980" y="2094321"/>
                  <a:pt x="45411" y="2111075"/>
                  <a:pt x="44635" y="2136703"/>
                </a:cubicBezTo>
                <a:cubicBezTo>
                  <a:pt x="44583" y="2138598"/>
                  <a:pt x="42876" y="2138997"/>
                  <a:pt x="42721" y="2150465"/>
                </a:cubicBezTo>
                <a:cubicBezTo>
                  <a:pt x="42359" y="2177788"/>
                  <a:pt x="36773" y="2223958"/>
                  <a:pt x="43962" y="2247592"/>
                </a:cubicBezTo>
                <a:cubicBezTo>
                  <a:pt x="43342" y="2263847"/>
                  <a:pt x="35635" y="2304931"/>
                  <a:pt x="43652" y="2303036"/>
                </a:cubicBezTo>
                <a:cubicBezTo>
                  <a:pt x="44686" y="2340331"/>
                  <a:pt x="39721" y="2329661"/>
                  <a:pt x="37962" y="2344421"/>
                </a:cubicBezTo>
                <a:cubicBezTo>
                  <a:pt x="38945" y="2395875"/>
                  <a:pt x="34549" y="2403853"/>
                  <a:pt x="35532" y="2455309"/>
                </a:cubicBezTo>
                <a:cubicBezTo>
                  <a:pt x="33877" y="2456406"/>
                  <a:pt x="32532" y="2455509"/>
                  <a:pt x="31498" y="2453015"/>
                </a:cubicBezTo>
                <a:lnTo>
                  <a:pt x="31498" y="2489911"/>
                </a:lnTo>
                <a:cubicBezTo>
                  <a:pt x="32429" y="2485025"/>
                  <a:pt x="33463" y="2480538"/>
                  <a:pt x="35377" y="2483031"/>
                </a:cubicBezTo>
                <a:cubicBezTo>
                  <a:pt x="37135" y="2518631"/>
                  <a:pt x="29480" y="2548946"/>
                  <a:pt x="34911" y="2566197"/>
                </a:cubicBezTo>
                <a:cubicBezTo>
                  <a:pt x="33101" y="2588335"/>
                  <a:pt x="32325" y="2581355"/>
                  <a:pt x="31498" y="2568491"/>
                </a:cubicBezTo>
                <a:lnTo>
                  <a:pt x="31498" y="2621542"/>
                </a:lnTo>
                <a:lnTo>
                  <a:pt x="34601" y="2621641"/>
                </a:lnTo>
                <a:lnTo>
                  <a:pt x="34445" y="2649364"/>
                </a:lnTo>
                <a:lnTo>
                  <a:pt x="31498" y="2649265"/>
                </a:lnTo>
                <a:lnTo>
                  <a:pt x="31498" y="2722957"/>
                </a:lnTo>
                <a:cubicBezTo>
                  <a:pt x="32067" y="2728043"/>
                  <a:pt x="32894" y="2731334"/>
                  <a:pt x="33980" y="2732531"/>
                </a:cubicBezTo>
                <a:cubicBezTo>
                  <a:pt x="32739" y="2753870"/>
                  <a:pt x="32015" y="2773515"/>
                  <a:pt x="31498" y="2792463"/>
                </a:cubicBezTo>
                <a:lnTo>
                  <a:pt x="31498" y="3407136"/>
                </a:lnTo>
                <a:cubicBezTo>
                  <a:pt x="33204" y="3415014"/>
                  <a:pt x="34652" y="3424787"/>
                  <a:pt x="35377" y="3439645"/>
                </a:cubicBezTo>
                <a:cubicBezTo>
                  <a:pt x="35480" y="3475545"/>
                  <a:pt x="33411" y="3487112"/>
                  <a:pt x="31498" y="3505959"/>
                </a:cubicBezTo>
                <a:lnTo>
                  <a:pt x="31498" y="3592017"/>
                </a:lnTo>
                <a:cubicBezTo>
                  <a:pt x="34239" y="3592616"/>
                  <a:pt x="37755" y="3582544"/>
                  <a:pt x="40031" y="3578455"/>
                </a:cubicBezTo>
                <a:cubicBezTo>
                  <a:pt x="39824" y="3562201"/>
                  <a:pt x="36773" y="3566589"/>
                  <a:pt x="34652" y="3564396"/>
                </a:cubicBezTo>
                <a:cubicBezTo>
                  <a:pt x="36825" y="3524507"/>
                  <a:pt x="40445" y="3518623"/>
                  <a:pt x="45721" y="3536973"/>
                </a:cubicBezTo>
                <a:cubicBezTo>
                  <a:pt x="45927" y="3513239"/>
                  <a:pt x="44583" y="3500973"/>
                  <a:pt x="42307" y="3495288"/>
                </a:cubicBezTo>
                <a:cubicBezTo>
                  <a:pt x="44686" y="3475444"/>
                  <a:pt x="48721" y="3469163"/>
                  <a:pt x="53375" y="3467865"/>
                </a:cubicBezTo>
                <a:cubicBezTo>
                  <a:pt x="56064" y="3487211"/>
                  <a:pt x="50530" y="3518724"/>
                  <a:pt x="51151" y="3537072"/>
                </a:cubicBezTo>
                <a:cubicBezTo>
                  <a:pt x="51306" y="3540961"/>
                  <a:pt x="54616" y="3556617"/>
                  <a:pt x="54720" y="3551033"/>
                </a:cubicBezTo>
                <a:cubicBezTo>
                  <a:pt x="54462" y="3567587"/>
                  <a:pt x="49806" y="3566988"/>
                  <a:pt x="49134" y="3578555"/>
                </a:cubicBezTo>
                <a:cubicBezTo>
                  <a:pt x="47893" y="3600594"/>
                  <a:pt x="54978" y="3627618"/>
                  <a:pt x="50479" y="3661821"/>
                </a:cubicBezTo>
                <a:cubicBezTo>
                  <a:pt x="54255" y="3672890"/>
                  <a:pt x="53013" y="3643374"/>
                  <a:pt x="54255" y="3634200"/>
                </a:cubicBezTo>
                <a:cubicBezTo>
                  <a:pt x="54875" y="3629612"/>
                  <a:pt x="57254" y="3638885"/>
                  <a:pt x="57875" y="3634299"/>
                </a:cubicBezTo>
                <a:cubicBezTo>
                  <a:pt x="58392" y="3630310"/>
                  <a:pt x="57409" y="3609668"/>
                  <a:pt x="58030" y="3606577"/>
                </a:cubicBezTo>
                <a:cubicBezTo>
                  <a:pt x="59788" y="3597801"/>
                  <a:pt x="63822" y="3616648"/>
                  <a:pt x="63564" y="3592815"/>
                </a:cubicBezTo>
                <a:cubicBezTo>
                  <a:pt x="64598" y="3563298"/>
                  <a:pt x="61133" y="3566390"/>
                  <a:pt x="58288" y="3564993"/>
                </a:cubicBezTo>
                <a:cubicBezTo>
                  <a:pt x="61029" y="3530789"/>
                  <a:pt x="64650" y="3540662"/>
                  <a:pt x="69253" y="3551431"/>
                </a:cubicBezTo>
                <a:cubicBezTo>
                  <a:pt x="67288" y="3569780"/>
                  <a:pt x="70701" y="3608871"/>
                  <a:pt x="70753" y="3606876"/>
                </a:cubicBezTo>
                <a:cubicBezTo>
                  <a:pt x="70236" y="3621934"/>
                  <a:pt x="67081" y="3616150"/>
                  <a:pt x="66977" y="3634498"/>
                </a:cubicBezTo>
                <a:cubicBezTo>
                  <a:pt x="68994" y="3682364"/>
                  <a:pt x="71270" y="3688746"/>
                  <a:pt x="68064" y="3759249"/>
                </a:cubicBezTo>
                <a:cubicBezTo>
                  <a:pt x="65943" y="3756855"/>
                  <a:pt x="66667" y="3733919"/>
                  <a:pt x="66460" y="3717566"/>
                </a:cubicBezTo>
                <a:cubicBezTo>
                  <a:pt x="65115" y="3704003"/>
                  <a:pt x="64392" y="3689544"/>
                  <a:pt x="63047" y="3675883"/>
                </a:cubicBezTo>
                <a:cubicBezTo>
                  <a:pt x="61702" y="3662420"/>
                  <a:pt x="63978" y="3653544"/>
                  <a:pt x="61392" y="3648160"/>
                </a:cubicBezTo>
                <a:cubicBezTo>
                  <a:pt x="60306" y="3645767"/>
                  <a:pt x="58909" y="3649855"/>
                  <a:pt x="57772" y="3648060"/>
                </a:cubicBezTo>
                <a:cubicBezTo>
                  <a:pt x="56168" y="3648758"/>
                  <a:pt x="57306" y="3697721"/>
                  <a:pt x="57202" y="3745088"/>
                </a:cubicBezTo>
                <a:cubicBezTo>
                  <a:pt x="57099" y="3782683"/>
                  <a:pt x="56271" y="3829850"/>
                  <a:pt x="56478" y="3869837"/>
                </a:cubicBezTo>
                <a:cubicBezTo>
                  <a:pt x="56633" y="3894369"/>
                  <a:pt x="58133" y="3899254"/>
                  <a:pt x="57978" y="3925282"/>
                </a:cubicBezTo>
                <a:cubicBezTo>
                  <a:pt x="57512" y="4012837"/>
                  <a:pt x="53323" y="4099792"/>
                  <a:pt x="54668" y="4188542"/>
                </a:cubicBezTo>
                <a:cubicBezTo>
                  <a:pt x="61547" y="4195424"/>
                  <a:pt x="66305" y="4184952"/>
                  <a:pt x="69357" y="4161219"/>
                </a:cubicBezTo>
                <a:cubicBezTo>
                  <a:pt x="68478" y="4132401"/>
                  <a:pt x="72150" y="4070175"/>
                  <a:pt x="68115" y="4064092"/>
                </a:cubicBezTo>
                <a:cubicBezTo>
                  <a:pt x="69719" y="4054121"/>
                  <a:pt x="69408" y="4040059"/>
                  <a:pt x="70184" y="4022509"/>
                </a:cubicBezTo>
                <a:cubicBezTo>
                  <a:pt x="70391" y="4017822"/>
                  <a:pt x="69873" y="3997579"/>
                  <a:pt x="70339" y="3994787"/>
                </a:cubicBezTo>
                <a:cubicBezTo>
                  <a:pt x="72564" y="3981723"/>
                  <a:pt x="70029" y="3982322"/>
                  <a:pt x="70598" y="3953203"/>
                </a:cubicBezTo>
                <a:cubicBezTo>
                  <a:pt x="71167" y="3922789"/>
                  <a:pt x="72357" y="3898756"/>
                  <a:pt x="73029" y="3842414"/>
                </a:cubicBezTo>
                <a:cubicBezTo>
                  <a:pt x="73287" y="3820476"/>
                  <a:pt x="72460" y="3789563"/>
                  <a:pt x="75149" y="3787070"/>
                </a:cubicBezTo>
                <a:cubicBezTo>
                  <a:pt x="85338" y="3765730"/>
                  <a:pt x="76597" y="3882402"/>
                  <a:pt x="85545" y="3870535"/>
                </a:cubicBezTo>
                <a:cubicBezTo>
                  <a:pt x="91234" y="3864951"/>
                  <a:pt x="85648" y="3837927"/>
                  <a:pt x="85855" y="3815091"/>
                </a:cubicBezTo>
                <a:cubicBezTo>
                  <a:pt x="86062" y="3793353"/>
                  <a:pt x="87924" y="3790460"/>
                  <a:pt x="87924" y="3773509"/>
                </a:cubicBezTo>
                <a:cubicBezTo>
                  <a:pt x="87924" y="3762738"/>
                  <a:pt x="86424" y="3750074"/>
                  <a:pt x="86320" y="3731925"/>
                </a:cubicBezTo>
                <a:cubicBezTo>
                  <a:pt x="85959" y="3677677"/>
                  <a:pt x="87821" y="3602388"/>
                  <a:pt x="87407" y="3537870"/>
                </a:cubicBezTo>
                <a:cubicBezTo>
                  <a:pt x="87355" y="3523610"/>
                  <a:pt x="85907" y="3483522"/>
                  <a:pt x="86010" y="3468564"/>
                </a:cubicBezTo>
                <a:cubicBezTo>
                  <a:pt x="86010" y="3471356"/>
                  <a:pt x="87821" y="3462481"/>
                  <a:pt x="87924" y="3454703"/>
                </a:cubicBezTo>
                <a:cubicBezTo>
                  <a:pt x="88389" y="3419003"/>
                  <a:pt x="87665" y="3322474"/>
                  <a:pt x="90769" y="3274608"/>
                </a:cubicBezTo>
                <a:cubicBezTo>
                  <a:pt x="94441" y="3283484"/>
                  <a:pt x="91596" y="3339427"/>
                  <a:pt x="95837" y="3344013"/>
                </a:cubicBezTo>
                <a:cubicBezTo>
                  <a:pt x="98888" y="3349199"/>
                  <a:pt x="99302" y="3333343"/>
                  <a:pt x="99613" y="3316391"/>
                </a:cubicBezTo>
                <a:cubicBezTo>
                  <a:pt x="105147" y="3326264"/>
                  <a:pt x="103078" y="3326264"/>
                  <a:pt x="108715" y="3316690"/>
                </a:cubicBezTo>
                <a:cubicBezTo>
                  <a:pt x="107267" y="3300635"/>
                  <a:pt x="106491" y="3279495"/>
                  <a:pt x="107267" y="3247385"/>
                </a:cubicBezTo>
                <a:cubicBezTo>
                  <a:pt x="100492" y="3227241"/>
                  <a:pt x="103543" y="3285478"/>
                  <a:pt x="98009" y="3274907"/>
                </a:cubicBezTo>
                <a:cubicBezTo>
                  <a:pt x="98785" y="3242399"/>
                  <a:pt x="101164" y="3222953"/>
                  <a:pt x="100389" y="3177980"/>
                </a:cubicBezTo>
                <a:cubicBezTo>
                  <a:pt x="103336" y="3174091"/>
                  <a:pt x="103440" y="3191143"/>
                  <a:pt x="105767" y="3191940"/>
                </a:cubicBezTo>
                <a:cubicBezTo>
                  <a:pt x="109129" y="3189946"/>
                  <a:pt x="107112" y="3145072"/>
                  <a:pt x="109698" y="3136596"/>
                </a:cubicBezTo>
                <a:cubicBezTo>
                  <a:pt x="113680" y="3138391"/>
                  <a:pt x="110112" y="3195331"/>
                  <a:pt x="111042" y="3219762"/>
                </a:cubicBezTo>
                <a:cubicBezTo>
                  <a:pt x="118852" y="3229335"/>
                  <a:pt x="116267" y="3155643"/>
                  <a:pt x="117094" y="3109073"/>
                </a:cubicBezTo>
                <a:cubicBezTo>
                  <a:pt x="109233" y="3106879"/>
                  <a:pt x="101940" y="3147565"/>
                  <a:pt x="100906" y="3080852"/>
                </a:cubicBezTo>
                <a:cubicBezTo>
                  <a:pt x="97802" y="3080154"/>
                  <a:pt x="96147" y="3090925"/>
                  <a:pt x="95320" y="3108376"/>
                </a:cubicBezTo>
                <a:cubicBezTo>
                  <a:pt x="91596" y="3091123"/>
                  <a:pt x="96716" y="3009851"/>
                  <a:pt x="86631" y="3038870"/>
                </a:cubicBezTo>
                <a:cubicBezTo>
                  <a:pt x="86476" y="2994196"/>
                  <a:pt x="90148" y="2980335"/>
                  <a:pt x="89062" y="2927981"/>
                </a:cubicBezTo>
                <a:cubicBezTo>
                  <a:pt x="94492" y="2921401"/>
                  <a:pt x="104940" y="3008655"/>
                  <a:pt x="105509" y="2914619"/>
                </a:cubicBezTo>
                <a:cubicBezTo>
                  <a:pt x="109284" y="2880415"/>
                  <a:pt x="106440" y="2996289"/>
                  <a:pt x="104940" y="3011647"/>
                </a:cubicBezTo>
                <a:cubicBezTo>
                  <a:pt x="105405" y="3030493"/>
                  <a:pt x="109440" y="3023214"/>
                  <a:pt x="112129" y="3025707"/>
                </a:cubicBezTo>
                <a:cubicBezTo>
                  <a:pt x="114094" y="3022317"/>
                  <a:pt x="113526" y="2998185"/>
                  <a:pt x="115904" y="2998085"/>
                </a:cubicBezTo>
                <a:cubicBezTo>
                  <a:pt x="117043" y="2967371"/>
                  <a:pt x="112543" y="2978241"/>
                  <a:pt x="112491" y="2956402"/>
                </a:cubicBezTo>
                <a:cubicBezTo>
                  <a:pt x="109853" y="2887993"/>
                  <a:pt x="120146" y="2806223"/>
                  <a:pt x="109698" y="2803830"/>
                </a:cubicBezTo>
                <a:cubicBezTo>
                  <a:pt x="104526" y="2817292"/>
                  <a:pt x="112129" y="2840927"/>
                  <a:pt x="107578" y="2859275"/>
                </a:cubicBezTo>
                <a:cubicBezTo>
                  <a:pt x="103595" y="2861468"/>
                  <a:pt x="107009" y="2810113"/>
                  <a:pt x="106130" y="2789869"/>
                </a:cubicBezTo>
                <a:cubicBezTo>
                  <a:pt x="101940" y="2785382"/>
                  <a:pt x="99147" y="2791963"/>
                  <a:pt x="96975" y="2803530"/>
                </a:cubicBezTo>
                <a:cubicBezTo>
                  <a:pt x="97440" y="2831353"/>
                  <a:pt x="96354" y="2846909"/>
                  <a:pt x="93096" y="2845015"/>
                </a:cubicBezTo>
                <a:cubicBezTo>
                  <a:pt x="93458" y="2826865"/>
                  <a:pt x="92993" y="2807719"/>
                  <a:pt x="93406" y="2789570"/>
                </a:cubicBezTo>
                <a:cubicBezTo>
                  <a:pt x="93872" y="2769427"/>
                  <a:pt x="95371" y="2764141"/>
                  <a:pt x="95475" y="2748087"/>
                </a:cubicBezTo>
                <a:cubicBezTo>
                  <a:pt x="95631" y="2726147"/>
                  <a:pt x="93665" y="2723456"/>
                  <a:pt x="93923" y="2706404"/>
                </a:cubicBezTo>
                <a:cubicBezTo>
                  <a:pt x="94492" y="2666117"/>
                  <a:pt x="98992" y="2544459"/>
                  <a:pt x="96923" y="2498587"/>
                </a:cubicBezTo>
                <a:lnTo>
                  <a:pt x="100543" y="2498686"/>
                </a:lnTo>
                <a:cubicBezTo>
                  <a:pt x="98578" y="2445137"/>
                  <a:pt x="101216" y="2434667"/>
                  <a:pt x="99457" y="2373937"/>
                </a:cubicBezTo>
                <a:cubicBezTo>
                  <a:pt x="103027" y="2362169"/>
                  <a:pt x="103492" y="2399066"/>
                  <a:pt x="104733" y="2401759"/>
                </a:cubicBezTo>
                <a:cubicBezTo>
                  <a:pt x="105664" y="2403654"/>
                  <a:pt x="108095" y="2385705"/>
                  <a:pt x="110267" y="2387997"/>
                </a:cubicBezTo>
                <a:cubicBezTo>
                  <a:pt x="111767" y="2389593"/>
                  <a:pt x="111974" y="2402457"/>
                  <a:pt x="113836" y="2401959"/>
                </a:cubicBezTo>
                <a:cubicBezTo>
                  <a:pt x="117094" y="2401161"/>
                  <a:pt x="120353" y="2375533"/>
                  <a:pt x="124800" y="2388396"/>
                </a:cubicBezTo>
                <a:cubicBezTo>
                  <a:pt x="124697" y="2345018"/>
                  <a:pt x="126610" y="2286682"/>
                  <a:pt x="123714" y="2263647"/>
                </a:cubicBezTo>
                <a:cubicBezTo>
                  <a:pt x="121955" y="2273819"/>
                  <a:pt x="120818" y="2288775"/>
                  <a:pt x="119835" y="2305131"/>
                </a:cubicBezTo>
                <a:cubicBezTo>
                  <a:pt x="117043" y="2304831"/>
                  <a:pt x="116422" y="2202319"/>
                  <a:pt x="122111" y="2222063"/>
                </a:cubicBezTo>
                <a:cubicBezTo>
                  <a:pt x="122318" y="2189355"/>
                  <a:pt x="119214" y="2181178"/>
                  <a:pt x="120766" y="2138798"/>
                </a:cubicBezTo>
                <a:cubicBezTo>
                  <a:pt x="123818" y="2143983"/>
                  <a:pt x="124232" y="2128027"/>
                  <a:pt x="124542" y="2111175"/>
                </a:cubicBezTo>
                <a:cubicBezTo>
                  <a:pt x="127593" y="2116360"/>
                  <a:pt x="128007" y="2100505"/>
                  <a:pt x="128317" y="2083552"/>
                </a:cubicBezTo>
                <a:cubicBezTo>
                  <a:pt x="129713" y="2085048"/>
                  <a:pt x="131472" y="2136405"/>
                  <a:pt x="131575" y="2152957"/>
                </a:cubicBezTo>
                <a:cubicBezTo>
                  <a:pt x="131782" y="2183970"/>
                  <a:pt x="131472" y="2215981"/>
                  <a:pt x="129300" y="2236025"/>
                </a:cubicBezTo>
                <a:cubicBezTo>
                  <a:pt x="132610" y="2262151"/>
                  <a:pt x="133851" y="2237720"/>
                  <a:pt x="138402" y="2236323"/>
                </a:cubicBezTo>
                <a:cubicBezTo>
                  <a:pt x="138195" y="2261154"/>
                  <a:pt x="136437" y="2265442"/>
                  <a:pt x="136282" y="2291669"/>
                </a:cubicBezTo>
                <a:cubicBezTo>
                  <a:pt x="136127" y="2316597"/>
                  <a:pt x="138092" y="2320986"/>
                  <a:pt x="137782" y="2347213"/>
                </a:cubicBezTo>
                <a:cubicBezTo>
                  <a:pt x="137782" y="2345117"/>
                  <a:pt x="135972" y="2352597"/>
                  <a:pt x="135868" y="2360973"/>
                </a:cubicBezTo>
                <a:cubicBezTo>
                  <a:pt x="135713" y="2371943"/>
                  <a:pt x="135403" y="2425891"/>
                  <a:pt x="135299" y="2458001"/>
                </a:cubicBezTo>
                <a:cubicBezTo>
                  <a:pt x="135196" y="2487419"/>
                  <a:pt x="137006" y="2523418"/>
                  <a:pt x="136386" y="2582751"/>
                </a:cubicBezTo>
                <a:cubicBezTo>
                  <a:pt x="135817" y="2635802"/>
                  <a:pt x="131110" y="2679579"/>
                  <a:pt x="133748" y="2721361"/>
                </a:cubicBezTo>
                <a:lnTo>
                  <a:pt x="124645" y="2721063"/>
                </a:lnTo>
                <a:cubicBezTo>
                  <a:pt x="127438" y="2648665"/>
                  <a:pt x="132351" y="2525811"/>
                  <a:pt x="128058" y="2443940"/>
                </a:cubicBezTo>
                <a:cubicBezTo>
                  <a:pt x="124542" y="2449425"/>
                  <a:pt x="126300" y="2497591"/>
                  <a:pt x="120559" y="2485325"/>
                </a:cubicBezTo>
                <a:cubicBezTo>
                  <a:pt x="120146" y="2512647"/>
                  <a:pt x="125318" y="2554730"/>
                  <a:pt x="120146" y="2554629"/>
                </a:cubicBezTo>
                <a:cubicBezTo>
                  <a:pt x="116887" y="2554530"/>
                  <a:pt x="119680" y="2587537"/>
                  <a:pt x="119887" y="2596213"/>
                </a:cubicBezTo>
                <a:cubicBezTo>
                  <a:pt x="117766" y="2593919"/>
                  <a:pt x="116629" y="2599205"/>
                  <a:pt x="116163" y="2609975"/>
                </a:cubicBezTo>
                <a:cubicBezTo>
                  <a:pt x="109543" y="2605986"/>
                  <a:pt x="115853" y="2579560"/>
                  <a:pt x="114663" y="2554431"/>
                </a:cubicBezTo>
                <a:cubicBezTo>
                  <a:pt x="113629" y="2533589"/>
                  <a:pt x="110629" y="2554331"/>
                  <a:pt x="109284" y="2540470"/>
                </a:cubicBezTo>
                <a:cubicBezTo>
                  <a:pt x="107888" y="2526210"/>
                  <a:pt x="110732" y="2487617"/>
                  <a:pt x="109698" y="2471164"/>
                </a:cubicBezTo>
                <a:lnTo>
                  <a:pt x="104268" y="2470965"/>
                </a:lnTo>
                <a:cubicBezTo>
                  <a:pt x="100336" y="2494100"/>
                  <a:pt x="102664" y="2540968"/>
                  <a:pt x="101837" y="2581754"/>
                </a:cubicBezTo>
                <a:cubicBezTo>
                  <a:pt x="101216" y="2613065"/>
                  <a:pt x="98578" y="2637298"/>
                  <a:pt x="99561" y="2664920"/>
                </a:cubicBezTo>
                <a:cubicBezTo>
                  <a:pt x="100906" y="2717573"/>
                  <a:pt x="106802" y="2675191"/>
                  <a:pt x="112181" y="2679081"/>
                </a:cubicBezTo>
                <a:cubicBezTo>
                  <a:pt x="114663" y="2674792"/>
                  <a:pt x="113887" y="2644377"/>
                  <a:pt x="114301" y="2623636"/>
                </a:cubicBezTo>
                <a:cubicBezTo>
                  <a:pt x="126197" y="2669706"/>
                  <a:pt x="109647" y="2859374"/>
                  <a:pt x="118077" y="2914819"/>
                </a:cubicBezTo>
                <a:cubicBezTo>
                  <a:pt x="123249" y="2917311"/>
                  <a:pt x="116422" y="2824073"/>
                  <a:pt x="123921" y="2845612"/>
                </a:cubicBezTo>
                <a:cubicBezTo>
                  <a:pt x="122214" y="2880115"/>
                  <a:pt x="121128" y="2919804"/>
                  <a:pt x="121387" y="2970263"/>
                </a:cubicBezTo>
                <a:cubicBezTo>
                  <a:pt x="126455" y="2981831"/>
                  <a:pt x="126197" y="2950818"/>
                  <a:pt x="130541" y="2956702"/>
                </a:cubicBezTo>
                <a:cubicBezTo>
                  <a:pt x="129404" y="2976745"/>
                  <a:pt x="132248" y="3028399"/>
                  <a:pt x="128317" y="3025907"/>
                </a:cubicBezTo>
                <a:cubicBezTo>
                  <a:pt x="128990" y="3047745"/>
                  <a:pt x="133955" y="3037873"/>
                  <a:pt x="131627" y="3081451"/>
                </a:cubicBezTo>
                <a:cubicBezTo>
                  <a:pt x="137316" y="3088431"/>
                  <a:pt x="138144" y="3056721"/>
                  <a:pt x="144402" y="3067989"/>
                </a:cubicBezTo>
                <a:cubicBezTo>
                  <a:pt x="144764" y="3099599"/>
                  <a:pt x="143678" y="3120043"/>
                  <a:pt x="140471" y="3123333"/>
                </a:cubicBezTo>
                <a:cubicBezTo>
                  <a:pt x="134524" y="3140285"/>
                  <a:pt x="139385" y="3078459"/>
                  <a:pt x="133386" y="3095412"/>
                </a:cubicBezTo>
                <a:cubicBezTo>
                  <a:pt x="133955" y="3094315"/>
                  <a:pt x="127955" y="3130413"/>
                  <a:pt x="127696" y="3136795"/>
                </a:cubicBezTo>
                <a:cubicBezTo>
                  <a:pt x="127076" y="3151654"/>
                  <a:pt x="131110" y="3158834"/>
                  <a:pt x="131162" y="3164617"/>
                </a:cubicBezTo>
                <a:cubicBezTo>
                  <a:pt x="131524" y="3192639"/>
                  <a:pt x="125473" y="3189049"/>
                  <a:pt x="128886" y="3247685"/>
                </a:cubicBezTo>
                <a:cubicBezTo>
                  <a:pt x="131006" y="3281190"/>
                  <a:pt x="124645" y="3273213"/>
                  <a:pt x="123197" y="3289167"/>
                </a:cubicBezTo>
                <a:cubicBezTo>
                  <a:pt x="122731" y="3294253"/>
                  <a:pt x="123663" y="3313300"/>
                  <a:pt x="123042" y="3316890"/>
                </a:cubicBezTo>
                <a:cubicBezTo>
                  <a:pt x="120456" y="3332446"/>
                  <a:pt x="122421" y="3346208"/>
                  <a:pt x="120921" y="3372335"/>
                </a:cubicBezTo>
                <a:cubicBezTo>
                  <a:pt x="120249" y="3384001"/>
                  <a:pt x="117715" y="3381309"/>
                  <a:pt x="117146" y="3399956"/>
                </a:cubicBezTo>
                <a:cubicBezTo>
                  <a:pt x="115594" y="3453207"/>
                  <a:pt x="119473" y="3473749"/>
                  <a:pt x="118180" y="3538567"/>
                </a:cubicBezTo>
                <a:cubicBezTo>
                  <a:pt x="117922" y="3551632"/>
                  <a:pt x="115128" y="3562699"/>
                  <a:pt x="118025" y="3566289"/>
                </a:cubicBezTo>
                <a:cubicBezTo>
                  <a:pt x="117404" y="3601989"/>
                  <a:pt x="115025" y="3547143"/>
                  <a:pt x="110784" y="3566090"/>
                </a:cubicBezTo>
                <a:cubicBezTo>
                  <a:pt x="108301" y="3582644"/>
                  <a:pt x="107939" y="3571375"/>
                  <a:pt x="105354" y="3565890"/>
                </a:cubicBezTo>
                <a:cubicBezTo>
                  <a:pt x="106440" y="3506857"/>
                  <a:pt x="104422" y="3423092"/>
                  <a:pt x="108198" y="3385797"/>
                </a:cubicBezTo>
                <a:cubicBezTo>
                  <a:pt x="108922" y="3353786"/>
                  <a:pt x="103027" y="3370240"/>
                  <a:pt x="102974" y="3344013"/>
                </a:cubicBezTo>
                <a:cubicBezTo>
                  <a:pt x="101112" y="3339028"/>
                  <a:pt x="99923" y="3370638"/>
                  <a:pt x="99199" y="3371636"/>
                </a:cubicBezTo>
                <a:cubicBezTo>
                  <a:pt x="98475" y="3372533"/>
                  <a:pt x="96458" y="3351693"/>
                  <a:pt x="95631" y="3357675"/>
                </a:cubicBezTo>
                <a:cubicBezTo>
                  <a:pt x="91441" y="3387093"/>
                  <a:pt x="91699" y="3447622"/>
                  <a:pt x="91027" y="3523908"/>
                </a:cubicBezTo>
                <a:cubicBezTo>
                  <a:pt x="92268" y="3536973"/>
                  <a:pt x="94182" y="3545049"/>
                  <a:pt x="96303" y="3551830"/>
                </a:cubicBezTo>
                <a:cubicBezTo>
                  <a:pt x="95268" y="3565592"/>
                  <a:pt x="93303" y="3562800"/>
                  <a:pt x="92527" y="3579453"/>
                </a:cubicBezTo>
                <a:cubicBezTo>
                  <a:pt x="91441" y="3601989"/>
                  <a:pt x="95475" y="3611562"/>
                  <a:pt x="94027" y="3634897"/>
                </a:cubicBezTo>
                <a:cubicBezTo>
                  <a:pt x="93976" y="3635396"/>
                  <a:pt x="92217" y="3634398"/>
                  <a:pt x="92217" y="3634797"/>
                </a:cubicBezTo>
                <a:cubicBezTo>
                  <a:pt x="92372" y="3673289"/>
                  <a:pt x="94079" y="3674785"/>
                  <a:pt x="91751" y="3717964"/>
                </a:cubicBezTo>
                <a:cubicBezTo>
                  <a:pt x="90924" y="3732822"/>
                  <a:pt x="89837" y="3747281"/>
                  <a:pt x="89683" y="3759547"/>
                </a:cubicBezTo>
                <a:cubicBezTo>
                  <a:pt x="89269" y="3795945"/>
                  <a:pt x="93923" y="3838824"/>
                  <a:pt x="89062" y="3870436"/>
                </a:cubicBezTo>
                <a:cubicBezTo>
                  <a:pt x="90303" y="3901349"/>
                  <a:pt x="92579" y="3924584"/>
                  <a:pt x="92165" y="3967564"/>
                </a:cubicBezTo>
                <a:cubicBezTo>
                  <a:pt x="88286" y="4000371"/>
                  <a:pt x="85079" y="3948317"/>
                  <a:pt x="81200" y="3981125"/>
                </a:cubicBezTo>
                <a:lnTo>
                  <a:pt x="80786" y="4050430"/>
                </a:lnTo>
                <a:cubicBezTo>
                  <a:pt x="87252" y="4039660"/>
                  <a:pt x="86993" y="4011639"/>
                  <a:pt x="91699" y="4050730"/>
                </a:cubicBezTo>
                <a:cubicBezTo>
                  <a:pt x="97079" y="4046940"/>
                  <a:pt x="94958" y="3998277"/>
                  <a:pt x="95889" y="3953802"/>
                </a:cubicBezTo>
                <a:cubicBezTo>
                  <a:pt x="95992" y="3949613"/>
                  <a:pt x="95682" y="3928373"/>
                  <a:pt x="96044" y="3926080"/>
                </a:cubicBezTo>
                <a:cubicBezTo>
                  <a:pt x="96147" y="3925581"/>
                  <a:pt x="97854" y="3926478"/>
                  <a:pt x="97854" y="3926179"/>
                </a:cubicBezTo>
                <a:cubicBezTo>
                  <a:pt x="97751" y="3892872"/>
                  <a:pt x="93872" y="3868841"/>
                  <a:pt x="94699" y="3842912"/>
                </a:cubicBezTo>
                <a:cubicBezTo>
                  <a:pt x="97182" y="3838725"/>
                  <a:pt x="96406" y="3808310"/>
                  <a:pt x="96820" y="3787569"/>
                </a:cubicBezTo>
                <a:cubicBezTo>
                  <a:pt x="104888" y="3804720"/>
                  <a:pt x="109594" y="3800033"/>
                  <a:pt x="118698" y="3774306"/>
                </a:cubicBezTo>
                <a:cubicBezTo>
                  <a:pt x="118232" y="3755459"/>
                  <a:pt x="114198" y="3762638"/>
                  <a:pt x="111508" y="3760245"/>
                </a:cubicBezTo>
                <a:cubicBezTo>
                  <a:pt x="113215" y="3710684"/>
                  <a:pt x="116215" y="3672291"/>
                  <a:pt x="122990" y="3663516"/>
                </a:cubicBezTo>
                <a:cubicBezTo>
                  <a:pt x="121955" y="3597303"/>
                  <a:pt x="126352" y="3574367"/>
                  <a:pt x="125680" y="3511045"/>
                </a:cubicBezTo>
                <a:cubicBezTo>
                  <a:pt x="130799" y="3513737"/>
                  <a:pt x="130438" y="3556417"/>
                  <a:pt x="134472" y="3566688"/>
                </a:cubicBezTo>
                <a:cubicBezTo>
                  <a:pt x="135920" y="3593015"/>
                  <a:pt x="130903" y="3599197"/>
                  <a:pt x="130593" y="3608172"/>
                </a:cubicBezTo>
                <a:cubicBezTo>
                  <a:pt x="129972" y="3627019"/>
                  <a:pt x="134110" y="3647262"/>
                  <a:pt x="131938" y="3691439"/>
                </a:cubicBezTo>
                <a:cubicBezTo>
                  <a:pt x="126455" y="3681267"/>
                  <a:pt x="126455" y="3715172"/>
                  <a:pt x="120973" y="3705000"/>
                </a:cubicBezTo>
                <a:cubicBezTo>
                  <a:pt x="120093" y="3751071"/>
                  <a:pt x="129817" y="3720358"/>
                  <a:pt x="125938" y="3788366"/>
                </a:cubicBezTo>
                <a:cubicBezTo>
                  <a:pt x="130438" y="3786970"/>
                  <a:pt x="131679" y="3762638"/>
                  <a:pt x="134989" y="3788666"/>
                </a:cubicBezTo>
                <a:cubicBezTo>
                  <a:pt x="135558" y="3812299"/>
                  <a:pt x="133437" y="3814793"/>
                  <a:pt x="131213" y="3816287"/>
                </a:cubicBezTo>
                <a:cubicBezTo>
                  <a:pt x="131420" y="3853084"/>
                  <a:pt x="134420" y="3856575"/>
                  <a:pt x="134420" y="3885693"/>
                </a:cubicBezTo>
                <a:cubicBezTo>
                  <a:pt x="134420" y="3881006"/>
                  <a:pt x="132610" y="3893172"/>
                  <a:pt x="132507" y="3899554"/>
                </a:cubicBezTo>
                <a:cubicBezTo>
                  <a:pt x="132300" y="3918003"/>
                  <a:pt x="132403" y="3936550"/>
                  <a:pt x="132196" y="3954999"/>
                </a:cubicBezTo>
                <a:cubicBezTo>
                  <a:pt x="127955" y="3954600"/>
                  <a:pt x="126714" y="3978732"/>
                  <a:pt x="121232" y="3968560"/>
                </a:cubicBezTo>
                <a:cubicBezTo>
                  <a:pt x="124800" y="3942235"/>
                  <a:pt x="120300" y="3943531"/>
                  <a:pt x="121645" y="3899355"/>
                </a:cubicBezTo>
                <a:cubicBezTo>
                  <a:pt x="115542" y="3900651"/>
                  <a:pt x="111870" y="3926778"/>
                  <a:pt x="109026" y="3885095"/>
                </a:cubicBezTo>
                <a:cubicBezTo>
                  <a:pt x="105147" y="3897559"/>
                  <a:pt x="103233" y="3925881"/>
                  <a:pt x="103078" y="3968062"/>
                </a:cubicBezTo>
                <a:cubicBezTo>
                  <a:pt x="100026" y="3967364"/>
                  <a:pt x="98320" y="3978233"/>
                  <a:pt x="97492" y="3995684"/>
                </a:cubicBezTo>
                <a:cubicBezTo>
                  <a:pt x="97751" y="4006854"/>
                  <a:pt x="99251" y="4009545"/>
                  <a:pt x="99147" y="4023406"/>
                </a:cubicBezTo>
                <a:cubicBezTo>
                  <a:pt x="99199" y="4054020"/>
                  <a:pt x="106802" y="4029489"/>
                  <a:pt x="109957" y="4037567"/>
                </a:cubicBezTo>
                <a:cubicBezTo>
                  <a:pt x="113060" y="4050331"/>
                  <a:pt x="119007" y="4042552"/>
                  <a:pt x="120714" y="4065587"/>
                </a:cubicBezTo>
                <a:cubicBezTo>
                  <a:pt x="124232" y="4059804"/>
                  <a:pt x="124232" y="4026099"/>
                  <a:pt x="129972" y="4038164"/>
                </a:cubicBezTo>
                <a:cubicBezTo>
                  <a:pt x="129558" y="4054419"/>
                  <a:pt x="126610" y="4049832"/>
                  <a:pt x="124439" y="4051926"/>
                </a:cubicBezTo>
                <a:cubicBezTo>
                  <a:pt x="124645" y="4068181"/>
                  <a:pt x="127696" y="4063694"/>
                  <a:pt x="129817" y="4065887"/>
                </a:cubicBezTo>
                <a:cubicBezTo>
                  <a:pt x="126352" y="4091415"/>
                  <a:pt x="118749" y="4083538"/>
                  <a:pt x="115025" y="4107071"/>
                </a:cubicBezTo>
                <a:cubicBezTo>
                  <a:pt x="115284" y="4130107"/>
                  <a:pt x="128214" y="4163114"/>
                  <a:pt x="127749" y="4107470"/>
                </a:cubicBezTo>
                <a:cubicBezTo>
                  <a:pt x="128472" y="4116246"/>
                  <a:pt x="131627" y="4134693"/>
                  <a:pt x="131162" y="4149153"/>
                </a:cubicBezTo>
                <a:cubicBezTo>
                  <a:pt x="130386" y="4174482"/>
                  <a:pt x="128214" y="4139082"/>
                  <a:pt x="127542" y="4149054"/>
                </a:cubicBezTo>
                <a:cubicBezTo>
                  <a:pt x="126041" y="4171889"/>
                  <a:pt x="126921" y="4186649"/>
                  <a:pt x="125421" y="4204398"/>
                </a:cubicBezTo>
                <a:cubicBezTo>
                  <a:pt x="124439" y="4216364"/>
                  <a:pt x="120611" y="4217561"/>
                  <a:pt x="121542" y="4245882"/>
                </a:cubicBezTo>
                <a:cubicBezTo>
                  <a:pt x="121852" y="4274700"/>
                  <a:pt x="129507" y="4249970"/>
                  <a:pt x="130489" y="4273903"/>
                </a:cubicBezTo>
                <a:cubicBezTo>
                  <a:pt x="129662" y="4302224"/>
                  <a:pt x="123921" y="4364549"/>
                  <a:pt x="128058" y="4384691"/>
                </a:cubicBezTo>
                <a:cubicBezTo>
                  <a:pt x="127542" y="4404636"/>
                  <a:pt x="122628" y="4389379"/>
                  <a:pt x="122473" y="4412215"/>
                </a:cubicBezTo>
                <a:cubicBezTo>
                  <a:pt x="122783" y="4429666"/>
                  <a:pt x="125990" y="4426275"/>
                  <a:pt x="126094" y="4412314"/>
                </a:cubicBezTo>
                <a:cubicBezTo>
                  <a:pt x="129248" y="4422486"/>
                  <a:pt x="126197" y="4437544"/>
                  <a:pt x="125834" y="4453898"/>
                </a:cubicBezTo>
                <a:cubicBezTo>
                  <a:pt x="125473" y="4478828"/>
                  <a:pt x="127903" y="4483216"/>
                  <a:pt x="127335" y="4509442"/>
                </a:cubicBezTo>
                <a:cubicBezTo>
                  <a:pt x="125576" y="4509742"/>
                  <a:pt x="125834" y="4526294"/>
                  <a:pt x="125369" y="4537064"/>
                </a:cubicBezTo>
                <a:cubicBezTo>
                  <a:pt x="123249" y="4534771"/>
                  <a:pt x="122111" y="4540056"/>
                  <a:pt x="121645" y="4550826"/>
                </a:cubicBezTo>
                <a:cubicBezTo>
                  <a:pt x="122783" y="4562393"/>
                  <a:pt x="124128" y="4564887"/>
                  <a:pt x="125111" y="4578647"/>
                </a:cubicBezTo>
                <a:cubicBezTo>
                  <a:pt x="125473" y="4583733"/>
                  <a:pt x="124386" y="4602780"/>
                  <a:pt x="124955" y="4606370"/>
                </a:cubicBezTo>
                <a:cubicBezTo>
                  <a:pt x="125111" y="4607467"/>
                  <a:pt x="126714" y="4605074"/>
                  <a:pt x="126766" y="4606469"/>
                </a:cubicBezTo>
                <a:cubicBezTo>
                  <a:pt x="128058" y="4640573"/>
                  <a:pt x="125421" y="4691132"/>
                  <a:pt x="127955" y="4717458"/>
                </a:cubicBezTo>
                <a:cubicBezTo>
                  <a:pt x="126197" y="4717059"/>
                  <a:pt x="126662" y="4700505"/>
                  <a:pt x="126300" y="4689736"/>
                </a:cubicBezTo>
                <a:cubicBezTo>
                  <a:pt x="123663" y="4689537"/>
                  <a:pt x="121852" y="4706089"/>
                  <a:pt x="120714" y="4717258"/>
                </a:cubicBezTo>
                <a:cubicBezTo>
                  <a:pt x="119732" y="4726433"/>
                  <a:pt x="118698" y="4725834"/>
                  <a:pt x="120611" y="4731119"/>
                </a:cubicBezTo>
                <a:cubicBezTo>
                  <a:pt x="117043" y="4781180"/>
                  <a:pt x="115749" y="4706588"/>
                  <a:pt x="111612" y="4717059"/>
                </a:cubicBezTo>
                <a:cubicBezTo>
                  <a:pt x="106905" y="4742886"/>
                  <a:pt x="111146" y="4776094"/>
                  <a:pt x="111146" y="4800226"/>
                </a:cubicBezTo>
                <a:cubicBezTo>
                  <a:pt x="111146" y="4796137"/>
                  <a:pt x="108146" y="4807206"/>
                  <a:pt x="109233" y="4813987"/>
                </a:cubicBezTo>
                <a:cubicBezTo>
                  <a:pt x="112336" y="4833831"/>
                  <a:pt x="108767" y="4832934"/>
                  <a:pt x="108974" y="4853775"/>
                </a:cubicBezTo>
                <a:cubicBezTo>
                  <a:pt x="109233" y="4850085"/>
                  <a:pt x="113577" y="4923878"/>
                  <a:pt x="108560" y="4924876"/>
                </a:cubicBezTo>
                <a:cubicBezTo>
                  <a:pt x="108405" y="4942127"/>
                  <a:pt x="111146" y="4943324"/>
                  <a:pt x="112025" y="4952698"/>
                </a:cubicBezTo>
                <a:cubicBezTo>
                  <a:pt x="113887" y="4972342"/>
                  <a:pt x="113008" y="5018014"/>
                  <a:pt x="118904" y="5022203"/>
                </a:cubicBezTo>
                <a:lnTo>
                  <a:pt x="118180" y="5146952"/>
                </a:lnTo>
                <a:cubicBezTo>
                  <a:pt x="111198" y="5149246"/>
                  <a:pt x="117559" y="5135484"/>
                  <a:pt x="116577" y="5105269"/>
                </a:cubicBezTo>
                <a:cubicBezTo>
                  <a:pt x="114612" y="5118731"/>
                  <a:pt x="112750" y="5132592"/>
                  <a:pt x="110888" y="5146752"/>
                </a:cubicBezTo>
                <a:cubicBezTo>
                  <a:pt x="108612" y="5152736"/>
                  <a:pt x="107060" y="5164403"/>
                  <a:pt x="107009" y="5188236"/>
                </a:cubicBezTo>
                <a:cubicBezTo>
                  <a:pt x="107992" y="5229819"/>
                  <a:pt x="110991" y="5175073"/>
                  <a:pt x="114301" y="5188436"/>
                </a:cubicBezTo>
                <a:cubicBezTo>
                  <a:pt x="113008" y="5209077"/>
                  <a:pt x="116680" y="5214662"/>
                  <a:pt x="115853" y="5230119"/>
                </a:cubicBezTo>
                <a:cubicBezTo>
                  <a:pt x="115749" y="5231913"/>
                  <a:pt x="112129" y="5244778"/>
                  <a:pt x="112129" y="5243881"/>
                </a:cubicBezTo>
                <a:cubicBezTo>
                  <a:pt x="112129" y="5259437"/>
                  <a:pt x="114974" y="5269409"/>
                  <a:pt x="115542" y="5285564"/>
                </a:cubicBezTo>
                <a:cubicBezTo>
                  <a:pt x="115284" y="5278781"/>
                  <a:pt x="113473" y="5293042"/>
                  <a:pt x="113629" y="5299324"/>
                </a:cubicBezTo>
                <a:cubicBezTo>
                  <a:pt x="113629" y="5301519"/>
                  <a:pt x="115335" y="5301519"/>
                  <a:pt x="115335" y="5313285"/>
                </a:cubicBezTo>
                <a:cubicBezTo>
                  <a:pt x="115335" y="5335722"/>
                  <a:pt x="115904" y="5365638"/>
                  <a:pt x="113060" y="5396352"/>
                </a:cubicBezTo>
                <a:cubicBezTo>
                  <a:pt x="113733" y="5416994"/>
                  <a:pt x="115388" y="5390967"/>
                  <a:pt x="118491" y="5396551"/>
                </a:cubicBezTo>
                <a:cubicBezTo>
                  <a:pt x="119111" y="5440328"/>
                  <a:pt x="114922" y="5445414"/>
                  <a:pt x="116111" y="5493579"/>
                </a:cubicBezTo>
                <a:cubicBezTo>
                  <a:pt x="113163" y="5497368"/>
                  <a:pt x="113060" y="5480316"/>
                  <a:pt x="110732" y="5479518"/>
                </a:cubicBezTo>
                <a:cubicBezTo>
                  <a:pt x="106388" y="5520703"/>
                  <a:pt x="112905" y="5564480"/>
                  <a:pt x="106543" y="5576446"/>
                </a:cubicBezTo>
                <a:cubicBezTo>
                  <a:pt x="105871" y="5593099"/>
                  <a:pt x="109543" y="5583327"/>
                  <a:pt x="110112" y="5590408"/>
                </a:cubicBezTo>
                <a:cubicBezTo>
                  <a:pt x="110888" y="5600179"/>
                  <a:pt x="109077" y="5622018"/>
                  <a:pt x="109853" y="5631990"/>
                </a:cubicBezTo>
                <a:cubicBezTo>
                  <a:pt x="110784" y="5644456"/>
                  <a:pt x="112957" y="5643458"/>
                  <a:pt x="113319" y="5659812"/>
                </a:cubicBezTo>
                <a:cubicBezTo>
                  <a:pt x="113887" y="5683446"/>
                  <a:pt x="111767" y="5685938"/>
                  <a:pt x="109543" y="5687435"/>
                </a:cubicBezTo>
                <a:cubicBezTo>
                  <a:pt x="110784" y="5700399"/>
                  <a:pt x="112698" y="5708575"/>
                  <a:pt x="114818" y="5715356"/>
                </a:cubicBezTo>
                <a:cubicBezTo>
                  <a:pt x="114198" y="5739788"/>
                  <a:pt x="111508" y="5746868"/>
                  <a:pt x="107371" y="5742879"/>
                </a:cubicBezTo>
                <a:cubicBezTo>
                  <a:pt x="107474" y="5768507"/>
                  <a:pt x="113473" y="5751555"/>
                  <a:pt x="114456" y="5770800"/>
                </a:cubicBezTo>
                <a:cubicBezTo>
                  <a:pt x="113112" y="5789349"/>
                  <a:pt x="110422" y="5796528"/>
                  <a:pt x="107009" y="5798323"/>
                </a:cubicBezTo>
                <a:cubicBezTo>
                  <a:pt x="106543" y="5828538"/>
                  <a:pt x="108250" y="5842500"/>
                  <a:pt x="112232" y="5840106"/>
                </a:cubicBezTo>
                <a:cubicBezTo>
                  <a:pt x="109698" y="5848483"/>
                  <a:pt x="111663" y="5893456"/>
                  <a:pt x="108301" y="5895450"/>
                </a:cubicBezTo>
                <a:cubicBezTo>
                  <a:pt x="109440" y="5909611"/>
                  <a:pt x="112439" y="5909911"/>
                  <a:pt x="111715" y="5937133"/>
                </a:cubicBezTo>
                <a:cubicBezTo>
                  <a:pt x="105509" y="5891761"/>
                  <a:pt x="104319" y="5974429"/>
                  <a:pt x="100492" y="5992279"/>
                </a:cubicBezTo>
                <a:cubicBezTo>
                  <a:pt x="93510" y="6003447"/>
                  <a:pt x="93665" y="5962661"/>
                  <a:pt x="91751" y="5936635"/>
                </a:cubicBezTo>
                <a:cubicBezTo>
                  <a:pt x="84769" y="5970639"/>
                  <a:pt x="91596" y="6035259"/>
                  <a:pt x="87303" y="6075146"/>
                </a:cubicBezTo>
                <a:cubicBezTo>
                  <a:pt x="95320" y="6095888"/>
                  <a:pt x="93096" y="6034759"/>
                  <a:pt x="100182" y="6047823"/>
                </a:cubicBezTo>
                <a:cubicBezTo>
                  <a:pt x="104112" y="6041441"/>
                  <a:pt x="103543" y="6067667"/>
                  <a:pt x="103595" y="6089506"/>
                </a:cubicBezTo>
                <a:cubicBezTo>
                  <a:pt x="109077" y="6099678"/>
                  <a:pt x="109077" y="6065772"/>
                  <a:pt x="114560" y="6075944"/>
                </a:cubicBezTo>
                <a:lnTo>
                  <a:pt x="114146" y="6145249"/>
                </a:lnTo>
                <a:cubicBezTo>
                  <a:pt x="108560" y="6129394"/>
                  <a:pt x="109336" y="6149138"/>
                  <a:pt x="105147" y="6131189"/>
                </a:cubicBezTo>
                <a:cubicBezTo>
                  <a:pt x="105250" y="6170280"/>
                  <a:pt x="113680" y="6148740"/>
                  <a:pt x="112025" y="6200693"/>
                </a:cubicBezTo>
                <a:cubicBezTo>
                  <a:pt x="107992" y="6209369"/>
                  <a:pt x="106440" y="6161304"/>
                  <a:pt x="106491" y="6214455"/>
                </a:cubicBezTo>
                <a:cubicBezTo>
                  <a:pt x="101319" y="6225723"/>
                  <a:pt x="101888" y="6194710"/>
                  <a:pt x="97492" y="6200294"/>
                </a:cubicBezTo>
                <a:cubicBezTo>
                  <a:pt x="92682" y="6202390"/>
                  <a:pt x="96561" y="6251352"/>
                  <a:pt x="97026" y="6283462"/>
                </a:cubicBezTo>
                <a:cubicBezTo>
                  <a:pt x="97595" y="6321753"/>
                  <a:pt x="95165" y="6362539"/>
                  <a:pt x="101991" y="6366728"/>
                </a:cubicBezTo>
                <a:lnTo>
                  <a:pt x="101526" y="6449894"/>
                </a:lnTo>
                <a:cubicBezTo>
                  <a:pt x="102820" y="6456375"/>
                  <a:pt x="103854" y="6470536"/>
                  <a:pt x="104991" y="6477715"/>
                </a:cubicBezTo>
                <a:cubicBezTo>
                  <a:pt x="105871" y="6483101"/>
                  <a:pt x="106440" y="6495067"/>
                  <a:pt x="108560" y="6491676"/>
                </a:cubicBezTo>
                <a:cubicBezTo>
                  <a:pt x="109387" y="6522490"/>
                  <a:pt x="104940" y="6511322"/>
                  <a:pt x="104682" y="6533160"/>
                </a:cubicBezTo>
                <a:cubicBezTo>
                  <a:pt x="104629" y="6539741"/>
                  <a:pt x="101733" y="6569459"/>
                  <a:pt x="100750" y="6588504"/>
                </a:cubicBezTo>
                <a:cubicBezTo>
                  <a:pt x="99768" y="6621812"/>
                  <a:pt x="103854" y="6618721"/>
                  <a:pt x="102147" y="6657810"/>
                </a:cubicBezTo>
                <a:cubicBezTo>
                  <a:pt x="106491" y="6663694"/>
                  <a:pt x="106233" y="6632681"/>
                  <a:pt x="111302" y="6644248"/>
                </a:cubicBezTo>
                <a:cubicBezTo>
                  <a:pt x="106750" y="6681145"/>
                  <a:pt x="109440" y="6742972"/>
                  <a:pt x="108715" y="6782760"/>
                </a:cubicBezTo>
                <a:cubicBezTo>
                  <a:pt x="108301" y="6805596"/>
                  <a:pt x="107888" y="6809484"/>
                  <a:pt x="104940" y="6810381"/>
                </a:cubicBezTo>
                <a:cubicBezTo>
                  <a:pt x="105871" y="6839302"/>
                  <a:pt x="108508" y="6855355"/>
                  <a:pt x="110008" y="6879887"/>
                </a:cubicBezTo>
                <a:cubicBezTo>
                  <a:pt x="108767" y="6891754"/>
                  <a:pt x="109387" y="6926357"/>
                  <a:pt x="107888" y="6935332"/>
                </a:cubicBezTo>
                <a:cubicBezTo>
                  <a:pt x="106026" y="6946699"/>
                  <a:pt x="104526" y="6995262"/>
                  <a:pt x="103802" y="7018397"/>
                </a:cubicBezTo>
                <a:cubicBezTo>
                  <a:pt x="103957" y="7013213"/>
                  <a:pt x="106543" y="7026175"/>
                  <a:pt x="105509" y="7032260"/>
                </a:cubicBezTo>
                <a:cubicBezTo>
                  <a:pt x="105302" y="7033355"/>
                  <a:pt x="103750" y="7030763"/>
                  <a:pt x="103699" y="7032159"/>
                </a:cubicBezTo>
                <a:cubicBezTo>
                  <a:pt x="103440" y="7037045"/>
                  <a:pt x="104061" y="7056890"/>
                  <a:pt x="103543" y="7059881"/>
                </a:cubicBezTo>
                <a:cubicBezTo>
                  <a:pt x="101268" y="7073244"/>
                  <a:pt x="102871" y="7069753"/>
                  <a:pt x="105250" y="7073841"/>
                </a:cubicBezTo>
                <a:cubicBezTo>
                  <a:pt x="102716" y="7102062"/>
                  <a:pt x="96303" y="7098871"/>
                  <a:pt x="97492" y="7156809"/>
                </a:cubicBezTo>
                <a:cubicBezTo>
                  <a:pt x="97440" y="7171069"/>
                  <a:pt x="99716" y="7166582"/>
                  <a:pt x="101061" y="7170771"/>
                </a:cubicBezTo>
                <a:cubicBezTo>
                  <a:pt x="103388" y="7178050"/>
                  <a:pt x="103130" y="7197396"/>
                  <a:pt x="108146" y="7198692"/>
                </a:cubicBezTo>
                <a:cubicBezTo>
                  <a:pt x="109233" y="7241073"/>
                  <a:pt x="104785" y="7239278"/>
                  <a:pt x="105871" y="7281758"/>
                </a:cubicBezTo>
                <a:cubicBezTo>
                  <a:pt x="104422" y="7274379"/>
                  <a:pt x="102974" y="7267199"/>
                  <a:pt x="100492" y="7267798"/>
                </a:cubicBezTo>
                <a:cubicBezTo>
                  <a:pt x="99975" y="7303698"/>
                  <a:pt x="101423" y="7378088"/>
                  <a:pt x="96458" y="7337003"/>
                </a:cubicBezTo>
                <a:cubicBezTo>
                  <a:pt x="102095" y="7379783"/>
                  <a:pt x="103854" y="7451083"/>
                  <a:pt x="102509" y="7545119"/>
                </a:cubicBezTo>
                <a:cubicBezTo>
                  <a:pt x="100440" y="7542726"/>
                  <a:pt x="101164" y="7519790"/>
                  <a:pt x="100957" y="7503436"/>
                </a:cubicBezTo>
                <a:cubicBezTo>
                  <a:pt x="96872" y="7509219"/>
                  <a:pt x="99095" y="7576929"/>
                  <a:pt x="100492" y="7586602"/>
                </a:cubicBezTo>
                <a:cubicBezTo>
                  <a:pt x="101164" y="7608442"/>
                  <a:pt x="106130" y="7598568"/>
                  <a:pt x="103802" y="7642146"/>
                </a:cubicBezTo>
                <a:cubicBezTo>
                  <a:pt x="102044" y="7641648"/>
                  <a:pt x="102509" y="7625094"/>
                  <a:pt x="102147" y="7614324"/>
                </a:cubicBezTo>
                <a:cubicBezTo>
                  <a:pt x="97389" y="7632674"/>
                  <a:pt x="104422" y="7675951"/>
                  <a:pt x="103388" y="7711452"/>
                </a:cubicBezTo>
                <a:cubicBezTo>
                  <a:pt x="100336" y="7706266"/>
                  <a:pt x="99923" y="7722221"/>
                  <a:pt x="99613" y="7739073"/>
                </a:cubicBezTo>
                <a:cubicBezTo>
                  <a:pt x="97751" y="7783550"/>
                  <a:pt x="104164" y="7767994"/>
                  <a:pt x="104733" y="7794718"/>
                </a:cubicBezTo>
                <a:cubicBezTo>
                  <a:pt x="105664" y="7827825"/>
                  <a:pt x="101888" y="7895137"/>
                  <a:pt x="105923" y="7905606"/>
                </a:cubicBezTo>
                <a:cubicBezTo>
                  <a:pt x="104733" y="7936919"/>
                  <a:pt x="103181" y="7888754"/>
                  <a:pt x="100389" y="7919368"/>
                </a:cubicBezTo>
                <a:cubicBezTo>
                  <a:pt x="102974" y="7948188"/>
                  <a:pt x="110939" y="7981693"/>
                  <a:pt x="105198" y="8030357"/>
                </a:cubicBezTo>
                <a:cubicBezTo>
                  <a:pt x="102767" y="8026069"/>
                  <a:pt x="103906" y="7995654"/>
                  <a:pt x="103699" y="7974912"/>
                </a:cubicBezTo>
                <a:cubicBezTo>
                  <a:pt x="100440" y="7996950"/>
                  <a:pt x="99457" y="8037237"/>
                  <a:pt x="99457" y="8085701"/>
                </a:cubicBezTo>
                <a:cubicBezTo>
                  <a:pt x="101423" y="8096171"/>
                  <a:pt x="101371" y="8044117"/>
                  <a:pt x="101526" y="8044217"/>
                </a:cubicBezTo>
                <a:cubicBezTo>
                  <a:pt x="104112" y="8045415"/>
                  <a:pt x="104526" y="8143839"/>
                  <a:pt x="106284" y="8169067"/>
                </a:cubicBezTo>
                <a:cubicBezTo>
                  <a:pt x="102664" y="8169166"/>
                  <a:pt x="103750" y="8206861"/>
                  <a:pt x="98837" y="8196589"/>
                </a:cubicBezTo>
                <a:cubicBezTo>
                  <a:pt x="99044" y="8212844"/>
                  <a:pt x="102095" y="8208456"/>
                  <a:pt x="104216" y="8210650"/>
                </a:cubicBezTo>
                <a:cubicBezTo>
                  <a:pt x="104371" y="8240965"/>
                  <a:pt x="102457" y="8254727"/>
                  <a:pt x="98527" y="8252134"/>
                </a:cubicBezTo>
                <a:cubicBezTo>
                  <a:pt x="102974" y="8275069"/>
                  <a:pt x="106646" y="8360132"/>
                  <a:pt x="99561" y="8390744"/>
                </a:cubicBezTo>
                <a:cubicBezTo>
                  <a:pt x="99509" y="8439908"/>
                  <a:pt x="105767" y="8361527"/>
                  <a:pt x="104940" y="8404805"/>
                </a:cubicBezTo>
                <a:cubicBezTo>
                  <a:pt x="105664" y="8434323"/>
                  <a:pt x="102198" y="8431131"/>
                  <a:pt x="99354" y="8432328"/>
                </a:cubicBezTo>
                <a:cubicBezTo>
                  <a:pt x="97233" y="8475906"/>
                  <a:pt x="98578" y="8515495"/>
                  <a:pt x="94906" y="8570839"/>
                </a:cubicBezTo>
                <a:cubicBezTo>
                  <a:pt x="95113" y="8587093"/>
                  <a:pt x="98165" y="8582706"/>
                  <a:pt x="100285" y="8584900"/>
                </a:cubicBezTo>
                <a:cubicBezTo>
                  <a:pt x="99820" y="8644532"/>
                  <a:pt x="96147" y="8624388"/>
                  <a:pt x="97906" y="8681828"/>
                </a:cubicBezTo>
                <a:cubicBezTo>
                  <a:pt x="98061" y="8686215"/>
                  <a:pt x="100130" y="8681129"/>
                  <a:pt x="99664" y="8695788"/>
                </a:cubicBezTo>
                <a:cubicBezTo>
                  <a:pt x="99561" y="8698181"/>
                  <a:pt x="97130" y="8696187"/>
                  <a:pt x="97751" y="8709550"/>
                </a:cubicBezTo>
                <a:cubicBezTo>
                  <a:pt x="98423" y="8723709"/>
                  <a:pt x="101061" y="8719820"/>
                  <a:pt x="101216" y="8737372"/>
                </a:cubicBezTo>
                <a:cubicBezTo>
                  <a:pt x="103233" y="8782345"/>
                  <a:pt x="95320" y="8747842"/>
                  <a:pt x="97286" y="8792716"/>
                </a:cubicBezTo>
                <a:cubicBezTo>
                  <a:pt x="98320" y="8809069"/>
                  <a:pt x="105302" y="8775864"/>
                  <a:pt x="102406" y="8848359"/>
                </a:cubicBezTo>
                <a:cubicBezTo>
                  <a:pt x="99302" y="8853445"/>
                  <a:pt x="99044" y="8837490"/>
                  <a:pt x="98941" y="8820537"/>
                </a:cubicBezTo>
                <a:cubicBezTo>
                  <a:pt x="93562" y="8832105"/>
                  <a:pt x="99768" y="8865213"/>
                  <a:pt x="98527" y="8889843"/>
                </a:cubicBezTo>
                <a:cubicBezTo>
                  <a:pt x="93716" y="8880171"/>
                  <a:pt x="94855" y="8918463"/>
                  <a:pt x="92837" y="8931328"/>
                </a:cubicBezTo>
                <a:cubicBezTo>
                  <a:pt x="91079" y="8957554"/>
                  <a:pt x="96044" y="8964035"/>
                  <a:pt x="96251" y="8973011"/>
                </a:cubicBezTo>
                <a:cubicBezTo>
                  <a:pt x="96510" y="8983879"/>
                  <a:pt x="92217" y="9027158"/>
                  <a:pt x="93872" y="9070037"/>
                </a:cubicBezTo>
                <a:cubicBezTo>
                  <a:pt x="94079" y="9086292"/>
                  <a:pt x="97130" y="9081805"/>
                  <a:pt x="99251" y="9083998"/>
                </a:cubicBezTo>
                <a:cubicBezTo>
                  <a:pt x="100440" y="9131964"/>
                  <a:pt x="96923" y="9142434"/>
                  <a:pt x="95165" y="9167066"/>
                </a:cubicBezTo>
                <a:cubicBezTo>
                  <a:pt x="93976" y="9180129"/>
                  <a:pt x="96872" y="9178732"/>
                  <a:pt x="96923" y="9181026"/>
                </a:cubicBezTo>
                <a:cubicBezTo>
                  <a:pt x="97182" y="9193590"/>
                  <a:pt x="95010" y="9194887"/>
                  <a:pt x="95010" y="9194887"/>
                </a:cubicBezTo>
                <a:cubicBezTo>
                  <a:pt x="95734" y="9242653"/>
                  <a:pt x="102251" y="9299993"/>
                  <a:pt x="94234" y="9333498"/>
                </a:cubicBezTo>
                <a:cubicBezTo>
                  <a:pt x="94906" y="9355237"/>
                  <a:pt x="99871" y="9345464"/>
                  <a:pt x="97544" y="9389042"/>
                </a:cubicBezTo>
                <a:cubicBezTo>
                  <a:pt x="98371" y="9419855"/>
                  <a:pt x="93976" y="9408686"/>
                  <a:pt x="93665" y="9430525"/>
                </a:cubicBezTo>
                <a:cubicBezTo>
                  <a:pt x="94803" y="9444686"/>
                  <a:pt x="97751" y="9444985"/>
                  <a:pt x="97079" y="9472208"/>
                </a:cubicBezTo>
                <a:cubicBezTo>
                  <a:pt x="94958" y="9469915"/>
                  <a:pt x="93820" y="9475200"/>
                  <a:pt x="93355" y="9485970"/>
                </a:cubicBezTo>
                <a:cubicBezTo>
                  <a:pt x="94285" y="9499432"/>
                  <a:pt x="96147" y="9497537"/>
                  <a:pt x="96820" y="9513791"/>
                </a:cubicBezTo>
                <a:cubicBezTo>
                  <a:pt x="99251" y="9572527"/>
                  <a:pt x="95217" y="9774958"/>
                  <a:pt x="91338" y="9832497"/>
                </a:cubicBezTo>
                <a:cubicBezTo>
                  <a:pt x="91699" y="9847554"/>
                  <a:pt x="94906" y="9842070"/>
                  <a:pt x="94803" y="9860320"/>
                </a:cubicBezTo>
                <a:cubicBezTo>
                  <a:pt x="93872" y="9906589"/>
                  <a:pt x="95785" y="9972404"/>
                  <a:pt x="92165" y="9998930"/>
                </a:cubicBezTo>
                <a:cubicBezTo>
                  <a:pt x="93148" y="9991650"/>
                  <a:pt x="92682" y="10069830"/>
                  <a:pt x="93406" y="10095957"/>
                </a:cubicBezTo>
                <a:cubicBezTo>
                  <a:pt x="93923" y="10115603"/>
                  <a:pt x="95889" y="10122483"/>
                  <a:pt x="91441" y="10123580"/>
                </a:cubicBezTo>
                <a:cubicBezTo>
                  <a:pt x="90613" y="10147114"/>
                  <a:pt x="92682" y="10149806"/>
                  <a:pt x="94906" y="10151402"/>
                </a:cubicBezTo>
                <a:cubicBezTo>
                  <a:pt x="94027" y="10180918"/>
                  <a:pt x="92786" y="10193883"/>
                  <a:pt x="92682" y="10220708"/>
                </a:cubicBezTo>
                <a:cubicBezTo>
                  <a:pt x="92579" y="10249127"/>
                  <a:pt x="94285" y="10257902"/>
                  <a:pt x="94182" y="10276151"/>
                </a:cubicBezTo>
                <a:cubicBezTo>
                  <a:pt x="94027" y="10300583"/>
                  <a:pt x="92475" y="10306167"/>
                  <a:pt x="92061" y="10331596"/>
                </a:cubicBezTo>
                <a:cubicBezTo>
                  <a:pt x="91389" y="10373977"/>
                  <a:pt x="96354" y="10419449"/>
                  <a:pt x="89786" y="10414662"/>
                </a:cubicBezTo>
                <a:cubicBezTo>
                  <a:pt x="92630" y="10425033"/>
                  <a:pt x="88958" y="10482573"/>
                  <a:pt x="94906" y="10470306"/>
                </a:cubicBezTo>
                <a:cubicBezTo>
                  <a:pt x="96251" y="10486860"/>
                  <a:pt x="92993" y="10494238"/>
                  <a:pt x="92941" y="10497929"/>
                </a:cubicBezTo>
                <a:cubicBezTo>
                  <a:pt x="92786" y="10509097"/>
                  <a:pt x="94803" y="10511790"/>
                  <a:pt x="94596" y="10525751"/>
                </a:cubicBezTo>
                <a:cubicBezTo>
                  <a:pt x="94234" y="10547988"/>
                  <a:pt x="92993" y="10549284"/>
                  <a:pt x="92527" y="10567235"/>
                </a:cubicBezTo>
                <a:cubicBezTo>
                  <a:pt x="91596" y="10603830"/>
                  <a:pt x="94182" y="10653193"/>
                  <a:pt x="90096" y="10678023"/>
                </a:cubicBezTo>
                <a:cubicBezTo>
                  <a:pt x="92630" y="10700958"/>
                  <a:pt x="93355" y="10656782"/>
                  <a:pt x="93406" y="10733566"/>
                </a:cubicBezTo>
                <a:cubicBezTo>
                  <a:pt x="93458" y="10792103"/>
                  <a:pt x="91751" y="10863003"/>
                  <a:pt x="92217" y="10941483"/>
                </a:cubicBezTo>
                <a:cubicBezTo>
                  <a:pt x="92372" y="10968508"/>
                  <a:pt x="95578" y="10980274"/>
                  <a:pt x="93562" y="11024650"/>
                </a:cubicBezTo>
                <a:cubicBezTo>
                  <a:pt x="92682" y="11043796"/>
                  <a:pt x="91906" y="11043596"/>
                  <a:pt x="93148" y="11093956"/>
                </a:cubicBezTo>
                <a:cubicBezTo>
                  <a:pt x="93665" y="11115495"/>
                  <a:pt x="94958" y="11125866"/>
                  <a:pt x="94648" y="11149400"/>
                </a:cubicBezTo>
                <a:cubicBezTo>
                  <a:pt x="94648" y="11148004"/>
                  <a:pt x="89683" y="11151594"/>
                  <a:pt x="90924" y="11163161"/>
                </a:cubicBezTo>
                <a:cubicBezTo>
                  <a:pt x="90924" y="11176623"/>
                  <a:pt x="93096" y="11173930"/>
                  <a:pt x="94492" y="11177121"/>
                </a:cubicBezTo>
                <a:cubicBezTo>
                  <a:pt x="94648" y="11199160"/>
                  <a:pt x="92941" y="11201353"/>
                  <a:pt x="92424" y="11218606"/>
                </a:cubicBezTo>
                <a:cubicBezTo>
                  <a:pt x="92579" y="11214417"/>
                  <a:pt x="94441" y="11224190"/>
                  <a:pt x="94182" y="11232566"/>
                </a:cubicBezTo>
                <a:cubicBezTo>
                  <a:pt x="94079" y="11235857"/>
                  <a:pt x="92010" y="11232366"/>
                  <a:pt x="92268" y="11246328"/>
                </a:cubicBezTo>
                <a:cubicBezTo>
                  <a:pt x="92837" y="11279234"/>
                  <a:pt x="99147" y="11311943"/>
                  <a:pt x="93355" y="11371077"/>
                </a:cubicBezTo>
                <a:cubicBezTo>
                  <a:pt x="99044" y="11437590"/>
                  <a:pt x="96923" y="11527937"/>
                  <a:pt x="97440" y="11606915"/>
                </a:cubicBezTo>
                <a:cubicBezTo>
                  <a:pt x="97647" y="11637229"/>
                  <a:pt x="98578" y="11661562"/>
                  <a:pt x="98630" y="11717804"/>
                </a:cubicBezTo>
                <a:cubicBezTo>
                  <a:pt x="98630" y="11722241"/>
                  <a:pt x="98371" y="11734656"/>
                  <a:pt x="98203" y="11746685"/>
                </a:cubicBezTo>
                <a:lnTo>
                  <a:pt x="98207" y="11747497"/>
                </a:lnTo>
                <a:lnTo>
                  <a:pt x="4729484" y="11747497"/>
                </a:lnTo>
                <a:lnTo>
                  <a:pt x="4729573" y="11735255"/>
                </a:lnTo>
                <a:lnTo>
                  <a:pt x="4733814" y="11735355"/>
                </a:lnTo>
                <a:lnTo>
                  <a:pt x="4733726" y="11747497"/>
                </a:lnTo>
                <a:lnTo>
                  <a:pt x="4762499" y="11747497"/>
                </a:lnTo>
                <a:lnTo>
                  <a:pt x="4764245" y="11718850"/>
                </a:lnTo>
                <a:cubicBezTo>
                  <a:pt x="4764975" y="11696738"/>
                  <a:pt x="4765648" y="11674226"/>
                  <a:pt x="4767380" y="11659268"/>
                </a:cubicBezTo>
                <a:cubicBezTo>
                  <a:pt x="4769190" y="11670436"/>
                  <a:pt x="4772034" y="11674725"/>
                  <a:pt x="4775707" y="11673727"/>
                </a:cubicBezTo>
                <a:cubicBezTo>
                  <a:pt x="4775164" y="11697210"/>
                  <a:pt x="4773806" y="11714961"/>
                  <a:pt x="4772126" y="11730392"/>
                </a:cubicBezTo>
                <a:lnTo>
                  <a:pt x="4769917" y="11747497"/>
                </a:lnTo>
                <a:lnTo>
                  <a:pt x="4783288" y="11747497"/>
                </a:lnTo>
                <a:lnTo>
                  <a:pt x="4785741" y="11714014"/>
                </a:lnTo>
                <a:cubicBezTo>
                  <a:pt x="4789180" y="11718700"/>
                  <a:pt x="4789322" y="11727750"/>
                  <a:pt x="4788870" y="11738868"/>
                </a:cubicBezTo>
                <a:lnTo>
                  <a:pt x="4788768" y="11747497"/>
                </a:lnTo>
                <a:lnTo>
                  <a:pt x="4820676" y="11747497"/>
                </a:lnTo>
                <a:lnTo>
                  <a:pt x="4820755" y="11746659"/>
                </a:lnTo>
                <a:cubicBezTo>
                  <a:pt x="4822022" y="11738146"/>
                  <a:pt x="4823574" y="11731664"/>
                  <a:pt x="4825255" y="11729370"/>
                </a:cubicBezTo>
                <a:lnTo>
                  <a:pt x="4825255" y="11631645"/>
                </a:lnTo>
                <a:cubicBezTo>
                  <a:pt x="4824945" y="11630847"/>
                  <a:pt x="4824634" y="11630150"/>
                  <a:pt x="4824272" y="11629551"/>
                </a:cubicBezTo>
                <a:cubicBezTo>
                  <a:pt x="4824479" y="11623269"/>
                  <a:pt x="4824789" y="11618083"/>
                  <a:pt x="4825255" y="11613896"/>
                </a:cubicBezTo>
                <a:lnTo>
                  <a:pt x="4825255" y="11133744"/>
                </a:lnTo>
                <a:cubicBezTo>
                  <a:pt x="4827531" y="11133146"/>
                  <a:pt x="4830840" y="11131749"/>
                  <a:pt x="4833892" y="11129356"/>
                </a:cubicBezTo>
                <a:cubicBezTo>
                  <a:pt x="4833841" y="11125467"/>
                  <a:pt x="4833788" y="11121777"/>
                  <a:pt x="4833943" y="11117388"/>
                </a:cubicBezTo>
                <a:cubicBezTo>
                  <a:pt x="4833995" y="11116092"/>
                  <a:pt x="4834926" y="11115395"/>
                  <a:pt x="4835547" y="11111407"/>
                </a:cubicBezTo>
                <a:cubicBezTo>
                  <a:pt x="4832237" y="11110907"/>
                  <a:pt x="4828875" y="11110609"/>
                  <a:pt x="4825255" y="11110609"/>
                </a:cubicBezTo>
                <a:lnTo>
                  <a:pt x="4825255" y="11102531"/>
                </a:lnTo>
                <a:cubicBezTo>
                  <a:pt x="4829185" y="11101634"/>
                  <a:pt x="4832805" y="11100338"/>
                  <a:pt x="4836271" y="11098941"/>
                </a:cubicBezTo>
                <a:cubicBezTo>
                  <a:pt x="4836477" y="11091961"/>
                  <a:pt x="4836892" y="11084183"/>
                  <a:pt x="4837409" y="11075907"/>
                </a:cubicBezTo>
                <a:cubicBezTo>
                  <a:pt x="4835805" y="11075507"/>
                  <a:pt x="4833995" y="11075407"/>
                  <a:pt x="4832495" y="11074908"/>
                </a:cubicBezTo>
                <a:cubicBezTo>
                  <a:pt x="4828151" y="11071718"/>
                  <a:pt x="4828823" y="11085679"/>
                  <a:pt x="4827944" y="11085679"/>
                </a:cubicBezTo>
                <a:cubicBezTo>
                  <a:pt x="4826910" y="11085579"/>
                  <a:pt x="4826031" y="11084682"/>
                  <a:pt x="4825203" y="11083484"/>
                </a:cubicBezTo>
                <a:lnTo>
                  <a:pt x="4825203" y="11066831"/>
                </a:lnTo>
                <a:cubicBezTo>
                  <a:pt x="4829288" y="11066632"/>
                  <a:pt x="4833633" y="11066333"/>
                  <a:pt x="4837978" y="11066133"/>
                </a:cubicBezTo>
                <a:cubicBezTo>
                  <a:pt x="4838288" y="11060149"/>
                  <a:pt x="4838547" y="11054166"/>
                  <a:pt x="4838702" y="11048185"/>
                </a:cubicBezTo>
                <a:close/>
              </a:path>
            </a:pathLst>
          </a:custGeom>
          <a:solidFill>
            <a:schemeClr val="bg1"/>
          </a:solidFill>
          <a:ln w="7215" cap="flat">
            <a:noFill/>
            <a:prstDash val="solid"/>
            <a:miter/>
          </a:ln>
        </p:spPr>
        <p:txBody>
          <a:bodyPr wrap="square" rtlCol="0" anchor="ctr">
            <a:noAutofit/>
          </a:bodyPr>
          <a:lstStyle/>
          <a:p>
            <a:endParaRPr lang="en-GB"/>
          </a:p>
        </p:txBody>
      </p:sp>
      <p:sp>
        <p:nvSpPr>
          <p:cNvPr id="5" name="Footer Placeholder 4">
            <a:extLst>
              <a:ext uri="{FF2B5EF4-FFF2-40B4-BE49-F238E27FC236}">
                <a16:creationId xmlns:a16="http://schemas.microsoft.com/office/drawing/2014/main" id="{B92983AD-385A-4823-88FC-18B20DC60E4F}"/>
              </a:ext>
            </a:extLst>
          </p:cNvPr>
          <p:cNvSpPr>
            <a:spLocks noGrp="1"/>
          </p:cNvSpPr>
          <p:nvPr>
            <p:ph type="ftr" sz="quarter" idx="11"/>
          </p:nvPr>
        </p:nvSpPr>
        <p:spPr/>
        <p:txBody>
          <a:bodyPr/>
          <a:lstStyle>
            <a:lvl1pPr>
              <a:defRPr>
                <a:solidFill>
                  <a:schemeClr val="tx1"/>
                </a:solidFill>
              </a:defRPr>
            </a:lvl1p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9E2A4CA0-D24F-44EB-9413-EB037826E4DB}"/>
              </a:ext>
            </a:extLst>
          </p:cNvPr>
          <p:cNvSpPr>
            <a:spLocks noGrp="1"/>
          </p:cNvSpPr>
          <p:nvPr>
            <p:ph type="sldNum" sz="quarter" idx="12"/>
          </p:nvPr>
        </p:nvSpPr>
        <p:spPr/>
        <p:txBody>
          <a:bodyPr/>
          <a:lstStyle>
            <a:lvl1pPr>
              <a:defRPr>
                <a:solidFill>
                  <a:schemeClr val="tx1"/>
                </a:solidFill>
              </a:defRPr>
            </a:lvl1pPr>
          </a:lstStyle>
          <a:p>
            <a:fld id="{A8B7E462-AA7B-4427-9DF0-5AABDADAA92F}" type="slidenum">
              <a:rPr lang="en-GB" smtClean="0"/>
              <a:pPr/>
              <a:t>‹#›</a:t>
            </a:fld>
            <a:endParaRPr lang="en-GB"/>
          </a:p>
        </p:txBody>
      </p:sp>
      <p:sp>
        <p:nvSpPr>
          <p:cNvPr id="18" name="Text Placeholder 17">
            <a:extLst>
              <a:ext uri="{FF2B5EF4-FFF2-40B4-BE49-F238E27FC236}">
                <a16:creationId xmlns:a16="http://schemas.microsoft.com/office/drawing/2014/main" id="{02C5A429-B967-4720-B426-66E1F8640CF8}"/>
              </a:ext>
            </a:extLst>
          </p:cNvPr>
          <p:cNvSpPr>
            <a:spLocks noGrp="1"/>
          </p:cNvSpPr>
          <p:nvPr>
            <p:ph type="body" sz="quarter" idx="13"/>
          </p:nvPr>
        </p:nvSpPr>
        <p:spPr>
          <a:xfrm>
            <a:off x="515938" y="2068195"/>
            <a:ext cx="11160125" cy="3895725"/>
          </a:xfrm>
        </p:spPr>
        <p:txBody>
          <a:bodyPr>
            <a:normAutofit/>
          </a:bodyPr>
          <a:lstStyle>
            <a:lvl1pPr marL="288000" indent="-288000">
              <a:buClr>
                <a:schemeClr val="accent1"/>
              </a:buClr>
              <a:buFont typeface="+mj-lt"/>
              <a:buAutoNum type="arabicPeriod"/>
              <a:defRPr sz="1600">
                <a:solidFill>
                  <a:schemeClr val="tx1"/>
                </a:solidFill>
              </a:defRPr>
            </a:lvl1pPr>
            <a:lvl2pPr marL="306388" indent="0">
              <a:buClr>
                <a:schemeClr val="accent1"/>
              </a:buClr>
              <a:buFont typeface="Arial" panose="020B0604020202020204" pitchFamily="34" charset="0"/>
              <a:buNone/>
              <a:defRPr sz="1600"/>
            </a:lvl2pPr>
            <a:lvl3pPr marL="450000" indent="-144000">
              <a:buClr>
                <a:schemeClr val="accent1"/>
              </a:buClr>
              <a:buSzPct val="100000"/>
              <a:buFont typeface="Arial" panose="020B0604020202020204" pitchFamily="34" charset="0"/>
              <a:buChar char="•"/>
              <a:defRPr sz="1600"/>
            </a:lvl3pPr>
            <a:lvl4pPr marL="450000" indent="-144000">
              <a:buClr>
                <a:schemeClr val="accent1"/>
              </a:buClr>
              <a:buSzPct val="100000"/>
              <a:buFont typeface="Arial" panose="020B0604020202020204" pitchFamily="34" charset="0"/>
              <a:buChar char="•"/>
              <a:defRPr sz="1600"/>
            </a:lvl4pPr>
            <a:lvl5pPr marL="450000" indent="-144000">
              <a:buClr>
                <a:schemeClr val="accent1"/>
              </a:buClr>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35629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2285228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a:solidFill>
                  <a:schemeClr val="tx1"/>
                </a:solidFill>
                <a:latin typeface="+mj-lt"/>
              </a:defRPr>
            </a:lvl1pPr>
          </a:lstStyle>
          <a:p>
            <a:r>
              <a:rPr lang="en-US"/>
              <a:t>Click to edit Master title style</a:t>
            </a:r>
            <a:endParaRPr lang="en-GB"/>
          </a:p>
        </p:txBody>
      </p:sp>
      <p:sp>
        <p:nvSpPr>
          <p:cNvPr id="25" name="Text Placeholder 21">
            <a:extLst>
              <a:ext uri="{FF2B5EF4-FFF2-40B4-BE49-F238E27FC236}">
                <a16:creationId xmlns:a16="http://schemas.microsoft.com/office/drawing/2014/main" id="{A5C69436-D0A1-448A-BF35-D8C0EB0BEA54}"/>
              </a:ext>
            </a:extLst>
          </p:cNvPr>
          <p:cNvSpPr>
            <a:spLocks noGrp="1"/>
          </p:cNvSpPr>
          <p:nvPr>
            <p:ph type="body" sz="quarter" idx="12"/>
          </p:nvPr>
        </p:nvSpPr>
        <p:spPr>
          <a:xfrm>
            <a:off x="515937" y="4911726"/>
            <a:ext cx="5220000"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12" name="Text Placeholder 17">
            <a:extLst>
              <a:ext uri="{FF2B5EF4-FFF2-40B4-BE49-F238E27FC236}">
                <a16:creationId xmlns:a16="http://schemas.microsoft.com/office/drawing/2014/main" id="{47F6D746-6E36-4B38-8578-9AE5E1EC73E6}"/>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accent1"/>
                </a:solidFill>
              </a:defRPr>
            </a:lvl1pPr>
          </a:lstStyle>
          <a:p>
            <a:pPr lvl="0"/>
            <a:r>
              <a:rPr lang="en-US"/>
              <a:t>##</a:t>
            </a:r>
            <a:endParaRPr lang="en-GB"/>
          </a:p>
        </p:txBody>
      </p:sp>
    </p:spTree>
    <p:extLst>
      <p:ext uri="{BB962C8B-B14F-4D97-AF65-F5344CB8AC3E}">
        <p14:creationId xmlns:p14="http://schemas.microsoft.com/office/powerpoint/2010/main" val="213946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6064C687-E54E-4A59-A131-5441B095AAD8}" type="datetime1">
              <a:rPr lang="en-GB" smtClean="0"/>
              <a:t>07/10/2025</a:t>
            </a:fld>
            <a:endParaRPr lang="en-GB" dirty="0"/>
          </a:p>
        </p:txBody>
      </p:sp>
      <p:sp>
        <p:nvSpPr>
          <p:cNvPr id="5" name="Footer Placeholder 4"/>
          <p:cNvSpPr>
            <a:spLocks noGrp="1"/>
          </p:cNvSpPr>
          <p:nvPr>
            <p:ph type="ftr" sz="quarter" idx="11"/>
          </p:nvPr>
        </p:nvSpPr>
        <p:spPr/>
        <p:txBody>
          <a:bodyPr/>
          <a:lstStyle/>
          <a:p>
            <a:r>
              <a:rPr lang="en-GB" dirty="0"/>
              <a:t>Presentation info in footer</a:t>
            </a:r>
          </a:p>
        </p:txBody>
      </p:sp>
      <p:sp>
        <p:nvSpPr>
          <p:cNvPr id="6" name="Slide Number Placeholder 5"/>
          <p:cNvSpPr>
            <a:spLocks noGrp="1"/>
          </p:cNvSpPr>
          <p:nvPr>
            <p:ph type="sldNum" sz="quarter" idx="12"/>
          </p:nvPr>
        </p:nvSpPr>
        <p:spPr/>
        <p:txBody>
          <a:bodyPr/>
          <a:lstStyle/>
          <a:p>
            <a:fld id="{D5361521-EF7F-456B-A25F-4EAD8E019C37}" type="slidenum">
              <a:rPr lang="en-GB" smtClean="0"/>
              <a:t>‹#›</a:t>
            </a:fld>
            <a:endParaRPr lang="en-GB" dirty="0"/>
          </a:p>
        </p:txBody>
      </p:sp>
    </p:spTree>
    <p:extLst>
      <p:ext uri="{BB962C8B-B14F-4D97-AF65-F5344CB8AC3E}">
        <p14:creationId xmlns:p14="http://schemas.microsoft.com/office/powerpoint/2010/main" val="1044216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Oran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1869567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D5E4C9-8729-4218-8E83-15B8AF7D54B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2" name="Graphic 11">
            <a:extLst>
              <a:ext uri="{FF2B5EF4-FFF2-40B4-BE49-F238E27FC236}">
                <a16:creationId xmlns:a16="http://schemas.microsoft.com/office/drawing/2014/main" id="{7F7E12FB-5E4A-4CF8-8B38-362C2FDA404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lvl1pPr>
              <a:defRPr>
                <a:solidFill>
                  <a:schemeClr val="bg1"/>
                </a:solidFill>
              </a:defRPr>
            </a:lvl1p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spc="-150">
                <a:solidFill>
                  <a:schemeClr val="bg1"/>
                </a:solidFill>
                <a:latin typeface="+mj-lt"/>
              </a:defRPr>
            </a:lvl1pPr>
          </a:lstStyle>
          <a:p>
            <a:r>
              <a:rPr lang="en-US"/>
              <a:t>Click to edit Master title style</a:t>
            </a:r>
            <a:endParaRPr lang="en-GB"/>
          </a:p>
        </p:txBody>
      </p:sp>
      <p:sp>
        <p:nvSpPr>
          <p:cNvPr id="25" name="Text Placeholder 21">
            <a:extLst>
              <a:ext uri="{FF2B5EF4-FFF2-40B4-BE49-F238E27FC236}">
                <a16:creationId xmlns:a16="http://schemas.microsoft.com/office/drawing/2014/main" id="{A5C69436-D0A1-448A-BF35-D8C0EB0BEA54}"/>
              </a:ext>
            </a:extLst>
          </p:cNvPr>
          <p:cNvSpPr>
            <a:spLocks noGrp="1"/>
          </p:cNvSpPr>
          <p:nvPr>
            <p:ph type="body" sz="quarter" idx="12"/>
          </p:nvPr>
        </p:nvSpPr>
        <p:spPr>
          <a:xfrm>
            <a:off x="515937" y="4911726"/>
            <a:ext cx="5220000" cy="796924"/>
          </a:xfrm>
        </p:spPr>
        <p:txBody>
          <a:bodyPr>
            <a:normAutofit/>
          </a:bodyPr>
          <a:lstStyle>
            <a:lvl1pPr marL="0" indent="0">
              <a:lnSpc>
                <a:spcPct val="90000"/>
              </a:lnSpc>
              <a:spcBef>
                <a:spcPts val="0"/>
              </a:spcBef>
              <a:buFont typeface="Arial" panose="020B0604020202020204" pitchFamily="34" charset="0"/>
              <a:buNone/>
              <a:defRPr sz="1600">
                <a:solidFill>
                  <a:schemeClr val="bg1">
                    <a:alpha val="50000"/>
                  </a:schemeClr>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
        <p:nvSpPr>
          <p:cNvPr id="39" name="Slide Number Placeholder 44">
            <a:extLst>
              <a:ext uri="{FF2B5EF4-FFF2-40B4-BE49-F238E27FC236}">
                <a16:creationId xmlns:a16="http://schemas.microsoft.com/office/drawing/2014/main" id="{865D9BB0-7836-475E-B3E7-DB3D4360D69A}"/>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13" name="Text Placeholder 17">
            <a:extLst>
              <a:ext uri="{FF2B5EF4-FFF2-40B4-BE49-F238E27FC236}">
                <a16:creationId xmlns:a16="http://schemas.microsoft.com/office/drawing/2014/main" id="{6F96EA50-507C-4907-9E69-9EF8CE907292}"/>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bg1">
                    <a:alpha val="50000"/>
                  </a:schemeClr>
                </a:solidFill>
              </a:defRPr>
            </a:lvl1pPr>
          </a:lstStyle>
          <a:p>
            <a:pPr lvl="0"/>
            <a:r>
              <a:rPr lang="en-US"/>
              <a:t>##</a:t>
            </a:r>
            <a:endParaRPr lang="en-GB"/>
          </a:p>
        </p:txBody>
      </p:sp>
    </p:spTree>
    <p:extLst>
      <p:ext uri="{BB962C8B-B14F-4D97-AF65-F5344CB8AC3E}">
        <p14:creationId xmlns:p14="http://schemas.microsoft.com/office/powerpoint/2010/main" val="755707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Yellow">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29808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3B5BC0A8-B542-476C-A5CF-A73500EE99F2}"/>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40642" t="5169" r="4435" b="5032"/>
          <a:stretch>
            <a:fillRect/>
          </a:stretch>
        </p:blipFill>
        <p:spPr>
          <a:xfrm>
            <a:off x="0" y="0"/>
            <a:ext cx="6474890" cy="6868448"/>
          </a:xfrm>
          <a:custGeom>
            <a:avLst/>
            <a:gdLst>
              <a:gd name="connsiteX0" fmla="*/ 5117551 w 6474890"/>
              <a:gd name="connsiteY0" fmla="*/ 6853251 h 6868448"/>
              <a:gd name="connsiteX1" fmla="*/ 5117551 w 6474890"/>
              <a:gd name="connsiteY1" fmla="*/ 6857051 h 6868448"/>
              <a:gd name="connsiteX2" fmla="*/ 5121350 w 6474890"/>
              <a:gd name="connsiteY2" fmla="*/ 6853251 h 6868448"/>
              <a:gd name="connsiteX3" fmla="*/ 6122503 w 6474890"/>
              <a:gd name="connsiteY3" fmla="*/ 6804808 h 6868448"/>
              <a:gd name="connsiteX4" fmla="*/ 6153848 w 6474890"/>
              <a:gd name="connsiteY4" fmla="*/ 6804808 h 6868448"/>
              <a:gd name="connsiteX5" fmla="*/ 6143400 w 6474890"/>
              <a:gd name="connsiteY5" fmla="*/ 6850401 h 6868448"/>
              <a:gd name="connsiteX6" fmla="*/ 6132951 w 6474890"/>
              <a:gd name="connsiteY6" fmla="*/ 6827605 h 6868448"/>
              <a:gd name="connsiteX7" fmla="*/ 6122503 w 6474890"/>
              <a:gd name="connsiteY7" fmla="*/ 6804808 h 6868448"/>
              <a:gd name="connsiteX8" fmla="*/ 6063611 w 6474890"/>
              <a:gd name="connsiteY8" fmla="*/ 6803858 h 6868448"/>
              <a:gd name="connsiteX9" fmla="*/ 6095907 w 6474890"/>
              <a:gd name="connsiteY9" fmla="*/ 6815256 h 6868448"/>
              <a:gd name="connsiteX10" fmla="*/ 6091157 w 6474890"/>
              <a:gd name="connsiteY10" fmla="*/ 6858000 h 6868448"/>
              <a:gd name="connsiteX11" fmla="*/ 6056013 w 6474890"/>
              <a:gd name="connsiteY11" fmla="*/ 6858000 h 6868448"/>
              <a:gd name="connsiteX12" fmla="*/ 6063611 w 6474890"/>
              <a:gd name="connsiteY12" fmla="*/ 6803858 h 6868448"/>
              <a:gd name="connsiteX13" fmla="*/ 6019013 w 6474890"/>
              <a:gd name="connsiteY13" fmla="*/ 6794286 h 6868448"/>
              <a:gd name="connsiteX14" fmla="*/ 6025617 w 6474890"/>
              <a:gd name="connsiteY14" fmla="*/ 6803858 h 6868448"/>
              <a:gd name="connsiteX15" fmla="*/ 5999021 w 6474890"/>
              <a:gd name="connsiteY15" fmla="*/ 6838053 h 6868448"/>
              <a:gd name="connsiteX16" fmla="*/ 6004720 w 6474890"/>
              <a:gd name="connsiteY16" fmla="*/ 6815256 h 6868448"/>
              <a:gd name="connsiteX17" fmla="*/ 6019013 w 6474890"/>
              <a:gd name="connsiteY17" fmla="*/ 6794286 h 6868448"/>
              <a:gd name="connsiteX18" fmla="*/ 6032266 w 6474890"/>
              <a:gd name="connsiteY18" fmla="*/ 6747817 h 6868448"/>
              <a:gd name="connsiteX19" fmla="*/ 6042714 w 6474890"/>
              <a:gd name="connsiteY19" fmla="*/ 6747817 h 6868448"/>
              <a:gd name="connsiteX20" fmla="*/ 6042714 w 6474890"/>
              <a:gd name="connsiteY20" fmla="*/ 6782011 h 6868448"/>
              <a:gd name="connsiteX21" fmla="*/ 6032266 w 6474890"/>
              <a:gd name="connsiteY21" fmla="*/ 6782011 h 6868448"/>
              <a:gd name="connsiteX22" fmla="*/ 6032266 w 6474890"/>
              <a:gd name="connsiteY22" fmla="*/ 6747817 h 6868448"/>
              <a:gd name="connsiteX23" fmla="*/ 6158360 w 6474890"/>
              <a:gd name="connsiteY23" fmla="*/ 6668489 h 6868448"/>
              <a:gd name="connsiteX24" fmla="*/ 6160497 w 6474890"/>
              <a:gd name="connsiteY24" fmla="*/ 6714571 h 6868448"/>
              <a:gd name="connsiteX25" fmla="*/ 6150049 w 6474890"/>
              <a:gd name="connsiteY25" fmla="*/ 6736418 h 6868448"/>
              <a:gd name="connsiteX26" fmla="*/ 6150049 w 6474890"/>
              <a:gd name="connsiteY26" fmla="*/ 6668978 h 6868448"/>
              <a:gd name="connsiteX27" fmla="*/ 6158360 w 6474890"/>
              <a:gd name="connsiteY27" fmla="*/ 6668489 h 6868448"/>
              <a:gd name="connsiteX28" fmla="*/ 6016118 w 6474890"/>
              <a:gd name="connsiteY28" fmla="*/ 6645231 h 6868448"/>
              <a:gd name="connsiteX29" fmla="*/ 6032266 w 6474890"/>
              <a:gd name="connsiteY29" fmla="*/ 6668028 h 6868448"/>
              <a:gd name="connsiteX30" fmla="*/ 6016118 w 6474890"/>
              <a:gd name="connsiteY30" fmla="*/ 6679426 h 6868448"/>
              <a:gd name="connsiteX31" fmla="*/ 6031316 w 6474890"/>
              <a:gd name="connsiteY31" fmla="*/ 6702223 h 6868448"/>
              <a:gd name="connsiteX32" fmla="*/ 6004720 w 6474890"/>
              <a:gd name="connsiteY32" fmla="*/ 6769663 h 6868448"/>
              <a:gd name="connsiteX33" fmla="*/ 6016118 w 6474890"/>
              <a:gd name="connsiteY33" fmla="*/ 6645231 h 6868448"/>
              <a:gd name="connsiteX34" fmla="*/ 6155748 w 6474890"/>
              <a:gd name="connsiteY34" fmla="*/ 6589190 h 6868448"/>
              <a:gd name="connsiteX35" fmla="*/ 6171896 w 6474890"/>
              <a:gd name="connsiteY35" fmla="*/ 6634783 h 6868448"/>
              <a:gd name="connsiteX36" fmla="*/ 6160497 w 6474890"/>
              <a:gd name="connsiteY36" fmla="*/ 6646181 h 6868448"/>
              <a:gd name="connsiteX37" fmla="*/ 6155748 w 6474890"/>
              <a:gd name="connsiteY37" fmla="*/ 6589190 h 6868448"/>
              <a:gd name="connsiteX38" fmla="*/ 6241235 w 6474890"/>
              <a:gd name="connsiteY38" fmla="*/ 6555944 h 6868448"/>
              <a:gd name="connsiteX39" fmla="*/ 6229836 w 6474890"/>
              <a:gd name="connsiteY39" fmla="*/ 6634783 h 6868448"/>
              <a:gd name="connsiteX40" fmla="*/ 6241235 w 6474890"/>
              <a:gd name="connsiteY40" fmla="*/ 6555944 h 6868448"/>
              <a:gd name="connsiteX41" fmla="*/ 6219388 w 6474890"/>
              <a:gd name="connsiteY41" fmla="*/ 6555944 h 6868448"/>
              <a:gd name="connsiteX42" fmla="*/ 6203241 w 6474890"/>
              <a:gd name="connsiteY42" fmla="*/ 6634783 h 6868448"/>
              <a:gd name="connsiteX43" fmla="*/ 6219388 w 6474890"/>
              <a:gd name="connsiteY43" fmla="*/ 6555944 h 6868448"/>
              <a:gd name="connsiteX44" fmla="*/ 6166196 w 6474890"/>
              <a:gd name="connsiteY44" fmla="*/ 6533148 h 6868448"/>
              <a:gd name="connsiteX45" fmla="*/ 6176645 w 6474890"/>
              <a:gd name="connsiteY45" fmla="*/ 6590139 h 6868448"/>
              <a:gd name="connsiteX46" fmla="*/ 6166196 w 6474890"/>
              <a:gd name="connsiteY46" fmla="*/ 6533148 h 6868448"/>
              <a:gd name="connsiteX47" fmla="*/ 6241235 w 6474890"/>
              <a:gd name="connsiteY47" fmla="*/ 6499902 h 6868448"/>
              <a:gd name="connsiteX48" fmla="*/ 6257383 w 6474890"/>
              <a:gd name="connsiteY48" fmla="*/ 6499902 h 6868448"/>
              <a:gd name="connsiteX49" fmla="*/ 6241235 w 6474890"/>
              <a:gd name="connsiteY49" fmla="*/ 6499902 h 6868448"/>
              <a:gd name="connsiteX50" fmla="*/ 6220338 w 6474890"/>
              <a:gd name="connsiteY50" fmla="*/ 6431512 h 6868448"/>
              <a:gd name="connsiteX51" fmla="*/ 6230787 w 6474890"/>
              <a:gd name="connsiteY51" fmla="*/ 6442911 h 6868448"/>
              <a:gd name="connsiteX52" fmla="*/ 6230787 w 6474890"/>
              <a:gd name="connsiteY52" fmla="*/ 6465708 h 6868448"/>
              <a:gd name="connsiteX53" fmla="*/ 6220338 w 6474890"/>
              <a:gd name="connsiteY53" fmla="*/ 6431512 h 6868448"/>
              <a:gd name="connsiteX54" fmla="*/ 6049363 w 6474890"/>
              <a:gd name="connsiteY54" fmla="*/ 6430563 h 6868448"/>
              <a:gd name="connsiteX55" fmla="*/ 6049363 w 6474890"/>
              <a:gd name="connsiteY55" fmla="*/ 6430563 h 6868448"/>
              <a:gd name="connsiteX56" fmla="*/ 6172845 w 6474890"/>
              <a:gd name="connsiteY56" fmla="*/ 6419164 h 6868448"/>
              <a:gd name="connsiteX57" fmla="*/ 6177594 w 6474890"/>
              <a:gd name="connsiteY57" fmla="*/ 6476156 h 6868448"/>
              <a:gd name="connsiteX58" fmla="*/ 6172845 w 6474890"/>
              <a:gd name="connsiteY58" fmla="*/ 6419164 h 6868448"/>
              <a:gd name="connsiteX59" fmla="*/ 6044614 w 6474890"/>
              <a:gd name="connsiteY59" fmla="*/ 6384969 h 6868448"/>
              <a:gd name="connsiteX60" fmla="*/ 6033216 w 6474890"/>
              <a:gd name="connsiteY60" fmla="*/ 6520799 h 6868448"/>
              <a:gd name="connsiteX61" fmla="*/ 6043664 w 6474890"/>
              <a:gd name="connsiteY61" fmla="*/ 6554994 h 6868448"/>
              <a:gd name="connsiteX62" fmla="*/ 6037965 w 6474890"/>
              <a:gd name="connsiteY62" fmla="*/ 6611036 h 6868448"/>
              <a:gd name="connsiteX63" fmla="*/ 6027517 w 6474890"/>
              <a:gd name="connsiteY63" fmla="*/ 6645231 h 6868448"/>
              <a:gd name="connsiteX64" fmla="*/ 6017069 w 6474890"/>
              <a:gd name="connsiteY64" fmla="*/ 6543596 h 6868448"/>
              <a:gd name="connsiteX65" fmla="*/ 6027636 w 6474890"/>
              <a:gd name="connsiteY65" fmla="*/ 6502040 h 6868448"/>
              <a:gd name="connsiteX66" fmla="*/ 6030471 w 6474890"/>
              <a:gd name="connsiteY66" fmla="*/ 6473683 h 6868448"/>
              <a:gd name="connsiteX67" fmla="*/ 6031316 w 6474890"/>
              <a:gd name="connsiteY67" fmla="*/ 6474256 h 6868448"/>
              <a:gd name="connsiteX68" fmla="*/ 6030783 w 6474890"/>
              <a:gd name="connsiteY68" fmla="*/ 6470566 h 6868448"/>
              <a:gd name="connsiteX69" fmla="*/ 6030827 w 6474890"/>
              <a:gd name="connsiteY69" fmla="*/ 6470130 h 6868448"/>
              <a:gd name="connsiteX70" fmla="*/ 6033216 w 6474890"/>
              <a:gd name="connsiteY70" fmla="*/ 6441961 h 6868448"/>
              <a:gd name="connsiteX71" fmla="*/ 6044614 w 6474890"/>
              <a:gd name="connsiteY71" fmla="*/ 6384969 h 6868448"/>
              <a:gd name="connsiteX72" fmla="*/ 6124403 w 6474890"/>
              <a:gd name="connsiteY72" fmla="*/ 6351724 h 6868448"/>
              <a:gd name="connsiteX73" fmla="*/ 6134851 w 6474890"/>
              <a:gd name="connsiteY73" fmla="*/ 6351724 h 6868448"/>
              <a:gd name="connsiteX74" fmla="*/ 6134851 w 6474890"/>
              <a:gd name="connsiteY74" fmla="*/ 6374521 h 6868448"/>
              <a:gd name="connsiteX75" fmla="*/ 6124403 w 6474890"/>
              <a:gd name="connsiteY75" fmla="*/ 6374521 h 6868448"/>
              <a:gd name="connsiteX76" fmla="*/ 6124403 w 6474890"/>
              <a:gd name="connsiteY76" fmla="*/ 6351724 h 6868448"/>
              <a:gd name="connsiteX77" fmla="*/ 6231021 w 6474890"/>
              <a:gd name="connsiteY77" fmla="*/ 6350936 h 6868448"/>
              <a:gd name="connsiteX78" fmla="*/ 6236486 w 6474890"/>
              <a:gd name="connsiteY78" fmla="*/ 6352674 h 6868448"/>
              <a:gd name="connsiteX79" fmla="*/ 6230787 w 6474890"/>
              <a:gd name="connsiteY79" fmla="*/ 6420114 h 6868448"/>
              <a:gd name="connsiteX80" fmla="*/ 6231021 w 6474890"/>
              <a:gd name="connsiteY80" fmla="*/ 6350936 h 6868448"/>
              <a:gd name="connsiteX81" fmla="*/ 6182565 w 6474890"/>
              <a:gd name="connsiteY81" fmla="*/ 6305269 h 6868448"/>
              <a:gd name="connsiteX82" fmla="*/ 6188993 w 6474890"/>
              <a:gd name="connsiteY82" fmla="*/ 6306131 h 6868448"/>
              <a:gd name="connsiteX83" fmla="*/ 6188993 w 6474890"/>
              <a:gd name="connsiteY83" fmla="*/ 6363123 h 6868448"/>
              <a:gd name="connsiteX84" fmla="*/ 6182565 w 6474890"/>
              <a:gd name="connsiteY84" fmla="*/ 6305269 h 6868448"/>
              <a:gd name="connsiteX85" fmla="*/ 6087358 w 6474890"/>
              <a:gd name="connsiteY85" fmla="*/ 6294732 h 6868448"/>
              <a:gd name="connsiteX86" fmla="*/ 6097807 w 6474890"/>
              <a:gd name="connsiteY86" fmla="*/ 6294732 h 6868448"/>
              <a:gd name="connsiteX87" fmla="*/ 6097807 w 6474890"/>
              <a:gd name="connsiteY87" fmla="*/ 6317529 h 6868448"/>
              <a:gd name="connsiteX88" fmla="*/ 6087358 w 6474890"/>
              <a:gd name="connsiteY88" fmla="*/ 6317529 h 6868448"/>
              <a:gd name="connsiteX89" fmla="*/ 6087358 w 6474890"/>
              <a:gd name="connsiteY89" fmla="*/ 6294732 h 6868448"/>
              <a:gd name="connsiteX90" fmla="*/ 6108255 w 6474890"/>
              <a:gd name="connsiteY90" fmla="*/ 6293782 h 6868448"/>
              <a:gd name="connsiteX91" fmla="*/ 6113004 w 6474890"/>
              <a:gd name="connsiteY91" fmla="*/ 6395418 h 6868448"/>
              <a:gd name="connsiteX92" fmla="*/ 6113004 w 6474890"/>
              <a:gd name="connsiteY92" fmla="*/ 6429613 h 6868448"/>
              <a:gd name="connsiteX93" fmla="*/ 6133901 w 6474890"/>
              <a:gd name="connsiteY93" fmla="*/ 6441011 h 6868448"/>
              <a:gd name="connsiteX94" fmla="*/ 6133901 w 6474890"/>
              <a:gd name="connsiteY94" fmla="*/ 6498003 h 6868448"/>
              <a:gd name="connsiteX95" fmla="*/ 6117753 w 6474890"/>
              <a:gd name="connsiteY95" fmla="*/ 6498003 h 6868448"/>
              <a:gd name="connsiteX96" fmla="*/ 6112054 w 6474890"/>
              <a:gd name="connsiteY96" fmla="*/ 6543596 h 6868448"/>
              <a:gd name="connsiteX97" fmla="*/ 6112054 w 6474890"/>
              <a:gd name="connsiteY97" fmla="*/ 6589190 h 6868448"/>
              <a:gd name="connsiteX98" fmla="*/ 6112054 w 6474890"/>
              <a:gd name="connsiteY98" fmla="*/ 6634783 h 6868448"/>
              <a:gd name="connsiteX99" fmla="*/ 6106355 w 6474890"/>
              <a:gd name="connsiteY99" fmla="*/ 6702223 h 6868448"/>
              <a:gd name="connsiteX100" fmla="*/ 6106355 w 6474890"/>
              <a:gd name="connsiteY100" fmla="*/ 6747817 h 6868448"/>
              <a:gd name="connsiteX101" fmla="*/ 6068361 w 6474890"/>
              <a:gd name="connsiteY101" fmla="*/ 6770613 h 6868448"/>
              <a:gd name="connsiteX102" fmla="*/ 6074060 w 6474890"/>
              <a:gd name="connsiteY102" fmla="*/ 6713621 h 6868448"/>
              <a:gd name="connsiteX103" fmla="*/ 6100656 w 6474890"/>
              <a:gd name="connsiteY103" fmla="*/ 6690825 h 6868448"/>
              <a:gd name="connsiteX104" fmla="*/ 6101606 w 6474890"/>
              <a:gd name="connsiteY104" fmla="*/ 6577791 h 6868448"/>
              <a:gd name="connsiteX105" fmla="*/ 6085458 w 6474890"/>
              <a:gd name="connsiteY105" fmla="*/ 6566393 h 6868448"/>
              <a:gd name="connsiteX106" fmla="*/ 6107305 w 6474890"/>
              <a:gd name="connsiteY106" fmla="*/ 6532198 h 6868448"/>
              <a:gd name="connsiteX107" fmla="*/ 6107305 w 6474890"/>
              <a:gd name="connsiteY107" fmla="*/ 6498003 h 6868448"/>
              <a:gd name="connsiteX108" fmla="*/ 6091157 w 6474890"/>
              <a:gd name="connsiteY108" fmla="*/ 6486605 h 6868448"/>
              <a:gd name="connsiteX109" fmla="*/ 6108255 w 6474890"/>
              <a:gd name="connsiteY109" fmla="*/ 6293782 h 6868448"/>
              <a:gd name="connsiteX110" fmla="*/ 6141500 w 6474890"/>
              <a:gd name="connsiteY110" fmla="*/ 6227292 h 6868448"/>
              <a:gd name="connsiteX111" fmla="*/ 6119653 w 6474890"/>
              <a:gd name="connsiteY111" fmla="*/ 6284284 h 6868448"/>
              <a:gd name="connsiteX112" fmla="*/ 6141500 w 6474890"/>
              <a:gd name="connsiteY112" fmla="*/ 6227292 h 6868448"/>
              <a:gd name="connsiteX113" fmla="*/ 6194692 w 6474890"/>
              <a:gd name="connsiteY113" fmla="*/ 6171251 h 6868448"/>
              <a:gd name="connsiteX114" fmla="*/ 6210839 w 6474890"/>
              <a:gd name="connsiteY114" fmla="*/ 6205445 h 6868448"/>
              <a:gd name="connsiteX115" fmla="*/ 6194692 w 6474890"/>
              <a:gd name="connsiteY115" fmla="*/ 6261487 h 6868448"/>
              <a:gd name="connsiteX116" fmla="*/ 6194692 w 6474890"/>
              <a:gd name="connsiteY116" fmla="*/ 6171251 h 6868448"/>
              <a:gd name="connsiteX117" fmla="*/ 6101962 w 6474890"/>
              <a:gd name="connsiteY117" fmla="*/ 6156943 h 6868448"/>
              <a:gd name="connsiteX118" fmla="*/ 6110155 w 6474890"/>
              <a:gd name="connsiteY118" fmla="*/ 6158902 h 6868448"/>
              <a:gd name="connsiteX119" fmla="*/ 6104455 w 6474890"/>
              <a:gd name="connsiteY119" fmla="*/ 6215894 h 6868448"/>
              <a:gd name="connsiteX120" fmla="*/ 6098756 w 6474890"/>
              <a:gd name="connsiteY120" fmla="*/ 6261487 h 6868448"/>
              <a:gd name="connsiteX121" fmla="*/ 6098756 w 6474890"/>
              <a:gd name="connsiteY121" fmla="*/ 6204496 h 6868448"/>
              <a:gd name="connsiteX122" fmla="*/ 6101962 w 6474890"/>
              <a:gd name="connsiteY122" fmla="*/ 6156943 h 6868448"/>
              <a:gd name="connsiteX123" fmla="*/ 6275430 w 6474890"/>
              <a:gd name="connsiteY123" fmla="*/ 6125657 h 6868448"/>
              <a:gd name="connsiteX124" fmla="*/ 6269731 w 6474890"/>
              <a:gd name="connsiteY124" fmla="*/ 6182649 h 6868448"/>
              <a:gd name="connsiteX125" fmla="*/ 6275430 w 6474890"/>
              <a:gd name="connsiteY125" fmla="*/ 6125657 h 6868448"/>
              <a:gd name="connsiteX126" fmla="*/ 6252871 w 6474890"/>
              <a:gd name="connsiteY126" fmla="*/ 6109984 h 6868448"/>
              <a:gd name="connsiteX127" fmla="*/ 6253583 w 6474890"/>
              <a:gd name="connsiteY127" fmla="*/ 6137055 h 6868448"/>
              <a:gd name="connsiteX128" fmla="*/ 6252871 w 6474890"/>
              <a:gd name="connsiteY128" fmla="*/ 6109984 h 6868448"/>
              <a:gd name="connsiteX129" fmla="*/ 6206013 w 6474890"/>
              <a:gd name="connsiteY129" fmla="*/ 6068795 h 6868448"/>
              <a:gd name="connsiteX130" fmla="*/ 6211790 w 6474890"/>
              <a:gd name="connsiteY130" fmla="*/ 6069615 h 6868448"/>
              <a:gd name="connsiteX131" fmla="*/ 6206090 w 6474890"/>
              <a:gd name="connsiteY131" fmla="*/ 6148454 h 6868448"/>
              <a:gd name="connsiteX132" fmla="*/ 6206013 w 6474890"/>
              <a:gd name="connsiteY132" fmla="*/ 6068795 h 6868448"/>
              <a:gd name="connsiteX133" fmla="*/ 6088308 w 6474890"/>
              <a:gd name="connsiteY133" fmla="*/ 6068666 h 6868448"/>
              <a:gd name="connsiteX134" fmla="*/ 6104455 w 6474890"/>
              <a:gd name="connsiteY134" fmla="*/ 6068666 h 6868448"/>
              <a:gd name="connsiteX135" fmla="*/ 6088308 w 6474890"/>
              <a:gd name="connsiteY135" fmla="*/ 6102860 h 6868448"/>
              <a:gd name="connsiteX136" fmla="*/ 6088308 w 6474890"/>
              <a:gd name="connsiteY136" fmla="*/ 6068666 h 6868448"/>
              <a:gd name="connsiteX137" fmla="*/ 6257858 w 6474890"/>
              <a:gd name="connsiteY137" fmla="*/ 6064985 h 6868448"/>
              <a:gd name="connsiteX138" fmla="*/ 6259282 w 6474890"/>
              <a:gd name="connsiteY138" fmla="*/ 6092412 h 6868448"/>
              <a:gd name="connsiteX139" fmla="*/ 6257858 w 6474890"/>
              <a:gd name="connsiteY139" fmla="*/ 6064985 h 6868448"/>
              <a:gd name="connsiteX140" fmla="*/ 6141500 w 6474890"/>
              <a:gd name="connsiteY140" fmla="*/ 6057267 h 6868448"/>
              <a:gd name="connsiteX141" fmla="*/ 6157648 w 6474890"/>
              <a:gd name="connsiteY141" fmla="*/ 6091462 h 6868448"/>
              <a:gd name="connsiteX142" fmla="*/ 6151948 w 6474890"/>
              <a:gd name="connsiteY142" fmla="*/ 6158902 h 6868448"/>
              <a:gd name="connsiteX143" fmla="*/ 6130101 w 6474890"/>
              <a:gd name="connsiteY143" fmla="*/ 6158902 h 6868448"/>
              <a:gd name="connsiteX144" fmla="*/ 6146249 w 6474890"/>
              <a:gd name="connsiteY144" fmla="*/ 6193097 h 6868448"/>
              <a:gd name="connsiteX145" fmla="*/ 6119653 w 6474890"/>
              <a:gd name="connsiteY145" fmla="*/ 6193097 h 6868448"/>
              <a:gd name="connsiteX146" fmla="*/ 6125352 w 6474890"/>
              <a:gd name="connsiteY146" fmla="*/ 6080063 h 6868448"/>
              <a:gd name="connsiteX147" fmla="*/ 6141500 w 6474890"/>
              <a:gd name="connsiteY147" fmla="*/ 6057267 h 6868448"/>
              <a:gd name="connsiteX148" fmla="*/ 6260232 w 6474890"/>
              <a:gd name="connsiteY148" fmla="*/ 5978429 h 6868448"/>
              <a:gd name="connsiteX149" fmla="*/ 6264981 w 6474890"/>
              <a:gd name="connsiteY149" fmla="*/ 6035420 h 6868448"/>
              <a:gd name="connsiteX150" fmla="*/ 6260232 w 6474890"/>
              <a:gd name="connsiteY150" fmla="*/ 5978429 h 6868448"/>
              <a:gd name="connsiteX151" fmla="*/ 6157900 w 6474890"/>
              <a:gd name="connsiteY151" fmla="*/ 5968678 h 6868448"/>
              <a:gd name="connsiteX152" fmla="*/ 6169046 w 6474890"/>
              <a:gd name="connsiteY152" fmla="*/ 5978429 h 6868448"/>
              <a:gd name="connsiteX153" fmla="*/ 6163347 w 6474890"/>
              <a:gd name="connsiteY153" fmla="*/ 6012624 h 6868448"/>
              <a:gd name="connsiteX154" fmla="*/ 6131052 w 6474890"/>
              <a:gd name="connsiteY154" fmla="*/ 6012624 h 6868448"/>
              <a:gd name="connsiteX155" fmla="*/ 6157900 w 6474890"/>
              <a:gd name="connsiteY155" fmla="*/ 5968678 h 6868448"/>
              <a:gd name="connsiteX156" fmla="*/ 6040815 w 6474890"/>
              <a:gd name="connsiteY156" fmla="*/ 5944233 h 6868448"/>
              <a:gd name="connsiteX157" fmla="*/ 6046514 w 6474890"/>
              <a:gd name="connsiteY157" fmla="*/ 5967030 h 6868448"/>
              <a:gd name="connsiteX158" fmla="*/ 6040815 w 6474890"/>
              <a:gd name="connsiteY158" fmla="*/ 5955632 h 6868448"/>
              <a:gd name="connsiteX159" fmla="*/ 6040815 w 6474890"/>
              <a:gd name="connsiteY159" fmla="*/ 5944233 h 6868448"/>
              <a:gd name="connsiteX160" fmla="*/ 6248834 w 6474890"/>
              <a:gd name="connsiteY160" fmla="*/ 5900540 h 6868448"/>
              <a:gd name="connsiteX161" fmla="*/ 6248834 w 6474890"/>
              <a:gd name="connsiteY161" fmla="*/ 5967980 h 6868448"/>
              <a:gd name="connsiteX162" fmla="*/ 6248834 w 6474890"/>
              <a:gd name="connsiteY162" fmla="*/ 5900540 h 6868448"/>
              <a:gd name="connsiteX163" fmla="*/ 6148149 w 6474890"/>
              <a:gd name="connsiteY163" fmla="*/ 5876793 h 6868448"/>
              <a:gd name="connsiteX164" fmla="*/ 6153848 w 6474890"/>
              <a:gd name="connsiteY164" fmla="*/ 5898640 h 6868448"/>
              <a:gd name="connsiteX165" fmla="*/ 6148149 w 6474890"/>
              <a:gd name="connsiteY165" fmla="*/ 5955632 h 6868448"/>
              <a:gd name="connsiteX166" fmla="*/ 6148149 w 6474890"/>
              <a:gd name="connsiteY166" fmla="*/ 5876793 h 6868448"/>
              <a:gd name="connsiteX167" fmla="*/ 6274955 w 6474890"/>
              <a:gd name="connsiteY167" fmla="*/ 5838324 h 6868448"/>
              <a:gd name="connsiteX168" fmla="*/ 6276380 w 6474890"/>
              <a:gd name="connsiteY168" fmla="*/ 5865395 h 6868448"/>
              <a:gd name="connsiteX169" fmla="*/ 6274955 w 6474890"/>
              <a:gd name="connsiteY169" fmla="*/ 5838324 h 6868448"/>
              <a:gd name="connsiteX170" fmla="*/ 6223187 w 6474890"/>
              <a:gd name="connsiteY170" fmla="*/ 5831200 h 6868448"/>
              <a:gd name="connsiteX171" fmla="*/ 6227937 w 6474890"/>
              <a:gd name="connsiteY171" fmla="*/ 5978429 h 6868448"/>
              <a:gd name="connsiteX172" fmla="*/ 6223187 w 6474890"/>
              <a:gd name="connsiteY172" fmla="*/ 5831200 h 6868448"/>
              <a:gd name="connsiteX173" fmla="*/ 6300872 w 6474890"/>
              <a:gd name="connsiteY173" fmla="*/ 5827733 h 6868448"/>
              <a:gd name="connsiteX174" fmla="*/ 6308675 w 6474890"/>
              <a:gd name="connsiteY174" fmla="*/ 5831200 h 6868448"/>
              <a:gd name="connsiteX175" fmla="*/ 6308675 w 6474890"/>
              <a:gd name="connsiteY175" fmla="*/ 5865395 h 6868448"/>
              <a:gd name="connsiteX176" fmla="*/ 6298227 w 6474890"/>
              <a:gd name="connsiteY176" fmla="*/ 5865395 h 6868448"/>
              <a:gd name="connsiteX177" fmla="*/ 6302976 w 6474890"/>
              <a:gd name="connsiteY177" fmla="*/ 5910988 h 6868448"/>
              <a:gd name="connsiteX178" fmla="*/ 6300872 w 6474890"/>
              <a:gd name="connsiteY178" fmla="*/ 5827733 h 6868448"/>
              <a:gd name="connsiteX179" fmla="*/ 6132703 w 6474890"/>
              <a:gd name="connsiteY179" fmla="*/ 5816696 h 6868448"/>
              <a:gd name="connsiteX180" fmla="*/ 6137700 w 6474890"/>
              <a:gd name="connsiteY180" fmla="*/ 5819802 h 6868448"/>
              <a:gd name="connsiteX181" fmla="*/ 6132001 w 6474890"/>
              <a:gd name="connsiteY181" fmla="*/ 5865395 h 6868448"/>
              <a:gd name="connsiteX182" fmla="*/ 6132703 w 6474890"/>
              <a:gd name="connsiteY182" fmla="*/ 5816696 h 6868448"/>
              <a:gd name="connsiteX183" fmla="*/ 6231855 w 6474890"/>
              <a:gd name="connsiteY183" fmla="*/ 5755211 h 6868448"/>
              <a:gd name="connsiteX184" fmla="*/ 6249784 w 6474890"/>
              <a:gd name="connsiteY184" fmla="*/ 5763760 h 6868448"/>
              <a:gd name="connsiteX185" fmla="*/ 6223187 w 6474890"/>
              <a:gd name="connsiteY185" fmla="*/ 5786557 h 6868448"/>
              <a:gd name="connsiteX186" fmla="*/ 6231855 w 6474890"/>
              <a:gd name="connsiteY186" fmla="*/ 5755211 h 6868448"/>
              <a:gd name="connsiteX187" fmla="*/ 6138402 w 6474890"/>
              <a:gd name="connsiteY187" fmla="*/ 5748345 h 6868448"/>
              <a:gd name="connsiteX188" fmla="*/ 6143400 w 6474890"/>
              <a:gd name="connsiteY188" fmla="*/ 5751412 h 6868448"/>
              <a:gd name="connsiteX189" fmla="*/ 6137700 w 6474890"/>
              <a:gd name="connsiteY189" fmla="*/ 5797005 h 6868448"/>
              <a:gd name="connsiteX190" fmla="*/ 6138402 w 6474890"/>
              <a:gd name="connsiteY190" fmla="*/ 5748345 h 6868448"/>
              <a:gd name="connsiteX191" fmla="*/ 6116804 w 6474890"/>
              <a:gd name="connsiteY191" fmla="*/ 5740013 h 6868448"/>
              <a:gd name="connsiteX192" fmla="*/ 6127252 w 6474890"/>
              <a:gd name="connsiteY192" fmla="*/ 5740013 h 6868448"/>
              <a:gd name="connsiteX193" fmla="*/ 6127252 w 6474890"/>
              <a:gd name="connsiteY193" fmla="*/ 5774209 h 6868448"/>
              <a:gd name="connsiteX194" fmla="*/ 6116804 w 6474890"/>
              <a:gd name="connsiteY194" fmla="*/ 5774209 h 6868448"/>
              <a:gd name="connsiteX195" fmla="*/ 6116804 w 6474890"/>
              <a:gd name="connsiteY195" fmla="*/ 5740013 h 6868448"/>
              <a:gd name="connsiteX196" fmla="*/ 6311272 w 6474890"/>
              <a:gd name="connsiteY196" fmla="*/ 5717514 h 6868448"/>
              <a:gd name="connsiteX197" fmla="*/ 6320073 w 6474890"/>
              <a:gd name="connsiteY197" fmla="*/ 5719116 h 6868448"/>
              <a:gd name="connsiteX198" fmla="*/ 6324822 w 6474890"/>
              <a:gd name="connsiteY198" fmla="*/ 5820751 h 6868448"/>
              <a:gd name="connsiteX199" fmla="*/ 6298227 w 6474890"/>
              <a:gd name="connsiteY199" fmla="*/ 5820751 h 6868448"/>
              <a:gd name="connsiteX200" fmla="*/ 6299176 w 6474890"/>
              <a:gd name="connsiteY200" fmla="*/ 5776108 h 6868448"/>
              <a:gd name="connsiteX201" fmla="*/ 6277329 w 6474890"/>
              <a:gd name="connsiteY201" fmla="*/ 5810303 h 6868448"/>
              <a:gd name="connsiteX202" fmla="*/ 6255483 w 6474890"/>
              <a:gd name="connsiteY202" fmla="*/ 5810303 h 6868448"/>
              <a:gd name="connsiteX203" fmla="*/ 6255483 w 6474890"/>
              <a:gd name="connsiteY203" fmla="*/ 5753311 h 6868448"/>
              <a:gd name="connsiteX204" fmla="*/ 6303925 w 6474890"/>
              <a:gd name="connsiteY204" fmla="*/ 5753311 h 6868448"/>
              <a:gd name="connsiteX205" fmla="*/ 6311272 w 6474890"/>
              <a:gd name="connsiteY205" fmla="*/ 5717514 h 6868448"/>
              <a:gd name="connsiteX206" fmla="*/ 6234586 w 6474890"/>
              <a:gd name="connsiteY206" fmla="*/ 5673523 h 6868448"/>
              <a:gd name="connsiteX207" fmla="*/ 6245035 w 6474890"/>
              <a:gd name="connsiteY207" fmla="*/ 5673523 h 6868448"/>
              <a:gd name="connsiteX208" fmla="*/ 6245035 w 6474890"/>
              <a:gd name="connsiteY208" fmla="*/ 5696320 h 6868448"/>
              <a:gd name="connsiteX209" fmla="*/ 6234586 w 6474890"/>
              <a:gd name="connsiteY209" fmla="*/ 5696320 h 6868448"/>
              <a:gd name="connsiteX210" fmla="*/ 6234586 w 6474890"/>
              <a:gd name="connsiteY210" fmla="*/ 5673523 h 6868448"/>
              <a:gd name="connsiteX211" fmla="*/ 6068361 w 6474890"/>
              <a:gd name="connsiteY211" fmla="*/ 5671623 h 6868448"/>
              <a:gd name="connsiteX212" fmla="*/ 6068361 w 6474890"/>
              <a:gd name="connsiteY212" fmla="*/ 5740013 h 6868448"/>
              <a:gd name="connsiteX213" fmla="*/ 6068361 w 6474890"/>
              <a:gd name="connsiteY213" fmla="*/ 5694420 h 6868448"/>
              <a:gd name="connsiteX214" fmla="*/ 6068361 w 6474890"/>
              <a:gd name="connsiteY214" fmla="*/ 5671623 h 6868448"/>
              <a:gd name="connsiteX215" fmla="*/ 6201104 w 6474890"/>
              <a:gd name="connsiteY215" fmla="*/ 5629785 h 6868448"/>
              <a:gd name="connsiteX216" fmla="*/ 6186143 w 6474890"/>
              <a:gd name="connsiteY216" fmla="*/ 5661175 h 6868448"/>
              <a:gd name="connsiteX217" fmla="*/ 6207990 w 6474890"/>
              <a:gd name="connsiteY217" fmla="*/ 5638378 h 6868448"/>
              <a:gd name="connsiteX218" fmla="*/ 6201104 w 6474890"/>
              <a:gd name="connsiteY218" fmla="*/ 5629785 h 6868448"/>
              <a:gd name="connsiteX219" fmla="*/ 6144424 w 6474890"/>
              <a:gd name="connsiteY219" fmla="*/ 5604406 h 6868448"/>
              <a:gd name="connsiteX220" fmla="*/ 6149099 w 6474890"/>
              <a:gd name="connsiteY220" fmla="*/ 5626980 h 6868448"/>
              <a:gd name="connsiteX221" fmla="*/ 6138650 w 6474890"/>
              <a:gd name="connsiteY221" fmla="*/ 5683972 h 6868448"/>
              <a:gd name="connsiteX222" fmla="*/ 6138650 w 6474890"/>
              <a:gd name="connsiteY222" fmla="*/ 5605133 h 6868448"/>
              <a:gd name="connsiteX223" fmla="*/ 6144424 w 6474890"/>
              <a:gd name="connsiteY223" fmla="*/ 5604406 h 6868448"/>
              <a:gd name="connsiteX224" fmla="*/ 6245984 w 6474890"/>
              <a:gd name="connsiteY224" fmla="*/ 5593735 h 6868448"/>
              <a:gd name="connsiteX225" fmla="*/ 6240285 w 6474890"/>
              <a:gd name="connsiteY225" fmla="*/ 5639328 h 6868448"/>
              <a:gd name="connsiteX226" fmla="*/ 6245984 w 6474890"/>
              <a:gd name="connsiteY226" fmla="*/ 5593735 h 6868448"/>
              <a:gd name="connsiteX227" fmla="*/ 6315324 w 6474890"/>
              <a:gd name="connsiteY227" fmla="*/ 5583286 h 6868448"/>
              <a:gd name="connsiteX228" fmla="*/ 6314374 w 6474890"/>
              <a:gd name="connsiteY228" fmla="*/ 5696320 h 6868448"/>
              <a:gd name="connsiteX229" fmla="*/ 6315324 w 6474890"/>
              <a:gd name="connsiteY229" fmla="*/ 5583286 h 6868448"/>
              <a:gd name="connsiteX230" fmla="*/ 6288728 w 6474890"/>
              <a:gd name="connsiteY230" fmla="*/ 5583286 h 6868448"/>
              <a:gd name="connsiteX231" fmla="*/ 6288728 w 6474890"/>
              <a:gd name="connsiteY231" fmla="*/ 5640278 h 6868448"/>
              <a:gd name="connsiteX232" fmla="*/ 6288728 w 6474890"/>
              <a:gd name="connsiteY232" fmla="*/ 5583286 h 6868448"/>
              <a:gd name="connsiteX233" fmla="*/ 6271631 w 6474890"/>
              <a:gd name="connsiteY233" fmla="*/ 5583286 h 6868448"/>
              <a:gd name="connsiteX234" fmla="*/ 6271631 w 6474890"/>
              <a:gd name="connsiteY234" fmla="*/ 5673523 h 6868448"/>
              <a:gd name="connsiteX235" fmla="*/ 6271631 w 6474890"/>
              <a:gd name="connsiteY235" fmla="*/ 5583286 h 6868448"/>
              <a:gd name="connsiteX236" fmla="*/ 6187093 w 6474890"/>
              <a:gd name="connsiteY236" fmla="*/ 5548141 h 6868448"/>
              <a:gd name="connsiteX237" fmla="*/ 6187093 w 6474890"/>
              <a:gd name="connsiteY237" fmla="*/ 5559539 h 6868448"/>
              <a:gd name="connsiteX238" fmla="*/ 6181394 w 6474890"/>
              <a:gd name="connsiteY238" fmla="*/ 5570938 h 6868448"/>
              <a:gd name="connsiteX239" fmla="*/ 6187093 w 6474890"/>
              <a:gd name="connsiteY239" fmla="*/ 5559539 h 6868448"/>
              <a:gd name="connsiteX240" fmla="*/ 6187093 w 6474890"/>
              <a:gd name="connsiteY240" fmla="*/ 5548141 h 6868448"/>
              <a:gd name="connsiteX241" fmla="*/ 6080709 w 6474890"/>
              <a:gd name="connsiteY241" fmla="*/ 5536743 h 6868448"/>
              <a:gd name="connsiteX242" fmla="*/ 6085458 w 6474890"/>
              <a:gd name="connsiteY242" fmla="*/ 5593735 h 6868448"/>
              <a:gd name="connsiteX243" fmla="*/ 6080709 w 6474890"/>
              <a:gd name="connsiteY243" fmla="*/ 5536743 h 6868448"/>
              <a:gd name="connsiteX244" fmla="*/ 6219388 w 6474890"/>
              <a:gd name="connsiteY244" fmla="*/ 5525345 h 6868448"/>
              <a:gd name="connsiteX245" fmla="*/ 6229836 w 6474890"/>
              <a:gd name="connsiteY245" fmla="*/ 5525345 h 6868448"/>
              <a:gd name="connsiteX246" fmla="*/ 6229836 w 6474890"/>
              <a:gd name="connsiteY246" fmla="*/ 5548141 h 6868448"/>
              <a:gd name="connsiteX247" fmla="*/ 6219388 w 6474890"/>
              <a:gd name="connsiteY247" fmla="*/ 5548141 h 6868448"/>
              <a:gd name="connsiteX248" fmla="*/ 6219388 w 6474890"/>
              <a:gd name="connsiteY248" fmla="*/ 5525345 h 6868448"/>
              <a:gd name="connsiteX249" fmla="*/ 6315324 w 6474890"/>
              <a:gd name="connsiteY249" fmla="*/ 5514896 h 6868448"/>
              <a:gd name="connsiteX250" fmla="*/ 6331472 w 6474890"/>
              <a:gd name="connsiteY250" fmla="*/ 5514896 h 6868448"/>
              <a:gd name="connsiteX251" fmla="*/ 6325773 w 6474890"/>
              <a:gd name="connsiteY251" fmla="*/ 5549091 h 6868448"/>
              <a:gd name="connsiteX252" fmla="*/ 6315324 w 6474890"/>
              <a:gd name="connsiteY252" fmla="*/ 5537693 h 6868448"/>
              <a:gd name="connsiteX253" fmla="*/ 6315324 w 6474890"/>
              <a:gd name="connsiteY253" fmla="*/ 5514896 h 6868448"/>
              <a:gd name="connsiteX254" fmla="*/ 6294427 w 6474890"/>
              <a:gd name="connsiteY254" fmla="*/ 5514896 h 6868448"/>
              <a:gd name="connsiteX255" fmla="*/ 6310575 w 6474890"/>
              <a:gd name="connsiteY255" fmla="*/ 5526294 h 6868448"/>
              <a:gd name="connsiteX256" fmla="*/ 6310575 w 6474890"/>
              <a:gd name="connsiteY256" fmla="*/ 5560490 h 6868448"/>
              <a:gd name="connsiteX257" fmla="*/ 6288728 w 6474890"/>
              <a:gd name="connsiteY257" fmla="*/ 5571888 h 6868448"/>
              <a:gd name="connsiteX258" fmla="*/ 6294427 w 6474890"/>
              <a:gd name="connsiteY258" fmla="*/ 5514896 h 6868448"/>
              <a:gd name="connsiteX259" fmla="*/ 6084034 w 6474890"/>
              <a:gd name="connsiteY259" fmla="*/ 5498274 h 6868448"/>
              <a:gd name="connsiteX260" fmla="*/ 6085458 w 6474890"/>
              <a:gd name="connsiteY260" fmla="*/ 5525345 h 6868448"/>
              <a:gd name="connsiteX261" fmla="*/ 6084034 w 6474890"/>
              <a:gd name="connsiteY261" fmla="*/ 5498274 h 6868448"/>
              <a:gd name="connsiteX262" fmla="*/ 6107305 w 6474890"/>
              <a:gd name="connsiteY262" fmla="*/ 5434158 h 6868448"/>
              <a:gd name="connsiteX263" fmla="*/ 6107305 w 6474890"/>
              <a:gd name="connsiteY263" fmla="*/ 5479751 h 6868448"/>
              <a:gd name="connsiteX264" fmla="*/ 6107305 w 6474890"/>
              <a:gd name="connsiteY264" fmla="*/ 5434158 h 6868448"/>
              <a:gd name="connsiteX265" fmla="*/ 6155748 w 6474890"/>
              <a:gd name="connsiteY265" fmla="*/ 5378116 h 6868448"/>
              <a:gd name="connsiteX266" fmla="*/ 6155748 w 6474890"/>
              <a:gd name="connsiteY266" fmla="*/ 5412311 h 6868448"/>
              <a:gd name="connsiteX267" fmla="*/ 6145300 w 6474890"/>
              <a:gd name="connsiteY267" fmla="*/ 5435108 h 6868448"/>
              <a:gd name="connsiteX268" fmla="*/ 6155748 w 6474890"/>
              <a:gd name="connsiteY268" fmla="*/ 5378116 h 6868448"/>
              <a:gd name="connsiteX269" fmla="*/ 6235536 w 6474890"/>
              <a:gd name="connsiteY269" fmla="*/ 5344871 h 6868448"/>
              <a:gd name="connsiteX270" fmla="*/ 6245984 w 6474890"/>
              <a:gd name="connsiteY270" fmla="*/ 5344871 h 6868448"/>
              <a:gd name="connsiteX271" fmla="*/ 6245984 w 6474890"/>
              <a:gd name="connsiteY271" fmla="*/ 5379066 h 6868448"/>
              <a:gd name="connsiteX272" fmla="*/ 6235536 w 6474890"/>
              <a:gd name="connsiteY272" fmla="*/ 5379066 h 6868448"/>
              <a:gd name="connsiteX273" fmla="*/ 6235536 w 6474890"/>
              <a:gd name="connsiteY273" fmla="*/ 5374031 h 6868448"/>
              <a:gd name="connsiteX274" fmla="*/ 6236486 w 6474890"/>
              <a:gd name="connsiteY274" fmla="*/ 5373367 h 6868448"/>
              <a:gd name="connsiteX275" fmla="*/ 6235699 w 6474890"/>
              <a:gd name="connsiteY275" fmla="*/ 5355156 h 6868448"/>
              <a:gd name="connsiteX276" fmla="*/ 6235536 w 6474890"/>
              <a:gd name="connsiteY276" fmla="*/ 5354971 h 6868448"/>
              <a:gd name="connsiteX277" fmla="*/ 6289834 w 6474890"/>
              <a:gd name="connsiteY277" fmla="*/ 5319692 h 6868448"/>
              <a:gd name="connsiteX278" fmla="*/ 6295377 w 6474890"/>
              <a:gd name="connsiteY278" fmla="*/ 5322074 h 6868448"/>
              <a:gd name="connsiteX279" fmla="*/ 6289678 w 6474890"/>
              <a:gd name="connsiteY279" fmla="*/ 5379066 h 6868448"/>
              <a:gd name="connsiteX280" fmla="*/ 6289834 w 6474890"/>
              <a:gd name="connsiteY280" fmla="*/ 5319692 h 6868448"/>
              <a:gd name="connsiteX281" fmla="*/ 6317224 w 6474890"/>
              <a:gd name="connsiteY281" fmla="*/ 5288829 h 6868448"/>
              <a:gd name="connsiteX282" fmla="*/ 6305825 w 6474890"/>
              <a:gd name="connsiteY282" fmla="*/ 5356269 h 6868448"/>
              <a:gd name="connsiteX283" fmla="*/ 6317224 w 6474890"/>
              <a:gd name="connsiteY283" fmla="*/ 5288829 h 6868448"/>
              <a:gd name="connsiteX284" fmla="*/ 6296078 w 6474890"/>
              <a:gd name="connsiteY284" fmla="*/ 5262927 h 6868448"/>
              <a:gd name="connsiteX285" fmla="*/ 6301076 w 6474890"/>
              <a:gd name="connsiteY285" fmla="*/ 5266033 h 6868448"/>
              <a:gd name="connsiteX286" fmla="*/ 6295377 w 6474890"/>
              <a:gd name="connsiteY286" fmla="*/ 5311626 h 6868448"/>
              <a:gd name="connsiteX287" fmla="*/ 6296078 w 6474890"/>
              <a:gd name="connsiteY287" fmla="*/ 5262927 h 6868448"/>
              <a:gd name="connsiteX288" fmla="*/ 6129152 w 6474890"/>
              <a:gd name="connsiteY288" fmla="*/ 5230888 h 6868448"/>
              <a:gd name="connsiteX289" fmla="*/ 6113004 w 6474890"/>
              <a:gd name="connsiteY289" fmla="*/ 5265082 h 6868448"/>
              <a:gd name="connsiteX290" fmla="*/ 6096856 w 6474890"/>
              <a:gd name="connsiteY290" fmla="*/ 5287879 h 6868448"/>
              <a:gd name="connsiteX291" fmla="*/ 6118703 w 6474890"/>
              <a:gd name="connsiteY291" fmla="*/ 5310676 h 6868448"/>
              <a:gd name="connsiteX292" fmla="*/ 6113004 w 6474890"/>
              <a:gd name="connsiteY292" fmla="*/ 5356269 h 6868448"/>
              <a:gd name="connsiteX293" fmla="*/ 6123452 w 6474890"/>
              <a:gd name="connsiteY293" fmla="*/ 5322074 h 6868448"/>
              <a:gd name="connsiteX294" fmla="*/ 6133901 w 6474890"/>
              <a:gd name="connsiteY294" fmla="*/ 5310676 h 6868448"/>
              <a:gd name="connsiteX295" fmla="*/ 6123452 w 6474890"/>
              <a:gd name="connsiteY295" fmla="*/ 5253684 h 6868448"/>
              <a:gd name="connsiteX296" fmla="*/ 6129152 w 6474890"/>
              <a:gd name="connsiteY296" fmla="*/ 5230888 h 6868448"/>
              <a:gd name="connsiteX297" fmla="*/ 6151459 w 6474890"/>
              <a:gd name="connsiteY297" fmla="*/ 5223956 h 6868448"/>
              <a:gd name="connsiteX298" fmla="*/ 6145300 w 6474890"/>
              <a:gd name="connsiteY298" fmla="*/ 5231837 h 6868448"/>
              <a:gd name="connsiteX299" fmla="*/ 6145300 w 6474890"/>
              <a:gd name="connsiteY299" fmla="*/ 5322074 h 6868448"/>
              <a:gd name="connsiteX300" fmla="*/ 6166196 w 6474890"/>
              <a:gd name="connsiteY300" fmla="*/ 5344871 h 6868448"/>
              <a:gd name="connsiteX301" fmla="*/ 6171896 w 6474890"/>
              <a:gd name="connsiteY301" fmla="*/ 5231837 h 6868448"/>
              <a:gd name="connsiteX302" fmla="*/ 6151459 w 6474890"/>
              <a:gd name="connsiteY302" fmla="*/ 5223956 h 6868448"/>
              <a:gd name="connsiteX303" fmla="*/ 6236486 w 6474890"/>
              <a:gd name="connsiteY303" fmla="*/ 5129252 h 6868448"/>
              <a:gd name="connsiteX304" fmla="*/ 6246934 w 6474890"/>
              <a:gd name="connsiteY304" fmla="*/ 5140651 h 6868448"/>
              <a:gd name="connsiteX305" fmla="*/ 6246934 w 6474890"/>
              <a:gd name="connsiteY305" fmla="*/ 5163447 h 6868448"/>
              <a:gd name="connsiteX306" fmla="*/ 6236486 w 6474890"/>
              <a:gd name="connsiteY306" fmla="*/ 5129252 h 6868448"/>
              <a:gd name="connsiteX307" fmla="*/ 6211419 w 6474890"/>
              <a:gd name="connsiteY307" fmla="*/ 5096497 h 6868448"/>
              <a:gd name="connsiteX308" fmla="*/ 6205140 w 6474890"/>
              <a:gd name="connsiteY308" fmla="*/ 5118804 h 6868448"/>
              <a:gd name="connsiteX309" fmla="*/ 6211419 w 6474890"/>
              <a:gd name="connsiteY309" fmla="*/ 5096497 h 6868448"/>
              <a:gd name="connsiteX310" fmla="*/ 6134851 w 6474890"/>
              <a:gd name="connsiteY310" fmla="*/ 5084609 h 6868448"/>
              <a:gd name="connsiteX311" fmla="*/ 6108255 w 6474890"/>
              <a:gd name="connsiteY311" fmla="*/ 5129252 h 6868448"/>
              <a:gd name="connsiteX312" fmla="*/ 6124403 w 6474890"/>
              <a:gd name="connsiteY312" fmla="*/ 5152049 h 6868448"/>
              <a:gd name="connsiteX313" fmla="*/ 6118703 w 6474890"/>
              <a:gd name="connsiteY313" fmla="*/ 5163447 h 6868448"/>
              <a:gd name="connsiteX314" fmla="*/ 6134851 w 6474890"/>
              <a:gd name="connsiteY314" fmla="*/ 5084609 h 6868448"/>
              <a:gd name="connsiteX315" fmla="*/ 6172845 w 6474890"/>
              <a:gd name="connsiteY315" fmla="*/ 5073210 h 6868448"/>
              <a:gd name="connsiteX316" fmla="*/ 6150999 w 6474890"/>
              <a:gd name="connsiteY316" fmla="*/ 5118804 h 6868448"/>
              <a:gd name="connsiteX317" fmla="*/ 6155748 w 6474890"/>
              <a:gd name="connsiteY317" fmla="*/ 5175796 h 6868448"/>
              <a:gd name="connsiteX318" fmla="*/ 6171896 w 6474890"/>
              <a:gd name="connsiteY318" fmla="*/ 5141600 h 6868448"/>
              <a:gd name="connsiteX319" fmla="*/ 6177594 w 6474890"/>
              <a:gd name="connsiteY319" fmla="*/ 5174846 h 6868448"/>
              <a:gd name="connsiteX320" fmla="*/ 6172845 w 6474890"/>
              <a:gd name="connsiteY320" fmla="*/ 5073210 h 6868448"/>
              <a:gd name="connsiteX321" fmla="*/ 6273278 w 6474890"/>
              <a:gd name="connsiteY321" fmla="*/ 4949358 h 6868448"/>
              <a:gd name="connsiteX322" fmla="*/ 6274480 w 6474890"/>
              <a:gd name="connsiteY322" fmla="*/ 4994372 h 6868448"/>
              <a:gd name="connsiteX323" fmla="*/ 6274480 w 6474890"/>
              <a:gd name="connsiteY323" fmla="*/ 4971576 h 6868448"/>
              <a:gd name="connsiteX324" fmla="*/ 6273278 w 6474890"/>
              <a:gd name="connsiteY324" fmla="*/ 4949358 h 6868448"/>
              <a:gd name="connsiteX325" fmla="*/ 6307725 w 6474890"/>
              <a:gd name="connsiteY325" fmla="*/ 4948779 h 6868448"/>
              <a:gd name="connsiteX326" fmla="*/ 6290628 w 6474890"/>
              <a:gd name="connsiteY326" fmla="*/ 4994372 h 6868448"/>
              <a:gd name="connsiteX327" fmla="*/ 6312474 w 6474890"/>
              <a:gd name="connsiteY327" fmla="*/ 4982973 h 6868448"/>
              <a:gd name="connsiteX328" fmla="*/ 6344770 w 6474890"/>
              <a:gd name="connsiteY328" fmla="*/ 4982973 h 6868448"/>
              <a:gd name="connsiteX329" fmla="*/ 6340021 w 6474890"/>
              <a:gd name="connsiteY329" fmla="*/ 4948779 h 6868448"/>
              <a:gd name="connsiteX330" fmla="*/ 6307725 w 6474890"/>
              <a:gd name="connsiteY330" fmla="*/ 4948779 h 6868448"/>
              <a:gd name="connsiteX331" fmla="*/ 6224716 w 6474890"/>
              <a:gd name="connsiteY331" fmla="*/ 4947042 h 6868448"/>
              <a:gd name="connsiteX332" fmla="*/ 6226987 w 6474890"/>
              <a:gd name="connsiteY332" fmla="*/ 4982973 h 6868448"/>
              <a:gd name="connsiteX333" fmla="*/ 6232686 w 6474890"/>
              <a:gd name="connsiteY333" fmla="*/ 4948779 h 6868448"/>
              <a:gd name="connsiteX334" fmla="*/ 6224716 w 6474890"/>
              <a:gd name="connsiteY334" fmla="*/ 4947042 h 6868448"/>
              <a:gd name="connsiteX335" fmla="*/ 6307725 w 6474890"/>
              <a:gd name="connsiteY335" fmla="*/ 4835745 h 6868448"/>
              <a:gd name="connsiteX336" fmla="*/ 6318173 w 6474890"/>
              <a:gd name="connsiteY336" fmla="*/ 4903185 h 6868448"/>
              <a:gd name="connsiteX337" fmla="*/ 6307725 w 6474890"/>
              <a:gd name="connsiteY337" fmla="*/ 4835745 h 6868448"/>
              <a:gd name="connsiteX338" fmla="*/ 6244084 w 6474890"/>
              <a:gd name="connsiteY338" fmla="*/ 4835745 h 6868448"/>
              <a:gd name="connsiteX339" fmla="*/ 6244084 w 6474890"/>
              <a:gd name="connsiteY339" fmla="*/ 4881339 h 6868448"/>
              <a:gd name="connsiteX340" fmla="*/ 6264981 w 6474890"/>
              <a:gd name="connsiteY340" fmla="*/ 4881339 h 6868448"/>
              <a:gd name="connsiteX341" fmla="*/ 6264981 w 6474890"/>
              <a:gd name="connsiteY341" fmla="*/ 4847143 h 6868448"/>
              <a:gd name="connsiteX342" fmla="*/ 6244084 w 6474890"/>
              <a:gd name="connsiteY342" fmla="*/ 4835745 h 6868448"/>
              <a:gd name="connsiteX343" fmla="*/ 6194218 w 6474890"/>
              <a:gd name="connsiteY343" fmla="*/ 4830521 h 6868448"/>
              <a:gd name="connsiteX344" fmla="*/ 6195642 w 6474890"/>
              <a:gd name="connsiteY344" fmla="*/ 4857592 h 6868448"/>
              <a:gd name="connsiteX345" fmla="*/ 6194218 w 6474890"/>
              <a:gd name="connsiteY345" fmla="*/ 4830521 h 6868448"/>
              <a:gd name="connsiteX346" fmla="*/ 6281129 w 6474890"/>
              <a:gd name="connsiteY346" fmla="*/ 4824347 h 6868448"/>
              <a:gd name="connsiteX347" fmla="*/ 6281129 w 6474890"/>
              <a:gd name="connsiteY347" fmla="*/ 4892737 h 6868448"/>
              <a:gd name="connsiteX348" fmla="*/ 6291577 w 6474890"/>
              <a:gd name="connsiteY348" fmla="*/ 4892737 h 6868448"/>
              <a:gd name="connsiteX349" fmla="*/ 6297277 w 6474890"/>
              <a:gd name="connsiteY349" fmla="*/ 4881339 h 6868448"/>
              <a:gd name="connsiteX350" fmla="*/ 6281129 w 6474890"/>
              <a:gd name="connsiteY350" fmla="*/ 4824347 h 6868448"/>
              <a:gd name="connsiteX351" fmla="*/ 6356317 w 6474890"/>
              <a:gd name="connsiteY351" fmla="*/ 4823249 h 6868448"/>
              <a:gd name="connsiteX352" fmla="*/ 6340021 w 6474890"/>
              <a:gd name="connsiteY352" fmla="*/ 4848093 h 6868448"/>
              <a:gd name="connsiteX353" fmla="*/ 6329572 w 6474890"/>
              <a:gd name="connsiteY353" fmla="*/ 4825297 h 6868448"/>
              <a:gd name="connsiteX354" fmla="*/ 6334321 w 6474890"/>
              <a:gd name="connsiteY354" fmla="*/ 4904135 h 6868448"/>
              <a:gd name="connsiteX355" fmla="*/ 6366617 w 6474890"/>
              <a:gd name="connsiteY355" fmla="*/ 4825297 h 6868448"/>
              <a:gd name="connsiteX356" fmla="*/ 6356317 w 6474890"/>
              <a:gd name="connsiteY356" fmla="*/ 4823249 h 6868448"/>
              <a:gd name="connsiteX357" fmla="*/ 6357118 w 6474890"/>
              <a:gd name="connsiteY357" fmla="*/ 4678068 h 6868448"/>
              <a:gd name="connsiteX358" fmla="*/ 6361867 w 6474890"/>
              <a:gd name="connsiteY358" fmla="*/ 4735060 h 6868448"/>
              <a:gd name="connsiteX359" fmla="*/ 6378015 w 6474890"/>
              <a:gd name="connsiteY359" fmla="*/ 4689467 h 6868448"/>
              <a:gd name="connsiteX360" fmla="*/ 6357118 w 6474890"/>
              <a:gd name="connsiteY360" fmla="*/ 4678068 h 6868448"/>
              <a:gd name="connsiteX361" fmla="*/ 6260232 w 6474890"/>
              <a:gd name="connsiteY361" fmla="*/ 4677118 h 6868448"/>
              <a:gd name="connsiteX362" fmla="*/ 6260232 w 6474890"/>
              <a:gd name="connsiteY362" fmla="*/ 4722712 h 6868448"/>
              <a:gd name="connsiteX363" fmla="*/ 6270680 w 6474890"/>
              <a:gd name="connsiteY363" fmla="*/ 4722712 h 6868448"/>
              <a:gd name="connsiteX364" fmla="*/ 6270680 w 6474890"/>
              <a:gd name="connsiteY364" fmla="*/ 4677118 h 6868448"/>
              <a:gd name="connsiteX365" fmla="*/ 6260232 w 6474890"/>
              <a:gd name="connsiteY365" fmla="*/ 4677118 h 6868448"/>
              <a:gd name="connsiteX366" fmla="*/ 6192342 w 6474890"/>
              <a:gd name="connsiteY366" fmla="*/ 4664919 h 6868448"/>
              <a:gd name="connsiteX367" fmla="*/ 6201341 w 6474890"/>
              <a:gd name="connsiteY367" fmla="*/ 4734110 h 6868448"/>
              <a:gd name="connsiteX368" fmla="*/ 6201341 w 6474890"/>
              <a:gd name="connsiteY368" fmla="*/ 4665720 h 6868448"/>
              <a:gd name="connsiteX369" fmla="*/ 6192342 w 6474890"/>
              <a:gd name="connsiteY369" fmla="*/ 4664919 h 6868448"/>
              <a:gd name="connsiteX370" fmla="*/ 6329572 w 6474890"/>
              <a:gd name="connsiteY370" fmla="*/ 4632475 h 6868448"/>
              <a:gd name="connsiteX371" fmla="*/ 6323873 w 6474890"/>
              <a:gd name="connsiteY371" fmla="*/ 4722712 h 6868448"/>
              <a:gd name="connsiteX372" fmla="*/ 6345719 w 6474890"/>
              <a:gd name="connsiteY372" fmla="*/ 4655271 h 6868448"/>
              <a:gd name="connsiteX373" fmla="*/ 6361867 w 6474890"/>
              <a:gd name="connsiteY373" fmla="*/ 4632475 h 6868448"/>
              <a:gd name="connsiteX374" fmla="*/ 6329572 w 6474890"/>
              <a:gd name="connsiteY374" fmla="*/ 4632475 h 6868448"/>
              <a:gd name="connsiteX375" fmla="*/ 6298227 w 6474890"/>
              <a:gd name="connsiteY375" fmla="*/ 4632475 h 6868448"/>
              <a:gd name="connsiteX376" fmla="*/ 6298227 w 6474890"/>
              <a:gd name="connsiteY376" fmla="*/ 4655271 h 6868448"/>
              <a:gd name="connsiteX377" fmla="*/ 6308675 w 6474890"/>
              <a:gd name="connsiteY377" fmla="*/ 4655271 h 6868448"/>
              <a:gd name="connsiteX378" fmla="*/ 6308675 w 6474890"/>
              <a:gd name="connsiteY378" fmla="*/ 4632475 h 6868448"/>
              <a:gd name="connsiteX379" fmla="*/ 6298227 w 6474890"/>
              <a:gd name="connsiteY379" fmla="*/ 4632475 h 6868448"/>
              <a:gd name="connsiteX380" fmla="*/ 6346669 w 6474890"/>
              <a:gd name="connsiteY380" fmla="*/ 4564085 h 6868448"/>
              <a:gd name="connsiteX381" fmla="*/ 6340970 w 6474890"/>
              <a:gd name="connsiteY381" fmla="*/ 4598280 h 6868448"/>
              <a:gd name="connsiteX382" fmla="*/ 6362817 w 6474890"/>
              <a:gd name="connsiteY382" fmla="*/ 4575483 h 6868448"/>
              <a:gd name="connsiteX383" fmla="*/ 6346669 w 6474890"/>
              <a:gd name="connsiteY383" fmla="*/ 4564085 h 6868448"/>
              <a:gd name="connsiteX384" fmla="*/ 6378015 w 6474890"/>
              <a:gd name="connsiteY384" fmla="*/ 4529890 h 6868448"/>
              <a:gd name="connsiteX385" fmla="*/ 6383714 w 6474890"/>
              <a:gd name="connsiteY385" fmla="*/ 4586881 h 6868448"/>
              <a:gd name="connsiteX386" fmla="*/ 6383714 w 6474890"/>
              <a:gd name="connsiteY386" fmla="*/ 4552686 h 6868448"/>
              <a:gd name="connsiteX387" fmla="*/ 6378015 w 6474890"/>
              <a:gd name="connsiteY387" fmla="*/ 4529890 h 6868448"/>
              <a:gd name="connsiteX388" fmla="*/ 6228887 w 6474890"/>
              <a:gd name="connsiteY388" fmla="*/ 4507093 h 6868448"/>
              <a:gd name="connsiteX389" fmla="*/ 6239335 w 6474890"/>
              <a:gd name="connsiteY389" fmla="*/ 4541288 h 6868448"/>
              <a:gd name="connsiteX390" fmla="*/ 6228887 w 6474890"/>
              <a:gd name="connsiteY390" fmla="*/ 4507093 h 6868448"/>
              <a:gd name="connsiteX391" fmla="*/ 6212739 w 6474890"/>
              <a:gd name="connsiteY391" fmla="*/ 4507093 h 6868448"/>
              <a:gd name="connsiteX392" fmla="*/ 6186143 w 6474890"/>
              <a:gd name="connsiteY392" fmla="*/ 4518492 h 6868448"/>
              <a:gd name="connsiteX393" fmla="*/ 6186143 w 6474890"/>
              <a:gd name="connsiteY393" fmla="*/ 4575483 h 6868448"/>
              <a:gd name="connsiteX394" fmla="*/ 6212739 w 6474890"/>
              <a:gd name="connsiteY394" fmla="*/ 4507093 h 6868448"/>
              <a:gd name="connsiteX395" fmla="*/ 6376160 w 6474890"/>
              <a:gd name="connsiteY395" fmla="*/ 4420730 h 6868448"/>
              <a:gd name="connsiteX396" fmla="*/ 6373266 w 6474890"/>
              <a:gd name="connsiteY396" fmla="*/ 4428255 h 6868448"/>
              <a:gd name="connsiteX397" fmla="*/ 6378015 w 6474890"/>
              <a:gd name="connsiteY397" fmla="*/ 4462449 h 6868448"/>
              <a:gd name="connsiteX398" fmla="*/ 6378015 w 6474890"/>
              <a:gd name="connsiteY398" fmla="*/ 4473848 h 6868448"/>
              <a:gd name="connsiteX399" fmla="*/ 6383714 w 6474890"/>
              <a:gd name="connsiteY399" fmla="*/ 4451051 h 6868448"/>
              <a:gd name="connsiteX400" fmla="*/ 6378965 w 6474890"/>
              <a:gd name="connsiteY400" fmla="*/ 4451051 h 6868448"/>
              <a:gd name="connsiteX401" fmla="*/ 6376160 w 6474890"/>
              <a:gd name="connsiteY401" fmla="*/ 4420730 h 6868448"/>
              <a:gd name="connsiteX402" fmla="*/ 6351665 w 6474890"/>
              <a:gd name="connsiteY402" fmla="*/ 4419532 h 6868448"/>
              <a:gd name="connsiteX403" fmla="*/ 6346669 w 6474890"/>
              <a:gd name="connsiteY403" fmla="*/ 4428255 h 6868448"/>
              <a:gd name="connsiteX404" fmla="*/ 6346669 w 6474890"/>
              <a:gd name="connsiteY404" fmla="*/ 4439653 h 6868448"/>
              <a:gd name="connsiteX405" fmla="*/ 6351418 w 6474890"/>
              <a:gd name="connsiteY405" fmla="*/ 4529890 h 6868448"/>
              <a:gd name="connsiteX406" fmla="*/ 6351665 w 6474890"/>
              <a:gd name="connsiteY406" fmla="*/ 4419532 h 6868448"/>
              <a:gd name="connsiteX407" fmla="*/ 6272580 w 6474890"/>
              <a:gd name="connsiteY407" fmla="*/ 4405458 h 6868448"/>
              <a:gd name="connsiteX408" fmla="*/ 6272580 w 6474890"/>
              <a:gd name="connsiteY408" fmla="*/ 4495695 h 6868448"/>
              <a:gd name="connsiteX409" fmla="*/ 6262132 w 6474890"/>
              <a:gd name="connsiteY409" fmla="*/ 4529890 h 6868448"/>
              <a:gd name="connsiteX410" fmla="*/ 6272580 w 6474890"/>
              <a:gd name="connsiteY410" fmla="*/ 4586881 h 6868448"/>
              <a:gd name="connsiteX411" fmla="*/ 6314374 w 6474890"/>
              <a:gd name="connsiteY411" fmla="*/ 4586881 h 6868448"/>
              <a:gd name="connsiteX412" fmla="*/ 6303925 w 6474890"/>
              <a:gd name="connsiteY412" fmla="*/ 4541288 h 6868448"/>
              <a:gd name="connsiteX413" fmla="*/ 6303925 w 6474890"/>
              <a:gd name="connsiteY413" fmla="*/ 4518492 h 6868448"/>
              <a:gd name="connsiteX414" fmla="*/ 6287778 w 6474890"/>
              <a:gd name="connsiteY414" fmla="*/ 4495695 h 6868448"/>
              <a:gd name="connsiteX415" fmla="*/ 6303925 w 6474890"/>
              <a:gd name="connsiteY415" fmla="*/ 4495695 h 6868448"/>
              <a:gd name="connsiteX416" fmla="*/ 6299176 w 6474890"/>
              <a:gd name="connsiteY416" fmla="*/ 4405458 h 6868448"/>
              <a:gd name="connsiteX417" fmla="*/ 6272580 w 6474890"/>
              <a:gd name="connsiteY417" fmla="*/ 4405458 h 6868448"/>
              <a:gd name="connsiteX418" fmla="*/ 6245984 w 6474890"/>
              <a:gd name="connsiteY418" fmla="*/ 4348466 h 6868448"/>
              <a:gd name="connsiteX419" fmla="*/ 6245984 w 6474890"/>
              <a:gd name="connsiteY419" fmla="*/ 4371263 h 6868448"/>
              <a:gd name="connsiteX420" fmla="*/ 6256432 w 6474890"/>
              <a:gd name="connsiteY420" fmla="*/ 4371263 h 6868448"/>
              <a:gd name="connsiteX421" fmla="*/ 6256432 w 6474890"/>
              <a:gd name="connsiteY421" fmla="*/ 4348466 h 6868448"/>
              <a:gd name="connsiteX422" fmla="*/ 6245984 w 6474890"/>
              <a:gd name="connsiteY422" fmla="*/ 4348466 h 6868448"/>
              <a:gd name="connsiteX423" fmla="*/ 6378609 w 6474890"/>
              <a:gd name="connsiteY423" fmla="*/ 4303422 h 6868448"/>
              <a:gd name="connsiteX424" fmla="*/ 6374215 w 6474890"/>
              <a:gd name="connsiteY424" fmla="*/ 4315221 h 6868448"/>
              <a:gd name="connsiteX425" fmla="*/ 6390363 w 6474890"/>
              <a:gd name="connsiteY425" fmla="*/ 4338018 h 6868448"/>
              <a:gd name="connsiteX426" fmla="*/ 6378609 w 6474890"/>
              <a:gd name="connsiteY426" fmla="*/ 4303422 h 6868448"/>
              <a:gd name="connsiteX427" fmla="*/ 6309625 w 6474890"/>
              <a:gd name="connsiteY427" fmla="*/ 4292424 h 6868448"/>
              <a:gd name="connsiteX428" fmla="*/ 6298227 w 6474890"/>
              <a:gd name="connsiteY428" fmla="*/ 4371263 h 6868448"/>
              <a:gd name="connsiteX429" fmla="*/ 6325773 w 6474890"/>
              <a:gd name="connsiteY429" fmla="*/ 4360814 h 6868448"/>
              <a:gd name="connsiteX430" fmla="*/ 6309625 w 6474890"/>
              <a:gd name="connsiteY430" fmla="*/ 4292424 h 6868448"/>
              <a:gd name="connsiteX431" fmla="*/ 6245984 w 6474890"/>
              <a:gd name="connsiteY431" fmla="*/ 4292424 h 6868448"/>
              <a:gd name="connsiteX432" fmla="*/ 6245984 w 6474890"/>
              <a:gd name="connsiteY432" fmla="*/ 4315221 h 6868448"/>
              <a:gd name="connsiteX433" fmla="*/ 6256432 w 6474890"/>
              <a:gd name="connsiteY433" fmla="*/ 4315221 h 6868448"/>
              <a:gd name="connsiteX434" fmla="*/ 6256432 w 6474890"/>
              <a:gd name="connsiteY434" fmla="*/ 4292424 h 6868448"/>
              <a:gd name="connsiteX435" fmla="*/ 6245984 w 6474890"/>
              <a:gd name="connsiteY435" fmla="*/ 4292424 h 6868448"/>
              <a:gd name="connsiteX436" fmla="*/ 6321973 w 6474890"/>
              <a:gd name="connsiteY436" fmla="*/ 4167992 h 6868448"/>
              <a:gd name="connsiteX437" fmla="*/ 6310575 w 6474890"/>
              <a:gd name="connsiteY437" fmla="*/ 4202187 h 6868448"/>
              <a:gd name="connsiteX438" fmla="*/ 6326722 w 6474890"/>
              <a:gd name="connsiteY438" fmla="*/ 4202187 h 6868448"/>
              <a:gd name="connsiteX439" fmla="*/ 6321973 w 6474890"/>
              <a:gd name="connsiteY439" fmla="*/ 4167992 h 6868448"/>
              <a:gd name="connsiteX440" fmla="*/ 6380864 w 6474890"/>
              <a:gd name="connsiteY440" fmla="*/ 4156594 h 6868448"/>
              <a:gd name="connsiteX441" fmla="*/ 6369466 w 6474890"/>
              <a:gd name="connsiteY441" fmla="*/ 4213586 h 6868448"/>
              <a:gd name="connsiteX442" fmla="*/ 6380864 w 6474890"/>
              <a:gd name="connsiteY442" fmla="*/ 4156594 h 6868448"/>
              <a:gd name="connsiteX443" fmla="*/ 6348569 w 6474890"/>
              <a:gd name="connsiteY443" fmla="*/ 4145196 h 6868448"/>
              <a:gd name="connsiteX444" fmla="*/ 6353318 w 6474890"/>
              <a:gd name="connsiteY444" fmla="*/ 4213586 h 6868448"/>
              <a:gd name="connsiteX445" fmla="*/ 6353318 w 6474890"/>
              <a:gd name="connsiteY445" fmla="*/ 4179391 h 6868448"/>
              <a:gd name="connsiteX446" fmla="*/ 6348569 w 6474890"/>
              <a:gd name="connsiteY446" fmla="*/ 4145196 h 6868448"/>
              <a:gd name="connsiteX447" fmla="*/ 6347619 w 6474890"/>
              <a:gd name="connsiteY447" fmla="*/ 4010315 h 6868448"/>
              <a:gd name="connsiteX448" fmla="*/ 6331472 w 6474890"/>
              <a:gd name="connsiteY448" fmla="*/ 4066357 h 6868448"/>
              <a:gd name="connsiteX449" fmla="*/ 6352369 w 6474890"/>
              <a:gd name="connsiteY449" fmla="*/ 4134747 h 6868448"/>
              <a:gd name="connsiteX450" fmla="*/ 6358068 w 6474890"/>
              <a:gd name="connsiteY450" fmla="*/ 4077755 h 6868448"/>
              <a:gd name="connsiteX451" fmla="*/ 6378965 w 6474890"/>
              <a:gd name="connsiteY451" fmla="*/ 4111950 h 6868448"/>
              <a:gd name="connsiteX452" fmla="*/ 6401761 w 6474890"/>
              <a:gd name="connsiteY452" fmla="*/ 4010315 h 6868448"/>
              <a:gd name="connsiteX453" fmla="*/ 6385614 w 6474890"/>
              <a:gd name="connsiteY453" fmla="*/ 4055909 h 6868448"/>
              <a:gd name="connsiteX454" fmla="*/ 6369466 w 6474890"/>
              <a:gd name="connsiteY454" fmla="*/ 4010315 h 6868448"/>
              <a:gd name="connsiteX455" fmla="*/ 6374215 w 6474890"/>
              <a:gd name="connsiteY455" fmla="*/ 4055909 h 6868448"/>
              <a:gd name="connsiteX456" fmla="*/ 6347619 w 6474890"/>
              <a:gd name="connsiteY456" fmla="*/ 4010315 h 6868448"/>
              <a:gd name="connsiteX457" fmla="*/ 6209890 w 6474890"/>
              <a:gd name="connsiteY457" fmla="*/ 3986569 h 6868448"/>
              <a:gd name="connsiteX458" fmla="*/ 6193742 w 6474890"/>
              <a:gd name="connsiteY458" fmla="*/ 4009366 h 6868448"/>
              <a:gd name="connsiteX459" fmla="*/ 6193742 w 6474890"/>
              <a:gd name="connsiteY459" fmla="*/ 4054959 h 6868448"/>
              <a:gd name="connsiteX460" fmla="*/ 6214639 w 6474890"/>
              <a:gd name="connsiteY460" fmla="*/ 4043561 h 6868448"/>
              <a:gd name="connsiteX461" fmla="*/ 6209890 w 6474890"/>
              <a:gd name="connsiteY461" fmla="*/ 3986569 h 6868448"/>
              <a:gd name="connsiteX462" fmla="*/ 6272818 w 6474890"/>
              <a:gd name="connsiteY462" fmla="*/ 3955936 h 6868448"/>
              <a:gd name="connsiteX463" fmla="*/ 6273530 w 6474890"/>
              <a:gd name="connsiteY463" fmla="*/ 3986569 h 6868448"/>
              <a:gd name="connsiteX464" fmla="*/ 6272818 w 6474890"/>
              <a:gd name="connsiteY464" fmla="*/ 3955936 h 6868448"/>
              <a:gd name="connsiteX465" fmla="*/ 6237198 w 6474890"/>
              <a:gd name="connsiteY465" fmla="*/ 3948099 h 6868448"/>
              <a:gd name="connsiteX466" fmla="*/ 6236486 w 6474890"/>
              <a:gd name="connsiteY466" fmla="*/ 3975170 h 6868448"/>
              <a:gd name="connsiteX467" fmla="*/ 6237198 w 6474890"/>
              <a:gd name="connsiteY467" fmla="*/ 3948099 h 6868448"/>
              <a:gd name="connsiteX468" fmla="*/ 6321973 w 6474890"/>
              <a:gd name="connsiteY468" fmla="*/ 3941925 h 6868448"/>
              <a:gd name="connsiteX469" fmla="*/ 6321973 w 6474890"/>
              <a:gd name="connsiteY469" fmla="*/ 3976120 h 6868448"/>
              <a:gd name="connsiteX470" fmla="*/ 6342870 w 6474890"/>
              <a:gd name="connsiteY470" fmla="*/ 3987519 h 6868448"/>
              <a:gd name="connsiteX471" fmla="*/ 6338121 w 6474890"/>
              <a:gd name="connsiteY471" fmla="*/ 3941925 h 6868448"/>
              <a:gd name="connsiteX472" fmla="*/ 6332421 w 6474890"/>
              <a:gd name="connsiteY472" fmla="*/ 3964722 h 6868448"/>
              <a:gd name="connsiteX473" fmla="*/ 6321973 w 6474890"/>
              <a:gd name="connsiteY473" fmla="*/ 3941925 h 6868448"/>
              <a:gd name="connsiteX474" fmla="*/ 6321350 w 6474890"/>
              <a:gd name="connsiteY474" fmla="*/ 3882618 h 6868448"/>
              <a:gd name="connsiteX475" fmla="*/ 6317224 w 6474890"/>
              <a:gd name="connsiteY475" fmla="*/ 3896332 h 6868448"/>
              <a:gd name="connsiteX476" fmla="*/ 6333371 w 6474890"/>
              <a:gd name="connsiteY476" fmla="*/ 3907730 h 6868448"/>
              <a:gd name="connsiteX477" fmla="*/ 6321350 w 6474890"/>
              <a:gd name="connsiteY477" fmla="*/ 3882618 h 6868448"/>
              <a:gd name="connsiteX478" fmla="*/ 6194692 w 6474890"/>
              <a:gd name="connsiteY478" fmla="*/ 3862137 h 6868448"/>
              <a:gd name="connsiteX479" fmla="*/ 6188993 w 6474890"/>
              <a:gd name="connsiteY479" fmla="*/ 3975170 h 6868448"/>
              <a:gd name="connsiteX480" fmla="*/ 6210839 w 6474890"/>
              <a:gd name="connsiteY480" fmla="*/ 3952374 h 6868448"/>
              <a:gd name="connsiteX481" fmla="*/ 6215589 w 6474890"/>
              <a:gd name="connsiteY481" fmla="*/ 3975170 h 6868448"/>
              <a:gd name="connsiteX482" fmla="*/ 6194692 w 6474890"/>
              <a:gd name="connsiteY482" fmla="*/ 3862137 h 6868448"/>
              <a:gd name="connsiteX483" fmla="*/ 6325401 w 6474890"/>
              <a:gd name="connsiteY483" fmla="*/ 3827156 h 6868448"/>
              <a:gd name="connsiteX484" fmla="*/ 6327672 w 6474890"/>
              <a:gd name="connsiteY484" fmla="*/ 3863087 h 6868448"/>
              <a:gd name="connsiteX485" fmla="*/ 6333371 w 6474890"/>
              <a:gd name="connsiteY485" fmla="*/ 3828892 h 6868448"/>
              <a:gd name="connsiteX486" fmla="*/ 6325401 w 6474890"/>
              <a:gd name="connsiteY486" fmla="*/ 3827156 h 6868448"/>
              <a:gd name="connsiteX487" fmla="*/ 6274480 w 6474890"/>
              <a:gd name="connsiteY487" fmla="*/ 3771900 h 6868448"/>
              <a:gd name="connsiteX488" fmla="*/ 6274480 w 6474890"/>
              <a:gd name="connsiteY488" fmla="*/ 3806095 h 6868448"/>
              <a:gd name="connsiteX489" fmla="*/ 6284928 w 6474890"/>
              <a:gd name="connsiteY489" fmla="*/ 3806095 h 6868448"/>
              <a:gd name="connsiteX490" fmla="*/ 6284928 w 6474890"/>
              <a:gd name="connsiteY490" fmla="*/ 3771900 h 6868448"/>
              <a:gd name="connsiteX491" fmla="*/ 6274480 w 6474890"/>
              <a:gd name="connsiteY491" fmla="*/ 3771900 h 6868448"/>
              <a:gd name="connsiteX492" fmla="*/ 6408410 w 6474890"/>
              <a:gd name="connsiteY492" fmla="*/ 3750053 h 6868448"/>
              <a:gd name="connsiteX493" fmla="*/ 6397012 w 6474890"/>
              <a:gd name="connsiteY493" fmla="*/ 3828892 h 6868448"/>
              <a:gd name="connsiteX494" fmla="*/ 6408410 w 6474890"/>
              <a:gd name="connsiteY494" fmla="*/ 3750053 h 6868448"/>
              <a:gd name="connsiteX495" fmla="*/ 6301076 w 6474890"/>
              <a:gd name="connsiteY495" fmla="*/ 3749104 h 6868448"/>
              <a:gd name="connsiteX496" fmla="*/ 6311525 w 6474890"/>
              <a:gd name="connsiteY496" fmla="*/ 3850739 h 6868448"/>
              <a:gd name="connsiteX497" fmla="*/ 6301076 w 6474890"/>
              <a:gd name="connsiteY497" fmla="*/ 3749104 h 6868448"/>
              <a:gd name="connsiteX498" fmla="*/ 6322923 w 6474890"/>
              <a:gd name="connsiteY498" fmla="*/ 3737705 h 6868448"/>
              <a:gd name="connsiteX499" fmla="*/ 6333371 w 6474890"/>
              <a:gd name="connsiteY499" fmla="*/ 3816543 h 6868448"/>
              <a:gd name="connsiteX500" fmla="*/ 6322923 w 6474890"/>
              <a:gd name="connsiteY500" fmla="*/ 3737705 h 6868448"/>
              <a:gd name="connsiteX501" fmla="*/ 6182908 w 6474890"/>
              <a:gd name="connsiteY501" fmla="*/ 3590239 h 6868448"/>
              <a:gd name="connsiteX502" fmla="*/ 6184244 w 6474890"/>
              <a:gd name="connsiteY502" fmla="*/ 3635120 h 6868448"/>
              <a:gd name="connsiteX503" fmla="*/ 6184244 w 6474890"/>
              <a:gd name="connsiteY503" fmla="*/ 3612323 h 6868448"/>
              <a:gd name="connsiteX504" fmla="*/ 6182908 w 6474890"/>
              <a:gd name="connsiteY504" fmla="*/ 3590239 h 6868448"/>
              <a:gd name="connsiteX505" fmla="*/ 6394162 w 6474890"/>
              <a:gd name="connsiteY505" fmla="*/ 3410953 h 6868448"/>
              <a:gd name="connsiteX506" fmla="*/ 6394162 w 6474890"/>
              <a:gd name="connsiteY506" fmla="*/ 3489791 h 6868448"/>
              <a:gd name="connsiteX507" fmla="*/ 6382764 w 6474890"/>
              <a:gd name="connsiteY507" fmla="*/ 3534435 h 6868448"/>
              <a:gd name="connsiteX508" fmla="*/ 6366617 w 6474890"/>
              <a:gd name="connsiteY508" fmla="*/ 3545833 h 6868448"/>
              <a:gd name="connsiteX509" fmla="*/ 6382764 w 6474890"/>
              <a:gd name="connsiteY509" fmla="*/ 3614223 h 6868448"/>
              <a:gd name="connsiteX510" fmla="*/ 6378015 w 6474890"/>
              <a:gd name="connsiteY510" fmla="*/ 3568630 h 6868448"/>
              <a:gd name="connsiteX511" fmla="*/ 6388463 w 6474890"/>
              <a:gd name="connsiteY511" fmla="*/ 3557231 h 6868448"/>
              <a:gd name="connsiteX512" fmla="*/ 6410310 w 6474890"/>
              <a:gd name="connsiteY512" fmla="*/ 3489791 h 6868448"/>
              <a:gd name="connsiteX513" fmla="*/ 6394162 w 6474890"/>
              <a:gd name="connsiteY513" fmla="*/ 3410953 h 6868448"/>
              <a:gd name="connsiteX514" fmla="*/ 6319124 w 6474890"/>
              <a:gd name="connsiteY514" fmla="*/ 3387206 h 6868448"/>
              <a:gd name="connsiteX515" fmla="*/ 6323873 w 6474890"/>
              <a:gd name="connsiteY515" fmla="*/ 3432800 h 6868448"/>
              <a:gd name="connsiteX516" fmla="*/ 6319124 w 6474890"/>
              <a:gd name="connsiteY516" fmla="*/ 3387206 h 6868448"/>
              <a:gd name="connsiteX517" fmla="*/ 6394162 w 6474890"/>
              <a:gd name="connsiteY517" fmla="*/ 3375808 h 6868448"/>
              <a:gd name="connsiteX518" fmla="*/ 6410310 w 6474890"/>
              <a:gd name="connsiteY518" fmla="*/ 3387206 h 6868448"/>
              <a:gd name="connsiteX519" fmla="*/ 6404611 w 6474890"/>
              <a:gd name="connsiteY519" fmla="*/ 3375808 h 6868448"/>
              <a:gd name="connsiteX520" fmla="*/ 6394162 w 6474890"/>
              <a:gd name="connsiteY520" fmla="*/ 3375808 h 6868448"/>
              <a:gd name="connsiteX521" fmla="*/ 6351418 w 6474890"/>
              <a:gd name="connsiteY521" fmla="*/ 3375808 h 6868448"/>
              <a:gd name="connsiteX522" fmla="*/ 6356168 w 6474890"/>
              <a:gd name="connsiteY522" fmla="*/ 3443248 h 6868448"/>
              <a:gd name="connsiteX523" fmla="*/ 6378015 w 6474890"/>
              <a:gd name="connsiteY523" fmla="*/ 3443248 h 6868448"/>
              <a:gd name="connsiteX524" fmla="*/ 6351418 w 6474890"/>
              <a:gd name="connsiteY524" fmla="*/ 3375808 h 6868448"/>
              <a:gd name="connsiteX525" fmla="*/ 6315371 w 6474890"/>
              <a:gd name="connsiteY525" fmla="*/ 3098732 h 6868448"/>
              <a:gd name="connsiteX526" fmla="*/ 6325773 w 6474890"/>
              <a:gd name="connsiteY526" fmla="*/ 3104147 h 6868448"/>
              <a:gd name="connsiteX527" fmla="*/ 6315371 w 6474890"/>
              <a:gd name="connsiteY527" fmla="*/ 3098732 h 6868448"/>
              <a:gd name="connsiteX528" fmla="*/ 6353318 w 6474890"/>
              <a:gd name="connsiteY528" fmla="*/ 3026259 h 6868448"/>
              <a:gd name="connsiteX529" fmla="*/ 6358068 w 6474890"/>
              <a:gd name="connsiteY529" fmla="*/ 3093699 h 6868448"/>
              <a:gd name="connsiteX530" fmla="*/ 6352369 w 6474890"/>
              <a:gd name="connsiteY530" fmla="*/ 3105097 h 6868448"/>
              <a:gd name="connsiteX531" fmla="*/ 6358068 w 6474890"/>
              <a:gd name="connsiteY531" fmla="*/ 3127894 h 6868448"/>
              <a:gd name="connsiteX532" fmla="*/ 6358068 w 6474890"/>
              <a:gd name="connsiteY532" fmla="*/ 3183936 h 6868448"/>
              <a:gd name="connsiteX533" fmla="*/ 6363767 w 6474890"/>
              <a:gd name="connsiteY533" fmla="*/ 3105097 h 6868448"/>
              <a:gd name="connsiteX534" fmla="*/ 6353318 w 6474890"/>
              <a:gd name="connsiteY534" fmla="*/ 3026259 h 6868448"/>
              <a:gd name="connsiteX535" fmla="*/ 6325773 w 6474890"/>
              <a:gd name="connsiteY535" fmla="*/ 3002512 h 6868448"/>
              <a:gd name="connsiteX536" fmla="*/ 6304876 w 6474890"/>
              <a:gd name="connsiteY536" fmla="*/ 3025309 h 6868448"/>
              <a:gd name="connsiteX537" fmla="*/ 6325773 w 6474890"/>
              <a:gd name="connsiteY537" fmla="*/ 3048106 h 6868448"/>
              <a:gd name="connsiteX538" fmla="*/ 6325773 w 6474890"/>
              <a:gd name="connsiteY538" fmla="*/ 3002512 h 6868448"/>
              <a:gd name="connsiteX539" fmla="*/ 6410319 w 6474890"/>
              <a:gd name="connsiteY539" fmla="*/ 2605435 h 6868448"/>
              <a:gd name="connsiteX540" fmla="*/ 6402711 w 6474890"/>
              <a:gd name="connsiteY540" fmla="*/ 2617818 h 6868448"/>
              <a:gd name="connsiteX541" fmla="*/ 6408410 w 6474890"/>
              <a:gd name="connsiteY541" fmla="*/ 2640615 h 6868448"/>
              <a:gd name="connsiteX542" fmla="*/ 6410319 w 6474890"/>
              <a:gd name="connsiteY542" fmla="*/ 2605435 h 6868448"/>
              <a:gd name="connsiteX543" fmla="*/ 6369017 w 6474890"/>
              <a:gd name="connsiteY543" fmla="*/ 2600415 h 6868448"/>
              <a:gd name="connsiteX544" fmla="*/ 6365666 w 6474890"/>
              <a:gd name="connsiteY544" fmla="*/ 2606420 h 6868448"/>
              <a:gd name="connsiteX545" fmla="*/ 6349519 w 6474890"/>
              <a:gd name="connsiteY545" fmla="*/ 2652014 h 6868448"/>
              <a:gd name="connsiteX546" fmla="*/ 6365666 w 6474890"/>
              <a:gd name="connsiteY546" fmla="*/ 2663412 h 6868448"/>
              <a:gd name="connsiteX547" fmla="*/ 6369017 w 6474890"/>
              <a:gd name="connsiteY547" fmla="*/ 2600415 h 6868448"/>
              <a:gd name="connsiteX548" fmla="*/ 6246549 w 6474890"/>
              <a:gd name="connsiteY548" fmla="*/ 2560589 h 6868448"/>
              <a:gd name="connsiteX549" fmla="*/ 6247884 w 6474890"/>
              <a:gd name="connsiteY549" fmla="*/ 2605470 h 6868448"/>
              <a:gd name="connsiteX550" fmla="*/ 6247884 w 6474890"/>
              <a:gd name="connsiteY550" fmla="*/ 2582673 h 6868448"/>
              <a:gd name="connsiteX551" fmla="*/ 6246549 w 6474890"/>
              <a:gd name="connsiteY551" fmla="*/ 2560589 h 6868448"/>
              <a:gd name="connsiteX552" fmla="*/ 6366617 w 6474890"/>
              <a:gd name="connsiteY552" fmla="*/ 2447793 h 6868448"/>
              <a:gd name="connsiteX553" fmla="*/ 6356168 w 6474890"/>
              <a:gd name="connsiteY553" fmla="*/ 2493387 h 6868448"/>
              <a:gd name="connsiteX554" fmla="*/ 6344770 w 6474890"/>
              <a:gd name="connsiteY554" fmla="*/ 2459191 h 6868448"/>
              <a:gd name="connsiteX555" fmla="*/ 6355218 w 6474890"/>
              <a:gd name="connsiteY555" fmla="*/ 2538030 h 6868448"/>
              <a:gd name="connsiteX556" fmla="*/ 6365666 w 6474890"/>
              <a:gd name="connsiteY556" fmla="*/ 2572225 h 6868448"/>
              <a:gd name="connsiteX557" fmla="*/ 6371366 w 6474890"/>
              <a:gd name="connsiteY557" fmla="*/ 2481988 h 6868448"/>
              <a:gd name="connsiteX558" fmla="*/ 6366617 w 6474890"/>
              <a:gd name="connsiteY558" fmla="*/ 2447793 h 6868448"/>
              <a:gd name="connsiteX559" fmla="*/ 6413724 w 6474890"/>
              <a:gd name="connsiteY559" fmla="*/ 2289745 h 6868448"/>
              <a:gd name="connsiteX560" fmla="*/ 6415059 w 6474890"/>
              <a:gd name="connsiteY560" fmla="*/ 2334760 h 6868448"/>
              <a:gd name="connsiteX561" fmla="*/ 6415059 w 6474890"/>
              <a:gd name="connsiteY561" fmla="*/ 2311963 h 6868448"/>
              <a:gd name="connsiteX562" fmla="*/ 6413724 w 6474890"/>
              <a:gd name="connsiteY562" fmla="*/ 2289745 h 6868448"/>
              <a:gd name="connsiteX563" fmla="*/ 6410310 w 6474890"/>
              <a:gd name="connsiteY563" fmla="*/ 2187531 h 6868448"/>
              <a:gd name="connsiteX564" fmla="*/ 6404611 w 6474890"/>
              <a:gd name="connsiteY564" fmla="*/ 2233125 h 6868448"/>
              <a:gd name="connsiteX565" fmla="*/ 6410310 w 6474890"/>
              <a:gd name="connsiteY565" fmla="*/ 2187531 h 6868448"/>
              <a:gd name="connsiteX566" fmla="*/ 6388463 w 6474890"/>
              <a:gd name="connsiteY566" fmla="*/ 2187531 h 6868448"/>
              <a:gd name="connsiteX567" fmla="*/ 6398911 w 6474890"/>
              <a:gd name="connsiteY567" fmla="*/ 2244523 h 6868448"/>
              <a:gd name="connsiteX568" fmla="*/ 6388463 w 6474890"/>
              <a:gd name="connsiteY568" fmla="*/ 2187531 h 6868448"/>
              <a:gd name="connsiteX569" fmla="*/ 6361867 w 6474890"/>
              <a:gd name="connsiteY569" fmla="*/ 2187531 h 6868448"/>
              <a:gd name="connsiteX570" fmla="*/ 6356168 w 6474890"/>
              <a:gd name="connsiteY570" fmla="*/ 2210328 h 6868448"/>
              <a:gd name="connsiteX571" fmla="*/ 6351418 w 6474890"/>
              <a:gd name="connsiteY571" fmla="*/ 2210328 h 6868448"/>
              <a:gd name="connsiteX572" fmla="*/ 6372315 w 6474890"/>
              <a:gd name="connsiteY572" fmla="*/ 2233125 h 6868448"/>
              <a:gd name="connsiteX573" fmla="*/ 6361867 w 6474890"/>
              <a:gd name="connsiteY573" fmla="*/ 2187531 h 6868448"/>
              <a:gd name="connsiteX574" fmla="*/ 6330522 w 6474890"/>
              <a:gd name="connsiteY574" fmla="*/ 2028904 h 6868448"/>
              <a:gd name="connsiteX575" fmla="*/ 6330522 w 6474890"/>
              <a:gd name="connsiteY575" fmla="*/ 2085896 h 6868448"/>
              <a:gd name="connsiteX576" fmla="*/ 6340970 w 6474890"/>
              <a:gd name="connsiteY576" fmla="*/ 2051701 h 6868448"/>
              <a:gd name="connsiteX577" fmla="*/ 6335271 w 6474890"/>
              <a:gd name="connsiteY577" fmla="*/ 2063099 h 6868448"/>
              <a:gd name="connsiteX578" fmla="*/ 6330522 w 6474890"/>
              <a:gd name="connsiteY578" fmla="*/ 2028904 h 6868448"/>
              <a:gd name="connsiteX579" fmla="*/ 6404668 w 6474890"/>
              <a:gd name="connsiteY579" fmla="*/ 1859456 h 6868448"/>
              <a:gd name="connsiteX580" fmla="*/ 6400811 w 6474890"/>
              <a:gd name="connsiteY580" fmla="*/ 1871227 h 6868448"/>
              <a:gd name="connsiteX581" fmla="*/ 6400811 w 6474890"/>
              <a:gd name="connsiteY581" fmla="*/ 1928219 h 6868448"/>
              <a:gd name="connsiteX582" fmla="*/ 6404668 w 6474890"/>
              <a:gd name="connsiteY582" fmla="*/ 1859456 h 6868448"/>
              <a:gd name="connsiteX583" fmla="*/ 6401761 w 6474890"/>
              <a:gd name="connsiteY583" fmla="*/ 1599567 h 6868448"/>
              <a:gd name="connsiteX584" fmla="*/ 6396062 w 6474890"/>
              <a:gd name="connsiteY584" fmla="*/ 1610965 h 6868448"/>
              <a:gd name="connsiteX585" fmla="*/ 6396062 w 6474890"/>
              <a:gd name="connsiteY585" fmla="*/ 1633762 h 6868448"/>
              <a:gd name="connsiteX586" fmla="*/ 6401761 w 6474890"/>
              <a:gd name="connsiteY586" fmla="*/ 1599567 h 6868448"/>
              <a:gd name="connsiteX587" fmla="*/ 6337601 w 6474890"/>
              <a:gd name="connsiteY587" fmla="*/ 1220334 h 6868448"/>
              <a:gd name="connsiteX588" fmla="*/ 6334321 w 6474890"/>
              <a:gd name="connsiteY588" fmla="*/ 1225321 h 6868448"/>
              <a:gd name="connsiteX589" fmla="*/ 6334321 w 6474890"/>
              <a:gd name="connsiteY589" fmla="*/ 1248118 h 6868448"/>
              <a:gd name="connsiteX590" fmla="*/ 6328622 w 6474890"/>
              <a:gd name="connsiteY590" fmla="*/ 1259516 h 6868448"/>
              <a:gd name="connsiteX591" fmla="*/ 6339070 w 6474890"/>
              <a:gd name="connsiteY591" fmla="*/ 1248118 h 6868448"/>
              <a:gd name="connsiteX592" fmla="*/ 6337601 w 6474890"/>
              <a:gd name="connsiteY592" fmla="*/ 1220334 h 6868448"/>
              <a:gd name="connsiteX593" fmla="*/ 6356168 w 6474890"/>
              <a:gd name="connsiteY593" fmla="*/ 1033449 h 6868448"/>
              <a:gd name="connsiteX594" fmla="*/ 6366617 w 6474890"/>
              <a:gd name="connsiteY594" fmla="*/ 1056246 h 6868448"/>
              <a:gd name="connsiteX595" fmla="*/ 6356168 w 6474890"/>
              <a:gd name="connsiteY595" fmla="*/ 1033449 h 6868448"/>
              <a:gd name="connsiteX596" fmla="*/ 6362817 w 6474890"/>
              <a:gd name="connsiteY596" fmla="*/ 682001 h 6868448"/>
              <a:gd name="connsiteX597" fmla="*/ 6367566 w 6474890"/>
              <a:gd name="connsiteY597" fmla="*/ 829229 h 6868448"/>
              <a:gd name="connsiteX598" fmla="*/ 6378015 w 6474890"/>
              <a:gd name="connsiteY598" fmla="*/ 953661 h 6868448"/>
              <a:gd name="connsiteX599" fmla="*/ 6378965 w 6474890"/>
              <a:gd name="connsiteY599" fmla="*/ 817831 h 6868448"/>
              <a:gd name="connsiteX600" fmla="*/ 6373266 w 6474890"/>
              <a:gd name="connsiteY600" fmla="*/ 817831 h 6868448"/>
              <a:gd name="connsiteX601" fmla="*/ 6373266 w 6474890"/>
              <a:gd name="connsiteY601" fmla="*/ 738992 h 6868448"/>
              <a:gd name="connsiteX602" fmla="*/ 6362817 w 6474890"/>
              <a:gd name="connsiteY602" fmla="*/ 682001 h 6868448"/>
              <a:gd name="connsiteX603" fmla="*/ 6407460 w 6474890"/>
              <a:gd name="connsiteY603" fmla="*/ 421739 h 6868448"/>
              <a:gd name="connsiteX604" fmla="*/ 6407460 w 6474890"/>
              <a:gd name="connsiteY604" fmla="*/ 455934 h 6868448"/>
              <a:gd name="connsiteX605" fmla="*/ 6417909 w 6474890"/>
              <a:gd name="connsiteY605" fmla="*/ 455934 h 6868448"/>
              <a:gd name="connsiteX606" fmla="*/ 6417909 w 6474890"/>
              <a:gd name="connsiteY606" fmla="*/ 421739 h 6868448"/>
              <a:gd name="connsiteX607" fmla="*/ 6407460 w 6474890"/>
              <a:gd name="connsiteY607" fmla="*/ 421739 h 6868448"/>
              <a:gd name="connsiteX608" fmla="*/ 6413159 w 6474890"/>
              <a:gd name="connsiteY608" fmla="*/ 308705 h 6868448"/>
              <a:gd name="connsiteX609" fmla="*/ 6417909 w 6474890"/>
              <a:gd name="connsiteY609" fmla="*/ 398942 h 6868448"/>
              <a:gd name="connsiteX610" fmla="*/ 6413159 w 6474890"/>
              <a:gd name="connsiteY610" fmla="*/ 308705 h 6868448"/>
              <a:gd name="connsiteX611" fmla="*/ 0 w 6474890"/>
              <a:gd name="connsiteY611" fmla="*/ 0 h 6868448"/>
              <a:gd name="connsiteX612" fmla="*/ 1892777 w 6474890"/>
              <a:gd name="connsiteY612" fmla="*/ 0 h 6868448"/>
              <a:gd name="connsiteX613" fmla="*/ 5110902 w 6474890"/>
              <a:gd name="connsiteY613" fmla="*/ 0 h 6868448"/>
              <a:gd name="connsiteX614" fmla="*/ 5124200 w 6474890"/>
              <a:gd name="connsiteY614" fmla="*/ 0 h 6868448"/>
              <a:gd name="connsiteX615" fmla="*/ 5132749 w 6474890"/>
              <a:gd name="connsiteY615" fmla="*/ 0 h 6868448"/>
              <a:gd name="connsiteX616" fmla="*/ 5203988 w 6474890"/>
              <a:gd name="connsiteY616" fmla="*/ 0 h 6868448"/>
              <a:gd name="connsiteX617" fmla="*/ 5216336 w 6474890"/>
              <a:gd name="connsiteY617" fmla="*/ 0 h 6868448"/>
              <a:gd name="connsiteX618" fmla="*/ 5285677 w 6474890"/>
              <a:gd name="connsiteY618" fmla="*/ 0 h 6868448"/>
              <a:gd name="connsiteX619" fmla="*/ 5312272 w 6474890"/>
              <a:gd name="connsiteY619" fmla="*/ 0 h 6868448"/>
              <a:gd name="connsiteX620" fmla="*/ 5379712 w 6474890"/>
              <a:gd name="connsiteY620" fmla="*/ 0 h 6868448"/>
              <a:gd name="connsiteX621" fmla="*/ 5390161 w 6474890"/>
              <a:gd name="connsiteY621" fmla="*/ 0 h 6868448"/>
              <a:gd name="connsiteX622" fmla="*/ 5410108 w 6474890"/>
              <a:gd name="connsiteY622" fmla="*/ 0 h 6868448"/>
              <a:gd name="connsiteX623" fmla="*/ 5463300 w 6474890"/>
              <a:gd name="connsiteY623" fmla="*/ 0 h 6868448"/>
              <a:gd name="connsiteX624" fmla="*/ 5482297 w 6474890"/>
              <a:gd name="connsiteY624" fmla="*/ 0 h 6868448"/>
              <a:gd name="connsiteX625" fmla="*/ 5507943 w 6474890"/>
              <a:gd name="connsiteY625" fmla="*/ 0 h 6868448"/>
              <a:gd name="connsiteX626" fmla="*/ 5609578 w 6474890"/>
              <a:gd name="connsiteY626" fmla="*/ 0 h 6868448"/>
              <a:gd name="connsiteX627" fmla="*/ 5614328 w 6474890"/>
              <a:gd name="connsiteY627" fmla="*/ 0 h 6868448"/>
              <a:gd name="connsiteX628" fmla="*/ 6375165 w 6474890"/>
              <a:gd name="connsiteY628" fmla="*/ 0 h 6868448"/>
              <a:gd name="connsiteX629" fmla="*/ 6378015 w 6474890"/>
              <a:gd name="connsiteY629" fmla="*/ 48443 h 6868448"/>
              <a:gd name="connsiteX630" fmla="*/ 6394162 w 6474890"/>
              <a:gd name="connsiteY630" fmla="*/ 59841 h 6868448"/>
              <a:gd name="connsiteX631" fmla="*/ 6399862 w 6474890"/>
              <a:gd name="connsiteY631" fmla="*/ 82638 h 6868448"/>
              <a:gd name="connsiteX632" fmla="*/ 6394162 w 6474890"/>
              <a:gd name="connsiteY632" fmla="*/ 139630 h 6868448"/>
              <a:gd name="connsiteX633" fmla="*/ 6409360 w 6474890"/>
              <a:gd name="connsiteY633" fmla="*/ 399892 h 6868448"/>
              <a:gd name="connsiteX634" fmla="*/ 6425508 w 6474890"/>
              <a:gd name="connsiteY634" fmla="*/ 411290 h 6868448"/>
              <a:gd name="connsiteX635" fmla="*/ 6425508 w 6474890"/>
              <a:gd name="connsiteY635" fmla="*/ 479680 h 6868448"/>
              <a:gd name="connsiteX636" fmla="*/ 6409360 w 6474890"/>
              <a:gd name="connsiteY636" fmla="*/ 479680 h 6868448"/>
              <a:gd name="connsiteX637" fmla="*/ 6414110 w 6474890"/>
              <a:gd name="connsiteY637" fmla="*/ 592714 h 6868448"/>
              <a:gd name="connsiteX638" fmla="*/ 6419808 w 6474890"/>
              <a:gd name="connsiteY638" fmla="*/ 558519 h 6868448"/>
              <a:gd name="connsiteX639" fmla="*/ 6435956 w 6474890"/>
              <a:gd name="connsiteY639" fmla="*/ 626909 h 6868448"/>
              <a:gd name="connsiteX640" fmla="*/ 6419808 w 6474890"/>
              <a:gd name="connsiteY640" fmla="*/ 638307 h 6868448"/>
              <a:gd name="connsiteX641" fmla="*/ 6435956 w 6474890"/>
              <a:gd name="connsiteY641" fmla="*/ 683900 h 6868448"/>
              <a:gd name="connsiteX642" fmla="*/ 6430257 w 6474890"/>
              <a:gd name="connsiteY642" fmla="*/ 718095 h 6868448"/>
              <a:gd name="connsiteX643" fmla="*/ 6419808 w 6474890"/>
              <a:gd name="connsiteY643" fmla="*/ 706697 h 6868448"/>
              <a:gd name="connsiteX644" fmla="*/ 6425508 w 6474890"/>
              <a:gd name="connsiteY644" fmla="*/ 729494 h 6868448"/>
              <a:gd name="connsiteX645" fmla="*/ 6419808 w 6474890"/>
              <a:gd name="connsiteY645" fmla="*/ 740892 h 6868448"/>
              <a:gd name="connsiteX646" fmla="*/ 6424558 w 6474890"/>
              <a:gd name="connsiteY646" fmla="*/ 865324 h 6868448"/>
              <a:gd name="connsiteX647" fmla="*/ 6435007 w 6474890"/>
              <a:gd name="connsiteY647" fmla="*/ 876722 h 6868448"/>
              <a:gd name="connsiteX648" fmla="*/ 6435007 w 6474890"/>
              <a:gd name="connsiteY648" fmla="*/ 922316 h 6868448"/>
              <a:gd name="connsiteX649" fmla="*/ 6429307 w 6474890"/>
              <a:gd name="connsiteY649" fmla="*/ 989756 h 6868448"/>
              <a:gd name="connsiteX650" fmla="*/ 6435007 w 6474890"/>
              <a:gd name="connsiteY650" fmla="*/ 989756 h 6868448"/>
              <a:gd name="connsiteX651" fmla="*/ 6440705 w 6474890"/>
              <a:gd name="connsiteY651" fmla="*/ 1012552 h 6868448"/>
              <a:gd name="connsiteX652" fmla="*/ 6430257 w 6474890"/>
              <a:gd name="connsiteY652" fmla="*/ 1012552 h 6868448"/>
              <a:gd name="connsiteX653" fmla="*/ 6435007 w 6474890"/>
              <a:gd name="connsiteY653" fmla="*/ 1058146 h 6868448"/>
              <a:gd name="connsiteX654" fmla="*/ 6434056 w 6474890"/>
              <a:gd name="connsiteY654" fmla="*/ 1228171 h 6868448"/>
              <a:gd name="connsiteX655" fmla="*/ 6439756 w 6474890"/>
              <a:gd name="connsiteY655" fmla="*/ 1205374 h 6868448"/>
              <a:gd name="connsiteX656" fmla="*/ 6466352 w 6474890"/>
              <a:gd name="connsiteY656" fmla="*/ 1285163 h 6868448"/>
              <a:gd name="connsiteX657" fmla="*/ 6460652 w 6474890"/>
              <a:gd name="connsiteY657" fmla="*/ 1319358 h 6868448"/>
              <a:gd name="connsiteX658" fmla="*/ 6460652 w 6474890"/>
              <a:gd name="connsiteY658" fmla="*/ 1353553 h 6868448"/>
              <a:gd name="connsiteX659" fmla="*/ 6459703 w 6474890"/>
              <a:gd name="connsiteY659" fmla="*/ 1477985 h 6868448"/>
              <a:gd name="connsiteX660" fmla="*/ 6459703 w 6474890"/>
              <a:gd name="connsiteY660" fmla="*/ 1512180 h 6868448"/>
              <a:gd name="connsiteX661" fmla="*/ 6465402 w 6474890"/>
              <a:gd name="connsiteY661" fmla="*/ 1534976 h 6868448"/>
              <a:gd name="connsiteX662" fmla="*/ 6470151 w 6474890"/>
              <a:gd name="connsiteY662" fmla="*/ 1580570 h 6868448"/>
              <a:gd name="connsiteX663" fmla="*/ 6464452 w 6474890"/>
              <a:gd name="connsiteY663" fmla="*/ 1591968 h 6868448"/>
              <a:gd name="connsiteX664" fmla="*/ 6469201 w 6474890"/>
              <a:gd name="connsiteY664" fmla="*/ 1637561 h 6868448"/>
              <a:gd name="connsiteX665" fmla="*/ 6469201 w 6474890"/>
              <a:gd name="connsiteY665" fmla="*/ 1671756 h 6868448"/>
              <a:gd name="connsiteX666" fmla="*/ 6468252 w 6474890"/>
              <a:gd name="connsiteY666" fmla="*/ 1932018 h 6868448"/>
              <a:gd name="connsiteX667" fmla="*/ 6473001 w 6474890"/>
              <a:gd name="connsiteY667" fmla="*/ 1966213 h 6868448"/>
              <a:gd name="connsiteX668" fmla="*/ 6472051 w 6474890"/>
              <a:gd name="connsiteY668" fmla="*/ 2260670 h 6868448"/>
              <a:gd name="connsiteX669" fmla="*/ 6471101 w 6474890"/>
              <a:gd name="connsiteY669" fmla="*/ 2543729 h 6868448"/>
              <a:gd name="connsiteX670" fmla="*/ 6465402 w 6474890"/>
              <a:gd name="connsiteY670" fmla="*/ 2577924 h 6868448"/>
              <a:gd name="connsiteX671" fmla="*/ 6470151 w 6474890"/>
              <a:gd name="connsiteY671" fmla="*/ 2623518 h 6868448"/>
              <a:gd name="connsiteX672" fmla="*/ 6469201 w 6474890"/>
              <a:gd name="connsiteY672" fmla="*/ 2895178 h 6868448"/>
              <a:gd name="connsiteX673" fmla="*/ 6469201 w 6474890"/>
              <a:gd name="connsiteY673" fmla="*/ 2917975 h 6868448"/>
              <a:gd name="connsiteX674" fmla="*/ 6469201 w 6474890"/>
              <a:gd name="connsiteY674" fmla="*/ 2940771 h 6868448"/>
              <a:gd name="connsiteX675" fmla="*/ 6463502 w 6474890"/>
              <a:gd name="connsiteY675" fmla="*/ 3008212 h 6868448"/>
              <a:gd name="connsiteX676" fmla="*/ 6463502 w 6474890"/>
              <a:gd name="connsiteY676" fmla="*/ 3075652 h 6868448"/>
              <a:gd name="connsiteX677" fmla="*/ 6462552 w 6474890"/>
              <a:gd name="connsiteY677" fmla="*/ 3245677 h 6868448"/>
              <a:gd name="connsiteX678" fmla="*/ 6456853 w 6474890"/>
              <a:gd name="connsiteY678" fmla="*/ 3279872 h 6868448"/>
              <a:gd name="connsiteX679" fmla="*/ 6451154 w 6474890"/>
              <a:gd name="connsiteY679" fmla="*/ 3325465 h 6868448"/>
              <a:gd name="connsiteX680" fmla="*/ 6461602 w 6474890"/>
              <a:gd name="connsiteY680" fmla="*/ 3382457 h 6868448"/>
              <a:gd name="connsiteX681" fmla="*/ 6455903 w 6474890"/>
              <a:gd name="connsiteY681" fmla="*/ 3393855 h 6868448"/>
              <a:gd name="connsiteX682" fmla="*/ 6454953 w 6474890"/>
              <a:gd name="connsiteY682" fmla="*/ 3665516 h 6868448"/>
              <a:gd name="connsiteX683" fmla="*/ 6454953 w 6474890"/>
              <a:gd name="connsiteY683" fmla="*/ 3711109 h 6868448"/>
              <a:gd name="connsiteX684" fmla="*/ 6443555 w 6474890"/>
              <a:gd name="connsiteY684" fmla="*/ 3835541 h 6868448"/>
              <a:gd name="connsiteX685" fmla="*/ 6448304 w 6474890"/>
              <a:gd name="connsiteY685" fmla="*/ 3903931 h 6868448"/>
              <a:gd name="connsiteX686" fmla="*/ 6442605 w 6474890"/>
              <a:gd name="connsiteY686" fmla="*/ 3915329 h 6868448"/>
              <a:gd name="connsiteX687" fmla="*/ 6448304 w 6474890"/>
              <a:gd name="connsiteY687" fmla="*/ 3938126 h 6868448"/>
              <a:gd name="connsiteX688" fmla="*/ 6442605 w 6474890"/>
              <a:gd name="connsiteY688" fmla="*/ 3995118 h 6868448"/>
              <a:gd name="connsiteX689" fmla="*/ 6436906 w 6474890"/>
              <a:gd name="connsiteY689" fmla="*/ 4130948 h 6868448"/>
              <a:gd name="connsiteX690" fmla="*/ 6431207 w 6474890"/>
              <a:gd name="connsiteY690" fmla="*/ 4165143 h 6868448"/>
              <a:gd name="connsiteX691" fmla="*/ 6431207 w 6474890"/>
              <a:gd name="connsiteY691" fmla="*/ 4243981 h 6868448"/>
              <a:gd name="connsiteX692" fmla="*/ 6425508 w 6474890"/>
              <a:gd name="connsiteY692" fmla="*/ 4278176 h 6868448"/>
              <a:gd name="connsiteX693" fmla="*/ 6430257 w 6474890"/>
              <a:gd name="connsiteY693" fmla="*/ 4335168 h 6868448"/>
              <a:gd name="connsiteX694" fmla="*/ 6424558 w 6474890"/>
              <a:gd name="connsiteY694" fmla="*/ 4346567 h 6868448"/>
              <a:gd name="connsiteX695" fmla="*/ 6424558 w 6474890"/>
              <a:gd name="connsiteY695" fmla="*/ 4369363 h 6868448"/>
              <a:gd name="connsiteX696" fmla="*/ 6418859 w 6474890"/>
              <a:gd name="connsiteY696" fmla="*/ 4436803 h 6868448"/>
              <a:gd name="connsiteX697" fmla="*/ 6418859 w 6474890"/>
              <a:gd name="connsiteY697" fmla="*/ 4515642 h 6868448"/>
              <a:gd name="connsiteX698" fmla="*/ 6407460 w 6474890"/>
              <a:gd name="connsiteY698" fmla="*/ 4583082 h 6868448"/>
              <a:gd name="connsiteX699" fmla="*/ 6412210 w 6474890"/>
              <a:gd name="connsiteY699" fmla="*/ 4617277 h 6868448"/>
              <a:gd name="connsiteX700" fmla="*/ 6406511 w 6474890"/>
              <a:gd name="connsiteY700" fmla="*/ 4651472 h 6868448"/>
              <a:gd name="connsiteX701" fmla="*/ 6406511 w 6474890"/>
              <a:gd name="connsiteY701" fmla="*/ 4708464 h 6868448"/>
              <a:gd name="connsiteX702" fmla="*/ 6395112 w 6474890"/>
              <a:gd name="connsiteY702" fmla="*/ 4867091 h 6868448"/>
              <a:gd name="connsiteX703" fmla="*/ 6378015 w 6474890"/>
              <a:gd name="connsiteY703" fmla="*/ 5150149 h 6868448"/>
              <a:gd name="connsiteX704" fmla="*/ 6351418 w 6474890"/>
              <a:gd name="connsiteY704" fmla="*/ 5172946 h 6868448"/>
              <a:gd name="connsiteX705" fmla="*/ 6351418 w 6474890"/>
              <a:gd name="connsiteY705" fmla="*/ 5138751 h 6868448"/>
              <a:gd name="connsiteX706" fmla="*/ 6340970 w 6474890"/>
              <a:gd name="connsiteY706" fmla="*/ 5184344 h 6868448"/>
              <a:gd name="connsiteX707" fmla="*/ 6336221 w 6474890"/>
              <a:gd name="connsiteY707" fmla="*/ 5138751 h 6868448"/>
              <a:gd name="connsiteX708" fmla="*/ 6325773 w 6474890"/>
              <a:gd name="connsiteY708" fmla="*/ 5115954 h 6868448"/>
              <a:gd name="connsiteX709" fmla="*/ 6320073 w 6474890"/>
              <a:gd name="connsiteY709" fmla="*/ 5093158 h 6868448"/>
              <a:gd name="connsiteX710" fmla="*/ 6314374 w 6474890"/>
              <a:gd name="connsiteY710" fmla="*/ 5160598 h 6868448"/>
              <a:gd name="connsiteX711" fmla="*/ 6303925 w 6474890"/>
              <a:gd name="connsiteY711" fmla="*/ 5092207 h 6868448"/>
              <a:gd name="connsiteX712" fmla="*/ 6293477 w 6474890"/>
              <a:gd name="connsiteY712" fmla="*/ 5126403 h 6868448"/>
              <a:gd name="connsiteX713" fmla="*/ 6283029 w 6474890"/>
              <a:gd name="connsiteY713" fmla="*/ 5103606 h 6868448"/>
              <a:gd name="connsiteX714" fmla="*/ 6272580 w 6474890"/>
              <a:gd name="connsiteY714" fmla="*/ 5080810 h 6868448"/>
              <a:gd name="connsiteX715" fmla="*/ 6256432 w 6474890"/>
              <a:gd name="connsiteY715" fmla="*/ 5092207 h 6868448"/>
              <a:gd name="connsiteX716" fmla="*/ 6229836 w 6474890"/>
              <a:gd name="connsiteY716" fmla="*/ 5126403 h 6868448"/>
              <a:gd name="connsiteX717" fmla="*/ 6229836 w 6474890"/>
              <a:gd name="connsiteY717" fmla="*/ 5080810 h 6868448"/>
              <a:gd name="connsiteX718" fmla="*/ 6203241 w 6474890"/>
              <a:gd name="connsiteY718" fmla="*/ 5092207 h 6868448"/>
              <a:gd name="connsiteX719" fmla="*/ 6213689 w 6474890"/>
              <a:gd name="connsiteY719" fmla="*/ 5171046 h 6868448"/>
              <a:gd name="connsiteX720" fmla="*/ 6262132 w 6474890"/>
              <a:gd name="connsiteY720" fmla="*/ 5205241 h 6868448"/>
              <a:gd name="connsiteX721" fmla="*/ 6267831 w 6474890"/>
              <a:gd name="connsiteY721" fmla="*/ 5171046 h 6868448"/>
              <a:gd name="connsiteX722" fmla="*/ 6294427 w 6474890"/>
              <a:gd name="connsiteY722" fmla="*/ 5148250 h 6868448"/>
              <a:gd name="connsiteX723" fmla="*/ 6294427 w 6474890"/>
              <a:gd name="connsiteY723" fmla="*/ 5227088 h 6868448"/>
              <a:gd name="connsiteX724" fmla="*/ 6300126 w 6474890"/>
              <a:gd name="connsiteY724" fmla="*/ 5192893 h 6868448"/>
              <a:gd name="connsiteX725" fmla="*/ 6321973 w 6474890"/>
              <a:gd name="connsiteY725" fmla="*/ 5181495 h 6868448"/>
              <a:gd name="connsiteX726" fmla="*/ 6338121 w 6474890"/>
              <a:gd name="connsiteY726" fmla="*/ 5204292 h 6868448"/>
              <a:gd name="connsiteX727" fmla="*/ 6370416 w 6474890"/>
              <a:gd name="connsiteY727" fmla="*/ 5181495 h 6868448"/>
              <a:gd name="connsiteX728" fmla="*/ 6348569 w 6474890"/>
              <a:gd name="connsiteY728" fmla="*/ 5294528 h 6868448"/>
              <a:gd name="connsiteX729" fmla="*/ 6359018 w 6474890"/>
              <a:gd name="connsiteY729" fmla="*/ 5407562 h 6868448"/>
              <a:gd name="connsiteX730" fmla="*/ 6326722 w 6474890"/>
              <a:gd name="connsiteY730" fmla="*/ 5396163 h 6868448"/>
              <a:gd name="connsiteX731" fmla="*/ 6337171 w 6474890"/>
              <a:gd name="connsiteY731" fmla="*/ 5350570 h 6868448"/>
              <a:gd name="connsiteX732" fmla="*/ 6332421 w 6474890"/>
              <a:gd name="connsiteY732" fmla="*/ 5260333 h 6868448"/>
              <a:gd name="connsiteX733" fmla="*/ 6321973 w 6474890"/>
              <a:gd name="connsiteY733" fmla="*/ 5283130 h 6868448"/>
              <a:gd name="connsiteX734" fmla="*/ 6311525 w 6474890"/>
              <a:gd name="connsiteY734" fmla="*/ 5248935 h 6868448"/>
              <a:gd name="connsiteX735" fmla="*/ 6273530 w 6474890"/>
              <a:gd name="connsiteY735" fmla="*/ 5271732 h 6868448"/>
              <a:gd name="connsiteX736" fmla="*/ 6268781 w 6474890"/>
              <a:gd name="connsiteY736" fmla="*/ 5214740 h 6868448"/>
              <a:gd name="connsiteX737" fmla="*/ 6252633 w 6474890"/>
              <a:gd name="connsiteY737" fmla="*/ 5282180 h 6868448"/>
              <a:gd name="connsiteX738" fmla="*/ 6247884 w 6474890"/>
              <a:gd name="connsiteY738" fmla="*/ 5203341 h 6868448"/>
              <a:gd name="connsiteX739" fmla="*/ 6231736 w 6474890"/>
              <a:gd name="connsiteY739" fmla="*/ 5226138 h 6868448"/>
              <a:gd name="connsiteX740" fmla="*/ 6220338 w 6474890"/>
              <a:gd name="connsiteY740" fmla="*/ 5293578 h 6868448"/>
              <a:gd name="connsiteX741" fmla="*/ 6220338 w 6474890"/>
              <a:gd name="connsiteY741" fmla="*/ 5327774 h 6868448"/>
              <a:gd name="connsiteX742" fmla="*/ 6229481 w 6474890"/>
              <a:gd name="connsiteY742" fmla="*/ 5348077 h 6868448"/>
              <a:gd name="connsiteX743" fmla="*/ 6235536 w 6474890"/>
              <a:gd name="connsiteY743" fmla="*/ 5354971 h 6868448"/>
              <a:gd name="connsiteX744" fmla="*/ 6235536 w 6474890"/>
              <a:gd name="connsiteY744" fmla="*/ 5374031 h 6868448"/>
              <a:gd name="connsiteX745" fmla="*/ 6228457 w 6474890"/>
              <a:gd name="connsiteY745" fmla="*/ 5378977 h 6868448"/>
              <a:gd name="connsiteX746" fmla="*/ 6209890 w 6474890"/>
              <a:gd name="connsiteY746" fmla="*/ 5407562 h 6868448"/>
              <a:gd name="connsiteX747" fmla="*/ 6214639 w 6474890"/>
              <a:gd name="connsiteY747" fmla="*/ 5475952 h 6868448"/>
              <a:gd name="connsiteX748" fmla="*/ 6208939 w 6474890"/>
              <a:gd name="connsiteY748" fmla="*/ 5521545 h 6868448"/>
              <a:gd name="connsiteX749" fmla="*/ 6203241 w 6474890"/>
              <a:gd name="connsiteY749" fmla="*/ 5578537 h 6868448"/>
              <a:gd name="connsiteX750" fmla="*/ 6229836 w 6474890"/>
              <a:gd name="connsiteY750" fmla="*/ 5601334 h 6868448"/>
              <a:gd name="connsiteX751" fmla="*/ 6218438 w 6474890"/>
              <a:gd name="connsiteY751" fmla="*/ 5702969 h 6868448"/>
              <a:gd name="connsiteX752" fmla="*/ 6197542 w 6474890"/>
              <a:gd name="connsiteY752" fmla="*/ 5691570 h 6868448"/>
              <a:gd name="connsiteX753" fmla="*/ 6197542 w 6474890"/>
              <a:gd name="connsiteY753" fmla="*/ 5737164 h 6868448"/>
              <a:gd name="connsiteX754" fmla="*/ 6218438 w 6474890"/>
              <a:gd name="connsiteY754" fmla="*/ 5748562 h 6868448"/>
              <a:gd name="connsiteX755" fmla="*/ 6218438 w 6474890"/>
              <a:gd name="connsiteY755" fmla="*/ 5794155 h 6868448"/>
              <a:gd name="connsiteX756" fmla="*/ 6175695 w 6474890"/>
              <a:gd name="connsiteY756" fmla="*/ 5805554 h 6868448"/>
              <a:gd name="connsiteX757" fmla="*/ 6196591 w 6474890"/>
              <a:gd name="connsiteY757" fmla="*/ 5851147 h 6868448"/>
              <a:gd name="connsiteX758" fmla="*/ 6174745 w 6474890"/>
              <a:gd name="connsiteY758" fmla="*/ 5964181 h 6868448"/>
              <a:gd name="connsiteX759" fmla="*/ 6159547 w 6474890"/>
              <a:gd name="connsiteY759" fmla="*/ 5873944 h 6868448"/>
              <a:gd name="connsiteX760" fmla="*/ 6165246 w 6474890"/>
              <a:gd name="connsiteY760" fmla="*/ 5828350 h 6868448"/>
              <a:gd name="connsiteX761" fmla="*/ 6165246 w 6474890"/>
              <a:gd name="connsiteY761" fmla="*/ 5794155 h 6868448"/>
              <a:gd name="connsiteX762" fmla="*/ 6170945 w 6474890"/>
              <a:gd name="connsiteY762" fmla="*/ 5759961 h 6868448"/>
              <a:gd name="connsiteX763" fmla="*/ 6176645 w 6474890"/>
              <a:gd name="connsiteY763" fmla="*/ 5702969 h 6868448"/>
              <a:gd name="connsiteX764" fmla="*/ 6166196 w 6474890"/>
              <a:gd name="connsiteY764" fmla="*/ 5635528 h 6868448"/>
              <a:gd name="connsiteX765" fmla="*/ 6171896 w 6474890"/>
              <a:gd name="connsiteY765" fmla="*/ 5556690 h 6868448"/>
              <a:gd name="connsiteX766" fmla="*/ 6166196 w 6474890"/>
              <a:gd name="connsiteY766" fmla="*/ 5579487 h 6868448"/>
              <a:gd name="connsiteX767" fmla="*/ 6161447 w 6474890"/>
              <a:gd name="connsiteY767" fmla="*/ 5512046 h 6868448"/>
              <a:gd name="connsiteX768" fmla="*/ 6150999 w 6474890"/>
              <a:gd name="connsiteY768" fmla="*/ 5557640 h 6868448"/>
              <a:gd name="connsiteX769" fmla="*/ 6130101 w 6474890"/>
              <a:gd name="connsiteY769" fmla="*/ 5557640 h 6868448"/>
              <a:gd name="connsiteX770" fmla="*/ 6113004 w 6474890"/>
              <a:gd name="connsiteY770" fmla="*/ 5704868 h 6868448"/>
              <a:gd name="connsiteX771" fmla="*/ 6101606 w 6474890"/>
              <a:gd name="connsiteY771" fmla="*/ 5953732 h 6868448"/>
              <a:gd name="connsiteX772" fmla="*/ 6101606 w 6474890"/>
              <a:gd name="connsiteY772" fmla="*/ 5908139 h 6868448"/>
              <a:gd name="connsiteX773" fmla="*/ 6079759 w 6474890"/>
              <a:gd name="connsiteY773" fmla="*/ 5964181 h 6868448"/>
              <a:gd name="connsiteX774" fmla="*/ 6085458 w 6474890"/>
              <a:gd name="connsiteY774" fmla="*/ 5851147 h 6868448"/>
              <a:gd name="connsiteX775" fmla="*/ 6069311 w 6474890"/>
              <a:gd name="connsiteY775" fmla="*/ 5908139 h 6868448"/>
              <a:gd name="connsiteX776" fmla="*/ 6069311 w 6474890"/>
              <a:gd name="connsiteY776" fmla="*/ 5953732 h 6868448"/>
              <a:gd name="connsiteX777" fmla="*/ 6058862 w 6474890"/>
              <a:gd name="connsiteY777" fmla="*/ 5953732 h 6868448"/>
              <a:gd name="connsiteX778" fmla="*/ 6069311 w 6474890"/>
              <a:gd name="connsiteY778" fmla="*/ 6010724 h 6868448"/>
              <a:gd name="connsiteX779" fmla="*/ 6047464 w 6474890"/>
              <a:gd name="connsiteY779" fmla="*/ 6010724 h 6868448"/>
              <a:gd name="connsiteX780" fmla="*/ 6047464 w 6474890"/>
              <a:gd name="connsiteY780" fmla="*/ 6079114 h 6868448"/>
              <a:gd name="connsiteX781" fmla="*/ 6053163 w 6474890"/>
              <a:gd name="connsiteY781" fmla="*/ 6056317 h 6868448"/>
              <a:gd name="connsiteX782" fmla="*/ 6063611 w 6474890"/>
              <a:gd name="connsiteY782" fmla="*/ 6090512 h 6868448"/>
              <a:gd name="connsiteX783" fmla="*/ 6079759 w 6474890"/>
              <a:gd name="connsiteY783" fmla="*/ 6033521 h 6868448"/>
              <a:gd name="connsiteX784" fmla="*/ 6095907 w 6474890"/>
              <a:gd name="connsiteY784" fmla="*/ 6056317 h 6868448"/>
              <a:gd name="connsiteX785" fmla="*/ 6085458 w 6474890"/>
              <a:gd name="connsiteY785" fmla="*/ 6056317 h 6868448"/>
              <a:gd name="connsiteX786" fmla="*/ 6074060 w 6474890"/>
              <a:gd name="connsiteY786" fmla="*/ 6123757 h 6868448"/>
              <a:gd name="connsiteX787" fmla="*/ 6090207 w 6474890"/>
              <a:gd name="connsiteY787" fmla="*/ 6146554 h 6868448"/>
              <a:gd name="connsiteX788" fmla="*/ 6068361 w 6474890"/>
              <a:gd name="connsiteY788" fmla="*/ 6180749 h 6868448"/>
              <a:gd name="connsiteX789" fmla="*/ 6084508 w 6474890"/>
              <a:gd name="connsiteY789" fmla="*/ 6192148 h 6868448"/>
              <a:gd name="connsiteX790" fmla="*/ 6068361 w 6474890"/>
              <a:gd name="connsiteY790" fmla="*/ 6259588 h 6868448"/>
              <a:gd name="connsiteX791" fmla="*/ 6063611 w 6474890"/>
              <a:gd name="connsiteY791" fmla="*/ 6112359 h 6868448"/>
              <a:gd name="connsiteX792" fmla="*/ 6036066 w 6474890"/>
              <a:gd name="connsiteY792" fmla="*/ 6304231 h 6868448"/>
              <a:gd name="connsiteX793" fmla="*/ 6057912 w 6474890"/>
              <a:gd name="connsiteY793" fmla="*/ 6292833 h 6868448"/>
              <a:gd name="connsiteX794" fmla="*/ 6063611 w 6474890"/>
              <a:gd name="connsiteY794" fmla="*/ 6304231 h 6868448"/>
              <a:gd name="connsiteX795" fmla="*/ 6079759 w 6474890"/>
              <a:gd name="connsiteY795" fmla="*/ 6292833 h 6868448"/>
              <a:gd name="connsiteX796" fmla="*/ 6031316 w 6474890"/>
              <a:gd name="connsiteY796" fmla="*/ 6327027 h 6868448"/>
              <a:gd name="connsiteX797" fmla="*/ 6020868 w 6474890"/>
              <a:gd name="connsiteY797" fmla="*/ 6338426 h 6868448"/>
              <a:gd name="connsiteX798" fmla="*/ 6022530 w 6474890"/>
              <a:gd name="connsiteY798" fmla="*/ 6413465 h 6868448"/>
              <a:gd name="connsiteX799" fmla="*/ 6030783 w 6474890"/>
              <a:gd name="connsiteY799" fmla="*/ 6470566 h 6868448"/>
              <a:gd name="connsiteX800" fmla="*/ 6030471 w 6474890"/>
              <a:gd name="connsiteY800" fmla="*/ 6473683 h 6868448"/>
              <a:gd name="connsiteX801" fmla="*/ 6029283 w 6474890"/>
              <a:gd name="connsiteY801" fmla="*/ 6472876 h 6868448"/>
              <a:gd name="connsiteX802" fmla="*/ 6020868 w 6474890"/>
              <a:gd name="connsiteY802" fmla="*/ 6462858 h 6868448"/>
              <a:gd name="connsiteX803" fmla="*/ 6015169 w 6474890"/>
              <a:gd name="connsiteY803" fmla="*/ 6486605 h 6868448"/>
              <a:gd name="connsiteX804" fmla="*/ 6019918 w 6474890"/>
              <a:gd name="connsiteY804" fmla="*/ 6507501 h 6868448"/>
              <a:gd name="connsiteX805" fmla="*/ 6014218 w 6474890"/>
              <a:gd name="connsiteY805" fmla="*/ 6518900 h 6868448"/>
              <a:gd name="connsiteX806" fmla="*/ 6002821 w 6474890"/>
              <a:gd name="connsiteY806" fmla="*/ 6654730 h 6868448"/>
              <a:gd name="connsiteX807" fmla="*/ 5993322 w 6474890"/>
              <a:gd name="connsiteY807" fmla="*/ 6867499 h 6868448"/>
              <a:gd name="connsiteX808" fmla="*/ 5857492 w 6474890"/>
              <a:gd name="connsiteY808" fmla="*/ 6867499 h 6868448"/>
              <a:gd name="connsiteX809" fmla="*/ 5857492 w 6474890"/>
              <a:gd name="connsiteY809" fmla="*/ 6862750 h 6868448"/>
              <a:gd name="connsiteX810" fmla="*/ 5850843 w 6474890"/>
              <a:gd name="connsiteY810" fmla="*/ 6862750 h 6868448"/>
              <a:gd name="connsiteX811" fmla="*/ 5850843 w 6474890"/>
              <a:gd name="connsiteY811" fmla="*/ 6867499 h 6868448"/>
              <a:gd name="connsiteX812" fmla="*/ 5489896 w 6474890"/>
              <a:gd name="connsiteY812" fmla="*/ 6867499 h 6868448"/>
              <a:gd name="connsiteX813" fmla="*/ 5488946 w 6474890"/>
              <a:gd name="connsiteY813" fmla="*/ 6862750 h 6868448"/>
              <a:gd name="connsiteX814" fmla="*/ 5483247 w 6474890"/>
              <a:gd name="connsiteY814" fmla="*/ 6862750 h 6868448"/>
              <a:gd name="connsiteX815" fmla="*/ 5483247 w 6474890"/>
              <a:gd name="connsiteY815" fmla="*/ 6867499 h 6868448"/>
              <a:gd name="connsiteX816" fmla="*/ 5225835 w 6474890"/>
              <a:gd name="connsiteY816" fmla="*/ 6867499 h 6868448"/>
              <a:gd name="connsiteX817" fmla="*/ 5225835 w 6474890"/>
              <a:gd name="connsiteY817" fmla="*/ 6862750 h 6868448"/>
              <a:gd name="connsiteX818" fmla="*/ 5217287 w 6474890"/>
              <a:gd name="connsiteY818" fmla="*/ 6862750 h 6868448"/>
              <a:gd name="connsiteX819" fmla="*/ 5217287 w 6474890"/>
              <a:gd name="connsiteY819" fmla="*/ 6867499 h 6868448"/>
              <a:gd name="connsiteX820" fmla="*/ 5218236 w 6474890"/>
              <a:gd name="connsiteY820" fmla="*/ 6868448 h 6868448"/>
              <a:gd name="connsiteX821" fmla="*/ 5118501 w 6474890"/>
              <a:gd name="connsiteY821" fmla="*/ 6868448 h 6868448"/>
              <a:gd name="connsiteX822" fmla="*/ 3104798 w 6474890"/>
              <a:gd name="connsiteY822" fmla="*/ 6863699 h 6868448"/>
              <a:gd name="connsiteX823" fmla="*/ 0 w 6474890"/>
              <a:gd name="connsiteY823" fmla="*/ 6863699 h 686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Lst>
            <a:rect l="l" t="t" r="r" b="b"/>
            <a:pathLst>
              <a:path w="6474890" h="6868448">
                <a:moveTo>
                  <a:pt x="5117551" y="6853251"/>
                </a:moveTo>
                <a:cubicBezTo>
                  <a:pt x="5116601" y="6854201"/>
                  <a:pt x="5116601" y="6855151"/>
                  <a:pt x="5117551" y="6857051"/>
                </a:cubicBezTo>
                <a:cubicBezTo>
                  <a:pt x="5119451" y="6856100"/>
                  <a:pt x="5120401" y="6854201"/>
                  <a:pt x="5121350" y="6853251"/>
                </a:cubicBezTo>
                <a:close/>
                <a:moveTo>
                  <a:pt x="6122503" y="6804808"/>
                </a:moveTo>
                <a:cubicBezTo>
                  <a:pt x="6138650" y="6815256"/>
                  <a:pt x="6138650" y="6815256"/>
                  <a:pt x="6153848" y="6804808"/>
                </a:cubicBezTo>
                <a:cubicBezTo>
                  <a:pt x="6155748" y="6831404"/>
                  <a:pt x="6152898" y="6847552"/>
                  <a:pt x="6143400" y="6850401"/>
                </a:cubicBezTo>
                <a:cubicBezTo>
                  <a:pt x="6132001" y="6858950"/>
                  <a:pt x="6136751" y="6835203"/>
                  <a:pt x="6132951" y="6827605"/>
                </a:cubicBezTo>
                <a:cubicBezTo>
                  <a:pt x="6129152" y="6820006"/>
                  <a:pt x="6118703" y="6827605"/>
                  <a:pt x="6122503" y="6804808"/>
                </a:cubicBezTo>
                <a:close/>
                <a:moveTo>
                  <a:pt x="6063611" y="6803858"/>
                </a:moveTo>
                <a:cubicBezTo>
                  <a:pt x="6076910" y="6802908"/>
                  <a:pt x="6089258" y="6802908"/>
                  <a:pt x="6095907" y="6815256"/>
                </a:cubicBezTo>
                <a:cubicBezTo>
                  <a:pt x="6093057" y="6826655"/>
                  <a:pt x="6092107" y="6842803"/>
                  <a:pt x="6091157" y="6858000"/>
                </a:cubicBezTo>
                <a:lnTo>
                  <a:pt x="6056013" y="6858000"/>
                </a:lnTo>
                <a:cubicBezTo>
                  <a:pt x="6058862" y="6837103"/>
                  <a:pt x="6062662" y="6817156"/>
                  <a:pt x="6063611" y="6803858"/>
                </a:cubicBezTo>
                <a:close/>
                <a:moveTo>
                  <a:pt x="6019013" y="6794286"/>
                </a:moveTo>
                <a:cubicBezTo>
                  <a:pt x="6020868" y="6795250"/>
                  <a:pt x="6023005" y="6798159"/>
                  <a:pt x="6025617" y="6803858"/>
                </a:cubicBezTo>
                <a:cubicBezTo>
                  <a:pt x="6027517" y="6839003"/>
                  <a:pt x="6008520" y="6827605"/>
                  <a:pt x="5999021" y="6838053"/>
                </a:cubicBezTo>
                <a:cubicBezTo>
                  <a:pt x="5998071" y="6822855"/>
                  <a:pt x="6001870" y="6820955"/>
                  <a:pt x="6004720" y="6815256"/>
                </a:cubicBezTo>
                <a:cubicBezTo>
                  <a:pt x="6010420" y="6805995"/>
                  <a:pt x="6013447" y="6791392"/>
                  <a:pt x="6019013" y="6794286"/>
                </a:cubicBezTo>
                <a:close/>
                <a:moveTo>
                  <a:pt x="6032266" y="6747817"/>
                </a:moveTo>
                <a:cubicBezTo>
                  <a:pt x="6035116" y="6747817"/>
                  <a:pt x="6038915" y="6747817"/>
                  <a:pt x="6042714" y="6747817"/>
                </a:cubicBezTo>
                <a:cubicBezTo>
                  <a:pt x="6042714" y="6759214"/>
                  <a:pt x="6042714" y="6770613"/>
                  <a:pt x="6042714" y="6782011"/>
                </a:cubicBezTo>
                <a:cubicBezTo>
                  <a:pt x="6039865" y="6782011"/>
                  <a:pt x="6036066" y="6782011"/>
                  <a:pt x="6032266" y="6782011"/>
                </a:cubicBezTo>
                <a:cubicBezTo>
                  <a:pt x="6032266" y="6770613"/>
                  <a:pt x="6032266" y="6759214"/>
                  <a:pt x="6032266" y="6747817"/>
                </a:cubicBezTo>
                <a:close/>
                <a:moveTo>
                  <a:pt x="6158360" y="6668489"/>
                </a:moveTo>
                <a:cubicBezTo>
                  <a:pt x="6163347" y="6675034"/>
                  <a:pt x="6159785" y="6699611"/>
                  <a:pt x="6160497" y="6714571"/>
                </a:cubicBezTo>
                <a:cubicBezTo>
                  <a:pt x="6172845" y="6714571"/>
                  <a:pt x="6158597" y="6744967"/>
                  <a:pt x="6150049" y="6736418"/>
                </a:cubicBezTo>
                <a:cubicBezTo>
                  <a:pt x="6150049" y="6714571"/>
                  <a:pt x="6150049" y="6691774"/>
                  <a:pt x="6150049" y="6668978"/>
                </a:cubicBezTo>
                <a:cubicBezTo>
                  <a:pt x="6154086" y="6666129"/>
                  <a:pt x="6156698" y="6666307"/>
                  <a:pt x="6158360" y="6668489"/>
                </a:cubicBezTo>
                <a:close/>
                <a:moveTo>
                  <a:pt x="6016118" y="6645231"/>
                </a:moveTo>
                <a:cubicBezTo>
                  <a:pt x="6021818" y="6652830"/>
                  <a:pt x="6021818" y="6671828"/>
                  <a:pt x="6032266" y="6668028"/>
                </a:cubicBezTo>
                <a:cubicBezTo>
                  <a:pt x="6031316" y="6681326"/>
                  <a:pt x="6022767" y="6677527"/>
                  <a:pt x="6016118" y="6679426"/>
                </a:cubicBezTo>
                <a:cubicBezTo>
                  <a:pt x="6013269" y="6704123"/>
                  <a:pt x="6023717" y="6701273"/>
                  <a:pt x="6031316" y="6702223"/>
                </a:cubicBezTo>
                <a:cubicBezTo>
                  <a:pt x="6026567" y="6731669"/>
                  <a:pt x="6022767" y="6765864"/>
                  <a:pt x="6004720" y="6769663"/>
                </a:cubicBezTo>
                <a:cubicBezTo>
                  <a:pt x="6000921" y="6712672"/>
                  <a:pt x="6012319" y="6687025"/>
                  <a:pt x="6016118" y="6645231"/>
                </a:cubicBezTo>
                <a:close/>
                <a:moveTo>
                  <a:pt x="6155748" y="6589190"/>
                </a:moveTo>
                <a:cubicBezTo>
                  <a:pt x="6169996" y="6586340"/>
                  <a:pt x="6173795" y="6605337"/>
                  <a:pt x="6171896" y="6634783"/>
                </a:cubicBezTo>
                <a:cubicBezTo>
                  <a:pt x="6165246" y="6632883"/>
                  <a:pt x="6162397" y="6637632"/>
                  <a:pt x="6160497" y="6646181"/>
                </a:cubicBezTo>
                <a:cubicBezTo>
                  <a:pt x="6149099" y="6648081"/>
                  <a:pt x="6158597" y="6605337"/>
                  <a:pt x="6155748" y="6589190"/>
                </a:cubicBezTo>
                <a:close/>
                <a:moveTo>
                  <a:pt x="6241235" y="6555944"/>
                </a:moveTo>
                <a:cubicBezTo>
                  <a:pt x="6264032" y="6558794"/>
                  <a:pt x="6246934" y="6645231"/>
                  <a:pt x="6229836" y="6634783"/>
                </a:cubicBezTo>
                <a:cubicBezTo>
                  <a:pt x="6229836" y="6599638"/>
                  <a:pt x="6232686" y="6572092"/>
                  <a:pt x="6241235" y="6555944"/>
                </a:cubicBezTo>
                <a:close/>
                <a:moveTo>
                  <a:pt x="6219388" y="6555944"/>
                </a:moveTo>
                <a:cubicBezTo>
                  <a:pt x="6214639" y="6583490"/>
                  <a:pt x="6220338" y="6633833"/>
                  <a:pt x="6203241" y="6634783"/>
                </a:cubicBezTo>
                <a:cubicBezTo>
                  <a:pt x="6207990" y="6607237"/>
                  <a:pt x="6202291" y="6556894"/>
                  <a:pt x="6219388" y="6555944"/>
                </a:cubicBezTo>
                <a:close/>
                <a:moveTo>
                  <a:pt x="6166196" y="6533148"/>
                </a:moveTo>
                <a:cubicBezTo>
                  <a:pt x="6177594" y="6535047"/>
                  <a:pt x="6177594" y="6561643"/>
                  <a:pt x="6176645" y="6590139"/>
                </a:cubicBezTo>
                <a:cubicBezTo>
                  <a:pt x="6158597" y="6585390"/>
                  <a:pt x="6163347" y="6559744"/>
                  <a:pt x="6166196" y="6533148"/>
                </a:cubicBezTo>
                <a:close/>
                <a:moveTo>
                  <a:pt x="6241235" y="6499902"/>
                </a:moveTo>
                <a:cubicBezTo>
                  <a:pt x="6246934" y="6499902"/>
                  <a:pt x="6251683" y="6499902"/>
                  <a:pt x="6257383" y="6499902"/>
                </a:cubicBezTo>
                <a:cubicBezTo>
                  <a:pt x="6264981" y="6532198"/>
                  <a:pt x="6233636" y="6532198"/>
                  <a:pt x="6241235" y="6499902"/>
                </a:cubicBezTo>
                <a:close/>
                <a:moveTo>
                  <a:pt x="6220338" y="6431512"/>
                </a:moveTo>
                <a:cubicBezTo>
                  <a:pt x="6225087" y="6433412"/>
                  <a:pt x="6226037" y="6442911"/>
                  <a:pt x="6230787" y="6442911"/>
                </a:cubicBezTo>
                <a:cubicBezTo>
                  <a:pt x="6230787" y="6450509"/>
                  <a:pt x="6230787" y="6458109"/>
                  <a:pt x="6230787" y="6465708"/>
                </a:cubicBezTo>
                <a:cubicBezTo>
                  <a:pt x="6219388" y="6470457"/>
                  <a:pt x="6220338" y="6449560"/>
                  <a:pt x="6220338" y="6431512"/>
                </a:cubicBezTo>
                <a:close/>
                <a:moveTo>
                  <a:pt x="6049363" y="6430563"/>
                </a:moveTo>
                <a:cubicBezTo>
                  <a:pt x="6069311" y="6464757"/>
                  <a:pt x="6033216" y="6468557"/>
                  <a:pt x="6049363" y="6430563"/>
                </a:cubicBezTo>
                <a:close/>
                <a:moveTo>
                  <a:pt x="6172845" y="6419164"/>
                </a:moveTo>
                <a:cubicBezTo>
                  <a:pt x="6186143" y="6421064"/>
                  <a:pt x="6185193" y="6461908"/>
                  <a:pt x="6177594" y="6476156"/>
                </a:cubicBezTo>
                <a:cubicBezTo>
                  <a:pt x="6159547" y="6465708"/>
                  <a:pt x="6174745" y="6455259"/>
                  <a:pt x="6172845" y="6419164"/>
                </a:cubicBezTo>
                <a:close/>
                <a:moveTo>
                  <a:pt x="6044614" y="6384969"/>
                </a:moveTo>
                <a:cubicBezTo>
                  <a:pt x="6034166" y="6417264"/>
                  <a:pt x="6044614" y="6491354"/>
                  <a:pt x="6033216" y="6520799"/>
                </a:cubicBezTo>
                <a:cubicBezTo>
                  <a:pt x="6030366" y="6546446"/>
                  <a:pt x="6043664" y="6536947"/>
                  <a:pt x="6043664" y="6554994"/>
                </a:cubicBezTo>
                <a:cubicBezTo>
                  <a:pt x="6046514" y="6576841"/>
                  <a:pt x="6041765" y="6591089"/>
                  <a:pt x="6037965" y="6611036"/>
                </a:cubicBezTo>
                <a:cubicBezTo>
                  <a:pt x="6035116" y="6630033"/>
                  <a:pt x="6040815" y="6649031"/>
                  <a:pt x="6027517" y="6645231"/>
                </a:cubicBezTo>
                <a:cubicBezTo>
                  <a:pt x="6024667" y="6603437"/>
                  <a:pt x="6025617" y="6590139"/>
                  <a:pt x="6017069" y="6543596"/>
                </a:cubicBezTo>
                <a:cubicBezTo>
                  <a:pt x="6021818" y="6540272"/>
                  <a:pt x="6025142" y="6522699"/>
                  <a:pt x="6027636" y="6502040"/>
                </a:cubicBezTo>
                <a:lnTo>
                  <a:pt x="6030471" y="6473683"/>
                </a:lnTo>
                <a:lnTo>
                  <a:pt x="6031316" y="6474256"/>
                </a:lnTo>
                <a:lnTo>
                  <a:pt x="6030783" y="6470566"/>
                </a:lnTo>
                <a:lnTo>
                  <a:pt x="6030827" y="6470130"/>
                </a:lnTo>
                <a:cubicBezTo>
                  <a:pt x="6031732" y="6459652"/>
                  <a:pt x="6032504" y="6449797"/>
                  <a:pt x="6033216" y="6441961"/>
                </a:cubicBezTo>
                <a:cubicBezTo>
                  <a:pt x="6036066" y="6421064"/>
                  <a:pt x="6027517" y="6375471"/>
                  <a:pt x="6044614" y="6384969"/>
                </a:cubicBezTo>
                <a:close/>
                <a:moveTo>
                  <a:pt x="6124403" y="6351724"/>
                </a:moveTo>
                <a:cubicBezTo>
                  <a:pt x="6127252" y="6351724"/>
                  <a:pt x="6131052" y="6351724"/>
                  <a:pt x="6134851" y="6351724"/>
                </a:cubicBezTo>
                <a:cubicBezTo>
                  <a:pt x="6134851" y="6359323"/>
                  <a:pt x="6134851" y="6366922"/>
                  <a:pt x="6134851" y="6374521"/>
                </a:cubicBezTo>
                <a:cubicBezTo>
                  <a:pt x="6132001" y="6374521"/>
                  <a:pt x="6128202" y="6374521"/>
                  <a:pt x="6124403" y="6374521"/>
                </a:cubicBezTo>
                <a:cubicBezTo>
                  <a:pt x="6124403" y="6366922"/>
                  <a:pt x="6124403" y="6359323"/>
                  <a:pt x="6124403" y="6351724"/>
                </a:cubicBezTo>
                <a:close/>
                <a:moveTo>
                  <a:pt x="6231021" y="6350936"/>
                </a:moveTo>
                <a:cubicBezTo>
                  <a:pt x="6232538" y="6350196"/>
                  <a:pt x="6234349" y="6350656"/>
                  <a:pt x="6236486" y="6352674"/>
                </a:cubicBezTo>
                <a:cubicBezTo>
                  <a:pt x="6237435" y="6380220"/>
                  <a:pt x="6237435" y="6406816"/>
                  <a:pt x="6230787" y="6420114"/>
                </a:cubicBezTo>
                <a:cubicBezTo>
                  <a:pt x="6224137" y="6420114"/>
                  <a:pt x="6220397" y="6356117"/>
                  <a:pt x="6231021" y="6350936"/>
                </a:cubicBezTo>
                <a:close/>
                <a:moveTo>
                  <a:pt x="6182565" y="6305269"/>
                </a:moveTo>
                <a:cubicBezTo>
                  <a:pt x="6184259" y="6303682"/>
                  <a:pt x="6186381" y="6303757"/>
                  <a:pt x="6188993" y="6306131"/>
                </a:cubicBezTo>
                <a:cubicBezTo>
                  <a:pt x="6195642" y="6334627"/>
                  <a:pt x="6173795" y="6353624"/>
                  <a:pt x="6188993" y="6363123"/>
                </a:cubicBezTo>
                <a:cubicBezTo>
                  <a:pt x="6179851" y="6408835"/>
                  <a:pt x="6170708" y="6316372"/>
                  <a:pt x="6182565" y="6305269"/>
                </a:cubicBezTo>
                <a:close/>
                <a:moveTo>
                  <a:pt x="6087358" y="6294732"/>
                </a:moveTo>
                <a:cubicBezTo>
                  <a:pt x="6091157" y="6294732"/>
                  <a:pt x="6094007" y="6294732"/>
                  <a:pt x="6097807" y="6294732"/>
                </a:cubicBezTo>
                <a:cubicBezTo>
                  <a:pt x="6097807" y="6302331"/>
                  <a:pt x="6097807" y="6309930"/>
                  <a:pt x="6097807" y="6317529"/>
                </a:cubicBezTo>
                <a:cubicBezTo>
                  <a:pt x="6094007" y="6317529"/>
                  <a:pt x="6091157" y="6317529"/>
                  <a:pt x="6087358" y="6317529"/>
                </a:cubicBezTo>
                <a:cubicBezTo>
                  <a:pt x="6087358" y="6309930"/>
                  <a:pt x="6087358" y="6302331"/>
                  <a:pt x="6087358" y="6294732"/>
                </a:cubicBezTo>
                <a:close/>
                <a:moveTo>
                  <a:pt x="6108255" y="6293782"/>
                </a:moveTo>
                <a:cubicBezTo>
                  <a:pt x="6127252" y="6316579"/>
                  <a:pt x="6109204" y="6345075"/>
                  <a:pt x="6113004" y="6395418"/>
                </a:cubicBezTo>
                <a:cubicBezTo>
                  <a:pt x="6119653" y="6410616"/>
                  <a:pt x="6114904" y="6413465"/>
                  <a:pt x="6113004" y="6429613"/>
                </a:cubicBezTo>
                <a:cubicBezTo>
                  <a:pt x="6123452" y="6424864"/>
                  <a:pt x="6126302" y="6437212"/>
                  <a:pt x="6133901" y="6441011"/>
                </a:cubicBezTo>
                <a:cubicBezTo>
                  <a:pt x="6133901" y="6460008"/>
                  <a:pt x="6133901" y="6479005"/>
                  <a:pt x="6133901" y="6498003"/>
                </a:cubicBezTo>
                <a:cubicBezTo>
                  <a:pt x="6128202" y="6498003"/>
                  <a:pt x="6123452" y="6498003"/>
                  <a:pt x="6117753" y="6498003"/>
                </a:cubicBezTo>
                <a:cubicBezTo>
                  <a:pt x="6118703" y="6517950"/>
                  <a:pt x="6110155" y="6522699"/>
                  <a:pt x="6112054" y="6543596"/>
                </a:cubicBezTo>
                <a:cubicBezTo>
                  <a:pt x="6113004" y="6553095"/>
                  <a:pt x="6120603" y="6570192"/>
                  <a:pt x="6112054" y="6589190"/>
                </a:cubicBezTo>
                <a:cubicBezTo>
                  <a:pt x="6103506" y="6608187"/>
                  <a:pt x="6113004" y="6597738"/>
                  <a:pt x="6112054" y="6634783"/>
                </a:cubicBezTo>
                <a:cubicBezTo>
                  <a:pt x="6112054" y="6643332"/>
                  <a:pt x="6101606" y="6694624"/>
                  <a:pt x="6106355" y="6702223"/>
                </a:cubicBezTo>
                <a:cubicBezTo>
                  <a:pt x="6113004" y="6714571"/>
                  <a:pt x="6106355" y="6706022"/>
                  <a:pt x="6106355" y="6747817"/>
                </a:cubicBezTo>
                <a:cubicBezTo>
                  <a:pt x="6089258" y="6753515"/>
                  <a:pt x="6094007" y="6800059"/>
                  <a:pt x="6068361" y="6770613"/>
                </a:cubicBezTo>
                <a:cubicBezTo>
                  <a:pt x="6073110" y="6757315"/>
                  <a:pt x="6075959" y="6740217"/>
                  <a:pt x="6074060" y="6713621"/>
                </a:cubicBezTo>
                <a:cubicBezTo>
                  <a:pt x="6080709" y="6702223"/>
                  <a:pt x="6094007" y="6702223"/>
                  <a:pt x="6100656" y="6690825"/>
                </a:cubicBezTo>
                <a:cubicBezTo>
                  <a:pt x="6083559" y="6663279"/>
                  <a:pt x="6101606" y="6628134"/>
                  <a:pt x="6101606" y="6577791"/>
                </a:cubicBezTo>
                <a:cubicBezTo>
                  <a:pt x="6100656" y="6564493"/>
                  <a:pt x="6092107" y="6568292"/>
                  <a:pt x="6085458" y="6566393"/>
                </a:cubicBezTo>
                <a:cubicBezTo>
                  <a:pt x="6084508" y="6535997"/>
                  <a:pt x="6093057" y="6529348"/>
                  <a:pt x="6107305" y="6532198"/>
                </a:cubicBezTo>
                <a:cubicBezTo>
                  <a:pt x="6100656" y="6517000"/>
                  <a:pt x="6105405" y="6514150"/>
                  <a:pt x="6107305" y="6498003"/>
                </a:cubicBezTo>
                <a:cubicBezTo>
                  <a:pt x="6104455" y="6472357"/>
                  <a:pt x="6098756" y="6511301"/>
                  <a:pt x="6091157" y="6486605"/>
                </a:cubicBezTo>
                <a:cubicBezTo>
                  <a:pt x="6093057" y="6412515"/>
                  <a:pt x="6102556" y="6357423"/>
                  <a:pt x="6108255" y="6293782"/>
                </a:cubicBezTo>
                <a:close/>
                <a:moveTo>
                  <a:pt x="6141500" y="6227292"/>
                </a:moveTo>
                <a:cubicBezTo>
                  <a:pt x="6143400" y="6266237"/>
                  <a:pt x="6139600" y="6291883"/>
                  <a:pt x="6119653" y="6284284"/>
                </a:cubicBezTo>
                <a:cubicBezTo>
                  <a:pt x="6118703" y="6247239"/>
                  <a:pt x="6126302" y="6229192"/>
                  <a:pt x="6141500" y="6227292"/>
                </a:cubicBezTo>
                <a:close/>
                <a:moveTo>
                  <a:pt x="6194692" y="6171251"/>
                </a:moveTo>
                <a:cubicBezTo>
                  <a:pt x="6207040" y="6167451"/>
                  <a:pt x="6200391" y="6203545"/>
                  <a:pt x="6210839" y="6205445"/>
                </a:cubicBezTo>
                <a:cubicBezTo>
                  <a:pt x="6206090" y="6224443"/>
                  <a:pt x="6210839" y="6265286"/>
                  <a:pt x="6194692" y="6261487"/>
                </a:cubicBezTo>
                <a:cubicBezTo>
                  <a:pt x="6194692" y="6232041"/>
                  <a:pt x="6194692" y="6201646"/>
                  <a:pt x="6194692" y="6171251"/>
                </a:cubicBezTo>
                <a:close/>
                <a:moveTo>
                  <a:pt x="6101962" y="6156943"/>
                </a:moveTo>
                <a:cubicBezTo>
                  <a:pt x="6103565" y="6154865"/>
                  <a:pt x="6106118" y="6155103"/>
                  <a:pt x="6110155" y="6158902"/>
                </a:cubicBezTo>
                <a:cubicBezTo>
                  <a:pt x="6111104" y="6177900"/>
                  <a:pt x="6106355" y="6195947"/>
                  <a:pt x="6104455" y="6215894"/>
                </a:cubicBezTo>
                <a:cubicBezTo>
                  <a:pt x="6102556" y="6233941"/>
                  <a:pt x="6107305" y="6259588"/>
                  <a:pt x="6098756" y="6261487"/>
                </a:cubicBezTo>
                <a:cubicBezTo>
                  <a:pt x="6077859" y="6270036"/>
                  <a:pt x="6094957" y="6226342"/>
                  <a:pt x="6098756" y="6204496"/>
                </a:cubicBezTo>
                <a:cubicBezTo>
                  <a:pt x="6100894" y="6190248"/>
                  <a:pt x="6097154" y="6163177"/>
                  <a:pt x="6101962" y="6156943"/>
                </a:cubicBezTo>
                <a:close/>
                <a:moveTo>
                  <a:pt x="6275430" y="6125657"/>
                </a:moveTo>
                <a:cubicBezTo>
                  <a:pt x="6291577" y="6128507"/>
                  <a:pt x="6285878" y="6187398"/>
                  <a:pt x="6269731" y="6182649"/>
                </a:cubicBezTo>
                <a:cubicBezTo>
                  <a:pt x="6267831" y="6156052"/>
                  <a:pt x="6270680" y="6138955"/>
                  <a:pt x="6275430" y="6125657"/>
                </a:cubicBezTo>
                <a:close/>
                <a:moveTo>
                  <a:pt x="6252871" y="6109984"/>
                </a:moveTo>
                <a:cubicBezTo>
                  <a:pt x="6257382" y="6109510"/>
                  <a:pt x="6262132" y="6118058"/>
                  <a:pt x="6253583" y="6137055"/>
                </a:cubicBezTo>
                <a:cubicBezTo>
                  <a:pt x="6244085" y="6119958"/>
                  <a:pt x="6248359" y="6110459"/>
                  <a:pt x="6252871" y="6109984"/>
                </a:cubicBezTo>
                <a:close/>
                <a:moveTo>
                  <a:pt x="6206013" y="6068795"/>
                </a:moveTo>
                <a:cubicBezTo>
                  <a:pt x="6207620" y="6067686"/>
                  <a:pt x="6209534" y="6067834"/>
                  <a:pt x="6211790" y="6069615"/>
                </a:cubicBezTo>
                <a:cubicBezTo>
                  <a:pt x="6224138" y="6094311"/>
                  <a:pt x="6210839" y="6125657"/>
                  <a:pt x="6206090" y="6148454"/>
                </a:cubicBezTo>
                <a:cubicBezTo>
                  <a:pt x="6198611" y="6145960"/>
                  <a:pt x="6194766" y="6076561"/>
                  <a:pt x="6206013" y="6068795"/>
                </a:cubicBezTo>
                <a:close/>
                <a:moveTo>
                  <a:pt x="6088308" y="6068666"/>
                </a:moveTo>
                <a:cubicBezTo>
                  <a:pt x="6094007" y="6068666"/>
                  <a:pt x="6098756" y="6068666"/>
                  <a:pt x="6104455" y="6068666"/>
                </a:cubicBezTo>
                <a:cubicBezTo>
                  <a:pt x="6105405" y="6093362"/>
                  <a:pt x="6099706" y="6104760"/>
                  <a:pt x="6088308" y="6102860"/>
                </a:cubicBezTo>
                <a:cubicBezTo>
                  <a:pt x="6088308" y="6091462"/>
                  <a:pt x="6088308" y="6080063"/>
                  <a:pt x="6088308" y="6068666"/>
                </a:cubicBezTo>
                <a:close/>
                <a:moveTo>
                  <a:pt x="6257858" y="6064985"/>
                </a:moveTo>
                <a:cubicBezTo>
                  <a:pt x="6262370" y="6064629"/>
                  <a:pt x="6267356" y="6073415"/>
                  <a:pt x="6259282" y="6092412"/>
                </a:cubicBezTo>
                <a:cubicBezTo>
                  <a:pt x="6249309" y="6074840"/>
                  <a:pt x="6253346" y="6065341"/>
                  <a:pt x="6257858" y="6064985"/>
                </a:cubicBezTo>
                <a:close/>
                <a:moveTo>
                  <a:pt x="6141500" y="6057267"/>
                </a:moveTo>
                <a:cubicBezTo>
                  <a:pt x="6147199" y="6050618"/>
                  <a:pt x="6157648" y="6095262"/>
                  <a:pt x="6157648" y="6091462"/>
                </a:cubicBezTo>
                <a:cubicBezTo>
                  <a:pt x="6156697" y="6117108"/>
                  <a:pt x="6142450" y="6108559"/>
                  <a:pt x="6151948" y="6158902"/>
                </a:cubicBezTo>
                <a:cubicBezTo>
                  <a:pt x="6143400" y="6172200"/>
                  <a:pt x="6137700" y="6172200"/>
                  <a:pt x="6130101" y="6158902"/>
                </a:cubicBezTo>
                <a:cubicBezTo>
                  <a:pt x="6126302" y="6189298"/>
                  <a:pt x="6141500" y="6180749"/>
                  <a:pt x="6146249" y="6193097"/>
                </a:cubicBezTo>
                <a:cubicBezTo>
                  <a:pt x="6139600" y="6238690"/>
                  <a:pt x="6135801" y="6190248"/>
                  <a:pt x="6119653" y="6193097"/>
                </a:cubicBezTo>
                <a:cubicBezTo>
                  <a:pt x="6115854" y="6142755"/>
                  <a:pt x="6127252" y="6125657"/>
                  <a:pt x="6125352" y="6080063"/>
                </a:cubicBezTo>
                <a:cubicBezTo>
                  <a:pt x="6135801" y="6083863"/>
                  <a:pt x="6142450" y="6077214"/>
                  <a:pt x="6141500" y="6057267"/>
                </a:cubicBezTo>
                <a:close/>
                <a:moveTo>
                  <a:pt x="6260232" y="5978429"/>
                </a:moveTo>
                <a:cubicBezTo>
                  <a:pt x="6273530" y="5980328"/>
                  <a:pt x="6272580" y="6021173"/>
                  <a:pt x="6264981" y="6035420"/>
                </a:cubicBezTo>
                <a:cubicBezTo>
                  <a:pt x="6253583" y="6037320"/>
                  <a:pt x="6263082" y="5995526"/>
                  <a:pt x="6260232" y="5978429"/>
                </a:cubicBezTo>
                <a:close/>
                <a:moveTo>
                  <a:pt x="6157900" y="5968678"/>
                </a:moveTo>
                <a:cubicBezTo>
                  <a:pt x="6161863" y="5969227"/>
                  <a:pt x="6165722" y="5972255"/>
                  <a:pt x="6169046" y="5978429"/>
                </a:cubicBezTo>
                <a:cubicBezTo>
                  <a:pt x="6169996" y="5997426"/>
                  <a:pt x="6163347" y="5998376"/>
                  <a:pt x="6163347" y="6012624"/>
                </a:cubicBezTo>
                <a:cubicBezTo>
                  <a:pt x="6147199" y="6002175"/>
                  <a:pt x="6147199" y="6002175"/>
                  <a:pt x="6131052" y="6012624"/>
                </a:cubicBezTo>
                <a:cubicBezTo>
                  <a:pt x="6133189" y="5987690"/>
                  <a:pt x="6146012" y="5967030"/>
                  <a:pt x="6157900" y="5968678"/>
                </a:cubicBezTo>
                <a:close/>
                <a:moveTo>
                  <a:pt x="6040815" y="5944233"/>
                </a:moveTo>
                <a:cubicBezTo>
                  <a:pt x="6030366" y="5953732"/>
                  <a:pt x="6038915" y="6001225"/>
                  <a:pt x="6046514" y="5967030"/>
                </a:cubicBezTo>
                <a:cubicBezTo>
                  <a:pt x="6043664" y="5966080"/>
                  <a:pt x="6039865" y="5965130"/>
                  <a:pt x="6040815" y="5955632"/>
                </a:cubicBezTo>
                <a:cubicBezTo>
                  <a:pt x="6043664" y="5955632"/>
                  <a:pt x="6046514" y="5946133"/>
                  <a:pt x="6040815" y="5944233"/>
                </a:cubicBezTo>
                <a:close/>
                <a:moveTo>
                  <a:pt x="6248834" y="5900540"/>
                </a:moveTo>
                <a:cubicBezTo>
                  <a:pt x="6261182" y="5905289"/>
                  <a:pt x="6252633" y="5960381"/>
                  <a:pt x="6248834" y="5967980"/>
                </a:cubicBezTo>
                <a:cubicBezTo>
                  <a:pt x="6237435" y="5962281"/>
                  <a:pt x="6245035" y="5907189"/>
                  <a:pt x="6248834" y="5900540"/>
                </a:cubicBezTo>
                <a:close/>
                <a:moveTo>
                  <a:pt x="6148149" y="5876793"/>
                </a:moveTo>
                <a:cubicBezTo>
                  <a:pt x="6151948" y="5875843"/>
                  <a:pt x="6153848" y="5891041"/>
                  <a:pt x="6153848" y="5898640"/>
                </a:cubicBezTo>
                <a:cubicBezTo>
                  <a:pt x="6151948" y="5912888"/>
                  <a:pt x="6150049" y="5935685"/>
                  <a:pt x="6148149" y="5955632"/>
                </a:cubicBezTo>
                <a:cubicBezTo>
                  <a:pt x="6127252" y="5946133"/>
                  <a:pt x="6142450" y="5896740"/>
                  <a:pt x="6148149" y="5876793"/>
                </a:cubicBezTo>
                <a:close/>
                <a:moveTo>
                  <a:pt x="6274955" y="5838324"/>
                </a:moveTo>
                <a:cubicBezTo>
                  <a:pt x="6279467" y="5837850"/>
                  <a:pt x="6284454" y="5846398"/>
                  <a:pt x="6276380" y="5865395"/>
                </a:cubicBezTo>
                <a:cubicBezTo>
                  <a:pt x="6266406" y="5848298"/>
                  <a:pt x="6270443" y="5838799"/>
                  <a:pt x="6274955" y="5838324"/>
                </a:cubicBezTo>
                <a:close/>
                <a:moveTo>
                  <a:pt x="6223187" y="5831200"/>
                </a:moveTo>
                <a:cubicBezTo>
                  <a:pt x="6245984" y="5856846"/>
                  <a:pt x="6234586" y="5929985"/>
                  <a:pt x="6227937" y="5978429"/>
                </a:cubicBezTo>
                <a:cubicBezTo>
                  <a:pt x="6206090" y="5948033"/>
                  <a:pt x="6228887" y="5892941"/>
                  <a:pt x="6223187" y="5831200"/>
                </a:cubicBezTo>
                <a:close/>
                <a:moveTo>
                  <a:pt x="6300872" y="5827733"/>
                </a:moveTo>
                <a:cubicBezTo>
                  <a:pt x="6303110" y="5827015"/>
                  <a:pt x="6305707" y="5827995"/>
                  <a:pt x="6308675" y="5831200"/>
                </a:cubicBezTo>
                <a:cubicBezTo>
                  <a:pt x="6306775" y="5837849"/>
                  <a:pt x="6311525" y="5860646"/>
                  <a:pt x="6308675" y="5865395"/>
                </a:cubicBezTo>
                <a:cubicBezTo>
                  <a:pt x="6307725" y="5867295"/>
                  <a:pt x="6298227" y="5863495"/>
                  <a:pt x="6298227" y="5865395"/>
                </a:cubicBezTo>
                <a:cubicBezTo>
                  <a:pt x="6297277" y="5872994"/>
                  <a:pt x="6306775" y="5892941"/>
                  <a:pt x="6302976" y="5910988"/>
                </a:cubicBezTo>
                <a:cubicBezTo>
                  <a:pt x="6287184" y="5920962"/>
                  <a:pt x="6285210" y="5832759"/>
                  <a:pt x="6300872" y="5827733"/>
                </a:cubicBezTo>
                <a:close/>
                <a:moveTo>
                  <a:pt x="6132703" y="5816696"/>
                </a:moveTo>
                <a:cubicBezTo>
                  <a:pt x="6134138" y="5816611"/>
                  <a:pt x="6135801" y="5817546"/>
                  <a:pt x="6137700" y="5819802"/>
                </a:cubicBezTo>
                <a:cubicBezTo>
                  <a:pt x="6139600" y="5843548"/>
                  <a:pt x="6133901" y="5850197"/>
                  <a:pt x="6132001" y="5865395"/>
                </a:cubicBezTo>
                <a:cubicBezTo>
                  <a:pt x="6123690" y="5867888"/>
                  <a:pt x="6122652" y="5817293"/>
                  <a:pt x="6132703" y="5816696"/>
                </a:cubicBezTo>
                <a:close/>
                <a:moveTo>
                  <a:pt x="6231855" y="5755211"/>
                </a:moveTo>
                <a:cubicBezTo>
                  <a:pt x="6236961" y="5754262"/>
                  <a:pt x="6243610" y="5759961"/>
                  <a:pt x="6249784" y="5763760"/>
                </a:cubicBezTo>
                <a:cubicBezTo>
                  <a:pt x="6248834" y="5788456"/>
                  <a:pt x="6236486" y="5788456"/>
                  <a:pt x="6223187" y="5786557"/>
                </a:cubicBezTo>
                <a:cubicBezTo>
                  <a:pt x="6223187" y="5763760"/>
                  <a:pt x="6226749" y="5756161"/>
                  <a:pt x="6231855" y="5755211"/>
                </a:cubicBezTo>
                <a:close/>
                <a:moveTo>
                  <a:pt x="6138402" y="5748345"/>
                </a:moveTo>
                <a:cubicBezTo>
                  <a:pt x="6139838" y="5748236"/>
                  <a:pt x="6141500" y="5749156"/>
                  <a:pt x="6143400" y="5751412"/>
                </a:cubicBezTo>
                <a:cubicBezTo>
                  <a:pt x="6145300" y="5775158"/>
                  <a:pt x="6139600" y="5781807"/>
                  <a:pt x="6137700" y="5797005"/>
                </a:cubicBezTo>
                <a:cubicBezTo>
                  <a:pt x="6129389" y="5800330"/>
                  <a:pt x="6128351" y="5749111"/>
                  <a:pt x="6138402" y="5748345"/>
                </a:cubicBezTo>
                <a:close/>
                <a:moveTo>
                  <a:pt x="6116804" y="5740013"/>
                </a:moveTo>
                <a:cubicBezTo>
                  <a:pt x="6119653" y="5740013"/>
                  <a:pt x="6123452" y="5740013"/>
                  <a:pt x="6127252" y="5740013"/>
                </a:cubicBezTo>
                <a:cubicBezTo>
                  <a:pt x="6127252" y="5751412"/>
                  <a:pt x="6127252" y="5762810"/>
                  <a:pt x="6127252" y="5774209"/>
                </a:cubicBezTo>
                <a:cubicBezTo>
                  <a:pt x="6123452" y="5774209"/>
                  <a:pt x="6120603" y="5774209"/>
                  <a:pt x="6116804" y="5774209"/>
                </a:cubicBezTo>
                <a:cubicBezTo>
                  <a:pt x="6116804" y="5762810"/>
                  <a:pt x="6116804" y="5751412"/>
                  <a:pt x="6116804" y="5740013"/>
                </a:cubicBezTo>
                <a:close/>
                <a:moveTo>
                  <a:pt x="6311272" y="5717514"/>
                </a:moveTo>
                <a:cubicBezTo>
                  <a:pt x="6312712" y="5714783"/>
                  <a:pt x="6315324" y="5714605"/>
                  <a:pt x="6320073" y="5719116"/>
                </a:cubicBezTo>
                <a:cubicBezTo>
                  <a:pt x="6325773" y="5753311"/>
                  <a:pt x="6321973" y="5764710"/>
                  <a:pt x="6324822" y="5820751"/>
                </a:cubicBezTo>
                <a:cubicBezTo>
                  <a:pt x="6316274" y="5820751"/>
                  <a:pt x="6306775" y="5820751"/>
                  <a:pt x="6298227" y="5820751"/>
                </a:cubicBezTo>
                <a:cubicBezTo>
                  <a:pt x="6298227" y="5805554"/>
                  <a:pt x="6298227" y="5790356"/>
                  <a:pt x="6299176" y="5776108"/>
                </a:cubicBezTo>
                <a:cubicBezTo>
                  <a:pt x="6284928" y="5773258"/>
                  <a:pt x="6294427" y="5820751"/>
                  <a:pt x="6277329" y="5810303"/>
                </a:cubicBezTo>
                <a:cubicBezTo>
                  <a:pt x="6274480" y="5754261"/>
                  <a:pt x="6267831" y="5818852"/>
                  <a:pt x="6255483" y="5810303"/>
                </a:cubicBezTo>
                <a:cubicBezTo>
                  <a:pt x="6255483" y="5791306"/>
                  <a:pt x="6255483" y="5772309"/>
                  <a:pt x="6255483" y="5753311"/>
                </a:cubicBezTo>
                <a:cubicBezTo>
                  <a:pt x="6270680" y="5767559"/>
                  <a:pt x="6288728" y="5767559"/>
                  <a:pt x="6303925" y="5753311"/>
                </a:cubicBezTo>
                <a:cubicBezTo>
                  <a:pt x="6313187" y="5756874"/>
                  <a:pt x="6306954" y="5725706"/>
                  <a:pt x="6311272" y="5717514"/>
                </a:cubicBezTo>
                <a:close/>
                <a:moveTo>
                  <a:pt x="6234586" y="5673523"/>
                </a:moveTo>
                <a:cubicBezTo>
                  <a:pt x="6238385" y="5673523"/>
                  <a:pt x="6241235" y="5673523"/>
                  <a:pt x="6245035" y="5673523"/>
                </a:cubicBezTo>
                <a:cubicBezTo>
                  <a:pt x="6245035" y="5681122"/>
                  <a:pt x="6245035" y="5688721"/>
                  <a:pt x="6245035" y="5696320"/>
                </a:cubicBezTo>
                <a:cubicBezTo>
                  <a:pt x="6242185" y="5696320"/>
                  <a:pt x="6238385" y="5696320"/>
                  <a:pt x="6234586" y="5696320"/>
                </a:cubicBezTo>
                <a:cubicBezTo>
                  <a:pt x="6234586" y="5688721"/>
                  <a:pt x="6234586" y="5681122"/>
                  <a:pt x="6234586" y="5673523"/>
                </a:cubicBezTo>
                <a:close/>
                <a:moveTo>
                  <a:pt x="6068361" y="5671623"/>
                </a:moveTo>
                <a:cubicBezTo>
                  <a:pt x="6064562" y="5680172"/>
                  <a:pt x="6056962" y="5735264"/>
                  <a:pt x="6068361" y="5740013"/>
                </a:cubicBezTo>
                <a:cubicBezTo>
                  <a:pt x="6075010" y="5730515"/>
                  <a:pt x="6068361" y="5706768"/>
                  <a:pt x="6068361" y="5694420"/>
                </a:cubicBezTo>
                <a:cubicBezTo>
                  <a:pt x="6068361" y="5694420"/>
                  <a:pt x="6079759" y="5674473"/>
                  <a:pt x="6068361" y="5671623"/>
                </a:cubicBezTo>
                <a:close/>
                <a:moveTo>
                  <a:pt x="6201104" y="5629785"/>
                </a:moveTo>
                <a:cubicBezTo>
                  <a:pt x="6193446" y="5625555"/>
                  <a:pt x="6184719" y="5634816"/>
                  <a:pt x="6186143" y="5661175"/>
                </a:cubicBezTo>
                <a:cubicBezTo>
                  <a:pt x="6195642" y="5659275"/>
                  <a:pt x="6204190" y="5653576"/>
                  <a:pt x="6207990" y="5638378"/>
                </a:cubicBezTo>
                <a:cubicBezTo>
                  <a:pt x="6206090" y="5634104"/>
                  <a:pt x="6203656" y="5631195"/>
                  <a:pt x="6201104" y="5629785"/>
                </a:cubicBezTo>
                <a:close/>
                <a:moveTo>
                  <a:pt x="6144424" y="5604406"/>
                </a:moveTo>
                <a:cubicBezTo>
                  <a:pt x="6148387" y="5606855"/>
                  <a:pt x="6147674" y="5617719"/>
                  <a:pt x="6149099" y="5626980"/>
                </a:cubicBezTo>
                <a:cubicBezTo>
                  <a:pt x="6151948" y="5644077"/>
                  <a:pt x="6161447" y="5686821"/>
                  <a:pt x="6138650" y="5683972"/>
                </a:cubicBezTo>
                <a:cubicBezTo>
                  <a:pt x="6138650" y="5658325"/>
                  <a:pt x="6138650" y="5631729"/>
                  <a:pt x="6138650" y="5605133"/>
                </a:cubicBezTo>
                <a:cubicBezTo>
                  <a:pt x="6141262" y="5603708"/>
                  <a:pt x="6143103" y="5603590"/>
                  <a:pt x="6144424" y="5604406"/>
                </a:cubicBezTo>
                <a:close/>
                <a:moveTo>
                  <a:pt x="6245984" y="5593735"/>
                </a:moveTo>
                <a:cubicBezTo>
                  <a:pt x="6261182" y="5595634"/>
                  <a:pt x="6258332" y="5647876"/>
                  <a:pt x="6240285" y="5639328"/>
                </a:cubicBezTo>
                <a:cubicBezTo>
                  <a:pt x="6238385" y="5615582"/>
                  <a:pt x="6244084" y="5608932"/>
                  <a:pt x="6245984" y="5593735"/>
                </a:cubicBezTo>
                <a:close/>
                <a:moveTo>
                  <a:pt x="6315324" y="5583286"/>
                </a:moveTo>
                <a:cubicBezTo>
                  <a:pt x="6338121" y="5601334"/>
                  <a:pt x="6317224" y="5664974"/>
                  <a:pt x="6314374" y="5696320"/>
                </a:cubicBezTo>
                <a:cubicBezTo>
                  <a:pt x="6303925" y="5680172"/>
                  <a:pt x="6308675" y="5600383"/>
                  <a:pt x="6315324" y="5583286"/>
                </a:cubicBezTo>
                <a:close/>
                <a:moveTo>
                  <a:pt x="6288728" y="5583286"/>
                </a:moveTo>
                <a:cubicBezTo>
                  <a:pt x="6306775" y="5590885"/>
                  <a:pt x="6291577" y="5616531"/>
                  <a:pt x="6288728" y="5640278"/>
                </a:cubicBezTo>
                <a:cubicBezTo>
                  <a:pt x="6272580" y="5629829"/>
                  <a:pt x="6291577" y="5603233"/>
                  <a:pt x="6288728" y="5583286"/>
                </a:cubicBezTo>
                <a:close/>
                <a:moveTo>
                  <a:pt x="6271631" y="5583286"/>
                </a:moveTo>
                <a:cubicBezTo>
                  <a:pt x="6289678" y="5587086"/>
                  <a:pt x="6274480" y="5646927"/>
                  <a:pt x="6271631" y="5673523"/>
                </a:cubicBezTo>
                <a:cubicBezTo>
                  <a:pt x="6261182" y="5664024"/>
                  <a:pt x="6266881" y="5594684"/>
                  <a:pt x="6271631" y="5583286"/>
                </a:cubicBezTo>
                <a:close/>
                <a:moveTo>
                  <a:pt x="6187093" y="5548141"/>
                </a:moveTo>
                <a:lnTo>
                  <a:pt x="6187093" y="5559539"/>
                </a:lnTo>
                <a:cubicBezTo>
                  <a:pt x="6180444" y="5568088"/>
                  <a:pt x="6174745" y="5556690"/>
                  <a:pt x="6181394" y="5570938"/>
                </a:cubicBezTo>
                <a:cubicBezTo>
                  <a:pt x="6186143" y="5581386"/>
                  <a:pt x="6183294" y="5579487"/>
                  <a:pt x="6187093" y="5559539"/>
                </a:cubicBezTo>
                <a:cubicBezTo>
                  <a:pt x="6187093" y="5558590"/>
                  <a:pt x="6195642" y="5550991"/>
                  <a:pt x="6187093" y="5548141"/>
                </a:cubicBezTo>
                <a:close/>
                <a:moveTo>
                  <a:pt x="6080709" y="5536743"/>
                </a:moveTo>
                <a:cubicBezTo>
                  <a:pt x="6073110" y="5550991"/>
                  <a:pt x="6071210" y="5591835"/>
                  <a:pt x="6085458" y="5593735"/>
                </a:cubicBezTo>
                <a:cubicBezTo>
                  <a:pt x="6082608" y="5558590"/>
                  <a:pt x="6097807" y="5547191"/>
                  <a:pt x="6080709" y="5536743"/>
                </a:cubicBezTo>
                <a:close/>
                <a:moveTo>
                  <a:pt x="6219388" y="5525345"/>
                </a:moveTo>
                <a:cubicBezTo>
                  <a:pt x="6222238" y="5525345"/>
                  <a:pt x="6226037" y="5525345"/>
                  <a:pt x="6229836" y="5525345"/>
                </a:cubicBezTo>
                <a:cubicBezTo>
                  <a:pt x="6229836" y="5532943"/>
                  <a:pt x="6229836" y="5540542"/>
                  <a:pt x="6229836" y="5548141"/>
                </a:cubicBezTo>
                <a:cubicBezTo>
                  <a:pt x="6226987" y="5548141"/>
                  <a:pt x="6223187" y="5548141"/>
                  <a:pt x="6219388" y="5548141"/>
                </a:cubicBezTo>
                <a:cubicBezTo>
                  <a:pt x="6219388" y="5541492"/>
                  <a:pt x="6219388" y="5533893"/>
                  <a:pt x="6219388" y="5525345"/>
                </a:cubicBezTo>
                <a:close/>
                <a:moveTo>
                  <a:pt x="6315324" y="5514896"/>
                </a:moveTo>
                <a:cubicBezTo>
                  <a:pt x="6321023" y="5514896"/>
                  <a:pt x="6325773" y="5514896"/>
                  <a:pt x="6331472" y="5514896"/>
                </a:cubicBezTo>
                <a:cubicBezTo>
                  <a:pt x="6332421" y="5532943"/>
                  <a:pt x="6326722" y="5534843"/>
                  <a:pt x="6325773" y="5549091"/>
                </a:cubicBezTo>
                <a:cubicBezTo>
                  <a:pt x="6321973" y="5547191"/>
                  <a:pt x="6321023" y="5537693"/>
                  <a:pt x="6315324" y="5537693"/>
                </a:cubicBezTo>
                <a:cubicBezTo>
                  <a:pt x="6315324" y="5530094"/>
                  <a:pt x="6315324" y="5522495"/>
                  <a:pt x="6315324" y="5514896"/>
                </a:cubicBezTo>
                <a:close/>
                <a:moveTo>
                  <a:pt x="6294427" y="5514896"/>
                </a:moveTo>
                <a:cubicBezTo>
                  <a:pt x="6298227" y="5520595"/>
                  <a:pt x="6302976" y="5527245"/>
                  <a:pt x="6310575" y="5526294"/>
                </a:cubicBezTo>
                <a:cubicBezTo>
                  <a:pt x="6310575" y="5537693"/>
                  <a:pt x="6310575" y="5549091"/>
                  <a:pt x="6310575" y="5560490"/>
                </a:cubicBezTo>
                <a:cubicBezTo>
                  <a:pt x="6296327" y="5531044"/>
                  <a:pt x="6305825" y="5578537"/>
                  <a:pt x="6288728" y="5571888"/>
                </a:cubicBezTo>
                <a:cubicBezTo>
                  <a:pt x="6286828" y="5545292"/>
                  <a:pt x="6289678" y="5528194"/>
                  <a:pt x="6294427" y="5514896"/>
                </a:cubicBezTo>
                <a:close/>
                <a:moveTo>
                  <a:pt x="6084034" y="5498274"/>
                </a:moveTo>
                <a:cubicBezTo>
                  <a:pt x="6079522" y="5498748"/>
                  <a:pt x="6075485" y="5508247"/>
                  <a:pt x="6085458" y="5525345"/>
                </a:cubicBezTo>
                <a:cubicBezTo>
                  <a:pt x="6093532" y="5506348"/>
                  <a:pt x="6088545" y="5497799"/>
                  <a:pt x="6084034" y="5498274"/>
                </a:cubicBezTo>
                <a:close/>
                <a:moveTo>
                  <a:pt x="6107305" y="5434158"/>
                </a:moveTo>
                <a:cubicBezTo>
                  <a:pt x="6105405" y="5441757"/>
                  <a:pt x="6094007" y="5478801"/>
                  <a:pt x="6107305" y="5479751"/>
                </a:cubicBezTo>
                <a:cubicBezTo>
                  <a:pt x="6102556" y="5458854"/>
                  <a:pt x="6123452" y="5441757"/>
                  <a:pt x="6107305" y="5434158"/>
                </a:cubicBezTo>
                <a:close/>
                <a:moveTo>
                  <a:pt x="6155748" y="5378116"/>
                </a:moveTo>
                <a:cubicBezTo>
                  <a:pt x="6153848" y="5394264"/>
                  <a:pt x="6149099" y="5397113"/>
                  <a:pt x="6155748" y="5412311"/>
                </a:cubicBezTo>
                <a:cubicBezTo>
                  <a:pt x="6155748" y="5427509"/>
                  <a:pt x="6146249" y="5422760"/>
                  <a:pt x="6145300" y="5435108"/>
                </a:cubicBezTo>
                <a:cubicBezTo>
                  <a:pt x="6160497" y="5481651"/>
                  <a:pt x="6169046" y="5389515"/>
                  <a:pt x="6155748" y="5378116"/>
                </a:cubicBezTo>
                <a:close/>
                <a:moveTo>
                  <a:pt x="6235536" y="5344871"/>
                </a:moveTo>
                <a:cubicBezTo>
                  <a:pt x="6238385" y="5344871"/>
                  <a:pt x="6242185" y="5344871"/>
                  <a:pt x="6245984" y="5344871"/>
                </a:cubicBezTo>
                <a:cubicBezTo>
                  <a:pt x="6245984" y="5356269"/>
                  <a:pt x="6245984" y="5367667"/>
                  <a:pt x="6245984" y="5379066"/>
                </a:cubicBezTo>
                <a:cubicBezTo>
                  <a:pt x="6242185" y="5379066"/>
                  <a:pt x="6239335" y="5379066"/>
                  <a:pt x="6235536" y="5379066"/>
                </a:cubicBezTo>
                <a:lnTo>
                  <a:pt x="6235536" y="5374031"/>
                </a:lnTo>
                <a:lnTo>
                  <a:pt x="6236486" y="5373367"/>
                </a:lnTo>
                <a:cubicBezTo>
                  <a:pt x="6237674" y="5364343"/>
                  <a:pt x="6237139" y="5358822"/>
                  <a:pt x="6235699" y="5355156"/>
                </a:cubicBezTo>
                <a:lnTo>
                  <a:pt x="6235536" y="5354971"/>
                </a:lnTo>
                <a:close/>
                <a:moveTo>
                  <a:pt x="6289834" y="5319692"/>
                </a:moveTo>
                <a:cubicBezTo>
                  <a:pt x="6291400" y="5319254"/>
                  <a:pt x="6293240" y="5319937"/>
                  <a:pt x="6295377" y="5322074"/>
                </a:cubicBezTo>
                <a:cubicBezTo>
                  <a:pt x="6306775" y="5345821"/>
                  <a:pt x="6294427" y="5359119"/>
                  <a:pt x="6289678" y="5379066"/>
                </a:cubicBezTo>
                <a:cubicBezTo>
                  <a:pt x="6281367" y="5380729"/>
                  <a:pt x="6278874" y="5322757"/>
                  <a:pt x="6289834" y="5319692"/>
                </a:cubicBezTo>
                <a:close/>
                <a:moveTo>
                  <a:pt x="6317224" y="5288829"/>
                </a:moveTo>
                <a:cubicBezTo>
                  <a:pt x="6325773" y="5306877"/>
                  <a:pt x="6322923" y="5359119"/>
                  <a:pt x="6305825" y="5356269"/>
                </a:cubicBezTo>
                <a:cubicBezTo>
                  <a:pt x="6308675" y="5333473"/>
                  <a:pt x="6297277" y="5277430"/>
                  <a:pt x="6317224" y="5288829"/>
                </a:cubicBezTo>
                <a:close/>
                <a:moveTo>
                  <a:pt x="6296078" y="5262927"/>
                </a:moveTo>
                <a:cubicBezTo>
                  <a:pt x="6297514" y="5262842"/>
                  <a:pt x="6299177" y="5263777"/>
                  <a:pt x="6301076" y="5266033"/>
                </a:cubicBezTo>
                <a:cubicBezTo>
                  <a:pt x="6301076" y="5286929"/>
                  <a:pt x="6294427" y="5289779"/>
                  <a:pt x="6295377" y="5311626"/>
                </a:cubicBezTo>
                <a:cubicBezTo>
                  <a:pt x="6287066" y="5314119"/>
                  <a:pt x="6286027" y="5263524"/>
                  <a:pt x="6296078" y="5262927"/>
                </a:cubicBezTo>
                <a:close/>
                <a:moveTo>
                  <a:pt x="6129152" y="5230888"/>
                </a:moveTo>
                <a:cubicBezTo>
                  <a:pt x="6117753" y="5228988"/>
                  <a:pt x="6112054" y="5240386"/>
                  <a:pt x="6113004" y="5265082"/>
                </a:cubicBezTo>
                <a:cubicBezTo>
                  <a:pt x="6103506" y="5264133"/>
                  <a:pt x="6099706" y="5273631"/>
                  <a:pt x="6096856" y="5287879"/>
                </a:cubicBezTo>
                <a:cubicBezTo>
                  <a:pt x="6106355" y="5308776"/>
                  <a:pt x="6113954" y="5272681"/>
                  <a:pt x="6118703" y="5310676"/>
                </a:cubicBezTo>
                <a:cubicBezTo>
                  <a:pt x="6110155" y="5305926"/>
                  <a:pt x="6100656" y="5352470"/>
                  <a:pt x="6113004" y="5356269"/>
                </a:cubicBezTo>
                <a:cubicBezTo>
                  <a:pt x="6115854" y="5342971"/>
                  <a:pt x="6118703" y="5330623"/>
                  <a:pt x="6123452" y="5322074"/>
                </a:cubicBezTo>
                <a:cubicBezTo>
                  <a:pt x="6124403" y="5339171"/>
                  <a:pt x="6132001" y="5323974"/>
                  <a:pt x="6133901" y="5310676"/>
                </a:cubicBezTo>
                <a:cubicBezTo>
                  <a:pt x="6122503" y="5307826"/>
                  <a:pt x="6132951" y="5261283"/>
                  <a:pt x="6123452" y="5253684"/>
                </a:cubicBezTo>
                <a:cubicBezTo>
                  <a:pt x="6123452" y="5242286"/>
                  <a:pt x="6128202" y="5240386"/>
                  <a:pt x="6129152" y="5230888"/>
                </a:cubicBezTo>
                <a:close/>
                <a:moveTo>
                  <a:pt x="6151459" y="5223956"/>
                </a:moveTo>
                <a:cubicBezTo>
                  <a:pt x="6149812" y="5224416"/>
                  <a:pt x="6147912" y="5226613"/>
                  <a:pt x="6145300" y="5231837"/>
                </a:cubicBezTo>
                <a:cubicBezTo>
                  <a:pt x="6149099" y="5278381"/>
                  <a:pt x="6146249" y="5270782"/>
                  <a:pt x="6145300" y="5322074"/>
                </a:cubicBezTo>
                <a:cubicBezTo>
                  <a:pt x="6152898" y="5327774"/>
                  <a:pt x="6158597" y="5339171"/>
                  <a:pt x="6166196" y="5344871"/>
                </a:cubicBezTo>
                <a:cubicBezTo>
                  <a:pt x="6152898" y="5297378"/>
                  <a:pt x="6177594" y="5294528"/>
                  <a:pt x="6171896" y="5231837"/>
                </a:cubicBezTo>
                <a:cubicBezTo>
                  <a:pt x="6159073" y="5236824"/>
                  <a:pt x="6156401" y="5222576"/>
                  <a:pt x="6151459" y="5223956"/>
                </a:cubicBezTo>
                <a:close/>
                <a:moveTo>
                  <a:pt x="6236486" y="5129252"/>
                </a:moveTo>
                <a:cubicBezTo>
                  <a:pt x="6240285" y="5131152"/>
                  <a:pt x="6241235" y="5140651"/>
                  <a:pt x="6246934" y="5140651"/>
                </a:cubicBezTo>
                <a:cubicBezTo>
                  <a:pt x="6246934" y="5148250"/>
                  <a:pt x="6246934" y="5155848"/>
                  <a:pt x="6246934" y="5163447"/>
                </a:cubicBezTo>
                <a:cubicBezTo>
                  <a:pt x="6235536" y="5169147"/>
                  <a:pt x="6237435" y="5147300"/>
                  <a:pt x="6236486" y="5129252"/>
                </a:cubicBezTo>
                <a:close/>
                <a:moveTo>
                  <a:pt x="6211419" y="5096497"/>
                </a:moveTo>
                <a:cubicBezTo>
                  <a:pt x="6218142" y="5096720"/>
                  <a:pt x="6223662" y="5149437"/>
                  <a:pt x="6205140" y="5118804"/>
                </a:cubicBezTo>
                <a:cubicBezTo>
                  <a:pt x="6206803" y="5102182"/>
                  <a:pt x="6209178" y="5096423"/>
                  <a:pt x="6211419" y="5096497"/>
                </a:cubicBezTo>
                <a:close/>
                <a:moveTo>
                  <a:pt x="6134851" y="5084609"/>
                </a:moveTo>
                <a:cubicBezTo>
                  <a:pt x="6119653" y="5084609"/>
                  <a:pt x="6113004" y="5104556"/>
                  <a:pt x="6108255" y="5129252"/>
                </a:cubicBezTo>
                <a:cubicBezTo>
                  <a:pt x="6114904" y="5134951"/>
                  <a:pt x="6120603" y="5141600"/>
                  <a:pt x="6124403" y="5152049"/>
                </a:cubicBezTo>
                <a:cubicBezTo>
                  <a:pt x="6121553" y="5152999"/>
                  <a:pt x="6117753" y="5153948"/>
                  <a:pt x="6118703" y="5163447"/>
                </a:cubicBezTo>
                <a:cubicBezTo>
                  <a:pt x="6135801" y="5162497"/>
                  <a:pt x="6130101" y="5112155"/>
                  <a:pt x="6134851" y="5084609"/>
                </a:cubicBezTo>
                <a:close/>
                <a:moveTo>
                  <a:pt x="6172845" y="5073210"/>
                </a:moveTo>
                <a:cubicBezTo>
                  <a:pt x="6183294" y="5116904"/>
                  <a:pt x="6171896" y="5141600"/>
                  <a:pt x="6150999" y="5118804"/>
                </a:cubicBezTo>
                <a:cubicBezTo>
                  <a:pt x="6153848" y="5134951"/>
                  <a:pt x="6144349" y="5177695"/>
                  <a:pt x="6155748" y="5175796"/>
                </a:cubicBezTo>
                <a:cubicBezTo>
                  <a:pt x="6153848" y="5148250"/>
                  <a:pt x="6166196" y="5132102"/>
                  <a:pt x="6171896" y="5141600"/>
                </a:cubicBezTo>
                <a:cubicBezTo>
                  <a:pt x="6175695" y="5146350"/>
                  <a:pt x="6169046" y="5178645"/>
                  <a:pt x="6177594" y="5174846"/>
                </a:cubicBezTo>
                <a:cubicBezTo>
                  <a:pt x="6175695" y="5146350"/>
                  <a:pt x="6197542" y="5077010"/>
                  <a:pt x="6172845" y="5073210"/>
                </a:cubicBezTo>
                <a:close/>
                <a:moveTo>
                  <a:pt x="6273278" y="4949358"/>
                </a:moveTo>
                <a:cubicBezTo>
                  <a:pt x="6270206" y="4947533"/>
                  <a:pt x="6263794" y="4995797"/>
                  <a:pt x="6274480" y="4994372"/>
                </a:cubicBezTo>
                <a:cubicBezTo>
                  <a:pt x="6274480" y="4986773"/>
                  <a:pt x="6274480" y="4979174"/>
                  <a:pt x="6274480" y="4971576"/>
                </a:cubicBezTo>
                <a:cubicBezTo>
                  <a:pt x="6274955" y="4956141"/>
                  <a:pt x="6274302" y="4949967"/>
                  <a:pt x="6273278" y="4949358"/>
                </a:cubicBezTo>
                <a:close/>
                <a:moveTo>
                  <a:pt x="6307725" y="4948779"/>
                </a:moveTo>
                <a:cubicBezTo>
                  <a:pt x="6314374" y="4992472"/>
                  <a:pt x="6283029" y="4951628"/>
                  <a:pt x="6290628" y="4994372"/>
                </a:cubicBezTo>
                <a:cubicBezTo>
                  <a:pt x="6301076" y="4995322"/>
                  <a:pt x="6302976" y="4982973"/>
                  <a:pt x="6312474" y="4982973"/>
                </a:cubicBezTo>
                <a:cubicBezTo>
                  <a:pt x="6321023" y="4982973"/>
                  <a:pt x="6337171" y="5017169"/>
                  <a:pt x="6344770" y="4982973"/>
                </a:cubicBezTo>
                <a:cubicBezTo>
                  <a:pt x="6338121" y="4981074"/>
                  <a:pt x="6339070" y="4964926"/>
                  <a:pt x="6340021" y="4948779"/>
                </a:cubicBezTo>
                <a:cubicBezTo>
                  <a:pt x="6329572" y="4948779"/>
                  <a:pt x="6318173" y="4948779"/>
                  <a:pt x="6307725" y="4948779"/>
                </a:cubicBezTo>
                <a:close/>
                <a:moveTo>
                  <a:pt x="6224716" y="4947042"/>
                </a:moveTo>
                <a:cubicBezTo>
                  <a:pt x="6218795" y="4955012"/>
                  <a:pt x="6219151" y="4985823"/>
                  <a:pt x="6226987" y="4982973"/>
                </a:cubicBezTo>
                <a:cubicBezTo>
                  <a:pt x="6226987" y="4968726"/>
                  <a:pt x="6233636" y="4967776"/>
                  <a:pt x="6232686" y="4948779"/>
                </a:cubicBezTo>
                <a:cubicBezTo>
                  <a:pt x="6229362" y="4944267"/>
                  <a:pt x="6226690" y="4944386"/>
                  <a:pt x="6224716" y="4947042"/>
                </a:cubicBezTo>
                <a:close/>
                <a:moveTo>
                  <a:pt x="6307725" y="4835745"/>
                </a:moveTo>
                <a:cubicBezTo>
                  <a:pt x="6307725" y="4866141"/>
                  <a:pt x="6304876" y="4902235"/>
                  <a:pt x="6318173" y="4903185"/>
                </a:cubicBezTo>
                <a:cubicBezTo>
                  <a:pt x="6315324" y="4880388"/>
                  <a:pt x="6326722" y="4825297"/>
                  <a:pt x="6307725" y="4835745"/>
                </a:cubicBezTo>
                <a:close/>
                <a:moveTo>
                  <a:pt x="6244084" y="4835745"/>
                </a:moveTo>
                <a:cubicBezTo>
                  <a:pt x="6244084" y="4850943"/>
                  <a:pt x="6244084" y="4866141"/>
                  <a:pt x="6244084" y="4881339"/>
                </a:cubicBezTo>
                <a:cubicBezTo>
                  <a:pt x="6250734" y="4881339"/>
                  <a:pt x="6257383" y="4881339"/>
                  <a:pt x="6264981" y="4881339"/>
                </a:cubicBezTo>
                <a:cubicBezTo>
                  <a:pt x="6264981" y="4869940"/>
                  <a:pt x="6264981" y="4858542"/>
                  <a:pt x="6264981" y="4847143"/>
                </a:cubicBezTo>
                <a:cubicBezTo>
                  <a:pt x="6255483" y="4848093"/>
                  <a:pt x="6247884" y="4844294"/>
                  <a:pt x="6244084" y="4835745"/>
                </a:cubicBezTo>
                <a:close/>
                <a:moveTo>
                  <a:pt x="6194218" y="4830521"/>
                </a:moveTo>
                <a:cubicBezTo>
                  <a:pt x="6189706" y="4830996"/>
                  <a:pt x="6185669" y="4840495"/>
                  <a:pt x="6195642" y="4857592"/>
                </a:cubicBezTo>
                <a:cubicBezTo>
                  <a:pt x="6203716" y="4838595"/>
                  <a:pt x="6198729" y="4830046"/>
                  <a:pt x="6194218" y="4830521"/>
                </a:cubicBezTo>
                <a:close/>
                <a:moveTo>
                  <a:pt x="6281129" y="4824347"/>
                </a:moveTo>
                <a:cubicBezTo>
                  <a:pt x="6278280" y="4860442"/>
                  <a:pt x="6292528" y="4868990"/>
                  <a:pt x="6281129" y="4892737"/>
                </a:cubicBezTo>
                <a:cubicBezTo>
                  <a:pt x="6284928" y="4892737"/>
                  <a:pt x="6288728" y="4892737"/>
                  <a:pt x="6291577" y="4892737"/>
                </a:cubicBezTo>
                <a:cubicBezTo>
                  <a:pt x="6294427" y="4891787"/>
                  <a:pt x="6298227" y="4890837"/>
                  <a:pt x="6297277" y="4881339"/>
                </a:cubicBezTo>
                <a:cubicBezTo>
                  <a:pt x="6284928" y="4876589"/>
                  <a:pt x="6298227" y="4819597"/>
                  <a:pt x="6281129" y="4824347"/>
                </a:cubicBezTo>
                <a:close/>
                <a:moveTo>
                  <a:pt x="6356317" y="4823249"/>
                </a:moveTo>
                <a:cubicBezTo>
                  <a:pt x="6349816" y="4829393"/>
                  <a:pt x="6352131" y="4854505"/>
                  <a:pt x="6340021" y="4848093"/>
                </a:cubicBezTo>
                <a:cubicBezTo>
                  <a:pt x="6333371" y="4848093"/>
                  <a:pt x="6335271" y="4828146"/>
                  <a:pt x="6329572" y="4825297"/>
                </a:cubicBezTo>
                <a:cubicBezTo>
                  <a:pt x="6324822" y="4842394"/>
                  <a:pt x="6327672" y="4890837"/>
                  <a:pt x="6334321" y="4904135"/>
                </a:cubicBezTo>
                <a:cubicBezTo>
                  <a:pt x="6343820" y="4875639"/>
                  <a:pt x="6372315" y="4887038"/>
                  <a:pt x="6366617" y="4825297"/>
                </a:cubicBezTo>
                <a:cubicBezTo>
                  <a:pt x="6361630" y="4821260"/>
                  <a:pt x="6358484" y="4821201"/>
                  <a:pt x="6356317" y="4823249"/>
                </a:cubicBezTo>
                <a:close/>
                <a:moveTo>
                  <a:pt x="6357118" y="4678068"/>
                </a:moveTo>
                <a:cubicBezTo>
                  <a:pt x="6359967" y="4694216"/>
                  <a:pt x="6350469" y="4736960"/>
                  <a:pt x="6361867" y="4735060"/>
                </a:cubicBezTo>
                <a:cubicBezTo>
                  <a:pt x="6363767" y="4712263"/>
                  <a:pt x="6382764" y="4725561"/>
                  <a:pt x="6378015" y="4689467"/>
                </a:cubicBezTo>
                <a:cubicBezTo>
                  <a:pt x="6368516" y="4690416"/>
                  <a:pt x="6361867" y="4686617"/>
                  <a:pt x="6357118" y="4678068"/>
                </a:cubicBezTo>
                <a:close/>
                <a:moveTo>
                  <a:pt x="6260232" y="4677118"/>
                </a:moveTo>
                <a:cubicBezTo>
                  <a:pt x="6260232" y="4692316"/>
                  <a:pt x="6260232" y="4707514"/>
                  <a:pt x="6260232" y="4722712"/>
                </a:cubicBezTo>
                <a:cubicBezTo>
                  <a:pt x="6264032" y="4722712"/>
                  <a:pt x="6267831" y="4722712"/>
                  <a:pt x="6270680" y="4722712"/>
                </a:cubicBezTo>
                <a:cubicBezTo>
                  <a:pt x="6270680" y="4707514"/>
                  <a:pt x="6270680" y="4692316"/>
                  <a:pt x="6270680" y="4677118"/>
                </a:cubicBezTo>
                <a:cubicBezTo>
                  <a:pt x="6266881" y="4677118"/>
                  <a:pt x="6263082" y="4677118"/>
                  <a:pt x="6260232" y="4677118"/>
                </a:cubicBezTo>
                <a:close/>
                <a:moveTo>
                  <a:pt x="6192342" y="4664919"/>
                </a:moveTo>
                <a:cubicBezTo>
                  <a:pt x="6175888" y="4671984"/>
                  <a:pt x="6189705" y="4735773"/>
                  <a:pt x="6201341" y="4734110"/>
                </a:cubicBezTo>
                <a:cubicBezTo>
                  <a:pt x="6201341" y="4711313"/>
                  <a:pt x="6201341" y="4688517"/>
                  <a:pt x="6201341" y="4665720"/>
                </a:cubicBezTo>
                <a:cubicBezTo>
                  <a:pt x="6197661" y="4664058"/>
                  <a:pt x="6194692" y="4663910"/>
                  <a:pt x="6192342" y="4664919"/>
                </a:cubicBezTo>
                <a:close/>
                <a:moveTo>
                  <a:pt x="6329572" y="4632475"/>
                </a:moveTo>
                <a:cubicBezTo>
                  <a:pt x="6333371" y="4674269"/>
                  <a:pt x="6320073" y="4680918"/>
                  <a:pt x="6323873" y="4722712"/>
                </a:cubicBezTo>
                <a:cubicBezTo>
                  <a:pt x="6341920" y="4723661"/>
                  <a:pt x="6348569" y="4699915"/>
                  <a:pt x="6345719" y="4655271"/>
                </a:cubicBezTo>
                <a:cubicBezTo>
                  <a:pt x="6355218" y="4655271"/>
                  <a:pt x="6359967" y="4646723"/>
                  <a:pt x="6361867" y="4632475"/>
                </a:cubicBezTo>
                <a:cubicBezTo>
                  <a:pt x="6351418" y="4632475"/>
                  <a:pt x="6340970" y="4632475"/>
                  <a:pt x="6329572" y="4632475"/>
                </a:cubicBezTo>
                <a:close/>
                <a:moveTo>
                  <a:pt x="6298227" y="4632475"/>
                </a:moveTo>
                <a:cubicBezTo>
                  <a:pt x="6298227" y="4640074"/>
                  <a:pt x="6298227" y="4647672"/>
                  <a:pt x="6298227" y="4655271"/>
                </a:cubicBezTo>
                <a:cubicBezTo>
                  <a:pt x="6302026" y="4655271"/>
                  <a:pt x="6304876" y="4655271"/>
                  <a:pt x="6308675" y="4655271"/>
                </a:cubicBezTo>
                <a:cubicBezTo>
                  <a:pt x="6308675" y="4647672"/>
                  <a:pt x="6308675" y="4640074"/>
                  <a:pt x="6308675" y="4632475"/>
                </a:cubicBezTo>
                <a:cubicBezTo>
                  <a:pt x="6304876" y="4632475"/>
                  <a:pt x="6301076" y="4632475"/>
                  <a:pt x="6298227" y="4632475"/>
                </a:cubicBezTo>
                <a:close/>
                <a:moveTo>
                  <a:pt x="6346669" y="4564085"/>
                </a:moveTo>
                <a:cubicBezTo>
                  <a:pt x="6346669" y="4579283"/>
                  <a:pt x="6343820" y="4588781"/>
                  <a:pt x="6340970" y="4598280"/>
                </a:cubicBezTo>
                <a:cubicBezTo>
                  <a:pt x="6350469" y="4596380"/>
                  <a:pt x="6359018" y="4590681"/>
                  <a:pt x="6362817" y="4575483"/>
                </a:cubicBezTo>
                <a:cubicBezTo>
                  <a:pt x="6355218" y="4576433"/>
                  <a:pt x="6350469" y="4570734"/>
                  <a:pt x="6346669" y="4564085"/>
                </a:cubicBezTo>
                <a:close/>
                <a:moveTo>
                  <a:pt x="6378015" y="4529890"/>
                </a:moveTo>
                <a:cubicBezTo>
                  <a:pt x="6381814" y="4546987"/>
                  <a:pt x="6372315" y="4588781"/>
                  <a:pt x="6383714" y="4586881"/>
                </a:cubicBezTo>
                <a:cubicBezTo>
                  <a:pt x="6383714" y="4575483"/>
                  <a:pt x="6383714" y="4564085"/>
                  <a:pt x="6383714" y="4552686"/>
                </a:cubicBezTo>
                <a:cubicBezTo>
                  <a:pt x="6382764" y="4544138"/>
                  <a:pt x="6383714" y="4529890"/>
                  <a:pt x="6378015" y="4529890"/>
                </a:cubicBezTo>
                <a:close/>
                <a:moveTo>
                  <a:pt x="6228887" y="4507093"/>
                </a:moveTo>
                <a:cubicBezTo>
                  <a:pt x="6228887" y="4527040"/>
                  <a:pt x="6232686" y="4536539"/>
                  <a:pt x="6239335" y="4541288"/>
                </a:cubicBezTo>
                <a:cubicBezTo>
                  <a:pt x="6239335" y="4523241"/>
                  <a:pt x="6240285" y="4502344"/>
                  <a:pt x="6228887" y="4507093"/>
                </a:cubicBezTo>
                <a:close/>
                <a:moveTo>
                  <a:pt x="6212739" y="4507093"/>
                </a:moveTo>
                <a:cubicBezTo>
                  <a:pt x="6199441" y="4502344"/>
                  <a:pt x="6201341" y="4527990"/>
                  <a:pt x="6186143" y="4518492"/>
                </a:cubicBezTo>
                <a:cubicBezTo>
                  <a:pt x="6186143" y="4537489"/>
                  <a:pt x="6186143" y="4556486"/>
                  <a:pt x="6186143" y="4575483"/>
                </a:cubicBezTo>
                <a:cubicBezTo>
                  <a:pt x="6204190" y="4572633"/>
                  <a:pt x="6213689" y="4550787"/>
                  <a:pt x="6212739" y="4507093"/>
                </a:cubicBezTo>
                <a:close/>
                <a:moveTo>
                  <a:pt x="6376160" y="4420730"/>
                </a:moveTo>
                <a:cubicBezTo>
                  <a:pt x="6375403" y="4420834"/>
                  <a:pt x="6374454" y="4423031"/>
                  <a:pt x="6373266" y="4428255"/>
                </a:cubicBezTo>
                <a:cubicBezTo>
                  <a:pt x="6370416" y="4441553"/>
                  <a:pt x="6378015" y="4454851"/>
                  <a:pt x="6378015" y="4462449"/>
                </a:cubicBezTo>
                <a:cubicBezTo>
                  <a:pt x="6378015" y="4454851"/>
                  <a:pt x="6369466" y="4502344"/>
                  <a:pt x="6378015" y="4473848"/>
                </a:cubicBezTo>
                <a:cubicBezTo>
                  <a:pt x="6378965" y="4471948"/>
                  <a:pt x="6382764" y="4450101"/>
                  <a:pt x="6383714" y="4451051"/>
                </a:cubicBezTo>
                <a:cubicBezTo>
                  <a:pt x="6383714" y="4451051"/>
                  <a:pt x="6378965" y="4452001"/>
                  <a:pt x="6378965" y="4451051"/>
                </a:cubicBezTo>
                <a:cubicBezTo>
                  <a:pt x="6378965" y="4438941"/>
                  <a:pt x="6378431" y="4420419"/>
                  <a:pt x="6376160" y="4420730"/>
                </a:cubicBezTo>
                <a:close/>
                <a:moveTo>
                  <a:pt x="6351665" y="4419532"/>
                </a:moveTo>
                <a:cubicBezTo>
                  <a:pt x="6350231" y="4419974"/>
                  <a:pt x="6348569" y="4422675"/>
                  <a:pt x="6346669" y="4428255"/>
                </a:cubicBezTo>
                <a:cubicBezTo>
                  <a:pt x="6349519" y="4428255"/>
                  <a:pt x="6352369" y="4437753"/>
                  <a:pt x="6346669" y="4439653"/>
                </a:cubicBezTo>
                <a:cubicBezTo>
                  <a:pt x="6357118" y="4460550"/>
                  <a:pt x="6344770" y="4569784"/>
                  <a:pt x="6351418" y="4529890"/>
                </a:cubicBezTo>
                <a:cubicBezTo>
                  <a:pt x="6360561" y="4524072"/>
                  <a:pt x="6361704" y="4416441"/>
                  <a:pt x="6351665" y="4419532"/>
                </a:cubicBezTo>
                <a:close/>
                <a:moveTo>
                  <a:pt x="6272580" y="4405458"/>
                </a:moveTo>
                <a:cubicBezTo>
                  <a:pt x="6283029" y="4448202"/>
                  <a:pt x="6262132" y="4452951"/>
                  <a:pt x="6272580" y="4495695"/>
                </a:cubicBezTo>
                <a:cubicBezTo>
                  <a:pt x="6271631" y="4511842"/>
                  <a:pt x="6264032" y="4514692"/>
                  <a:pt x="6262132" y="4529890"/>
                </a:cubicBezTo>
                <a:cubicBezTo>
                  <a:pt x="6273530" y="4532739"/>
                  <a:pt x="6263082" y="4579283"/>
                  <a:pt x="6272580" y="4586881"/>
                </a:cubicBezTo>
                <a:cubicBezTo>
                  <a:pt x="6285878" y="4586881"/>
                  <a:pt x="6300126" y="4586881"/>
                  <a:pt x="6314374" y="4586881"/>
                </a:cubicBezTo>
                <a:cubicBezTo>
                  <a:pt x="6315324" y="4559335"/>
                  <a:pt x="6305825" y="4545088"/>
                  <a:pt x="6303925" y="4541288"/>
                </a:cubicBezTo>
                <a:cubicBezTo>
                  <a:pt x="6302026" y="4538438"/>
                  <a:pt x="6305825" y="4522291"/>
                  <a:pt x="6303925" y="4518492"/>
                </a:cubicBezTo>
                <a:cubicBezTo>
                  <a:pt x="6300126" y="4508993"/>
                  <a:pt x="6285878" y="4517542"/>
                  <a:pt x="6287778" y="4495695"/>
                </a:cubicBezTo>
                <a:cubicBezTo>
                  <a:pt x="6289678" y="4483347"/>
                  <a:pt x="6304876" y="4492845"/>
                  <a:pt x="6303925" y="4495695"/>
                </a:cubicBezTo>
                <a:cubicBezTo>
                  <a:pt x="6310575" y="4474798"/>
                  <a:pt x="6300126" y="4433954"/>
                  <a:pt x="6299176" y="4405458"/>
                </a:cubicBezTo>
                <a:cubicBezTo>
                  <a:pt x="6290628" y="4405458"/>
                  <a:pt x="6281129" y="4405458"/>
                  <a:pt x="6272580" y="4405458"/>
                </a:cubicBezTo>
                <a:close/>
                <a:moveTo>
                  <a:pt x="6245984" y="4348466"/>
                </a:moveTo>
                <a:cubicBezTo>
                  <a:pt x="6245984" y="4356065"/>
                  <a:pt x="6245984" y="4363664"/>
                  <a:pt x="6245984" y="4371263"/>
                </a:cubicBezTo>
                <a:cubicBezTo>
                  <a:pt x="6249784" y="4371263"/>
                  <a:pt x="6253583" y="4371263"/>
                  <a:pt x="6256432" y="4371263"/>
                </a:cubicBezTo>
                <a:cubicBezTo>
                  <a:pt x="6256432" y="4363664"/>
                  <a:pt x="6256432" y="4356065"/>
                  <a:pt x="6256432" y="4348466"/>
                </a:cubicBezTo>
                <a:cubicBezTo>
                  <a:pt x="6252633" y="4348466"/>
                  <a:pt x="6248834" y="4348466"/>
                  <a:pt x="6245984" y="4348466"/>
                </a:cubicBezTo>
                <a:close/>
                <a:moveTo>
                  <a:pt x="6378609" y="4303422"/>
                </a:moveTo>
                <a:cubicBezTo>
                  <a:pt x="6376590" y="4304476"/>
                  <a:pt x="6374928" y="4308097"/>
                  <a:pt x="6374215" y="4315221"/>
                </a:cubicBezTo>
                <a:cubicBezTo>
                  <a:pt x="6381814" y="4318071"/>
                  <a:pt x="6382764" y="4334218"/>
                  <a:pt x="6390363" y="4338018"/>
                </a:cubicBezTo>
                <a:cubicBezTo>
                  <a:pt x="6393925" y="4320208"/>
                  <a:pt x="6384664" y="4300261"/>
                  <a:pt x="6378609" y="4303422"/>
                </a:cubicBezTo>
                <a:close/>
                <a:moveTo>
                  <a:pt x="6309625" y="4292424"/>
                </a:moveTo>
                <a:cubicBezTo>
                  <a:pt x="6301076" y="4307622"/>
                  <a:pt x="6307725" y="4357015"/>
                  <a:pt x="6298227" y="4371263"/>
                </a:cubicBezTo>
                <a:cubicBezTo>
                  <a:pt x="6306775" y="4373163"/>
                  <a:pt x="6326722" y="4395010"/>
                  <a:pt x="6325773" y="4360814"/>
                </a:cubicBezTo>
                <a:cubicBezTo>
                  <a:pt x="6295377" y="4367463"/>
                  <a:pt x="6327672" y="4313321"/>
                  <a:pt x="6309625" y="4292424"/>
                </a:cubicBezTo>
                <a:close/>
                <a:moveTo>
                  <a:pt x="6245984" y="4292424"/>
                </a:moveTo>
                <a:cubicBezTo>
                  <a:pt x="6245984" y="4300023"/>
                  <a:pt x="6245984" y="4307622"/>
                  <a:pt x="6245984" y="4315221"/>
                </a:cubicBezTo>
                <a:cubicBezTo>
                  <a:pt x="6249784" y="4315221"/>
                  <a:pt x="6253583" y="4315221"/>
                  <a:pt x="6256432" y="4315221"/>
                </a:cubicBezTo>
                <a:cubicBezTo>
                  <a:pt x="6256432" y="4307622"/>
                  <a:pt x="6256432" y="4300023"/>
                  <a:pt x="6256432" y="4292424"/>
                </a:cubicBezTo>
                <a:cubicBezTo>
                  <a:pt x="6252633" y="4292424"/>
                  <a:pt x="6249784" y="4292424"/>
                  <a:pt x="6245984" y="4292424"/>
                </a:cubicBezTo>
                <a:close/>
                <a:moveTo>
                  <a:pt x="6321973" y="4167992"/>
                </a:moveTo>
                <a:cubicBezTo>
                  <a:pt x="6320073" y="4184140"/>
                  <a:pt x="6312474" y="4186989"/>
                  <a:pt x="6310575" y="4202187"/>
                </a:cubicBezTo>
                <a:cubicBezTo>
                  <a:pt x="6316274" y="4202187"/>
                  <a:pt x="6321023" y="4202187"/>
                  <a:pt x="6326722" y="4202187"/>
                </a:cubicBezTo>
                <a:cubicBezTo>
                  <a:pt x="6325773" y="4188889"/>
                  <a:pt x="6327672" y="4169892"/>
                  <a:pt x="6321973" y="4167992"/>
                </a:cubicBezTo>
                <a:close/>
                <a:moveTo>
                  <a:pt x="6380864" y="4156594"/>
                </a:moveTo>
                <a:cubicBezTo>
                  <a:pt x="6361867" y="4145196"/>
                  <a:pt x="6371366" y="4192689"/>
                  <a:pt x="6369466" y="4213586"/>
                </a:cubicBezTo>
                <a:cubicBezTo>
                  <a:pt x="6387514" y="4221185"/>
                  <a:pt x="6388463" y="4173691"/>
                  <a:pt x="6380864" y="4156594"/>
                </a:cubicBezTo>
                <a:close/>
                <a:moveTo>
                  <a:pt x="6348569" y="4145196"/>
                </a:moveTo>
                <a:cubicBezTo>
                  <a:pt x="6351418" y="4165143"/>
                  <a:pt x="6340970" y="4211686"/>
                  <a:pt x="6353318" y="4213586"/>
                </a:cubicBezTo>
                <a:cubicBezTo>
                  <a:pt x="6353318" y="4202187"/>
                  <a:pt x="6353318" y="4190789"/>
                  <a:pt x="6353318" y="4179391"/>
                </a:cubicBezTo>
                <a:cubicBezTo>
                  <a:pt x="6352369" y="4166093"/>
                  <a:pt x="6354268" y="4147095"/>
                  <a:pt x="6348569" y="4145196"/>
                </a:cubicBezTo>
                <a:close/>
                <a:moveTo>
                  <a:pt x="6347619" y="4010315"/>
                </a:moveTo>
                <a:cubicBezTo>
                  <a:pt x="6331472" y="4006516"/>
                  <a:pt x="6336221" y="4047360"/>
                  <a:pt x="6331472" y="4066357"/>
                </a:cubicBezTo>
                <a:cubicBezTo>
                  <a:pt x="6356168" y="4052109"/>
                  <a:pt x="6340021" y="4123349"/>
                  <a:pt x="6352369" y="4134747"/>
                </a:cubicBezTo>
                <a:cubicBezTo>
                  <a:pt x="6360917" y="4108151"/>
                  <a:pt x="6350469" y="4086304"/>
                  <a:pt x="6358068" y="4077755"/>
                </a:cubicBezTo>
                <a:cubicBezTo>
                  <a:pt x="6372315" y="4074906"/>
                  <a:pt x="6361867" y="4121449"/>
                  <a:pt x="6378965" y="4111950"/>
                </a:cubicBezTo>
                <a:cubicBezTo>
                  <a:pt x="6373266" y="4054009"/>
                  <a:pt x="6419808" y="4053059"/>
                  <a:pt x="6401761" y="4010315"/>
                </a:cubicBezTo>
                <a:cubicBezTo>
                  <a:pt x="6396062" y="4025513"/>
                  <a:pt x="6397012" y="4052109"/>
                  <a:pt x="6385614" y="4055909"/>
                </a:cubicBezTo>
                <a:cubicBezTo>
                  <a:pt x="6374215" y="4053059"/>
                  <a:pt x="6384664" y="4005566"/>
                  <a:pt x="6369466" y="4010315"/>
                </a:cubicBezTo>
                <a:cubicBezTo>
                  <a:pt x="6368516" y="4032162"/>
                  <a:pt x="6375165" y="4035012"/>
                  <a:pt x="6374215" y="4055909"/>
                </a:cubicBezTo>
                <a:cubicBezTo>
                  <a:pt x="6343820" y="4077755"/>
                  <a:pt x="6351418" y="4035012"/>
                  <a:pt x="6347619" y="4010315"/>
                </a:cubicBezTo>
                <a:close/>
                <a:moveTo>
                  <a:pt x="6209890" y="3986569"/>
                </a:moveTo>
                <a:cubicBezTo>
                  <a:pt x="6208939" y="4003666"/>
                  <a:pt x="6197542" y="3997967"/>
                  <a:pt x="6193742" y="4009366"/>
                </a:cubicBezTo>
                <a:cubicBezTo>
                  <a:pt x="6190893" y="4019814"/>
                  <a:pt x="6188043" y="4057809"/>
                  <a:pt x="6193742" y="4054959"/>
                </a:cubicBezTo>
                <a:cubicBezTo>
                  <a:pt x="6197542" y="4001766"/>
                  <a:pt x="6210839" y="4072056"/>
                  <a:pt x="6214639" y="4043561"/>
                </a:cubicBezTo>
                <a:cubicBezTo>
                  <a:pt x="6195642" y="4035962"/>
                  <a:pt x="6226987" y="3990368"/>
                  <a:pt x="6209890" y="3986569"/>
                </a:cubicBezTo>
                <a:close/>
                <a:moveTo>
                  <a:pt x="6272818" y="3955936"/>
                </a:moveTo>
                <a:cubicBezTo>
                  <a:pt x="6268781" y="3959261"/>
                  <a:pt x="6264981" y="3972796"/>
                  <a:pt x="6273530" y="3986569"/>
                </a:cubicBezTo>
                <a:cubicBezTo>
                  <a:pt x="6281129" y="3959498"/>
                  <a:pt x="6276855" y="3952612"/>
                  <a:pt x="6272818" y="3955936"/>
                </a:cubicBezTo>
                <a:close/>
                <a:moveTo>
                  <a:pt x="6237198" y="3948099"/>
                </a:moveTo>
                <a:cubicBezTo>
                  <a:pt x="6232687" y="3950474"/>
                  <a:pt x="6227937" y="3961872"/>
                  <a:pt x="6236486" y="3975170"/>
                </a:cubicBezTo>
                <a:cubicBezTo>
                  <a:pt x="6245985" y="3952374"/>
                  <a:pt x="6241710" y="3945725"/>
                  <a:pt x="6237198" y="3948099"/>
                </a:cubicBezTo>
                <a:close/>
                <a:moveTo>
                  <a:pt x="6321973" y="3941925"/>
                </a:moveTo>
                <a:cubicBezTo>
                  <a:pt x="6321973" y="3953324"/>
                  <a:pt x="6321973" y="3964722"/>
                  <a:pt x="6321973" y="3976120"/>
                </a:cubicBezTo>
                <a:cubicBezTo>
                  <a:pt x="6331472" y="3975170"/>
                  <a:pt x="6338121" y="3978970"/>
                  <a:pt x="6342870" y="3987519"/>
                </a:cubicBezTo>
                <a:cubicBezTo>
                  <a:pt x="6343820" y="3959023"/>
                  <a:pt x="6353318" y="3952374"/>
                  <a:pt x="6338121" y="3941925"/>
                </a:cubicBezTo>
                <a:cubicBezTo>
                  <a:pt x="6337171" y="3950474"/>
                  <a:pt x="6338121" y="3963772"/>
                  <a:pt x="6332421" y="3964722"/>
                </a:cubicBezTo>
                <a:cubicBezTo>
                  <a:pt x="6331472" y="3950474"/>
                  <a:pt x="6330522" y="3938126"/>
                  <a:pt x="6321973" y="3941925"/>
                </a:cubicBezTo>
                <a:close/>
                <a:moveTo>
                  <a:pt x="6321350" y="3882618"/>
                </a:moveTo>
                <a:cubicBezTo>
                  <a:pt x="6320014" y="3883212"/>
                  <a:pt x="6318649" y="3887071"/>
                  <a:pt x="6317224" y="3896332"/>
                </a:cubicBezTo>
                <a:cubicBezTo>
                  <a:pt x="6324822" y="3890633"/>
                  <a:pt x="6329572" y="3940975"/>
                  <a:pt x="6333371" y="3907730"/>
                </a:cubicBezTo>
                <a:cubicBezTo>
                  <a:pt x="6329097" y="3908443"/>
                  <a:pt x="6325357" y="3880837"/>
                  <a:pt x="6321350" y="3882618"/>
                </a:cubicBezTo>
                <a:close/>
                <a:moveTo>
                  <a:pt x="6194692" y="3862137"/>
                </a:moveTo>
                <a:cubicBezTo>
                  <a:pt x="6198491" y="3912480"/>
                  <a:pt x="6187093" y="3929577"/>
                  <a:pt x="6188993" y="3975170"/>
                </a:cubicBezTo>
                <a:cubicBezTo>
                  <a:pt x="6206090" y="3988468"/>
                  <a:pt x="6202291" y="3957123"/>
                  <a:pt x="6210839" y="3952374"/>
                </a:cubicBezTo>
                <a:cubicBezTo>
                  <a:pt x="6211790" y="3960923"/>
                  <a:pt x="6210839" y="3975170"/>
                  <a:pt x="6215589" y="3975170"/>
                </a:cubicBezTo>
                <a:cubicBezTo>
                  <a:pt x="6214639" y="3923878"/>
                  <a:pt x="6214639" y="3871636"/>
                  <a:pt x="6194692" y="3862137"/>
                </a:cubicBezTo>
                <a:close/>
                <a:moveTo>
                  <a:pt x="6325401" y="3827156"/>
                </a:moveTo>
                <a:cubicBezTo>
                  <a:pt x="6319480" y="3835126"/>
                  <a:pt x="6319836" y="3865936"/>
                  <a:pt x="6327672" y="3863087"/>
                </a:cubicBezTo>
                <a:cubicBezTo>
                  <a:pt x="6328622" y="3847889"/>
                  <a:pt x="6335271" y="3846939"/>
                  <a:pt x="6333371" y="3828892"/>
                </a:cubicBezTo>
                <a:cubicBezTo>
                  <a:pt x="6330047" y="3824380"/>
                  <a:pt x="6327375" y="3824499"/>
                  <a:pt x="6325401" y="3827156"/>
                </a:cubicBezTo>
                <a:close/>
                <a:moveTo>
                  <a:pt x="6274480" y="3771900"/>
                </a:moveTo>
                <a:cubicBezTo>
                  <a:pt x="6274480" y="3783298"/>
                  <a:pt x="6274480" y="3794697"/>
                  <a:pt x="6274480" y="3806095"/>
                </a:cubicBezTo>
                <a:cubicBezTo>
                  <a:pt x="6278280" y="3806095"/>
                  <a:pt x="6282079" y="3806095"/>
                  <a:pt x="6284928" y="3806095"/>
                </a:cubicBezTo>
                <a:cubicBezTo>
                  <a:pt x="6284928" y="3794697"/>
                  <a:pt x="6284928" y="3783298"/>
                  <a:pt x="6284928" y="3771900"/>
                </a:cubicBezTo>
                <a:cubicBezTo>
                  <a:pt x="6282079" y="3771900"/>
                  <a:pt x="6278280" y="3771900"/>
                  <a:pt x="6274480" y="3771900"/>
                </a:cubicBezTo>
                <a:close/>
                <a:moveTo>
                  <a:pt x="6408410" y="3750053"/>
                </a:moveTo>
                <a:cubicBezTo>
                  <a:pt x="6412210" y="3791847"/>
                  <a:pt x="6397012" y="3793747"/>
                  <a:pt x="6397012" y="3828892"/>
                </a:cubicBezTo>
                <a:cubicBezTo>
                  <a:pt x="6416959" y="3844090"/>
                  <a:pt x="6418859" y="3762402"/>
                  <a:pt x="6408410" y="3750053"/>
                </a:cubicBezTo>
                <a:close/>
                <a:moveTo>
                  <a:pt x="6301076" y="3749104"/>
                </a:moveTo>
                <a:cubicBezTo>
                  <a:pt x="6303925" y="3786148"/>
                  <a:pt x="6294427" y="3846939"/>
                  <a:pt x="6311525" y="3850739"/>
                </a:cubicBezTo>
                <a:cubicBezTo>
                  <a:pt x="6314374" y="3823193"/>
                  <a:pt x="6321973" y="3769050"/>
                  <a:pt x="6301076" y="3749104"/>
                </a:cubicBezTo>
                <a:close/>
                <a:moveTo>
                  <a:pt x="6322923" y="3737705"/>
                </a:moveTo>
                <a:cubicBezTo>
                  <a:pt x="6323873" y="3770000"/>
                  <a:pt x="6318173" y="3815594"/>
                  <a:pt x="6333371" y="3816543"/>
                </a:cubicBezTo>
                <a:cubicBezTo>
                  <a:pt x="6332421" y="3785198"/>
                  <a:pt x="6338121" y="3739605"/>
                  <a:pt x="6322923" y="3737705"/>
                </a:cubicBezTo>
                <a:close/>
                <a:moveTo>
                  <a:pt x="6182908" y="3590239"/>
                </a:moveTo>
                <a:cubicBezTo>
                  <a:pt x="6179613" y="3588636"/>
                  <a:pt x="6172846" y="3637258"/>
                  <a:pt x="6184244" y="3635120"/>
                </a:cubicBezTo>
                <a:cubicBezTo>
                  <a:pt x="6184244" y="3627521"/>
                  <a:pt x="6184244" y="3619922"/>
                  <a:pt x="6184244" y="3612323"/>
                </a:cubicBezTo>
                <a:cubicBezTo>
                  <a:pt x="6184719" y="3596888"/>
                  <a:pt x="6184007" y="3590773"/>
                  <a:pt x="6182908" y="3590239"/>
                </a:cubicBezTo>
                <a:close/>
                <a:moveTo>
                  <a:pt x="6394162" y="3410953"/>
                </a:moveTo>
                <a:cubicBezTo>
                  <a:pt x="6394162" y="3437549"/>
                  <a:pt x="6394162" y="3464145"/>
                  <a:pt x="6394162" y="3489791"/>
                </a:cubicBezTo>
                <a:cubicBezTo>
                  <a:pt x="6375165" y="3475543"/>
                  <a:pt x="6387514" y="3523036"/>
                  <a:pt x="6382764" y="3534435"/>
                </a:cubicBezTo>
                <a:cubicBezTo>
                  <a:pt x="6379914" y="3542034"/>
                  <a:pt x="6367566" y="3533485"/>
                  <a:pt x="6366617" y="3545833"/>
                </a:cubicBezTo>
                <a:cubicBezTo>
                  <a:pt x="6369466" y="3574329"/>
                  <a:pt x="6366617" y="3614223"/>
                  <a:pt x="6382764" y="3614223"/>
                </a:cubicBezTo>
                <a:cubicBezTo>
                  <a:pt x="6383714" y="3594276"/>
                  <a:pt x="6381814" y="3579078"/>
                  <a:pt x="6378015" y="3568630"/>
                </a:cubicBezTo>
                <a:cubicBezTo>
                  <a:pt x="6381814" y="3565780"/>
                  <a:pt x="6385614" y="3562931"/>
                  <a:pt x="6388463" y="3557231"/>
                </a:cubicBezTo>
                <a:cubicBezTo>
                  <a:pt x="6398911" y="3536334"/>
                  <a:pt x="6395112" y="3488841"/>
                  <a:pt x="6410310" y="3489791"/>
                </a:cubicBezTo>
                <a:cubicBezTo>
                  <a:pt x="6413159" y="3447047"/>
                  <a:pt x="6408410" y="3419502"/>
                  <a:pt x="6394162" y="3410953"/>
                </a:cubicBezTo>
                <a:close/>
                <a:moveTo>
                  <a:pt x="6319124" y="3387206"/>
                </a:moveTo>
                <a:cubicBezTo>
                  <a:pt x="6312474" y="3402404"/>
                  <a:pt x="6315324" y="3421401"/>
                  <a:pt x="6323873" y="3432800"/>
                </a:cubicBezTo>
                <a:cubicBezTo>
                  <a:pt x="6331472" y="3417602"/>
                  <a:pt x="6331472" y="3390056"/>
                  <a:pt x="6319124" y="3387206"/>
                </a:cubicBezTo>
                <a:close/>
                <a:moveTo>
                  <a:pt x="6394162" y="3375808"/>
                </a:moveTo>
                <a:cubicBezTo>
                  <a:pt x="6385614" y="3403354"/>
                  <a:pt x="6412210" y="3409053"/>
                  <a:pt x="6410310" y="3387206"/>
                </a:cubicBezTo>
                <a:cubicBezTo>
                  <a:pt x="6406511" y="3387206"/>
                  <a:pt x="6403661" y="3386256"/>
                  <a:pt x="6404611" y="3375808"/>
                </a:cubicBezTo>
                <a:cubicBezTo>
                  <a:pt x="6400811" y="3375808"/>
                  <a:pt x="6397012" y="3375808"/>
                  <a:pt x="6394162" y="3375808"/>
                </a:cubicBezTo>
                <a:close/>
                <a:moveTo>
                  <a:pt x="6351418" y="3375808"/>
                </a:moveTo>
                <a:cubicBezTo>
                  <a:pt x="6355218" y="3419502"/>
                  <a:pt x="6351418" y="3415702"/>
                  <a:pt x="6356168" y="3443248"/>
                </a:cubicBezTo>
                <a:cubicBezTo>
                  <a:pt x="6363767" y="3443248"/>
                  <a:pt x="6370416" y="3443248"/>
                  <a:pt x="6378015" y="3443248"/>
                </a:cubicBezTo>
                <a:cubicBezTo>
                  <a:pt x="6376115" y="3406204"/>
                  <a:pt x="6361867" y="3394805"/>
                  <a:pt x="6351418" y="3375808"/>
                </a:cubicBezTo>
                <a:close/>
                <a:moveTo>
                  <a:pt x="6315371" y="3098732"/>
                </a:moveTo>
                <a:cubicBezTo>
                  <a:pt x="6296475" y="3094174"/>
                  <a:pt x="6313306" y="3139887"/>
                  <a:pt x="6325773" y="3104147"/>
                </a:cubicBezTo>
                <a:cubicBezTo>
                  <a:pt x="6321499" y="3101060"/>
                  <a:pt x="6318070" y="3099383"/>
                  <a:pt x="6315371" y="3098732"/>
                </a:cubicBezTo>
                <a:close/>
                <a:moveTo>
                  <a:pt x="6353318" y="3026259"/>
                </a:moveTo>
                <a:cubicBezTo>
                  <a:pt x="6354268" y="3057604"/>
                  <a:pt x="6359018" y="3078501"/>
                  <a:pt x="6358068" y="3093699"/>
                </a:cubicBezTo>
                <a:cubicBezTo>
                  <a:pt x="6358068" y="3100348"/>
                  <a:pt x="6352369" y="3106047"/>
                  <a:pt x="6352369" y="3105097"/>
                </a:cubicBezTo>
                <a:cubicBezTo>
                  <a:pt x="6352369" y="3116496"/>
                  <a:pt x="6358068" y="3119345"/>
                  <a:pt x="6358068" y="3127894"/>
                </a:cubicBezTo>
                <a:cubicBezTo>
                  <a:pt x="6357118" y="3141192"/>
                  <a:pt x="6342870" y="3167788"/>
                  <a:pt x="6358068" y="3183936"/>
                </a:cubicBezTo>
                <a:cubicBezTo>
                  <a:pt x="6364717" y="3175387"/>
                  <a:pt x="6363767" y="3134543"/>
                  <a:pt x="6363767" y="3105097"/>
                </a:cubicBezTo>
                <a:cubicBezTo>
                  <a:pt x="6363767" y="3070902"/>
                  <a:pt x="6370416" y="3020560"/>
                  <a:pt x="6353318" y="3026259"/>
                </a:cubicBezTo>
                <a:close/>
                <a:moveTo>
                  <a:pt x="6325773" y="3002512"/>
                </a:moveTo>
                <a:cubicBezTo>
                  <a:pt x="6314374" y="2998713"/>
                  <a:pt x="6305825" y="3005362"/>
                  <a:pt x="6304876" y="3025309"/>
                </a:cubicBezTo>
                <a:cubicBezTo>
                  <a:pt x="6319124" y="3016760"/>
                  <a:pt x="6315324" y="3048106"/>
                  <a:pt x="6325773" y="3048106"/>
                </a:cubicBezTo>
                <a:cubicBezTo>
                  <a:pt x="6325773" y="3032908"/>
                  <a:pt x="6325773" y="3017710"/>
                  <a:pt x="6325773" y="3002512"/>
                </a:cubicBezTo>
                <a:close/>
                <a:moveTo>
                  <a:pt x="6410319" y="2605435"/>
                </a:moveTo>
                <a:cubicBezTo>
                  <a:pt x="6408410" y="2606539"/>
                  <a:pt x="6405917" y="2610338"/>
                  <a:pt x="6402711" y="2617818"/>
                </a:cubicBezTo>
                <a:cubicBezTo>
                  <a:pt x="6406511" y="2620668"/>
                  <a:pt x="6408410" y="2627317"/>
                  <a:pt x="6408410" y="2640615"/>
                </a:cubicBezTo>
                <a:cubicBezTo>
                  <a:pt x="6408410" y="2722065"/>
                  <a:pt x="6423682" y="2597708"/>
                  <a:pt x="6410319" y="2605435"/>
                </a:cubicBezTo>
                <a:close/>
                <a:moveTo>
                  <a:pt x="6369017" y="2600415"/>
                </a:moveTo>
                <a:cubicBezTo>
                  <a:pt x="6368293" y="2601285"/>
                  <a:pt x="6367210" y="2603214"/>
                  <a:pt x="6365666" y="2606420"/>
                </a:cubicBezTo>
                <a:cubicBezTo>
                  <a:pt x="6363767" y="2629217"/>
                  <a:pt x="6351418" y="2628267"/>
                  <a:pt x="6349519" y="2652014"/>
                </a:cubicBezTo>
                <a:cubicBezTo>
                  <a:pt x="6356168" y="2651064"/>
                  <a:pt x="6360917" y="2656763"/>
                  <a:pt x="6365666" y="2663412"/>
                </a:cubicBezTo>
                <a:cubicBezTo>
                  <a:pt x="6361511" y="2640141"/>
                  <a:pt x="6374082" y="2594325"/>
                  <a:pt x="6369017" y="2600415"/>
                </a:cubicBezTo>
                <a:close/>
                <a:moveTo>
                  <a:pt x="6246549" y="2560589"/>
                </a:moveTo>
                <a:cubicBezTo>
                  <a:pt x="6243254" y="2558986"/>
                  <a:pt x="6236486" y="2607608"/>
                  <a:pt x="6247884" y="2605470"/>
                </a:cubicBezTo>
                <a:cubicBezTo>
                  <a:pt x="6247884" y="2597871"/>
                  <a:pt x="6247884" y="2590273"/>
                  <a:pt x="6247884" y="2582673"/>
                </a:cubicBezTo>
                <a:cubicBezTo>
                  <a:pt x="6248359" y="2567238"/>
                  <a:pt x="6247647" y="2561123"/>
                  <a:pt x="6246549" y="2560589"/>
                </a:cubicBezTo>
                <a:close/>
                <a:moveTo>
                  <a:pt x="6366617" y="2447793"/>
                </a:moveTo>
                <a:cubicBezTo>
                  <a:pt x="6367566" y="2473439"/>
                  <a:pt x="6364717" y="2490537"/>
                  <a:pt x="6356168" y="2493387"/>
                </a:cubicBezTo>
                <a:cubicBezTo>
                  <a:pt x="6355218" y="2475339"/>
                  <a:pt x="6356168" y="2453492"/>
                  <a:pt x="6344770" y="2459191"/>
                </a:cubicBezTo>
                <a:cubicBezTo>
                  <a:pt x="6340021" y="2507634"/>
                  <a:pt x="6350469" y="2518083"/>
                  <a:pt x="6355218" y="2538030"/>
                </a:cubicBezTo>
                <a:cubicBezTo>
                  <a:pt x="6359018" y="2552278"/>
                  <a:pt x="6352369" y="2579824"/>
                  <a:pt x="6365666" y="2572225"/>
                </a:cubicBezTo>
                <a:cubicBezTo>
                  <a:pt x="6378015" y="2563676"/>
                  <a:pt x="6367566" y="2508584"/>
                  <a:pt x="6371366" y="2481988"/>
                </a:cubicBezTo>
                <a:cubicBezTo>
                  <a:pt x="6381814" y="2485788"/>
                  <a:pt x="6370416" y="2449693"/>
                  <a:pt x="6366617" y="2447793"/>
                </a:cubicBezTo>
                <a:close/>
                <a:moveTo>
                  <a:pt x="6413724" y="2289745"/>
                </a:moveTo>
                <a:cubicBezTo>
                  <a:pt x="6410429" y="2287920"/>
                  <a:pt x="6403661" y="2336184"/>
                  <a:pt x="6415059" y="2334760"/>
                </a:cubicBezTo>
                <a:cubicBezTo>
                  <a:pt x="6415059" y="2327161"/>
                  <a:pt x="6415059" y="2319562"/>
                  <a:pt x="6415059" y="2311963"/>
                </a:cubicBezTo>
                <a:cubicBezTo>
                  <a:pt x="6415534" y="2296528"/>
                  <a:pt x="6414822" y="2290354"/>
                  <a:pt x="6413724" y="2289745"/>
                </a:cubicBezTo>
                <a:close/>
                <a:moveTo>
                  <a:pt x="6410310" y="2187531"/>
                </a:moveTo>
                <a:cubicBezTo>
                  <a:pt x="6408410" y="2202729"/>
                  <a:pt x="6402711" y="2209378"/>
                  <a:pt x="6404611" y="2233125"/>
                </a:cubicBezTo>
                <a:cubicBezTo>
                  <a:pt x="6419808" y="2251172"/>
                  <a:pt x="6419808" y="2183732"/>
                  <a:pt x="6410310" y="2187531"/>
                </a:cubicBezTo>
                <a:close/>
                <a:moveTo>
                  <a:pt x="6388463" y="2187531"/>
                </a:moveTo>
                <a:cubicBezTo>
                  <a:pt x="6387514" y="2216027"/>
                  <a:pt x="6387514" y="2242623"/>
                  <a:pt x="6398911" y="2244523"/>
                </a:cubicBezTo>
                <a:cubicBezTo>
                  <a:pt x="6399862" y="2216027"/>
                  <a:pt x="6397012" y="2197030"/>
                  <a:pt x="6388463" y="2187531"/>
                </a:cubicBezTo>
                <a:close/>
                <a:moveTo>
                  <a:pt x="6361867" y="2187531"/>
                </a:moveTo>
                <a:cubicBezTo>
                  <a:pt x="6360917" y="2196080"/>
                  <a:pt x="6361867" y="2210328"/>
                  <a:pt x="6356168" y="2210328"/>
                </a:cubicBezTo>
                <a:cubicBezTo>
                  <a:pt x="6356168" y="2203679"/>
                  <a:pt x="6352369" y="2197030"/>
                  <a:pt x="6351418" y="2210328"/>
                </a:cubicBezTo>
                <a:cubicBezTo>
                  <a:pt x="6359018" y="2216027"/>
                  <a:pt x="6364717" y="2227425"/>
                  <a:pt x="6372315" y="2233125"/>
                </a:cubicBezTo>
                <a:cubicBezTo>
                  <a:pt x="6375165" y="2204629"/>
                  <a:pt x="6381814" y="2189431"/>
                  <a:pt x="6361867" y="2187531"/>
                </a:cubicBezTo>
                <a:close/>
                <a:moveTo>
                  <a:pt x="6330522" y="2028904"/>
                </a:moveTo>
                <a:cubicBezTo>
                  <a:pt x="6330522" y="2047902"/>
                  <a:pt x="6330522" y="2066899"/>
                  <a:pt x="6330522" y="2085896"/>
                </a:cubicBezTo>
                <a:cubicBezTo>
                  <a:pt x="6340970" y="2095395"/>
                  <a:pt x="6354268" y="2056450"/>
                  <a:pt x="6340970" y="2051701"/>
                </a:cubicBezTo>
                <a:cubicBezTo>
                  <a:pt x="6340970" y="2058350"/>
                  <a:pt x="6340021" y="2064999"/>
                  <a:pt x="6335271" y="2063099"/>
                </a:cubicBezTo>
                <a:cubicBezTo>
                  <a:pt x="6334321" y="2049801"/>
                  <a:pt x="6336221" y="2030804"/>
                  <a:pt x="6330522" y="2028904"/>
                </a:cubicBezTo>
                <a:close/>
                <a:moveTo>
                  <a:pt x="6404668" y="1859456"/>
                </a:moveTo>
                <a:cubicBezTo>
                  <a:pt x="6403423" y="1860987"/>
                  <a:pt x="6402117" y="1864697"/>
                  <a:pt x="6400811" y="1871227"/>
                </a:cubicBezTo>
                <a:cubicBezTo>
                  <a:pt x="6413159" y="1874077"/>
                  <a:pt x="6403661" y="1920620"/>
                  <a:pt x="6400811" y="1928219"/>
                </a:cubicBezTo>
                <a:cubicBezTo>
                  <a:pt x="6419096" y="1944842"/>
                  <a:pt x="6413382" y="1848743"/>
                  <a:pt x="6404668" y="1859456"/>
                </a:cubicBezTo>
                <a:close/>
                <a:moveTo>
                  <a:pt x="6401761" y="1599567"/>
                </a:moveTo>
                <a:cubicBezTo>
                  <a:pt x="6401761" y="1606216"/>
                  <a:pt x="6400811" y="1612865"/>
                  <a:pt x="6396062" y="1610965"/>
                </a:cubicBezTo>
                <a:cubicBezTo>
                  <a:pt x="6396062" y="1618564"/>
                  <a:pt x="6396062" y="1626163"/>
                  <a:pt x="6396062" y="1633762"/>
                </a:cubicBezTo>
                <a:cubicBezTo>
                  <a:pt x="6409360" y="1650859"/>
                  <a:pt x="6412210" y="1594817"/>
                  <a:pt x="6401761" y="1599567"/>
                </a:cubicBezTo>
                <a:close/>
                <a:moveTo>
                  <a:pt x="6337601" y="1220334"/>
                </a:moveTo>
                <a:cubicBezTo>
                  <a:pt x="6336636" y="1220275"/>
                  <a:pt x="6335509" y="1221759"/>
                  <a:pt x="6334321" y="1225321"/>
                </a:cubicBezTo>
                <a:cubicBezTo>
                  <a:pt x="6333371" y="1229121"/>
                  <a:pt x="6334321" y="1243369"/>
                  <a:pt x="6334321" y="1248118"/>
                </a:cubicBezTo>
                <a:cubicBezTo>
                  <a:pt x="6334321" y="1248118"/>
                  <a:pt x="6324822" y="1250968"/>
                  <a:pt x="6328622" y="1259516"/>
                </a:cubicBezTo>
                <a:cubicBezTo>
                  <a:pt x="6329572" y="1262366"/>
                  <a:pt x="6339070" y="1249068"/>
                  <a:pt x="6339070" y="1248118"/>
                </a:cubicBezTo>
                <a:cubicBezTo>
                  <a:pt x="6341920" y="1234583"/>
                  <a:pt x="6340495" y="1220513"/>
                  <a:pt x="6337601" y="1220334"/>
                </a:cubicBezTo>
                <a:close/>
                <a:moveTo>
                  <a:pt x="6356168" y="1033449"/>
                </a:moveTo>
                <a:cubicBezTo>
                  <a:pt x="6352369" y="1041998"/>
                  <a:pt x="6357118" y="1095190"/>
                  <a:pt x="6366617" y="1056246"/>
                </a:cubicBezTo>
                <a:cubicBezTo>
                  <a:pt x="6362817" y="1060995"/>
                  <a:pt x="6359018" y="1028700"/>
                  <a:pt x="6356168" y="1033449"/>
                </a:cubicBezTo>
                <a:close/>
                <a:moveTo>
                  <a:pt x="6362817" y="682001"/>
                </a:moveTo>
                <a:cubicBezTo>
                  <a:pt x="6364717" y="727594"/>
                  <a:pt x="6365666" y="768438"/>
                  <a:pt x="6367566" y="829229"/>
                </a:cubicBezTo>
                <a:cubicBezTo>
                  <a:pt x="6368516" y="865324"/>
                  <a:pt x="6358068" y="924215"/>
                  <a:pt x="6378015" y="953661"/>
                </a:cubicBezTo>
                <a:cubicBezTo>
                  <a:pt x="6375165" y="910917"/>
                  <a:pt x="6382764" y="866274"/>
                  <a:pt x="6378965" y="817831"/>
                </a:cubicBezTo>
                <a:cubicBezTo>
                  <a:pt x="6378965" y="816881"/>
                  <a:pt x="6374215" y="818781"/>
                  <a:pt x="6373266" y="817831"/>
                </a:cubicBezTo>
                <a:cubicBezTo>
                  <a:pt x="6369466" y="810232"/>
                  <a:pt x="6374215" y="754190"/>
                  <a:pt x="6373266" y="738992"/>
                </a:cubicBezTo>
                <a:cubicBezTo>
                  <a:pt x="6372315" y="719995"/>
                  <a:pt x="6379914" y="675352"/>
                  <a:pt x="6362817" y="682001"/>
                </a:cubicBezTo>
                <a:close/>
                <a:moveTo>
                  <a:pt x="6407460" y="421739"/>
                </a:moveTo>
                <a:cubicBezTo>
                  <a:pt x="6407460" y="433137"/>
                  <a:pt x="6407460" y="444535"/>
                  <a:pt x="6407460" y="455934"/>
                </a:cubicBezTo>
                <a:cubicBezTo>
                  <a:pt x="6410310" y="455934"/>
                  <a:pt x="6414110" y="455934"/>
                  <a:pt x="6417909" y="455934"/>
                </a:cubicBezTo>
                <a:cubicBezTo>
                  <a:pt x="6417909" y="444535"/>
                  <a:pt x="6417909" y="433137"/>
                  <a:pt x="6417909" y="421739"/>
                </a:cubicBezTo>
                <a:cubicBezTo>
                  <a:pt x="6414110" y="421739"/>
                  <a:pt x="6410310" y="421739"/>
                  <a:pt x="6407460" y="421739"/>
                </a:cubicBezTo>
                <a:close/>
                <a:moveTo>
                  <a:pt x="6413159" y="308705"/>
                </a:moveTo>
                <a:cubicBezTo>
                  <a:pt x="6424558" y="330552"/>
                  <a:pt x="6424558" y="367596"/>
                  <a:pt x="6417909" y="398942"/>
                </a:cubicBezTo>
                <a:cubicBezTo>
                  <a:pt x="6406511" y="390393"/>
                  <a:pt x="6416009" y="335301"/>
                  <a:pt x="6413159" y="308705"/>
                </a:cubicBezTo>
                <a:close/>
                <a:moveTo>
                  <a:pt x="0" y="0"/>
                </a:moveTo>
                <a:lnTo>
                  <a:pt x="1892777" y="0"/>
                </a:lnTo>
                <a:lnTo>
                  <a:pt x="5110902" y="0"/>
                </a:lnTo>
                <a:lnTo>
                  <a:pt x="5124200" y="0"/>
                </a:lnTo>
                <a:lnTo>
                  <a:pt x="5132749" y="0"/>
                </a:lnTo>
                <a:lnTo>
                  <a:pt x="5203988" y="0"/>
                </a:lnTo>
                <a:lnTo>
                  <a:pt x="5216336" y="0"/>
                </a:lnTo>
                <a:lnTo>
                  <a:pt x="5285677" y="0"/>
                </a:lnTo>
                <a:lnTo>
                  <a:pt x="5312272" y="0"/>
                </a:lnTo>
                <a:lnTo>
                  <a:pt x="5379712" y="0"/>
                </a:lnTo>
                <a:lnTo>
                  <a:pt x="5390161" y="0"/>
                </a:lnTo>
                <a:lnTo>
                  <a:pt x="5410108" y="0"/>
                </a:lnTo>
                <a:lnTo>
                  <a:pt x="5463300" y="0"/>
                </a:lnTo>
                <a:lnTo>
                  <a:pt x="5482297" y="0"/>
                </a:lnTo>
                <a:lnTo>
                  <a:pt x="5507943" y="0"/>
                </a:lnTo>
                <a:lnTo>
                  <a:pt x="5609578" y="0"/>
                </a:lnTo>
                <a:lnTo>
                  <a:pt x="5614328" y="0"/>
                </a:lnTo>
                <a:lnTo>
                  <a:pt x="6375165" y="0"/>
                </a:lnTo>
                <a:cubicBezTo>
                  <a:pt x="6376115" y="17098"/>
                  <a:pt x="6377065" y="33245"/>
                  <a:pt x="6378015" y="48443"/>
                </a:cubicBezTo>
                <a:cubicBezTo>
                  <a:pt x="6380864" y="74089"/>
                  <a:pt x="6386563" y="35145"/>
                  <a:pt x="6394162" y="59841"/>
                </a:cubicBezTo>
                <a:cubicBezTo>
                  <a:pt x="6393212" y="73139"/>
                  <a:pt x="6395112" y="79788"/>
                  <a:pt x="6399862" y="82638"/>
                </a:cubicBezTo>
                <a:cubicBezTo>
                  <a:pt x="6403661" y="114933"/>
                  <a:pt x="6392263" y="112084"/>
                  <a:pt x="6394162" y="139630"/>
                </a:cubicBezTo>
                <a:cubicBezTo>
                  <a:pt x="6409360" y="224167"/>
                  <a:pt x="6405561" y="311555"/>
                  <a:pt x="6409360" y="399892"/>
                </a:cubicBezTo>
                <a:cubicBezTo>
                  <a:pt x="6410310" y="413190"/>
                  <a:pt x="6418859" y="409390"/>
                  <a:pt x="6425508" y="411290"/>
                </a:cubicBezTo>
                <a:cubicBezTo>
                  <a:pt x="6425508" y="434087"/>
                  <a:pt x="6425508" y="456883"/>
                  <a:pt x="6425508" y="479680"/>
                </a:cubicBezTo>
                <a:cubicBezTo>
                  <a:pt x="6418859" y="466382"/>
                  <a:pt x="6416959" y="474931"/>
                  <a:pt x="6409360" y="479680"/>
                </a:cubicBezTo>
                <a:cubicBezTo>
                  <a:pt x="6415059" y="509126"/>
                  <a:pt x="6415059" y="549020"/>
                  <a:pt x="6414110" y="592714"/>
                </a:cubicBezTo>
                <a:cubicBezTo>
                  <a:pt x="6435007" y="594613"/>
                  <a:pt x="6416009" y="583215"/>
                  <a:pt x="6419808" y="558519"/>
                </a:cubicBezTo>
                <a:cubicBezTo>
                  <a:pt x="6438806" y="553769"/>
                  <a:pt x="6422658" y="620260"/>
                  <a:pt x="6435956" y="626909"/>
                </a:cubicBezTo>
                <a:cubicBezTo>
                  <a:pt x="6433107" y="650655"/>
                  <a:pt x="6427407" y="650655"/>
                  <a:pt x="6419808" y="638307"/>
                </a:cubicBezTo>
                <a:cubicBezTo>
                  <a:pt x="6415059" y="674402"/>
                  <a:pt x="6427407" y="673452"/>
                  <a:pt x="6435956" y="683900"/>
                </a:cubicBezTo>
                <a:cubicBezTo>
                  <a:pt x="6431207" y="682950"/>
                  <a:pt x="6433107" y="715246"/>
                  <a:pt x="6430257" y="718095"/>
                </a:cubicBezTo>
                <a:cubicBezTo>
                  <a:pt x="6429307" y="719045"/>
                  <a:pt x="6420759" y="702898"/>
                  <a:pt x="6419808" y="706697"/>
                </a:cubicBezTo>
                <a:cubicBezTo>
                  <a:pt x="6418859" y="712396"/>
                  <a:pt x="6425508" y="720945"/>
                  <a:pt x="6425508" y="729494"/>
                </a:cubicBezTo>
                <a:cubicBezTo>
                  <a:pt x="6425508" y="735193"/>
                  <a:pt x="6419808" y="743742"/>
                  <a:pt x="6419808" y="740892"/>
                </a:cubicBezTo>
                <a:cubicBezTo>
                  <a:pt x="6420759" y="773187"/>
                  <a:pt x="6429307" y="810232"/>
                  <a:pt x="6424558" y="865324"/>
                </a:cubicBezTo>
                <a:cubicBezTo>
                  <a:pt x="6426458" y="883371"/>
                  <a:pt x="6434056" y="855825"/>
                  <a:pt x="6435007" y="876722"/>
                </a:cubicBezTo>
                <a:cubicBezTo>
                  <a:pt x="6433107" y="915667"/>
                  <a:pt x="6418859" y="895719"/>
                  <a:pt x="6435007" y="922316"/>
                </a:cubicBezTo>
                <a:cubicBezTo>
                  <a:pt x="6435007" y="948912"/>
                  <a:pt x="6425508" y="955561"/>
                  <a:pt x="6429307" y="989756"/>
                </a:cubicBezTo>
                <a:cubicBezTo>
                  <a:pt x="6430257" y="1003054"/>
                  <a:pt x="6435007" y="996405"/>
                  <a:pt x="6435007" y="989756"/>
                </a:cubicBezTo>
                <a:cubicBezTo>
                  <a:pt x="6437856" y="985006"/>
                  <a:pt x="6441655" y="1009703"/>
                  <a:pt x="6440705" y="1012552"/>
                </a:cubicBezTo>
                <a:cubicBezTo>
                  <a:pt x="6439756" y="1013502"/>
                  <a:pt x="6430257" y="1010653"/>
                  <a:pt x="6430257" y="1012552"/>
                </a:cubicBezTo>
                <a:cubicBezTo>
                  <a:pt x="6430257" y="1018252"/>
                  <a:pt x="6435007" y="1041998"/>
                  <a:pt x="6435007" y="1058146"/>
                </a:cubicBezTo>
                <a:cubicBezTo>
                  <a:pt x="6436906" y="1100890"/>
                  <a:pt x="6433107" y="1174979"/>
                  <a:pt x="6434056" y="1228171"/>
                </a:cubicBezTo>
                <a:cubicBezTo>
                  <a:pt x="6438806" y="1228171"/>
                  <a:pt x="6437856" y="1213923"/>
                  <a:pt x="6439756" y="1205374"/>
                </a:cubicBezTo>
                <a:cubicBezTo>
                  <a:pt x="6464452" y="1222472"/>
                  <a:pt x="6438806" y="1276614"/>
                  <a:pt x="6466352" y="1285163"/>
                </a:cubicBezTo>
                <a:cubicBezTo>
                  <a:pt x="6470151" y="1297511"/>
                  <a:pt x="6457803" y="1311759"/>
                  <a:pt x="6460652" y="1319358"/>
                </a:cubicBezTo>
                <a:cubicBezTo>
                  <a:pt x="6468252" y="1335505"/>
                  <a:pt x="6461602" y="1333606"/>
                  <a:pt x="6460652" y="1353553"/>
                </a:cubicBezTo>
                <a:cubicBezTo>
                  <a:pt x="6460652" y="1354503"/>
                  <a:pt x="6454953" y="1469436"/>
                  <a:pt x="6459703" y="1477985"/>
                </a:cubicBezTo>
                <a:cubicBezTo>
                  <a:pt x="6466352" y="1489383"/>
                  <a:pt x="6457803" y="1487483"/>
                  <a:pt x="6459703" y="1512180"/>
                </a:cubicBezTo>
                <a:cubicBezTo>
                  <a:pt x="6461602" y="1530227"/>
                  <a:pt x="6461602" y="1524528"/>
                  <a:pt x="6465402" y="1534976"/>
                </a:cubicBezTo>
                <a:cubicBezTo>
                  <a:pt x="6468252" y="1544475"/>
                  <a:pt x="6473001" y="1561572"/>
                  <a:pt x="6470151" y="1580570"/>
                </a:cubicBezTo>
                <a:cubicBezTo>
                  <a:pt x="6469201" y="1586269"/>
                  <a:pt x="6464452" y="1593868"/>
                  <a:pt x="6464452" y="1591968"/>
                </a:cubicBezTo>
                <a:cubicBezTo>
                  <a:pt x="6464452" y="1593868"/>
                  <a:pt x="6474900" y="1628063"/>
                  <a:pt x="6469201" y="1637561"/>
                </a:cubicBezTo>
                <a:cubicBezTo>
                  <a:pt x="6464452" y="1646110"/>
                  <a:pt x="6468252" y="1648960"/>
                  <a:pt x="6469201" y="1671756"/>
                </a:cubicBezTo>
                <a:cubicBezTo>
                  <a:pt x="6472051" y="1751545"/>
                  <a:pt x="6466352" y="1843681"/>
                  <a:pt x="6468252" y="1932018"/>
                </a:cubicBezTo>
                <a:cubicBezTo>
                  <a:pt x="6468252" y="1950066"/>
                  <a:pt x="6473001" y="1951016"/>
                  <a:pt x="6473001" y="1966213"/>
                </a:cubicBezTo>
                <a:cubicBezTo>
                  <a:pt x="6477750" y="2051701"/>
                  <a:pt x="6472051" y="2160935"/>
                  <a:pt x="6472051" y="2260670"/>
                </a:cubicBezTo>
                <a:cubicBezTo>
                  <a:pt x="6472051" y="2358506"/>
                  <a:pt x="6474900" y="2461091"/>
                  <a:pt x="6471101" y="2543729"/>
                </a:cubicBezTo>
                <a:cubicBezTo>
                  <a:pt x="6470151" y="2560827"/>
                  <a:pt x="6465402" y="2563676"/>
                  <a:pt x="6465402" y="2577924"/>
                </a:cubicBezTo>
                <a:cubicBezTo>
                  <a:pt x="6465402" y="2602621"/>
                  <a:pt x="6470151" y="2606420"/>
                  <a:pt x="6470151" y="2623518"/>
                </a:cubicBezTo>
                <a:cubicBezTo>
                  <a:pt x="6473951" y="2691908"/>
                  <a:pt x="6473951" y="2812540"/>
                  <a:pt x="6469201" y="2895178"/>
                </a:cubicBezTo>
                <a:cubicBezTo>
                  <a:pt x="6469201" y="2898978"/>
                  <a:pt x="6470151" y="2916075"/>
                  <a:pt x="6469201" y="2917975"/>
                </a:cubicBezTo>
                <a:cubicBezTo>
                  <a:pt x="6462552" y="2929373"/>
                  <a:pt x="6470151" y="2922724"/>
                  <a:pt x="6469201" y="2940771"/>
                </a:cubicBezTo>
                <a:cubicBezTo>
                  <a:pt x="6468252" y="2962618"/>
                  <a:pt x="6458753" y="2972117"/>
                  <a:pt x="6463502" y="3008212"/>
                </a:cubicBezTo>
                <a:cubicBezTo>
                  <a:pt x="6467301" y="3033858"/>
                  <a:pt x="6464452" y="3027209"/>
                  <a:pt x="6463502" y="3075652"/>
                </a:cubicBezTo>
                <a:cubicBezTo>
                  <a:pt x="6462552" y="3114596"/>
                  <a:pt x="6466352" y="3200083"/>
                  <a:pt x="6462552" y="3245677"/>
                </a:cubicBezTo>
                <a:cubicBezTo>
                  <a:pt x="6461602" y="3258975"/>
                  <a:pt x="6460652" y="3272273"/>
                  <a:pt x="6456853" y="3279872"/>
                </a:cubicBezTo>
                <a:cubicBezTo>
                  <a:pt x="6446404" y="3300769"/>
                  <a:pt x="6473951" y="3305518"/>
                  <a:pt x="6451154" y="3325465"/>
                </a:cubicBezTo>
                <a:cubicBezTo>
                  <a:pt x="6454004" y="3342563"/>
                  <a:pt x="6460652" y="3358710"/>
                  <a:pt x="6461602" y="3382457"/>
                </a:cubicBezTo>
                <a:cubicBezTo>
                  <a:pt x="6461602" y="3378658"/>
                  <a:pt x="6455903" y="3389106"/>
                  <a:pt x="6455903" y="3393855"/>
                </a:cubicBezTo>
                <a:cubicBezTo>
                  <a:pt x="6454953" y="3443248"/>
                  <a:pt x="6446404" y="3595226"/>
                  <a:pt x="6454953" y="3665516"/>
                </a:cubicBezTo>
                <a:cubicBezTo>
                  <a:pt x="6457803" y="3687363"/>
                  <a:pt x="6459703" y="3675014"/>
                  <a:pt x="6454953" y="3711109"/>
                </a:cubicBezTo>
                <a:cubicBezTo>
                  <a:pt x="6451154" y="3735805"/>
                  <a:pt x="6445455" y="3795647"/>
                  <a:pt x="6443555" y="3835541"/>
                </a:cubicBezTo>
                <a:cubicBezTo>
                  <a:pt x="6442605" y="3869736"/>
                  <a:pt x="6453054" y="3866886"/>
                  <a:pt x="6448304" y="3903931"/>
                </a:cubicBezTo>
                <a:cubicBezTo>
                  <a:pt x="6447355" y="3910580"/>
                  <a:pt x="6442605" y="3915329"/>
                  <a:pt x="6442605" y="3915329"/>
                </a:cubicBezTo>
                <a:cubicBezTo>
                  <a:pt x="6441655" y="3931477"/>
                  <a:pt x="6447355" y="3932427"/>
                  <a:pt x="6448304" y="3938126"/>
                </a:cubicBezTo>
                <a:cubicBezTo>
                  <a:pt x="6448304" y="3941925"/>
                  <a:pt x="6444505" y="3967572"/>
                  <a:pt x="6442605" y="3995118"/>
                </a:cubicBezTo>
                <a:cubicBezTo>
                  <a:pt x="6440705" y="4022664"/>
                  <a:pt x="6439756" y="4075856"/>
                  <a:pt x="6436906" y="4130948"/>
                </a:cubicBezTo>
                <a:cubicBezTo>
                  <a:pt x="6435956" y="4148995"/>
                  <a:pt x="6432156" y="4149945"/>
                  <a:pt x="6431207" y="4165143"/>
                </a:cubicBezTo>
                <a:cubicBezTo>
                  <a:pt x="6429307" y="4189839"/>
                  <a:pt x="6433107" y="4219285"/>
                  <a:pt x="6431207" y="4243981"/>
                </a:cubicBezTo>
                <a:cubicBezTo>
                  <a:pt x="6430257" y="4261079"/>
                  <a:pt x="6426458" y="4263928"/>
                  <a:pt x="6425508" y="4278176"/>
                </a:cubicBezTo>
                <a:cubicBezTo>
                  <a:pt x="6424558" y="4295274"/>
                  <a:pt x="6431207" y="4318071"/>
                  <a:pt x="6430257" y="4335168"/>
                </a:cubicBezTo>
                <a:cubicBezTo>
                  <a:pt x="6430257" y="4330419"/>
                  <a:pt x="6425508" y="4343717"/>
                  <a:pt x="6424558" y="4346567"/>
                </a:cubicBezTo>
                <a:cubicBezTo>
                  <a:pt x="6423608" y="4354165"/>
                  <a:pt x="6425508" y="4361764"/>
                  <a:pt x="6424558" y="4369363"/>
                </a:cubicBezTo>
                <a:cubicBezTo>
                  <a:pt x="6421708" y="4395010"/>
                  <a:pt x="6420759" y="4396909"/>
                  <a:pt x="6418859" y="4436803"/>
                </a:cubicBezTo>
                <a:cubicBezTo>
                  <a:pt x="6416959" y="4464349"/>
                  <a:pt x="6410310" y="4479547"/>
                  <a:pt x="6418859" y="4515642"/>
                </a:cubicBezTo>
                <a:cubicBezTo>
                  <a:pt x="6408410" y="4515642"/>
                  <a:pt x="6405561" y="4546037"/>
                  <a:pt x="6407460" y="4583082"/>
                </a:cubicBezTo>
                <a:cubicBezTo>
                  <a:pt x="6408410" y="4599230"/>
                  <a:pt x="6412210" y="4603979"/>
                  <a:pt x="6412210" y="4617277"/>
                </a:cubicBezTo>
                <a:cubicBezTo>
                  <a:pt x="6412210" y="4635324"/>
                  <a:pt x="6408410" y="4636274"/>
                  <a:pt x="6406511" y="4651472"/>
                </a:cubicBezTo>
                <a:cubicBezTo>
                  <a:pt x="6404611" y="4669519"/>
                  <a:pt x="6407460" y="4689467"/>
                  <a:pt x="6406511" y="4708464"/>
                </a:cubicBezTo>
                <a:cubicBezTo>
                  <a:pt x="6404611" y="4741709"/>
                  <a:pt x="6399862" y="4815798"/>
                  <a:pt x="6395112" y="4867091"/>
                </a:cubicBezTo>
                <a:cubicBezTo>
                  <a:pt x="6388463" y="4935480"/>
                  <a:pt x="6381814" y="5065611"/>
                  <a:pt x="6378015" y="5150149"/>
                </a:cubicBezTo>
                <a:cubicBezTo>
                  <a:pt x="6367566" y="5154899"/>
                  <a:pt x="6364717" y="5174846"/>
                  <a:pt x="6351418" y="5172946"/>
                </a:cubicBezTo>
                <a:cubicBezTo>
                  <a:pt x="6351418" y="5161548"/>
                  <a:pt x="6351418" y="5150149"/>
                  <a:pt x="6351418" y="5138751"/>
                </a:cubicBezTo>
                <a:cubicBezTo>
                  <a:pt x="6341920" y="5140651"/>
                  <a:pt x="6347619" y="5176745"/>
                  <a:pt x="6340970" y="5184344"/>
                </a:cubicBezTo>
                <a:cubicBezTo>
                  <a:pt x="6332421" y="5181495"/>
                  <a:pt x="6338121" y="5154899"/>
                  <a:pt x="6336221" y="5138751"/>
                </a:cubicBezTo>
                <a:cubicBezTo>
                  <a:pt x="6334321" y="5129252"/>
                  <a:pt x="6328622" y="5126403"/>
                  <a:pt x="6325773" y="5115954"/>
                </a:cubicBezTo>
                <a:cubicBezTo>
                  <a:pt x="6322923" y="5107406"/>
                  <a:pt x="6327672" y="5092207"/>
                  <a:pt x="6320073" y="5093158"/>
                </a:cubicBezTo>
                <a:cubicBezTo>
                  <a:pt x="6315324" y="5103606"/>
                  <a:pt x="6304876" y="5156799"/>
                  <a:pt x="6314374" y="5160598"/>
                </a:cubicBezTo>
                <a:cubicBezTo>
                  <a:pt x="6301076" y="5202392"/>
                  <a:pt x="6302976" y="5117854"/>
                  <a:pt x="6303925" y="5092207"/>
                </a:cubicBezTo>
                <a:cubicBezTo>
                  <a:pt x="6299176" y="5100756"/>
                  <a:pt x="6295377" y="5113105"/>
                  <a:pt x="6293477" y="5126403"/>
                </a:cubicBezTo>
                <a:cubicBezTo>
                  <a:pt x="6286828" y="5124503"/>
                  <a:pt x="6286828" y="5111205"/>
                  <a:pt x="6283029" y="5103606"/>
                </a:cubicBezTo>
                <a:cubicBezTo>
                  <a:pt x="6279229" y="5096007"/>
                  <a:pt x="6274480" y="5092207"/>
                  <a:pt x="6272580" y="5080810"/>
                </a:cubicBezTo>
                <a:cubicBezTo>
                  <a:pt x="6267831" y="5086509"/>
                  <a:pt x="6264032" y="5092207"/>
                  <a:pt x="6256432" y="5092207"/>
                </a:cubicBezTo>
                <a:cubicBezTo>
                  <a:pt x="6242185" y="5092207"/>
                  <a:pt x="6245035" y="5128303"/>
                  <a:pt x="6229836" y="5126403"/>
                </a:cubicBezTo>
                <a:cubicBezTo>
                  <a:pt x="6229836" y="5111205"/>
                  <a:pt x="6229836" y="5096007"/>
                  <a:pt x="6229836" y="5080810"/>
                </a:cubicBezTo>
                <a:cubicBezTo>
                  <a:pt x="6216539" y="5076060"/>
                  <a:pt x="6218438" y="5101706"/>
                  <a:pt x="6203241" y="5092207"/>
                </a:cubicBezTo>
                <a:cubicBezTo>
                  <a:pt x="6199441" y="5134002"/>
                  <a:pt x="6214639" y="5135901"/>
                  <a:pt x="6213689" y="5171046"/>
                </a:cubicBezTo>
                <a:cubicBezTo>
                  <a:pt x="6234586" y="5172946"/>
                  <a:pt x="6237435" y="5194793"/>
                  <a:pt x="6262132" y="5205241"/>
                </a:cubicBezTo>
                <a:cubicBezTo>
                  <a:pt x="6268781" y="5203341"/>
                  <a:pt x="6266881" y="5184344"/>
                  <a:pt x="6267831" y="5171046"/>
                </a:cubicBezTo>
                <a:cubicBezTo>
                  <a:pt x="6283979" y="5179595"/>
                  <a:pt x="6278280" y="5139701"/>
                  <a:pt x="6294427" y="5148250"/>
                </a:cubicBezTo>
                <a:cubicBezTo>
                  <a:pt x="6294427" y="5174846"/>
                  <a:pt x="6294427" y="5201442"/>
                  <a:pt x="6294427" y="5227088"/>
                </a:cubicBezTo>
                <a:cubicBezTo>
                  <a:pt x="6301076" y="5225188"/>
                  <a:pt x="6299176" y="5206191"/>
                  <a:pt x="6300126" y="5192893"/>
                </a:cubicBezTo>
                <a:cubicBezTo>
                  <a:pt x="6311525" y="5197642"/>
                  <a:pt x="6314374" y="5185294"/>
                  <a:pt x="6321973" y="5181495"/>
                </a:cubicBezTo>
                <a:cubicBezTo>
                  <a:pt x="6333371" y="5175796"/>
                  <a:pt x="6329572" y="5203341"/>
                  <a:pt x="6338121" y="5204292"/>
                </a:cubicBezTo>
                <a:cubicBezTo>
                  <a:pt x="6353318" y="5207141"/>
                  <a:pt x="6354268" y="5178645"/>
                  <a:pt x="6370416" y="5181495"/>
                </a:cubicBezTo>
                <a:cubicBezTo>
                  <a:pt x="6376115" y="5217589"/>
                  <a:pt x="6378965" y="5302127"/>
                  <a:pt x="6348569" y="5294528"/>
                </a:cubicBezTo>
                <a:cubicBezTo>
                  <a:pt x="6365666" y="5327774"/>
                  <a:pt x="6350469" y="5359119"/>
                  <a:pt x="6359018" y="5407562"/>
                </a:cubicBezTo>
                <a:cubicBezTo>
                  <a:pt x="6338121" y="5412311"/>
                  <a:pt x="6340021" y="5419910"/>
                  <a:pt x="6326722" y="5396163"/>
                </a:cubicBezTo>
                <a:cubicBezTo>
                  <a:pt x="6322923" y="5364818"/>
                  <a:pt x="6337171" y="5373367"/>
                  <a:pt x="6337171" y="5350570"/>
                </a:cubicBezTo>
                <a:cubicBezTo>
                  <a:pt x="6328622" y="5334422"/>
                  <a:pt x="6332421" y="5292629"/>
                  <a:pt x="6332421" y="5260333"/>
                </a:cubicBezTo>
                <a:cubicBezTo>
                  <a:pt x="6326722" y="5263183"/>
                  <a:pt x="6328622" y="5283130"/>
                  <a:pt x="6321973" y="5283130"/>
                </a:cubicBezTo>
                <a:cubicBezTo>
                  <a:pt x="6310575" y="5288829"/>
                  <a:pt x="6311525" y="5266982"/>
                  <a:pt x="6311525" y="5248935"/>
                </a:cubicBezTo>
                <a:cubicBezTo>
                  <a:pt x="6296327" y="5250834"/>
                  <a:pt x="6274480" y="5239436"/>
                  <a:pt x="6273530" y="5271732"/>
                </a:cubicBezTo>
                <a:cubicBezTo>
                  <a:pt x="6262132" y="5273631"/>
                  <a:pt x="6271631" y="5231837"/>
                  <a:pt x="6268781" y="5214740"/>
                </a:cubicBezTo>
                <a:cubicBezTo>
                  <a:pt x="6262132" y="5234687"/>
                  <a:pt x="6250734" y="5244185"/>
                  <a:pt x="6252633" y="5282180"/>
                </a:cubicBezTo>
                <a:cubicBezTo>
                  <a:pt x="6240285" y="5277430"/>
                  <a:pt x="6250734" y="5226138"/>
                  <a:pt x="6247884" y="5203341"/>
                </a:cubicBezTo>
                <a:cubicBezTo>
                  <a:pt x="6242185" y="5210940"/>
                  <a:pt x="6242185" y="5228988"/>
                  <a:pt x="6231736" y="5226138"/>
                </a:cubicBezTo>
                <a:cubicBezTo>
                  <a:pt x="6230787" y="5255584"/>
                  <a:pt x="6228887" y="5280281"/>
                  <a:pt x="6220338" y="5293578"/>
                </a:cubicBezTo>
                <a:cubicBezTo>
                  <a:pt x="6224138" y="5302127"/>
                  <a:pt x="6243135" y="5329673"/>
                  <a:pt x="6220338" y="5327774"/>
                </a:cubicBezTo>
                <a:cubicBezTo>
                  <a:pt x="6219388" y="5342497"/>
                  <a:pt x="6224612" y="5344871"/>
                  <a:pt x="6229481" y="5348077"/>
                </a:cubicBezTo>
                <a:lnTo>
                  <a:pt x="6235536" y="5354971"/>
                </a:lnTo>
                <a:lnTo>
                  <a:pt x="6235536" y="5374031"/>
                </a:lnTo>
                <a:lnTo>
                  <a:pt x="6228457" y="5378977"/>
                </a:lnTo>
                <a:cubicBezTo>
                  <a:pt x="6222535" y="5389040"/>
                  <a:pt x="6221288" y="5408987"/>
                  <a:pt x="6209890" y="5407562"/>
                </a:cubicBezTo>
                <a:cubicBezTo>
                  <a:pt x="6206090" y="5441757"/>
                  <a:pt x="6215589" y="5448406"/>
                  <a:pt x="6214639" y="5475952"/>
                </a:cubicBezTo>
                <a:cubicBezTo>
                  <a:pt x="6217488" y="5499698"/>
                  <a:pt x="6210839" y="5505397"/>
                  <a:pt x="6208939" y="5521545"/>
                </a:cubicBezTo>
                <a:cubicBezTo>
                  <a:pt x="6207040" y="5540542"/>
                  <a:pt x="6214639" y="5572838"/>
                  <a:pt x="6203241" y="5578537"/>
                </a:cubicBezTo>
                <a:cubicBezTo>
                  <a:pt x="6204190" y="5602283"/>
                  <a:pt x="6226987" y="5581386"/>
                  <a:pt x="6229836" y="5601334"/>
                </a:cubicBezTo>
                <a:cubicBezTo>
                  <a:pt x="6232686" y="5648827"/>
                  <a:pt x="6220338" y="5664974"/>
                  <a:pt x="6218438" y="5702969"/>
                </a:cubicBezTo>
                <a:cubicBezTo>
                  <a:pt x="6207040" y="5725765"/>
                  <a:pt x="6207990" y="5698220"/>
                  <a:pt x="6197542" y="5691570"/>
                </a:cubicBezTo>
                <a:cubicBezTo>
                  <a:pt x="6197542" y="5706768"/>
                  <a:pt x="6197542" y="5721966"/>
                  <a:pt x="6197542" y="5737164"/>
                </a:cubicBezTo>
                <a:cubicBezTo>
                  <a:pt x="6198491" y="5763760"/>
                  <a:pt x="6209890" y="5719116"/>
                  <a:pt x="6218438" y="5748562"/>
                </a:cubicBezTo>
                <a:cubicBezTo>
                  <a:pt x="6218438" y="5763760"/>
                  <a:pt x="6218438" y="5778958"/>
                  <a:pt x="6218438" y="5794155"/>
                </a:cubicBezTo>
                <a:cubicBezTo>
                  <a:pt x="6206090" y="5823601"/>
                  <a:pt x="6183294" y="5785606"/>
                  <a:pt x="6175695" y="5805554"/>
                </a:cubicBezTo>
                <a:cubicBezTo>
                  <a:pt x="6178545" y="5829300"/>
                  <a:pt x="6186143" y="5844498"/>
                  <a:pt x="6196591" y="5851147"/>
                </a:cubicBezTo>
                <a:cubicBezTo>
                  <a:pt x="6183294" y="5875843"/>
                  <a:pt x="6183294" y="5928086"/>
                  <a:pt x="6174745" y="5964181"/>
                </a:cubicBezTo>
                <a:cubicBezTo>
                  <a:pt x="6154798" y="5959432"/>
                  <a:pt x="6181394" y="5889142"/>
                  <a:pt x="6159547" y="5873944"/>
                </a:cubicBezTo>
                <a:cubicBezTo>
                  <a:pt x="6163347" y="5864445"/>
                  <a:pt x="6160497" y="5835950"/>
                  <a:pt x="6165246" y="5828350"/>
                </a:cubicBezTo>
                <a:cubicBezTo>
                  <a:pt x="6173795" y="5813153"/>
                  <a:pt x="6166196" y="5813153"/>
                  <a:pt x="6165246" y="5794155"/>
                </a:cubicBezTo>
                <a:cubicBezTo>
                  <a:pt x="6165246" y="5776108"/>
                  <a:pt x="6169046" y="5774209"/>
                  <a:pt x="6170945" y="5759961"/>
                </a:cubicBezTo>
                <a:cubicBezTo>
                  <a:pt x="6172845" y="5743813"/>
                  <a:pt x="6165246" y="5710568"/>
                  <a:pt x="6176645" y="5702969"/>
                </a:cubicBezTo>
                <a:cubicBezTo>
                  <a:pt x="6162397" y="5678272"/>
                  <a:pt x="6175695" y="5664974"/>
                  <a:pt x="6166196" y="5635528"/>
                </a:cubicBezTo>
                <a:cubicBezTo>
                  <a:pt x="6163347" y="5598484"/>
                  <a:pt x="6169996" y="5583286"/>
                  <a:pt x="6171896" y="5556690"/>
                </a:cubicBezTo>
                <a:cubicBezTo>
                  <a:pt x="6166196" y="5550041"/>
                  <a:pt x="6168096" y="5578537"/>
                  <a:pt x="6166196" y="5579487"/>
                </a:cubicBezTo>
                <a:cubicBezTo>
                  <a:pt x="6154798" y="5582336"/>
                  <a:pt x="6156697" y="5532943"/>
                  <a:pt x="6161447" y="5512046"/>
                </a:cubicBezTo>
                <a:cubicBezTo>
                  <a:pt x="6145300" y="5500648"/>
                  <a:pt x="6151948" y="5536743"/>
                  <a:pt x="6150999" y="5557640"/>
                </a:cubicBezTo>
                <a:cubicBezTo>
                  <a:pt x="6140550" y="5576637"/>
                  <a:pt x="6144349" y="5556690"/>
                  <a:pt x="6130101" y="5557640"/>
                </a:cubicBezTo>
                <a:cubicBezTo>
                  <a:pt x="6131052" y="5621280"/>
                  <a:pt x="6128202" y="5676372"/>
                  <a:pt x="6113004" y="5704868"/>
                </a:cubicBezTo>
                <a:cubicBezTo>
                  <a:pt x="6112054" y="5793206"/>
                  <a:pt x="6116804" y="5895791"/>
                  <a:pt x="6101606" y="5953732"/>
                </a:cubicBezTo>
                <a:cubicBezTo>
                  <a:pt x="6085458" y="5946133"/>
                  <a:pt x="6106355" y="5929985"/>
                  <a:pt x="6101606" y="5908139"/>
                </a:cubicBezTo>
                <a:cubicBezTo>
                  <a:pt x="6077859" y="5891041"/>
                  <a:pt x="6104455" y="5982228"/>
                  <a:pt x="6079759" y="5964181"/>
                </a:cubicBezTo>
                <a:cubicBezTo>
                  <a:pt x="6085458" y="5917637"/>
                  <a:pt x="6080709" y="5908139"/>
                  <a:pt x="6085458" y="5851147"/>
                </a:cubicBezTo>
                <a:cubicBezTo>
                  <a:pt x="6056013" y="5854947"/>
                  <a:pt x="6083559" y="5877743"/>
                  <a:pt x="6069311" y="5908139"/>
                </a:cubicBezTo>
                <a:cubicBezTo>
                  <a:pt x="6061711" y="5924287"/>
                  <a:pt x="6072160" y="5909088"/>
                  <a:pt x="6069311" y="5953732"/>
                </a:cubicBezTo>
                <a:cubicBezTo>
                  <a:pt x="6069311" y="5954682"/>
                  <a:pt x="6059812" y="5952782"/>
                  <a:pt x="6058862" y="5953732"/>
                </a:cubicBezTo>
                <a:cubicBezTo>
                  <a:pt x="6064562" y="5967030"/>
                  <a:pt x="6074060" y="5974629"/>
                  <a:pt x="6069311" y="6010724"/>
                </a:cubicBezTo>
                <a:cubicBezTo>
                  <a:pt x="6061711" y="6024022"/>
                  <a:pt x="6056013" y="6024022"/>
                  <a:pt x="6047464" y="6010724"/>
                </a:cubicBezTo>
                <a:cubicBezTo>
                  <a:pt x="6047464" y="6033521"/>
                  <a:pt x="6047464" y="6056317"/>
                  <a:pt x="6047464" y="6079114"/>
                </a:cubicBezTo>
                <a:cubicBezTo>
                  <a:pt x="6058862" y="6085763"/>
                  <a:pt x="6060762" y="6057267"/>
                  <a:pt x="6053163" y="6056317"/>
                </a:cubicBezTo>
                <a:cubicBezTo>
                  <a:pt x="6059812" y="6020222"/>
                  <a:pt x="6068361" y="6067715"/>
                  <a:pt x="6063611" y="6090512"/>
                </a:cubicBezTo>
                <a:cubicBezTo>
                  <a:pt x="6071210" y="6076264"/>
                  <a:pt x="6072160" y="6047769"/>
                  <a:pt x="6079759" y="6033521"/>
                </a:cubicBezTo>
                <a:cubicBezTo>
                  <a:pt x="6085458" y="6041119"/>
                  <a:pt x="6085458" y="6059167"/>
                  <a:pt x="6095907" y="6056317"/>
                </a:cubicBezTo>
                <a:cubicBezTo>
                  <a:pt x="6094957" y="6070565"/>
                  <a:pt x="6085458" y="6067715"/>
                  <a:pt x="6085458" y="6056317"/>
                </a:cubicBezTo>
                <a:cubicBezTo>
                  <a:pt x="6071210" y="6075314"/>
                  <a:pt x="6094007" y="6110459"/>
                  <a:pt x="6074060" y="6123757"/>
                </a:cubicBezTo>
                <a:cubicBezTo>
                  <a:pt x="6075010" y="6139905"/>
                  <a:pt x="6090207" y="6127557"/>
                  <a:pt x="6090207" y="6146554"/>
                </a:cubicBezTo>
                <a:cubicBezTo>
                  <a:pt x="6094957" y="6182649"/>
                  <a:pt x="6073110" y="6162702"/>
                  <a:pt x="6068361" y="6180749"/>
                </a:cubicBezTo>
                <a:cubicBezTo>
                  <a:pt x="6069311" y="6194047"/>
                  <a:pt x="6077859" y="6190248"/>
                  <a:pt x="6084508" y="6192148"/>
                </a:cubicBezTo>
                <a:cubicBezTo>
                  <a:pt x="6089258" y="6235841"/>
                  <a:pt x="6060762" y="6210195"/>
                  <a:pt x="6068361" y="6259588"/>
                </a:cubicBezTo>
                <a:cubicBezTo>
                  <a:pt x="6043664" y="6234891"/>
                  <a:pt x="6069311" y="6167451"/>
                  <a:pt x="6063611" y="6112359"/>
                </a:cubicBezTo>
                <a:cubicBezTo>
                  <a:pt x="6039865" y="6164601"/>
                  <a:pt x="6056962" y="6239641"/>
                  <a:pt x="6036066" y="6304231"/>
                </a:cubicBezTo>
                <a:cubicBezTo>
                  <a:pt x="6047464" y="6324178"/>
                  <a:pt x="6045564" y="6298532"/>
                  <a:pt x="6057912" y="6292833"/>
                </a:cubicBezTo>
                <a:cubicBezTo>
                  <a:pt x="6056013" y="6293782"/>
                  <a:pt x="6060762" y="6309930"/>
                  <a:pt x="6063611" y="6304231"/>
                </a:cubicBezTo>
                <a:cubicBezTo>
                  <a:pt x="6067411" y="6295682"/>
                  <a:pt x="6071210" y="6291883"/>
                  <a:pt x="6079759" y="6292833"/>
                </a:cubicBezTo>
                <a:cubicBezTo>
                  <a:pt x="6084508" y="6364072"/>
                  <a:pt x="6049363" y="6330827"/>
                  <a:pt x="6031316" y="6327027"/>
                </a:cubicBezTo>
                <a:cubicBezTo>
                  <a:pt x="6026567" y="6328927"/>
                  <a:pt x="6025617" y="6338426"/>
                  <a:pt x="6020868" y="6338426"/>
                </a:cubicBezTo>
                <a:cubicBezTo>
                  <a:pt x="6018019" y="6370721"/>
                  <a:pt x="6019681" y="6393280"/>
                  <a:pt x="6022530" y="6413465"/>
                </a:cubicBezTo>
                <a:lnTo>
                  <a:pt x="6030783" y="6470566"/>
                </a:lnTo>
                <a:lnTo>
                  <a:pt x="6030471" y="6473683"/>
                </a:lnTo>
                <a:lnTo>
                  <a:pt x="6029283" y="6472876"/>
                </a:lnTo>
                <a:cubicBezTo>
                  <a:pt x="6026745" y="6468736"/>
                  <a:pt x="6023005" y="6458584"/>
                  <a:pt x="6020868" y="6462858"/>
                </a:cubicBezTo>
                <a:cubicBezTo>
                  <a:pt x="6021818" y="6460008"/>
                  <a:pt x="6017069" y="6485654"/>
                  <a:pt x="6015169" y="6486605"/>
                </a:cubicBezTo>
                <a:cubicBezTo>
                  <a:pt x="6015169" y="6494203"/>
                  <a:pt x="6020868" y="6498003"/>
                  <a:pt x="6019918" y="6507501"/>
                </a:cubicBezTo>
                <a:cubicBezTo>
                  <a:pt x="6019918" y="6513201"/>
                  <a:pt x="6014218" y="6521749"/>
                  <a:pt x="6014218" y="6518900"/>
                </a:cubicBezTo>
                <a:cubicBezTo>
                  <a:pt x="6015169" y="6557844"/>
                  <a:pt x="6022767" y="6618635"/>
                  <a:pt x="6002821" y="6654730"/>
                </a:cubicBezTo>
                <a:cubicBezTo>
                  <a:pt x="6002821" y="6738318"/>
                  <a:pt x="5998071" y="6799109"/>
                  <a:pt x="5993322" y="6867499"/>
                </a:cubicBezTo>
                <a:lnTo>
                  <a:pt x="5857492" y="6867499"/>
                </a:lnTo>
                <a:cubicBezTo>
                  <a:pt x="5857492" y="6865599"/>
                  <a:pt x="5857492" y="6864649"/>
                  <a:pt x="5857492" y="6862750"/>
                </a:cubicBezTo>
                <a:lnTo>
                  <a:pt x="5850843" y="6862750"/>
                </a:lnTo>
                <a:cubicBezTo>
                  <a:pt x="5850843" y="6864649"/>
                  <a:pt x="5850843" y="6866549"/>
                  <a:pt x="5850843" y="6867499"/>
                </a:cubicBezTo>
                <a:lnTo>
                  <a:pt x="5489896" y="6867499"/>
                </a:lnTo>
                <a:cubicBezTo>
                  <a:pt x="5489896" y="6865599"/>
                  <a:pt x="5489896" y="6864649"/>
                  <a:pt x="5488946" y="6862750"/>
                </a:cubicBezTo>
                <a:lnTo>
                  <a:pt x="5483247" y="6862750"/>
                </a:lnTo>
                <a:cubicBezTo>
                  <a:pt x="5483247" y="6864649"/>
                  <a:pt x="5483247" y="6866549"/>
                  <a:pt x="5483247" y="6867499"/>
                </a:cubicBezTo>
                <a:lnTo>
                  <a:pt x="5225835" y="6867499"/>
                </a:lnTo>
                <a:cubicBezTo>
                  <a:pt x="5225835" y="6865599"/>
                  <a:pt x="5225835" y="6863699"/>
                  <a:pt x="5225835" y="6862750"/>
                </a:cubicBezTo>
                <a:lnTo>
                  <a:pt x="5217287" y="6862750"/>
                </a:lnTo>
                <a:cubicBezTo>
                  <a:pt x="5217287" y="6864649"/>
                  <a:pt x="5217287" y="6866549"/>
                  <a:pt x="5217287" y="6867499"/>
                </a:cubicBezTo>
                <a:cubicBezTo>
                  <a:pt x="5217287" y="6867499"/>
                  <a:pt x="5218236" y="6867499"/>
                  <a:pt x="5218236" y="6868448"/>
                </a:cubicBezTo>
                <a:lnTo>
                  <a:pt x="5118501" y="6868448"/>
                </a:lnTo>
                <a:cubicBezTo>
                  <a:pt x="5118501" y="6866549"/>
                  <a:pt x="5118501" y="6864649"/>
                  <a:pt x="3104798" y="6863699"/>
                </a:cubicBezTo>
                <a:lnTo>
                  <a:pt x="0" y="6863699"/>
                </a:lnTo>
                <a:close/>
              </a:path>
            </a:pathLst>
          </a:custGeom>
        </p:spPr>
      </p:pic>
      <p:pic>
        <p:nvPicPr>
          <p:cNvPr id="12" name="Graphic 11">
            <a:extLst>
              <a:ext uri="{FF2B5EF4-FFF2-40B4-BE49-F238E27FC236}">
                <a16:creationId xmlns:a16="http://schemas.microsoft.com/office/drawing/2014/main" id="{7F7E12FB-5E4A-4CF8-8B38-362C2FDA404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lvl1pPr>
              <a:defRPr>
                <a:solidFill>
                  <a:schemeClr val="bg1"/>
                </a:solidFill>
              </a:defRPr>
            </a:lvl1p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spc="-150">
                <a:solidFill>
                  <a:schemeClr val="bg1"/>
                </a:solidFill>
                <a:latin typeface="+mj-lt"/>
              </a:defRPr>
            </a:lvl1pPr>
          </a:lstStyle>
          <a:p>
            <a:r>
              <a:rPr lang="en-US"/>
              <a:t>Click to edit Master title style</a:t>
            </a:r>
            <a:endParaRPr lang="en-GB"/>
          </a:p>
        </p:txBody>
      </p:sp>
      <p:sp>
        <p:nvSpPr>
          <p:cNvPr id="25" name="Text Placeholder 21">
            <a:extLst>
              <a:ext uri="{FF2B5EF4-FFF2-40B4-BE49-F238E27FC236}">
                <a16:creationId xmlns:a16="http://schemas.microsoft.com/office/drawing/2014/main" id="{A5C69436-D0A1-448A-BF35-D8C0EB0BEA54}"/>
              </a:ext>
            </a:extLst>
          </p:cNvPr>
          <p:cNvSpPr>
            <a:spLocks noGrp="1"/>
          </p:cNvSpPr>
          <p:nvPr>
            <p:ph type="body" sz="quarter" idx="12"/>
          </p:nvPr>
        </p:nvSpPr>
        <p:spPr>
          <a:xfrm>
            <a:off x="515937" y="4911726"/>
            <a:ext cx="5220000" cy="796924"/>
          </a:xfrm>
        </p:spPr>
        <p:txBody>
          <a:bodyPr>
            <a:normAutofit/>
          </a:bodyPr>
          <a:lstStyle>
            <a:lvl1pPr marL="0" indent="0">
              <a:lnSpc>
                <a:spcPct val="90000"/>
              </a:lnSpc>
              <a:spcBef>
                <a:spcPts val="0"/>
              </a:spcBef>
              <a:buFont typeface="Arial" panose="020B0604020202020204" pitchFamily="34" charset="0"/>
              <a:buNone/>
              <a:defRPr sz="1600">
                <a:solidFill>
                  <a:schemeClr val="bg1">
                    <a:alpha val="50000"/>
                  </a:schemeClr>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
        <p:nvSpPr>
          <p:cNvPr id="45" name="Slide Number Placeholder 44">
            <a:extLst>
              <a:ext uri="{FF2B5EF4-FFF2-40B4-BE49-F238E27FC236}">
                <a16:creationId xmlns:a16="http://schemas.microsoft.com/office/drawing/2014/main" id="{8A26B033-71E0-42E5-94FE-FA589DC64740}"/>
              </a:ext>
            </a:extLst>
          </p:cNvPr>
          <p:cNvSpPr>
            <a:spLocks noGrp="1"/>
          </p:cNvSpPr>
          <p:nvPr>
            <p:ph type="sldNum" sz="quarter" idx="15"/>
          </p:nvPr>
        </p:nvSpPr>
        <p:spPr/>
        <p:txBody>
          <a:bodyPr/>
          <a:lstStyle>
            <a:lvl1pPr>
              <a:defRPr>
                <a:solidFill>
                  <a:schemeClr val="bg1"/>
                </a:solidFill>
              </a:defRPr>
            </a:lvl1pPr>
          </a:lstStyle>
          <a:p>
            <a:fld id="{A8B7E462-AA7B-4427-9DF0-5AABDADAA92F}" type="slidenum">
              <a:rPr lang="en-GB" smtClean="0"/>
              <a:pPr/>
              <a:t>‹#›</a:t>
            </a:fld>
            <a:endParaRPr lang="en-GB"/>
          </a:p>
        </p:txBody>
      </p:sp>
      <p:sp>
        <p:nvSpPr>
          <p:cNvPr id="15" name="Text Placeholder 17">
            <a:extLst>
              <a:ext uri="{FF2B5EF4-FFF2-40B4-BE49-F238E27FC236}">
                <a16:creationId xmlns:a16="http://schemas.microsoft.com/office/drawing/2014/main" id="{30C3502C-B0F4-4643-B454-80AB0D5090DA}"/>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bg1">
                    <a:alpha val="50000"/>
                  </a:schemeClr>
                </a:solidFill>
              </a:defRPr>
            </a:lvl1pPr>
          </a:lstStyle>
          <a:p>
            <a:pPr lvl="0"/>
            <a:r>
              <a:rPr lang="en-US"/>
              <a:t>##</a:t>
            </a:r>
            <a:endParaRPr lang="en-GB"/>
          </a:p>
        </p:txBody>
      </p:sp>
    </p:spTree>
    <p:extLst>
      <p:ext uri="{BB962C8B-B14F-4D97-AF65-F5344CB8AC3E}">
        <p14:creationId xmlns:p14="http://schemas.microsoft.com/office/powerpoint/2010/main" val="424830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334033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7DA3557E-1915-4849-A44C-6304401A10C6}"/>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1" y="0"/>
            <a:ext cx="6474891" cy="6858000"/>
          </a:xfrm>
          <a:custGeom>
            <a:avLst/>
            <a:gdLst>
              <a:gd name="connsiteX0" fmla="*/ 0 w 6474891"/>
              <a:gd name="connsiteY0" fmla="*/ 0 h 6858000"/>
              <a:gd name="connsiteX1" fmla="*/ 6474891 w 6474891"/>
              <a:gd name="connsiteY1" fmla="*/ 0 h 6858000"/>
              <a:gd name="connsiteX2" fmla="*/ 6474891 w 6474891"/>
              <a:gd name="connsiteY2" fmla="*/ 6858000 h 6858000"/>
              <a:gd name="connsiteX3" fmla="*/ 0 w 647489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91" h="6858000">
                <a:moveTo>
                  <a:pt x="0" y="0"/>
                </a:moveTo>
                <a:lnTo>
                  <a:pt x="6474891" y="0"/>
                </a:lnTo>
                <a:lnTo>
                  <a:pt x="6474891" y="6858000"/>
                </a:lnTo>
                <a:lnTo>
                  <a:pt x="0" y="6858000"/>
                </a:lnTo>
                <a:close/>
              </a:path>
            </a:pathLst>
          </a:custGeom>
        </p:spPr>
      </p:pic>
      <p:pic>
        <p:nvPicPr>
          <p:cNvPr id="12" name="Graphic 11">
            <a:extLst>
              <a:ext uri="{FF2B5EF4-FFF2-40B4-BE49-F238E27FC236}">
                <a16:creationId xmlns:a16="http://schemas.microsoft.com/office/drawing/2014/main" id="{7F7E12FB-5E4A-4CF8-8B38-362C2FDA404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lvl1pPr>
              <a:defRPr>
                <a:solidFill>
                  <a:schemeClr val="bg1"/>
                </a:solidFill>
              </a:defRPr>
            </a:lvl1p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spc="-150">
                <a:solidFill>
                  <a:schemeClr val="bg1"/>
                </a:solidFill>
                <a:latin typeface="+mj-lt"/>
              </a:defRPr>
            </a:lvl1pPr>
          </a:lstStyle>
          <a:p>
            <a:r>
              <a:rPr lang="en-US"/>
              <a:t>Click to edit Master title style</a:t>
            </a:r>
            <a:endParaRPr lang="en-GB"/>
          </a:p>
        </p:txBody>
      </p:sp>
      <p:sp>
        <p:nvSpPr>
          <p:cNvPr id="45" name="Slide Number Placeholder 44">
            <a:extLst>
              <a:ext uri="{FF2B5EF4-FFF2-40B4-BE49-F238E27FC236}">
                <a16:creationId xmlns:a16="http://schemas.microsoft.com/office/drawing/2014/main" id="{8A26B033-71E0-42E5-94FE-FA589DC64740}"/>
              </a:ext>
            </a:extLst>
          </p:cNvPr>
          <p:cNvSpPr>
            <a:spLocks noGrp="1"/>
          </p:cNvSpPr>
          <p:nvPr>
            <p:ph type="sldNum" sz="quarter" idx="15"/>
          </p:nvPr>
        </p:nvSpPr>
        <p:spPr/>
        <p:txBody>
          <a:bodyPr/>
          <a:lstStyle>
            <a:lvl1pPr>
              <a:defRPr>
                <a:solidFill>
                  <a:schemeClr val="bg1"/>
                </a:solidFill>
              </a:defRPr>
            </a:lvl1pPr>
          </a:lstStyle>
          <a:p>
            <a:fld id="{A8B7E462-AA7B-4427-9DF0-5AABDADAA92F}" type="slidenum">
              <a:rPr lang="en-GB" smtClean="0"/>
              <a:pPr/>
              <a:t>‹#›</a:t>
            </a:fld>
            <a:endParaRPr lang="en-GB"/>
          </a:p>
        </p:txBody>
      </p:sp>
      <p:sp>
        <p:nvSpPr>
          <p:cNvPr id="13" name="Text Placeholder 17">
            <a:extLst>
              <a:ext uri="{FF2B5EF4-FFF2-40B4-BE49-F238E27FC236}">
                <a16:creationId xmlns:a16="http://schemas.microsoft.com/office/drawing/2014/main" id="{01ED9396-2C13-4B57-AF98-0821F8DAE7AD}"/>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bg1">
                    <a:alpha val="50000"/>
                  </a:schemeClr>
                </a:solidFill>
              </a:defRPr>
            </a:lvl1pPr>
          </a:lstStyle>
          <a:p>
            <a:pPr lvl="0"/>
            <a:r>
              <a:rPr lang="en-US"/>
              <a:t>##</a:t>
            </a:r>
            <a:endParaRPr lang="en-GB"/>
          </a:p>
        </p:txBody>
      </p:sp>
      <p:sp>
        <p:nvSpPr>
          <p:cNvPr id="15" name="Text Placeholder 21">
            <a:extLst>
              <a:ext uri="{FF2B5EF4-FFF2-40B4-BE49-F238E27FC236}">
                <a16:creationId xmlns:a16="http://schemas.microsoft.com/office/drawing/2014/main" id="{0EE16480-2677-4135-B81B-5A9EE4AB5B78}"/>
              </a:ext>
            </a:extLst>
          </p:cNvPr>
          <p:cNvSpPr>
            <a:spLocks noGrp="1"/>
          </p:cNvSpPr>
          <p:nvPr>
            <p:ph type="body" sz="quarter" idx="12"/>
          </p:nvPr>
        </p:nvSpPr>
        <p:spPr>
          <a:xfrm>
            <a:off x="515937" y="4911726"/>
            <a:ext cx="5220000" cy="796924"/>
          </a:xfrm>
        </p:spPr>
        <p:txBody>
          <a:bodyPr>
            <a:normAutofit/>
          </a:bodyPr>
          <a:lstStyle>
            <a:lvl1pPr marL="0" indent="0">
              <a:lnSpc>
                <a:spcPct val="90000"/>
              </a:lnSpc>
              <a:spcBef>
                <a:spcPts val="0"/>
              </a:spcBef>
              <a:buFont typeface="Arial" panose="020B0604020202020204" pitchFamily="34" charset="0"/>
              <a:buNone/>
              <a:defRPr sz="1600">
                <a:solidFill>
                  <a:schemeClr val="bg1">
                    <a:alpha val="50000"/>
                  </a:schemeClr>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Tree>
    <p:extLst>
      <p:ext uri="{BB962C8B-B14F-4D97-AF65-F5344CB8AC3E}">
        <p14:creationId xmlns:p14="http://schemas.microsoft.com/office/powerpoint/2010/main" val="364560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Gree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2563825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50030EA2-E958-46C0-836F-68CB92DBBF73}"/>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1" y="0"/>
            <a:ext cx="6474891" cy="6858000"/>
          </a:xfrm>
          <a:custGeom>
            <a:avLst/>
            <a:gdLst>
              <a:gd name="connsiteX0" fmla="*/ 0 w 6474891"/>
              <a:gd name="connsiteY0" fmla="*/ 0 h 6858000"/>
              <a:gd name="connsiteX1" fmla="*/ 6474891 w 6474891"/>
              <a:gd name="connsiteY1" fmla="*/ 0 h 6858000"/>
              <a:gd name="connsiteX2" fmla="*/ 6474891 w 6474891"/>
              <a:gd name="connsiteY2" fmla="*/ 6858000 h 6858000"/>
              <a:gd name="connsiteX3" fmla="*/ 0 w 647489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91" h="6858000">
                <a:moveTo>
                  <a:pt x="0" y="0"/>
                </a:moveTo>
                <a:lnTo>
                  <a:pt x="6474891" y="0"/>
                </a:lnTo>
                <a:lnTo>
                  <a:pt x="6474891" y="6858000"/>
                </a:lnTo>
                <a:lnTo>
                  <a:pt x="0" y="6858000"/>
                </a:lnTo>
                <a:close/>
              </a:path>
            </a:pathLst>
          </a:custGeom>
        </p:spPr>
      </p:pic>
      <p:pic>
        <p:nvPicPr>
          <p:cNvPr id="12" name="Graphic 11">
            <a:extLst>
              <a:ext uri="{FF2B5EF4-FFF2-40B4-BE49-F238E27FC236}">
                <a16:creationId xmlns:a16="http://schemas.microsoft.com/office/drawing/2014/main" id="{7F7E12FB-5E4A-4CF8-8B38-362C2FDA404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lvl1pPr>
              <a:defRPr>
                <a:solidFill>
                  <a:schemeClr val="bg1"/>
                </a:solidFill>
              </a:defRPr>
            </a:lvl1p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spc="-150">
                <a:solidFill>
                  <a:schemeClr val="bg1"/>
                </a:solidFill>
                <a:latin typeface="+mj-lt"/>
              </a:defRPr>
            </a:lvl1pPr>
          </a:lstStyle>
          <a:p>
            <a:r>
              <a:rPr lang="en-US"/>
              <a:t>Click to edit Master title style</a:t>
            </a:r>
            <a:endParaRPr lang="en-GB"/>
          </a:p>
        </p:txBody>
      </p:sp>
      <p:sp>
        <p:nvSpPr>
          <p:cNvPr id="45" name="Slide Number Placeholder 44">
            <a:extLst>
              <a:ext uri="{FF2B5EF4-FFF2-40B4-BE49-F238E27FC236}">
                <a16:creationId xmlns:a16="http://schemas.microsoft.com/office/drawing/2014/main" id="{8A26B033-71E0-42E5-94FE-FA589DC64740}"/>
              </a:ext>
            </a:extLst>
          </p:cNvPr>
          <p:cNvSpPr>
            <a:spLocks noGrp="1"/>
          </p:cNvSpPr>
          <p:nvPr>
            <p:ph type="sldNum" sz="quarter" idx="15"/>
          </p:nvPr>
        </p:nvSpPr>
        <p:spPr/>
        <p:txBody>
          <a:bodyPr/>
          <a:lstStyle>
            <a:lvl1pPr>
              <a:defRPr>
                <a:solidFill>
                  <a:schemeClr val="bg1"/>
                </a:solidFill>
              </a:defRPr>
            </a:lvl1pPr>
          </a:lstStyle>
          <a:p>
            <a:fld id="{A8B7E462-AA7B-4427-9DF0-5AABDADAA92F}" type="slidenum">
              <a:rPr lang="en-GB" smtClean="0"/>
              <a:pPr/>
              <a:t>‹#›</a:t>
            </a:fld>
            <a:endParaRPr lang="en-GB"/>
          </a:p>
        </p:txBody>
      </p:sp>
      <p:sp>
        <p:nvSpPr>
          <p:cNvPr id="13" name="Text Placeholder 17">
            <a:extLst>
              <a:ext uri="{FF2B5EF4-FFF2-40B4-BE49-F238E27FC236}">
                <a16:creationId xmlns:a16="http://schemas.microsoft.com/office/drawing/2014/main" id="{5C4ECD3C-BC61-472F-871B-FF07B7556384}"/>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bg1">
                    <a:alpha val="50000"/>
                  </a:schemeClr>
                </a:solidFill>
              </a:defRPr>
            </a:lvl1pPr>
          </a:lstStyle>
          <a:p>
            <a:pPr lvl="0"/>
            <a:r>
              <a:rPr lang="en-US"/>
              <a:t>##</a:t>
            </a:r>
            <a:endParaRPr lang="en-GB"/>
          </a:p>
        </p:txBody>
      </p:sp>
      <p:sp>
        <p:nvSpPr>
          <p:cNvPr id="15" name="Text Placeholder 21">
            <a:extLst>
              <a:ext uri="{FF2B5EF4-FFF2-40B4-BE49-F238E27FC236}">
                <a16:creationId xmlns:a16="http://schemas.microsoft.com/office/drawing/2014/main" id="{C52F35C6-89B4-4AF1-972C-CAFB72C8FE6F}"/>
              </a:ext>
            </a:extLst>
          </p:cNvPr>
          <p:cNvSpPr>
            <a:spLocks noGrp="1"/>
          </p:cNvSpPr>
          <p:nvPr>
            <p:ph type="body" sz="quarter" idx="12"/>
          </p:nvPr>
        </p:nvSpPr>
        <p:spPr>
          <a:xfrm>
            <a:off x="515937" y="4911726"/>
            <a:ext cx="5220000" cy="796924"/>
          </a:xfrm>
        </p:spPr>
        <p:txBody>
          <a:bodyPr>
            <a:normAutofit/>
          </a:bodyPr>
          <a:lstStyle>
            <a:lvl1pPr marL="0" indent="0">
              <a:lnSpc>
                <a:spcPct val="90000"/>
              </a:lnSpc>
              <a:spcBef>
                <a:spcPts val="0"/>
              </a:spcBef>
              <a:buFont typeface="Arial" panose="020B0604020202020204" pitchFamily="34" charset="0"/>
              <a:buNone/>
              <a:defRPr sz="1600">
                <a:solidFill>
                  <a:schemeClr val="bg1">
                    <a:alpha val="50000"/>
                  </a:schemeClr>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Tree>
    <p:extLst>
      <p:ext uri="{BB962C8B-B14F-4D97-AF65-F5344CB8AC3E}">
        <p14:creationId xmlns:p14="http://schemas.microsoft.com/office/powerpoint/2010/main" val="1557815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urpl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940572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8" name="Graphic 27">
            <a:extLst>
              <a:ext uri="{FF2B5EF4-FFF2-40B4-BE49-F238E27FC236}">
                <a16:creationId xmlns:a16="http://schemas.microsoft.com/office/drawing/2014/main" id="{63B3DEC3-DE1E-41F9-88AA-A1C3B57FCC76}"/>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42164" t="28087" r="23899" b="28020"/>
          <a:stretch>
            <a:fillRect/>
          </a:stretch>
        </p:blipFill>
        <p:spPr>
          <a:xfrm>
            <a:off x="-1" y="0"/>
            <a:ext cx="6474891" cy="6868448"/>
          </a:xfrm>
          <a:custGeom>
            <a:avLst/>
            <a:gdLst>
              <a:gd name="connsiteX0" fmla="*/ 5117552 w 6474891"/>
              <a:gd name="connsiteY0" fmla="*/ 6853251 h 6868448"/>
              <a:gd name="connsiteX1" fmla="*/ 5117552 w 6474891"/>
              <a:gd name="connsiteY1" fmla="*/ 6857051 h 6868448"/>
              <a:gd name="connsiteX2" fmla="*/ 5121351 w 6474891"/>
              <a:gd name="connsiteY2" fmla="*/ 6853251 h 6868448"/>
              <a:gd name="connsiteX3" fmla="*/ 6122504 w 6474891"/>
              <a:gd name="connsiteY3" fmla="*/ 6804808 h 6868448"/>
              <a:gd name="connsiteX4" fmla="*/ 6153849 w 6474891"/>
              <a:gd name="connsiteY4" fmla="*/ 6804808 h 6868448"/>
              <a:gd name="connsiteX5" fmla="*/ 6143401 w 6474891"/>
              <a:gd name="connsiteY5" fmla="*/ 6850401 h 6868448"/>
              <a:gd name="connsiteX6" fmla="*/ 6132952 w 6474891"/>
              <a:gd name="connsiteY6" fmla="*/ 6827605 h 6868448"/>
              <a:gd name="connsiteX7" fmla="*/ 6122504 w 6474891"/>
              <a:gd name="connsiteY7" fmla="*/ 6804808 h 6868448"/>
              <a:gd name="connsiteX8" fmla="*/ 6063612 w 6474891"/>
              <a:gd name="connsiteY8" fmla="*/ 6803858 h 6868448"/>
              <a:gd name="connsiteX9" fmla="*/ 6095908 w 6474891"/>
              <a:gd name="connsiteY9" fmla="*/ 6815256 h 6868448"/>
              <a:gd name="connsiteX10" fmla="*/ 6091158 w 6474891"/>
              <a:gd name="connsiteY10" fmla="*/ 6858000 h 6868448"/>
              <a:gd name="connsiteX11" fmla="*/ 6056014 w 6474891"/>
              <a:gd name="connsiteY11" fmla="*/ 6858000 h 6868448"/>
              <a:gd name="connsiteX12" fmla="*/ 6063612 w 6474891"/>
              <a:gd name="connsiteY12" fmla="*/ 6803858 h 6868448"/>
              <a:gd name="connsiteX13" fmla="*/ 6019014 w 6474891"/>
              <a:gd name="connsiteY13" fmla="*/ 6794286 h 6868448"/>
              <a:gd name="connsiteX14" fmla="*/ 6025618 w 6474891"/>
              <a:gd name="connsiteY14" fmla="*/ 6803858 h 6868448"/>
              <a:gd name="connsiteX15" fmla="*/ 5999022 w 6474891"/>
              <a:gd name="connsiteY15" fmla="*/ 6838053 h 6868448"/>
              <a:gd name="connsiteX16" fmla="*/ 6004721 w 6474891"/>
              <a:gd name="connsiteY16" fmla="*/ 6815256 h 6868448"/>
              <a:gd name="connsiteX17" fmla="*/ 6019014 w 6474891"/>
              <a:gd name="connsiteY17" fmla="*/ 6794286 h 6868448"/>
              <a:gd name="connsiteX18" fmla="*/ 6032267 w 6474891"/>
              <a:gd name="connsiteY18" fmla="*/ 6747817 h 6868448"/>
              <a:gd name="connsiteX19" fmla="*/ 6042715 w 6474891"/>
              <a:gd name="connsiteY19" fmla="*/ 6747817 h 6868448"/>
              <a:gd name="connsiteX20" fmla="*/ 6042715 w 6474891"/>
              <a:gd name="connsiteY20" fmla="*/ 6782011 h 6868448"/>
              <a:gd name="connsiteX21" fmla="*/ 6032267 w 6474891"/>
              <a:gd name="connsiteY21" fmla="*/ 6782011 h 6868448"/>
              <a:gd name="connsiteX22" fmla="*/ 6032267 w 6474891"/>
              <a:gd name="connsiteY22" fmla="*/ 6747817 h 6868448"/>
              <a:gd name="connsiteX23" fmla="*/ 6158361 w 6474891"/>
              <a:gd name="connsiteY23" fmla="*/ 6668488 h 6868448"/>
              <a:gd name="connsiteX24" fmla="*/ 6160498 w 6474891"/>
              <a:gd name="connsiteY24" fmla="*/ 6714571 h 6868448"/>
              <a:gd name="connsiteX25" fmla="*/ 6150050 w 6474891"/>
              <a:gd name="connsiteY25" fmla="*/ 6736418 h 6868448"/>
              <a:gd name="connsiteX26" fmla="*/ 6150050 w 6474891"/>
              <a:gd name="connsiteY26" fmla="*/ 6668978 h 6868448"/>
              <a:gd name="connsiteX27" fmla="*/ 6158361 w 6474891"/>
              <a:gd name="connsiteY27" fmla="*/ 6668488 h 6868448"/>
              <a:gd name="connsiteX28" fmla="*/ 6016119 w 6474891"/>
              <a:gd name="connsiteY28" fmla="*/ 6645231 h 6868448"/>
              <a:gd name="connsiteX29" fmla="*/ 6032267 w 6474891"/>
              <a:gd name="connsiteY29" fmla="*/ 6668028 h 6868448"/>
              <a:gd name="connsiteX30" fmla="*/ 6016119 w 6474891"/>
              <a:gd name="connsiteY30" fmla="*/ 6679426 h 6868448"/>
              <a:gd name="connsiteX31" fmla="*/ 6031317 w 6474891"/>
              <a:gd name="connsiteY31" fmla="*/ 6702223 h 6868448"/>
              <a:gd name="connsiteX32" fmla="*/ 6004721 w 6474891"/>
              <a:gd name="connsiteY32" fmla="*/ 6769663 h 6868448"/>
              <a:gd name="connsiteX33" fmla="*/ 6016119 w 6474891"/>
              <a:gd name="connsiteY33" fmla="*/ 6645231 h 6868448"/>
              <a:gd name="connsiteX34" fmla="*/ 6155749 w 6474891"/>
              <a:gd name="connsiteY34" fmla="*/ 6589190 h 6868448"/>
              <a:gd name="connsiteX35" fmla="*/ 6171897 w 6474891"/>
              <a:gd name="connsiteY35" fmla="*/ 6634783 h 6868448"/>
              <a:gd name="connsiteX36" fmla="*/ 6160498 w 6474891"/>
              <a:gd name="connsiteY36" fmla="*/ 6646181 h 6868448"/>
              <a:gd name="connsiteX37" fmla="*/ 6155749 w 6474891"/>
              <a:gd name="connsiteY37" fmla="*/ 6589190 h 6868448"/>
              <a:gd name="connsiteX38" fmla="*/ 6241236 w 6474891"/>
              <a:gd name="connsiteY38" fmla="*/ 6555944 h 6868448"/>
              <a:gd name="connsiteX39" fmla="*/ 6229837 w 6474891"/>
              <a:gd name="connsiteY39" fmla="*/ 6634783 h 6868448"/>
              <a:gd name="connsiteX40" fmla="*/ 6241236 w 6474891"/>
              <a:gd name="connsiteY40" fmla="*/ 6555944 h 6868448"/>
              <a:gd name="connsiteX41" fmla="*/ 6219389 w 6474891"/>
              <a:gd name="connsiteY41" fmla="*/ 6555944 h 6868448"/>
              <a:gd name="connsiteX42" fmla="*/ 6203242 w 6474891"/>
              <a:gd name="connsiteY42" fmla="*/ 6634783 h 6868448"/>
              <a:gd name="connsiteX43" fmla="*/ 6219389 w 6474891"/>
              <a:gd name="connsiteY43" fmla="*/ 6555944 h 6868448"/>
              <a:gd name="connsiteX44" fmla="*/ 6166197 w 6474891"/>
              <a:gd name="connsiteY44" fmla="*/ 6533148 h 6868448"/>
              <a:gd name="connsiteX45" fmla="*/ 6176646 w 6474891"/>
              <a:gd name="connsiteY45" fmla="*/ 6590139 h 6868448"/>
              <a:gd name="connsiteX46" fmla="*/ 6166197 w 6474891"/>
              <a:gd name="connsiteY46" fmla="*/ 6533148 h 6868448"/>
              <a:gd name="connsiteX47" fmla="*/ 6241236 w 6474891"/>
              <a:gd name="connsiteY47" fmla="*/ 6499902 h 6868448"/>
              <a:gd name="connsiteX48" fmla="*/ 6257384 w 6474891"/>
              <a:gd name="connsiteY48" fmla="*/ 6499902 h 6868448"/>
              <a:gd name="connsiteX49" fmla="*/ 6241236 w 6474891"/>
              <a:gd name="connsiteY49" fmla="*/ 6499902 h 6868448"/>
              <a:gd name="connsiteX50" fmla="*/ 6220339 w 6474891"/>
              <a:gd name="connsiteY50" fmla="*/ 6431512 h 6868448"/>
              <a:gd name="connsiteX51" fmla="*/ 6230788 w 6474891"/>
              <a:gd name="connsiteY51" fmla="*/ 6442911 h 6868448"/>
              <a:gd name="connsiteX52" fmla="*/ 6230788 w 6474891"/>
              <a:gd name="connsiteY52" fmla="*/ 6465708 h 6868448"/>
              <a:gd name="connsiteX53" fmla="*/ 6220339 w 6474891"/>
              <a:gd name="connsiteY53" fmla="*/ 6431512 h 6868448"/>
              <a:gd name="connsiteX54" fmla="*/ 6049364 w 6474891"/>
              <a:gd name="connsiteY54" fmla="*/ 6430563 h 6868448"/>
              <a:gd name="connsiteX55" fmla="*/ 6049364 w 6474891"/>
              <a:gd name="connsiteY55" fmla="*/ 6430563 h 6868448"/>
              <a:gd name="connsiteX56" fmla="*/ 6172846 w 6474891"/>
              <a:gd name="connsiteY56" fmla="*/ 6419164 h 6868448"/>
              <a:gd name="connsiteX57" fmla="*/ 6177595 w 6474891"/>
              <a:gd name="connsiteY57" fmla="*/ 6476156 h 6868448"/>
              <a:gd name="connsiteX58" fmla="*/ 6172846 w 6474891"/>
              <a:gd name="connsiteY58" fmla="*/ 6419164 h 6868448"/>
              <a:gd name="connsiteX59" fmla="*/ 6044615 w 6474891"/>
              <a:gd name="connsiteY59" fmla="*/ 6384969 h 6868448"/>
              <a:gd name="connsiteX60" fmla="*/ 6033217 w 6474891"/>
              <a:gd name="connsiteY60" fmla="*/ 6520799 h 6868448"/>
              <a:gd name="connsiteX61" fmla="*/ 6043665 w 6474891"/>
              <a:gd name="connsiteY61" fmla="*/ 6554994 h 6868448"/>
              <a:gd name="connsiteX62" fmla="*/ 6037966 w 6474891"/>
              <a:gd name="connsiteY62" fmla="*/ 6611036 h 6868448"/>
              <a:gd name="connsiteX63" fmla="*/ 6027518 w 6474891"/>
              <a:gd name="connsiteY63" fmla="*/ 6645231 h 6868448"/>
              <a:gd name="connsiteX64" fmla="*/ 6017070 w 6474891"/>
              <a:gd name="connsiteY64" fmla="*/ 6543596 h 6868448"/>
              <a:gd name="connsiteX65" fmla="*/ 6027637 w 6474891"/>
              <a:gd name="connsiteY65" fmla="*/ 6502040 h 6868448"/>
              <a:gd name="connsiteX66" fmla="*/ 6030472 w 6474891"/>
              <a:gd name="connsiteY66" fmla="*/ 6473683 h 6868448"/>
              <a:gd name="connsiteX67" fmla="*/ 6031317 w 6474891"/>
              <a:gd name="connsiteY67" fmla="*/ 6474256 h 6868448"/>
              <a:gd name="connsiteX68" fmla="*/ 6030784 w 6474891"/>
              <a:gd name="connsiteY68" fmla="*/ 6470567 h 6868448"/>
              <a:gd name="connsiteX69" fmla="*/ 6030828 w 6474891"/>
              <a:gd name="connsiteY69" fmla="*/ 6470130 h 6868448"/>
              <a:gd name="connsiteX70" fmla="*/ 6033217 w 6474891"/>
              <a:gd name="connsiteY70" fmla="*/ 6441961 h 6868448"/>
              <a:gd name="connsiteX71" fmla="*/ 6044615 w 6474891"/>
              <a:gd name="connsiteY71" fmla="*/ 6384969 h 6868448"/>
              <a:gd name="connsiteX72" fmla="*/ 6124404 w 6474891"/>
              <a:gd name="connsiteY72" fmla="*/ 6351724 h 6868448"/>
              <a:gd name="connsiteX73" fmla="*/ 6134852 w 6474891"/>
              <a:gd name="connsiteY73" fmla="*/ 6351724 h 6868448"/>
              <a:gd name="connsiteX74" fmla="*/ 6134852 w 6474891"/>
              <a:gd name="connsiteY74" fmla="*/ 6374521 h 6868448"/>
              <a:gd name="connsiteX75" fmla="*/ 6124404 w 6474891"/>
              <a:gd name="connsiteY75" fmla="*/ 6374521 h 6868448"/>
              <a:gd name="connsiteX76" fmla="*/ 6124404 w 6474891"/>
              <a:gd name="connsiteY76" fmla="*/ 6351724 h 6868448"/>
              <a:gd name="connsiteX77" fmla="*/ 6231022 w 6474891"/>
              <a:gd name="connsiteY77" fmla="*/ 6350936 h 6868448"/>
              <a:gd name="connsiteX78" fmla="*/ 6236487 w 6474891"/>
              <a:gd name="connsiteY78" fmla="*/ 6352674 h 6868448"/>
              <a:gd name="connsiteX79" fmla="*/ 6230788 w 6474891"/>
              <a:gd name="connsiteY79" fmla="*/ 6420114 h 6868448"/>
              <a:gd name="connsiteX80" fmla="*/ 6231022 w 6474891"/>
              <a:gd name="connsiteY80" fmla="*/ 6350936 h 6868448"/>
              <a:gd name="connsiteX81" fmla="*/ 6182566 w 6474891"/>
              <a:gd name="connsiteY81" fmla="*/ 6305269 h 6868448"/>
              <a:gd name="connsiteX82" fmla="*/ 6188994 w 6474891"/>
              <a:gd name="connsiteY82" fmla="*/ 6306131 h 6868448"/>
              <a:gd name="connsiteX83" fmla="*/ 6188994 w 6474891"/>
              <a:gd name="connsiteY83" fmla="*/ 6363123 h 6868448"/>
              <a:gd name="connsiteX84" fmla="*/ 6182566 w 6474891"/>
              <a:gd name="connsiteY84" fmla="*/ 6305269 h 6868448"/>
              <a:gd name="connsiteX85" fmla="*/ 6087359 w 6474891"/>
              <a:gd name="connsiteY85" fmla="*/ 6294732 h 6868448"/>
              <a:gd name="connsiteX86" fmla="*/ 6097808 w 6474891"/>
              <a:gd name="connsiteY86" fmla="*/ 6294732 h 6868448"/>
              <a:gd name="connsiteX87" fmla="*/ 6097808 w 6474891"/>
              <a:gd name="connsiteY87" fmla="*/ 6317529 h 6868448"/>
              <a:gd name="connsiteX88" fmla="*/ 6087359 w 6474891"/>
              <a:gd name="connsiteY88" fmla="*/ 6317529 h 6868448"/>
              <a:gd name="connsiteX89" fmla="*/ 6087359 w 6474891"/>
              <a:gd name="connsiteY89" fmla="*/ 6294732 h 6868448"/>
              <a:gd name="connsiteX90" fmla="*/ 6108256 w 6474891"/>
              <a:gd name="connsiteY90" fmla="*/ 6293782 h 6868448"/>
              <a:gd name="connsiteX91" fmla="*/ 6113005 w 6474891"/>
              <a:gd name="connsiteY91" fmla="*/ 6395418 h 6868448"/>
              <a:gd name="connsiteX92" fmla="*/ 6113005 w 6474891"/>
              <a:gd name="connsiteY92" fmla="*/ 6429613 h 6868448"/>
              <a:gd name="connsiteX93" fmla="*/ 6133902 w 6474891"/>
              <a:gd name="connsiteY93" fmla="*/ 6441011 h 6868448"/>
              <a:gd name="connsiteX94" fmla="*/ 6133902 w 6474891"/>
              <a:gd name="connsiteY94" fmla="*/ 6498003 h 6868448"/>
              <a:gd name="connsiteX95" fmla="*/ 6117754 w 6474891"/>
              <a:gd name="connsiteY95" fmla="*/ 6498003 h 6868448"/>
              <a:gd name="connsiteX96" fmla="*/ 6112055 w 6474891"/>
              <a:gd name="connsiteY96" fmla="*/ 6543596 h 6868448"/>
              <a:gd name="connsiteX97" fmla="*/ 6112055 w 6474891"/>
              <a:gd name="connsiteY97" fmla="*/ 6589190 h 6868448"/>
              <a:gd name="connsiteX98" fmla="*/ 6112055 w 6474891"/>
              <a:gd name="connsiteY98" fmla="*/ 6634783 h 6868448"/>
              <a:gd name="connsiteX99" fmla="*/ 6106356 w 6474891"/>
              <a:gd name="connsiteY99" fmla="*/ 6702223 h 6868448"/>
              <a:gd name="connsiteX100" fmla="*/ 6106356 w 6474891"/>
              <a:gd name="connsiteY100" fmla="*/ 6747817 h 6868448"/>
              <a:gd name="connsiteX101" fmla="*/ 6068362 w 6474891"/>
              <a:gd name="connsiteY101" fmla="*/ 6770613 h 6868448"/>
              <a:gd name="connsiteX102" fmla="*/ 6074061 w 6474891"/>
              <a:gd name="connsiteY102" fmla="*/ 6713621 h 6868448"/>
              <a:gd name="connsiteX103" fmla="*/ 6100657 w 6474891"/>
              <a:gd name="connsiteY103" fmla="*/ 6690825 h 6868448"/>
              <a:gd name="connsiteX104" fmla="*/ 6101607 w 6474891"/>
              <a:gd name="connsiteY104" fmla="*/ 6577791 h 6868448"/>
              <a:gd name="connsiteX105" fmla="*/ 6085459 w 6474891"/>
              <a:gd name="connsiteY105" fmla="*/ 6566393 h 6868448"/>
              <a:gd name="connsiteX106" fmla="*/ 6107306 w 6474891"/>
              <a:gd name="connsiteY106" fmla="*/ 6532198 h 6868448"/>
              <a:gd name="connsiteX107" fmla="*/ 6107306 w 6474891"/>
              <a:gd name="connsiteY107" fmla="*/ 6498003 h 6868448"/>
              <a:gd name="connsiteX108" fmla="*/ 6091158 w 6474891"/>
              <a:gd name="connsiteY108" fmla="*/ 6486605 h 6868448"/>
              <a:gd name="connsiteX109" fmla="*/ 6108256 w 6474891"/>
              <a:gd name="connsiteY109" fmla="*/ 6293782 h 6868448"/>
              <a:gd name="connsiteX110" fmla="*/ 6141501 w 6474891"/>
              <a:gd name="connsiteY110" fmla="*/ 6227292 h 6868448"/>
              <a:gd name="connsiteX111" fmla="*/ 6119654 w 6474891"/>
              <a:gd name="connsiteY111" fmla="*/ 6284284 h 6868448"/>
              <a:gd name="connsiteX112" fmla="*/ 6141501 w 6474891"/>
              <a:gd name="connsiteY112" fmla="*/ 6227292 h 6868448"/>
              <a:gd name="connsiteX113" fmla="*/ 6194693 w 6474891"/>
              <a:gd name="connsiteY113" fmla="*/ 6171251 h 6868448"/>
              <a:gd name="connsiteX114" fmla="*/ 6210840 w 6474891"/>
              <a:gd name="connsiteY114" fmla="*/ 6205445 h 6868448"/>
              <a:gd name="connsiteX115" fmla="*/ 6194693 w 6474891"/>
              <a:gd name="connsiteY115" fmla="*/ 6261487 h 6868448"/>
              <a:gd name="connsiteX116" fmla="*/ 6194693 w 6474891"/>
              <a:gd name="connsiteY116" fmla="*/ 6171251 h 6868448"/>
              <a:gd name="connsiteX117" fmla="*/ 6101963 w 6474891"/>
              <a:gd name="connsiteY117" fmla="*/ 6156943 h 6868448"/>
              <a:gd name="connsiteX118" fmla="*/ 6110156 w 6474891"/>
              <a:gd name="connsiteY118" fmla="*/ 6158902 h 6868448"/>
              <a:gd name="connsiteX119" fmla="*/ 6104456 w 6474891"/>
              <a:gd name="connsiteY119" fmla="*/ 6215894 h 6868448"/>
              <a:gd name="connsiteX120" fmla="*/ 6098757 w 6474891"/>
              <a:gd name="connsiteY120" fmla="*/ 6261487 h 6868448"/>
              <a:gd name="connsiteX121" fmla="*/ 6098757 w 6474891"/>
              <a:gd name="connsiteY121" fmla="*/ 6204496 h 6868448"/>
              <a:gd name="connsiteX122" fmla="*/ 6101963 w 6474891"/>
              <a:gd name="connsiteY122" fmla="*/ 6156943 h 6868448"/>
              <a:gd name="connsiteX123" fmla="*/ 6275431 w 6474891"/>
              <a:gd name="connsiteY123" fmla="*/ 6125657 h 6868448"/>
              <a:gd name="connsiteX124" fmla="*/ 6269732 w 6474891"/>
              <a:gd name="connsiteY124" fmla="*/ 6182649 h 6868448"/>
              <a:gd name="connsiteX125" fmla="*/ 6275431 w 6474891"/>
              <a:gd name="connsiteY125" fmla="*/ 6125657 h 6868448"/>
              <a:gd name="connsiteX126" fmla="*/ 6252872 w 6474891"/>
              <a:gd name="connsiteY126" fmla="*/ 6109984 h 6868448"/>
              <a:gd name="connsiteX127" fmla="*/ 6253584 w 6474891"/>
              <a:gd name="connsiteY127" fmla="*/ 6137055 h 6868448"/>
              <a:gd name="connsiteX128" fmla="*/ 6252872 w 6474891"/>
              <a:gd name="connsiteY128" fmla="*/ 6109984 h 6868448"/>
              <a:gd name="connsiteX129" fmla="*/ 6206014 w 6474891"/>
              <a:gd name="connsiteY129" fmla="*/ 6068795 h 6868448"/>
              <a:gd name="connsiteX130" fmla="*/ 6211791 w 6474891"/>
              <a:gd name="connsiteY130" fmla="*/ 6069615 h 6868448"/>
              <a:gd name="connsiteX131" fmla="*/ 6206091 w 6474891"/>
              <a:gd name="connsiteY131" fmla="*/ 6148454 h 6868448"/>
              <a:gd name="connsiteX132" fmla="*/ 6206014 w 6474891"/>
              <a:gd name="connsiteY132" fmla="*/ 6068795 h 6868448"/>
              <a:gd name="connsiteX133" fmla="*/ 6088309 w 6474891"/>
              <a:gd name="connsiteY133" fmla="*/ 6068666 h 6868448"/>
              <a:gd name="connsiteX134" fmla="*/ 6104456 w 6474891"/>
              <a:gd name="connsiteY134" fmla="*/ 6068666 h 6868448"/>
              <a:gd name="connsiteX135" fmla="*/ 6088309 w 6474891"/>
              <a:gd name="connsiteY135" fmla="*/ 6102860 h 6868448"/>
              <a:gd name="connsiteX136" fmla="*/ 6088309 w 6474891"/>
              <a:gd name="connsiteY136" fmla="*/ 6068666 h 6868448"/>
              <a:gd name="connsiteX137" fmla="*/ 6257859 w 6474891"/>
              <a:gd name="connsiteY137" fmla="*/ 6064985 h 6868448"/>
              <a:gd name="connsiteX138" fmla="*/ 6259283 w 6474891"/>
              <a:gd name="connsiteY138" fmla="*/ 6092412 h 6868448"/>
              <a:gd name="connsiteX139" fmla="*/ 6257859 w 6474891"/>
              <a:gd name="connsiteY139" fmla="*/ 6064985 h 6868448"/>
              <a:gd name="connsiteX140" fmla="*/ 6141501 w 6474891"/>
              <a:gd name="connsiteY140" fmla="*/ 6057267 h 6868448"/>
              <a:gd name="connsiteX141" fmla="*/ 6157649 w 6474891"/>
              <a:gd name="connsiteY141" fmla="*/ 6091462 h 6868448"/>
              <a:gd name="connsiteX142" fmla="*/ 6151949 w 6474891"/>
              <a:gd name="connsiteY142" fmla="*/ 6158902 h 6868448"/>
              <a:gd name="connsiteX143" fmla="*/ 6130102 w 6474891"/>
              <a:gd name="connsiteY143" fmla="*/ 6158902 h 6868448"/>
              <a:gd name="connsiteX144" fmla="*/ 6146250 w 6474891"/>
              <a:gd name="connsiteY144" fmla="*/ 6193097 h 6868448"/>
              <a:gd name="connsiteX145" fmla="*/ 6119654 w 6474891"/>
              <a:gd name="connsiteY145" fmla="*/ 6193097 h 6868448"/>
              <a:gd name="connsiteX146" fmla="*/ 6125353 w 6474891"/>
              <a:gd name="connsiteY146" fmla="*/ 6080063 h 6868448"/>
              <a:gd name="connsiteX147" fmla="*/ 6141501 w 6474891"/>
              <a:gd name="connsiteY147" fmla="*/ 6057267 h 6868448"/>
              <a:gd name="connsiteX148" fmla="*/ 6260233 w 6474891"/>
              <a:gd name="connsiteY148" fmla="*/ 5978429 h 6868448"/>
              <a:gd name="connsiteX149" fmla="*/ 6264982 w 6474891"/>
              <a:gd name="connsiteY149" fmla="*/ 6035420 h 6868448"/>
              <a:gd name="connsiteX150" fmla="*/ 6260233 w 6474891"/>
              <a:gd name="connsiteY150" fmla="*/ 5978429 h 6868448"/>
              <a:gd name="connsiteX151" fmla="*/ 6157901 w 6474891"/>
              <a:gd name="connsiteY151" fmla="*/ 5968678 h 6868448"/>
              <a:gd name="connsiteX152" fmla="*/ 6169047 w 6474891"/>
              <a:gd name="connsiteY152" fmla="*/ 5978429 h 6868448"/>
              <a:gd name="connsiteX153" fmla="*/ 6163348 w 6474891"/>
              <a:gd name="connsiteY153" fmla="*/ 6012624 h 6868448"/>
              <a:gd name="connsiteX154" fmla="*/ 6131053 w 6474891"/>
              <a:gd name="connsiteY154" fmla="*/ 6012624 h 6868448"/>
              <a:gd name="connsiteX155" fmla="*/ 6157901 w 6474891"/>
              <a:gd name="connsiteY155" fmla="*/ 5968678 h 6868448"/>
              <a:gd name="connsiteX156" fmla="*/ 6040816 w 6474891"/>
              <a:gd name="connsiteY156" fmla="*/ 5944233 h 6868448"/>
              <a:gd name="connsiteX157" fmla="*/ 6046515 w 6474891"/>
              <a:gd name="connsiteY157" fmla="*/ 5967030 h 6868448"/>
              <a:gd name="connsiteX158" fmla="*/ 6040816 w 6474891"/>
              <a:gd name="connsiteY158" fmla="*/ 5955632 h 6868448"/>
              <a:gd name="connsiteX159" fmla="*/ 6040816 w 6474891"/>
              <a:gd name="connsiteY159" fmla="*/ 5944233 h 6868448"/>
              <a:gd name="connsiteX160" fmla="*/ 6248835 w 6474891"/>
              <a:gd name="connsiteY160" fmla="*/ 5900540 h 6868448"/>
              <a:gd name="connsiteX161" fmla="*/ 6248835 w 6474891"/>
              <a:gd name="connsiteY161" fmla="*/ 5967980 h 6868448"/>
              <a:gd name="connsiteX162" fmla="*/ 6248835 w 6474891"/>
              <a:gd name="connsiteY162" fmla="*/ 5900540 h 6868448"/>
              <a:gd name="connsiteX163" fmla="*/ 6148150 w 6474891"/>
              <a:gd name="connsiteY163" fmla="*/ 5876793 h 6868448"/>
              <a:gd name="connsiteX164" fmla="*/ 6153849 w 6474891"/>
              <a:gd name="connsiteY164" fmla="*/ 5898640 h 6868448"/>
              <a:gd name="connsiteX165" fmla="*/ 6148150 w 6474891"/>
              <a:gd name="connsiteY165" fmla="*/ 5955632 h 6868448"/>
              <a:gd name="connsiteX166" fmla="*/ 6148150 w 6474891"/>
              <a:gd name="connsiteY166" fmla="*/ 5876793 h 6868448"/>
              <a:gd name="connsiteX167" fmla="*/ 6274956 w 6474891"/>
              <a:gd name="connsiteY167" fmla="*/ 5838324 h 6868448"/>
              <a:gd name="connsiteX168" fmla="*/ 6276381 w 6474891"/>
              <a:gd name="connsiteY168" fmla="*/ 5865395 h 6868448"/>
              <a:gd name="connsiteX169" fmla="*/ 6274956 w 6474891"/>
              <a:gd name="connsiteY169" fmla="*/ 5838324 h 6868448"/>
              <a:gd name="connsiteX170" fmla="*/ 6223188 w 6474891"/>
              <a:gd name="connsiteY170" fmla="*/ 5831200 h 6868448"/>
              <a:gd name="connsiteX171" fmla="*/ 6227938 w 6474891"/>
              <a:gd name="connsiteY171" fmla="*/ 5978429 h 6868448"/>
              <a:gd name="connsiteX172" fmla="*/ 6223188 w 6474891"/>
              <a:gd name="connsiteY172" fmla="*/ 5831200 h 6868448"/>
              <a:gd name="connsiteX173" fmla="*/ 6300873 w 6474891"/>
              <a:gd name="connsiteY173" fmla="*/ 5827733 h 6868448"/>
              <a:gd name="connsiteX174" fmla="*/ 6308676 w 6474891"/>
              <a:gd name="connsiteY174" fmla="*/ 5831200 h 6868448"/>
              <a:gd name="connsiteX175" fmla="*/ 6308676 w 6474891"/>
              <a:gd name="connsiteY175" fmla="*/ 5865395 h 6868448"/>
              <a:gd name="connsiteX176" fmla="*/ 6298228 w 6474891"/>
              <a:gd name="connsiteY176" fmla="*/ 5865395 h 6868448"/>
              <a:gd name="connsiteX177" fmla="*/ 6302977 w 6474891"/>
              <a:gd name="connsiteY177" fmla="*/ 5910988 h 6868448"/>
              <a:gd name="connsiteX178" fmla="*/ 6300873 w 6474891"/>
              <a:gd name="connsiteY178" fmla="*/ 5827733 h 6868448"/>
              <a:gd name="connsiteX179" fmla="*/ 6132704 w 6474891"/>
              <a:gd name="connsiteY179" fmla="*/ 5816696 h 6868448"/>
              <a:gd name="connsiteX180" fmla="*/ 6137701 w 6474891"/>
              <a:gd name="connsiteY180" fmla="*/ 5819802 h 6868448"/>
              <a:gd name="connsiteX181" fmla="*/ 6132002 w 6474891"/>
              <a:gd name="connsiteY181" fmla="*/ 5865395 h 6868448"/>
              <a:gd name="connsiteX182" fmla="*/ 6132704 w 6474891"/>
              <a:gd name="connsiteY182" fmla="*/ 5816696 h 6868448"/>
              <a:gd name="connsiteX183" fmla="*/ 6231856 w 6474891"/>
              <a:gd name="connsiteY183" fmla="*/ 5755211 h 6868448"/>
              <a:gd name="connsiteX184" fmla="*/ 6249785 w 6474891"/>
              <a:gd name="connsiteY184" fmla="*/ 5763760 h 6868448"/>
              <a:gd name="connsiteX185" fmla="*/ 6223188 w 6474891"/>
              <a:gd name="connsiteY185" fmla="*/ 5786557 h 6868448"/>
              <a:gd name="connsiteX186" fmla="*/ 6231856 w 6474891"/>
              <a:gd name="connsiteY186" fmla="*/ 5755211 h 6868448"/>
              <a:gd name="connsiteX187" fmla="*/ 6138403 w 6474891"/>
              <a:gd name="connsiteY187" fmla="*/ 5748345 h 6868448"/>
              <a:gd name="connsiteX188" fmla="*/ 6143401 w 6474891"/>
              <a:gd name="connsiteY188" fmla="*/ 5751412 h 6868448"/>
              <a:gd name="connsiteX189" fmla="*/ 6137701 w 6474891"/>
              <a:gd name="connsiteY189" fmla="*/ 5797005 h 6868448"/>
              <a:gd name="connsiteX190" fmla="*/ 6138403 w 6474891"/>
              <a:gd name="connsiteY190" fmla="*/ 5748345 h 6868448"/>
              <a:gd name="connsiteX191" fmla="*/ 6116805 w 6474891"/>
              <a:gd name="connsiteY191" fmla="*/ 5740013 h 6868448"/>
              <a:gd name="connsiteX192" fmla="*/ 6127253 w 6474891"/>
              <a:gd name="connsiteY192" fmla="*/ 5740013 h 6868448"/>
              <a:gd name="connsiteX193" fmla="*/ 6127253 w 6474891"/>
              <a:gd name="connsiteY193" fmla="*/ 5774209 h 6868448"/>
              <a:gd name="connsiteX194" fmla="*/ 6116805 w 6474891"/>
              <a:gd name="connsiteY194" fmla="*/ 5774209 h 6868448"/>
              <a:gd name="connsiteX195" fmla="*/ 6116805 w 6474891"/>
              <a:gd name="connsiteY195" fmla="*/ 5740013 h 6868448"/>
              <a:gd name="connsiteX196" fmla="*/ 6311273 w 6474891"/>
              <a:gd name="connsiteY196" fmla="*/ 5717514 h 6868448"/>
              <a:gd name="connsiteX197" fmla="*/ 6320074 w 6474891"/>
              <a:gd name="connsiteY197" fmla="*/ 5719116 h 6868448"/>
              <a:gd name="connsiteX198" fmla="*/ 6324823 w 6474891"/>
              <a:gd name="connsiteY198" fmla="*/ 5820751 h 6868448"/>
              <a:gd name="connsiteX199" fmla="*/ 6298228 w 6474891"/>
              <a:gd name="connsiteY199" fmla="*/ 5820751 h 6868448"/>
              <a:gd name="connsiteX200" fmla="*/ 6299177 w 6474891"/>
              <a:gd name="connsiteY200" fmla="*/ 5776108 h 6868448"/>
              <a:gd name="connsiteX201" fmla="*/ 6277330 w 6474891"/>
              <a:gd name="connsiteY201" fmla="*/ 5810303 h 6868448"/>
              <a:gd name="connsiteX202" fmla="*/ 6255484 w 6474891"/>
              <a:gd name="connsiteY202" fmla="*/ 5810303 h 6868448"/>
              <a:gd name="connsiteX203" fmla="*/ 6255484 w 6474891"/>
              <a:gd name="connsiteY203" fmla="*/ 5753311 h 6868448"/>
              <a:gd name="connsiteX204" fmla="*/ 6303926 w 6474891"/>
              <a:gd name="connsiteY204" fmla="*/ 5753311 h 6868448"/>
              <a:gd name="connsiteX205" fmla="*/ 6311273 w 6474891"/>
              <a:gd name="connsiteY205" fmla="*/ 5717514 h 6868448"/>
              <a:gd name="connsiteX206" fmla="*/ 6234587 w 6474891"/>
              <a:gd name="connsiteY206" fmla="*/ 5673523 h 6868448"/>
              <a:gd name="connsiteX207" fmla="*/ 6245036 w 6474891"/>
              <a:gd name="connsiteY207" fmla="*/ 5673523 h 6868448"/>
              <a:gd name="connsiteX208" fmla="*/ 6245036 w 6474891"/>
              <a:gd name="connsiteY208" fmla="*/ 5696320 h 6868448"/>
              <a:gd name="connsiteX209" fmla="*/ 6234587 w 6474891"/>
              <a:gd name="connsiteY209" fmla="*/ 5696320 h 6868448"/>
              <a:gd name="connsiteX210" fmla="*/ 6234587 w 6474891"/>
              <a:gd name="connsiteY210" fmla="*/ 5673523 h 6868448"/>
              <a:gd name="connsiteX211" fmla="*/ 6068362 w 6474891"/>
              <a:gd name="connsiteY211" fmla="*/ 5671623 h 6868448"/>
              <a:gd name="connsiteX212" fmla="*/ 6068362 w 6474891"/>
              <a:gd name="connsiteY212" fmla="*/ 5740013 h 6868448"/>
              <a:gd name="connsiteX213" fmla="*/ 6068362 w 6474891"/>
              <a:gd name="connsiteY213" fmla="*/ 5694420 h 6868448"/>
              <a:gd name="connsiteX214" fmla="*/ 6068362 w 6474891"/>
              <a:gd name="connsiteY214" fmla="*/ 5671623 h 6868448"/>
              <a:gd name="connsiteX215" fmla="*/ 6201105 w 6474891"/>
              <a:gd name="connsiteY215" fmla="*/ 5629785 h 6868448"/>
              <a:gd name="connsiteX216" fmla="*/ 6186144 w 6474891"/>
              <a:gd name="connsiteY216" fmla="*/ 5661175 h 6868448"/>
              <a:gd name="connsiteX217" fmla="*/ 6207991 w 6474891"/>
              <a:gd name="connsiteY217" fmla="*/ 5638378 h 6868448"/>
              <a:gd name="connsiteX218" fmla="*/ 6201105 w 6474891"/>
              <a:gd name="connsiteY218" fmla="*/ 5629785 h 6868448"/>
              <a:gd name="connsiteX219" fmla="*/ 6144425 w 6474891"/>
              <a:gd name="connsiteY219" fmla="*/ 5604406 h 6868448"/>
              <a:gd name="connsiteX220" fmla="*/ 6149100 w 6474891"/>
              <a:gd name="connsiteY220" fmla="*/ 5626980 h 6868448"/>
              <a:gd name="connsiteX221" fmla="*/ 6138651 w 6474891"/>
              <a:gd name="connsiteY221" fmla="*/ 5683972 h 6868448"/>
              <a:gd name="connsiteX222" fmla="*/ 6138651 w 6474891"/>
              <a:gd name="connsiteY222" fmla="*/ 5605133 h 6868448"/>
              <a:gd name="connsiteX223" fmla="*/ 6144425 w 6474891"/>
              <a:gd name="connsiteY223" fmla="*/ 5604406 h 6868448"/>
              <a:gd name="connsiteX224" fmla="*/ 6245985 w 6474891"/>
              <a:gd name="connsiteY224" fmla="*/ 5593735 h 6868448"/>
              <a:gd name="connsiteX225" fmla="*/ 6240286 w 6474891"/>
              <a:gd name="connsiteY225" fmla="*/ 5639328 h 6868448"/>
              <a:gd name="connsiteX226" fmla="*/ 6245985 w 6474891"/>
              <a:gd name="connsiteY226" fmla="*/ 5593735 h 6868448"/>
              <a:gd name="connsiteX227" fmla="*/ 6315325 w 6474891"/>
              <a:gd name="connsiteY227" fmla="*/ 5583286 h 6868448"/>
              <a:gd name="connsiteX228" fmla="*/ 6314375 w 6474891"/>
              <a:gd name="connsiteY228" fmla="*/ 5696320 h 6868448"/>
              <a:gd name="connsiteX229" fmla="*/ 6315325 w 6474891"/>
              <a:gd name="connsiteY229" fmla="*/ 5583286 h 6868448"/>
              <a:gd name="connsiteX230" fmla="*/ 6288729 w 6474891"/>
              <a:gd name="connsiteY230" fmla="*/ 5583286 h 6868448"/>
              <a:gd name="connsiteX231" fmla="*/ 6288729 w 6474891"/>
              <a:gd name="connsiteY231" fmla="*/ 5640278 h 6868448"/>
              <a:gd name="connsiteX232" fmla="*/ 6288729 w 6474891"/>
              <a:gd name="connsiteY232" fmla="*/ 5583286 h 6868448"/>
              <a:gd name="connsiteX233" fmla="*/ 6271632 w 6474891"/>
              <a:gd name="connsiteY233" fmla="*/ 5583286 h 6868448"/>
              <a:gd name="connsiteX234" fmla="*/ 6271632 w 6474891"/>
              <a:gd name="connsiteY234" fmla="*/ 5673523 h 6868448"/>
              <a:gd name="connsiteX235" fmla="*/ 6271632 w 6474891"/>
              <a:gd name="connsiteY235" fmla="*/ 5583286 h 6868448"/>
              <a:gd name="connsiteX236" fmla="*/ 6187094 w 6474891"/>
              <a:gd name="connsiteY236" fmla="*/ 5548141 h 6868448"/>
              <a:gd name="connsiteX237" fmla="*/ 6187094 w 6474891"/>
              <a:gd name="connsiteY237" fmla="*/ 5559539 h 6868448"/>
              <a:gd name="connsiteX238" fmla="*/ 6181395 w 6474891"/>
              <a:gd name="connsiteY238" fmla="*/ 5570938 h 6868448"/>
              <a:gd name="connsiteX239" fmla="*/ 6187094 w 6474891"/>
              <a:gd name="connsiteY239" fmla="*/ 5559539 h 6868448"/>
              <a:gd name="connsiteX240" fmla="*/ 6187094 w 6474891"/>
              <a:gd name="connsiteY240" fmla="*/ 5548141 h 6868448"/>
              <a:gd name="connsiteX241" fmla="*/ 6080710 w 6474891"/>
              <a:gd name="connsiteY241" fmla="*/ 5536743 h 6868448"/>
              <a:gd name="connsiteX242" fmla="*/ 6085459 w 6474891"/>
              <a:gd name="connsiteY242" fmla="*/ 5593735 h 6868448"/>
              <a:gd name="connsiteX243" fmla="*/ 6080710 w 6474891"/>
              <a:gd name="connsiteY243" fmla="*/ 5536743 h 6868448"/>
              <a:gd name="connsiteX244" fmla="*/ 6219389 w 6474891"/>
              <a:gd name="connsiteY244" fmla="*/ 5525345 h 6868448"/>
              <a:gd name="connsiteX245" fmla="*/ 6229837 w 6474891"/>
              <a:gd name="connsiteY245" fmla="*/ 5525345 h 6868448"/>
              <a:gd name="connsiteX246" fmla="*/ 6229837 w 6474891"/>
              <a:gd name="connsiteY246" fmla="*/ 5548141 h 6868448"/>
              <a:gd name="connsiteX247" fmla="*/ 6219389 w 6474891"/>
              <a:gd name="connsiteY247" fmla="*/ 5548141 h 6868448"/>
              <a:gd name="connsiteX248" fmla="*/ 6219389 w 6474891"/>
              <a:gd name="connsiteY248" fmla="*/ 5525345 h 6868448"/>
              <a:gd name="connsiteX249" fmla="*/ 6315325 w 6474891"/>
              <a:gd name="connsiteY249" fmla="*/ 5514896 h 6868448"/>
              <a:gd name="connsiteX250" fmla="*/ 6331473 w 6474891"/>
              <a:gd name="connsiteY250" fmla="*/ 5514896 h 6868448"/>
              <a:gd name="connsiteX251" fmla="*/ 6325774 w 6474891"/>
              <a:gd name="connsiteY251" fmla="*/ 5549091 h 6868448"/>
              <a:gd name="connsiteX252" fmla="*/ 6315325 w 6474891"/>
              <a:gd name="connsiteY252" fmla="*/ 5537693 h 6868448"/>
              <a:gd name="connsiteX253" fmla="*/ 6315325 w 6474891"/>
              <a:gd name="connsiteY253" fmla="*/ 5514896 h 6868448"/>
              <a:gd name="connsiteX254" fmla="*/ 6294428 w 6474891"/>
              <a:gd name="connsiteY254" fmla="*/ 5514896 h 6868448"/>
              <a:gd name="connsiteX255" fmla="*/ 6310576 w 6474891"/>
              <a:gd name="connsiteY255" fmla="*/ 5526294 h 6868448"/>
              <a:gd name="connsiteX256" fmla="*/ 6310576 w 6474891"/>
              <a:gd name="connsiteY256" fmla="*/ 5560490 h 6868448"/>
              <a:gd name="connsiteX257" fmla="*/ 6288729 w 6474891"/>
              <a:gd name="connsiteY257" fmla="*/ 5571888 h 6868448"/>
              <a:gd name="connsiteX258" fmla="*/ 6294428 w 6474891"/>
              <a:gd name="connsiteY258" fmla="*/ 5514896 h 6868448"/>
              <a:gd name="connsiteX259" fmla="*/ 6084035 w 6474891"/>
              <a:gd name="connsiteY259" fmla="*/ 5498274 h 6868448"/>
              <a:gd name="connsiteX260" fmla="*/ 6085459 w 6474891"/>
              <a:gd name="connsiteY260" fmla="*/ 5525345 h 6868448"/>
              <a:gd name="connsiteX261" fmla="*/ 6084035 w 6474891"/>
              <a:gd name="connsiteY261" fmla="*/ 5498274 h 6868448"/>
              <a:gd name="connsiteX262" fmla="*/ 6107306 w 6474891"/>
              <a:gd name="connsiteY262" fmla="*/ 5434158 h 6868448"/>
              <a:gd name="connsiteX263" fmla="*/ 6107306 w 6474891"/>
              <a:gd name="connsiteY263" fmla="*/ 5479751 h 6868448"/>
              <a:gd name="connsiteX264" fmla="*/ 6107306 w 6474891"/>
              <a:gd name="connsiteY264" fmla="*/ 5434158 h 6868448"/>
              <a:gd name="connsiteX265" fmla="*/ 6155749 w 6474891"/>
              <a:gd name="connsiteY265" fmla="*/ 5378116 h 6868448"/>
              <a:gd name="connsiteX266" fmla="*/ 6155749 w 6474891"/>
              <a:gd name="connsiteY266" fmla="*/ 5412311 h 6868448"/>
              <a:gd name="connsiteX267" fmla="*/ 6145301 w 6474891"/>
              <a:gd name="connsiteY267" fmla="*/ 5435108 h 6868448"/>
              <a:gd name="connsiteX268" fmla="*/ 6155749 w 6474891"/>
              <a:gd name="connsiteY268" fmla="*/ 5378116 h 6868448"/>
              <a:gd name="connsiteX269" fmla="*/ 6235537 w 6474891"/>
              <a:gd name="connsiteY269" fmla="*/ 5344871 h 6868448"/>
              <a:gd name="connsiteX270" fmla="*/ 6245985 w 6474891"/>
              <a:gd name="connsiteY270" fmla="*/ 5344871 h 6868448"/>
              <a:gd name="connsiteX271" fmla="*/ 6245985 w 6474891"/>
              <a:gd name="connsiteY271" fmla="*/ 5379066 h 6868448"/>
              <a:gd name="connsiteX272" fmla="*/ 6235537 w 6474891"/>
              <a:gd name="connsiteY272" fmla="*/ 5379066 h 6868448"/>
              <a:gd name="connsiteX273" fmla="*/ 6235537 w 6474891"/>
              <a:gd name="connsiteY273" fmla="*/ 5374031 h 6868448"/>
              <a:gd name="connsiteX274" fmla="*/ 6236487 w 6474891"/>
              <a:gd name="connsiteY274" fmla="*/ 5373367 h 6868448"/>
              <a:gd name="connsiteX275" fmla="*/ 6235700 w 6474891"/>
              <a:gd name="connsiteY275" fmla="*/ 5355156 h 6868448"/>
              <a:gd name="connsiteX276" fmla="*/ 6235537 w 6474891"/>
              <a:gd name="connsiteY276" fmla="*/ 5354971 h 6868448"/>
              <a:gd name="connsiteX277" fmla="*/ 6289835 w 6474891"/>
              <a:gd name="connsiteY277" fmla="*/ 5319692 h 6868448"/>
              <a:gd name="connsiteX278" fmla="*/ 6295378 w 6474891"/>
              <a:gd name="connsiteY278" fmla="*/ 5322074 h 6868448"/>
              <a:gd name="connsiteX279" fmla="*/ 6289679 w 6474891"/>
              <a:gd name="connsiteY279" fmla="*/ 5379066 h 6868448"/>
              <a:gd name="connsiteX280" fmla="*/ 6289835 w 6474891"/>
              <a:gd name="connsiteY280" fmla="*/ 5319692 h 6868448"/>
              <a:gd name="connsiteX281" fmla="*/ 6317225 w 6474891"/>
              <a:gd name="connsiteY281" fmla="*/ 5288829 h 6868448"/>
              <a:gd name="connsiteX282" fmla="*/ 6305826 w 6474891"/>
              <a:gd name="connsiteY282" fmla="*/ 5356269 h 6868448"/>
              <a:gd name="connsiteX283" fmla="*/ 6317225 w 6474891"/>
              <a:gd name="connsiteY283" fmla="*/ 5288829 h 6868448"/>
              <a:gd name="connsiteX284" fmla="*/ 6296079 w 6474891"/>
              <a:gd name="connsiteY284" fmla="*/ 5262927 h 6868448"/>
              <a:gd name="connsiteX285" fmla="*/ 6301077 w 6474891"/>
              <a:gd name="connsiteY285" fmla="*/ 5266033 h 6868448"/>
              <a:gd name="connsiteX286" fmla="*/ 6295378 w 6474891"/>
              <a:gd name="connsiteY286" fmla="*/ 5311626 h 6868448"/>
              <a:gd name="connsiteX287" fmla="*/ 6296079 w 6474891"/>
              <a:gd name="connsiteY287" fmla="*/ 5262927 h 6868448"/>
              <a:gd name="connsiteX288" fmla="*/ 6129153 w 6474891"/>
              <a:gd name="connsiteY288" fmla="*/ 5230888 h 6868448"/>
              <a:gd name="connsiteX289" fmla="*/ 6113005 w 6474891"/>
              <a:gd name="connsiteY289" fmla="*/ 5265082 h 6868448"/>
              <a:gd name="connsiteX290" fmla="*/ 6096857 w 6474891"/>
              <a:gd name="connsiteY290" fmla="*/ 5287879 h 6868448"/>
              <a:gd name="connsiteX291" fmla="*/ 6118704 w 6474891"/>
              <a:gd name="connsiteY291" fmla="*/ 5310676 h 6868448"/>
              <a:gd name="connsiteX292" fmla="*/ 6113005 w 6474891"/>
              <a:gd name="connsiteY292" fmla="*/ 5356269 h 6868448"/>
              <a:gd name="connsiteX293" fmla="*/ 6123453 w 6474891"/>
              <a:gd name="connsiteY293" fmla="*/ 5322074 h 6868448"/>
              <a:gd name="connsiteX294" fmla="*/ 6133902 w 6474891"/>
              <a:gd name="connsiteY294" fmla="*/ 5310676 h 6868448"/>
              <a:gd name="connsiteX295" fmla="*/ 6123453 w 6474891"/>
              <a:gd name="connsiteY295" fmla="*/ 5253684 h 6868448"/>
              <a:gd name="connsiteX296" fmla="*/ 6129153 w 6474891"/>
              <a:gd name="connsiteY296" fmla="*/ 5230888 h 6868448"/>
              <a:gd name="connsiteX297" fmla="*/ 6151460 w 6474891"/>
              <a:gd name="connsiteY297" fmla="*/ 5223956 h 6868448"/>
              <a:gd name="connsiteX298" fmla="*/ 6145301 w 6474891"/>
              <a:gd name="connsiteY298" fmla="*/ 5231837 h 6868448"/>
              <a:gd name="connsiteX299" fmla="*/ 6145301 w 6474891"/>
              <a:gd name="connsiteY299" fmla="*/ 5322074 h 6868448"/>
              <a:gd name="connsiteX300" fmla="*/ 6166197 w 6474891"/>
              <a:gd name="connsiteY300" fmla="*/ 5344871 h 6868448"/>
              <a:gd name="connsiteX301" fmla="*/ 6171897 w 6474891"/>
              <a:gd name="connsiteY301" fmla="*/ 5231837 h 6868448"/>
              <a:gd name="connsiteX302" fmla="*/ 6151460 w 6474891"/>
              <a:gd name="connsiteY302" fmla="*/ 5223956 h 6868448"/>
              <a:gd name="connsiteX303" fmla="*/ 6236487 w 6474891"/>
              <a:gd name="connsiteY303" fmla="*/ 5129252 h 6868448"/>
              <a:gd name="connsiteX304" fmla="*/ 6246935 w 6474891"/>
              <a:gd name="connsiteY304" fmla="*/ 5140651 h 6868448"/>
              <a:gd name="connsiteX305" fmla="*/ 6246935 w 6474891"/>
              <a:gd name="connsiteY305" fmla="*/ 5163447 h 6868448"/>
              <a:gd name="connsiteX306" fmla="*/ 6236487 w 6474891"/>
              <a:gd name="connsiteY306" fmla="*/ 5129252 h 6868448"/>
              <a:gd name="connsiteX307" fmla="*/ 6211420 w 6474891"/>
              <a:gd name="connsiteY307" fmla="*/ 5096497 h 6868448"/>
              <a:gd name="connsiteX308" fmla="*/ 6205141 w 6474891"/>
              <a:gd name="connsiteY308" fmla="*/ 5118804 h 6868448"/>
              <a:gd name="connsiteX309" fmla="*/ 6211420 w 6474891"/>
              <a:gd name="connsiteY309" fmla="*/ 5096497 h 6868448"/>
              <a:gd name="connsiteX310" fmla="*/ 6134852 w 6474891"/>
              <a:gd name="connsiteY310" fmla="*/ 5084609 h 6868448"/>
              <a:gd name="connsiteX311" fmla="*/ 6108256 w 6474891"/>
              <a:gd name="connsiteY311" fmla="*/ 5129252 h 6868448"/>
              <a:gd name="connsiteX312" fmla="*/ 6124404 w 6474891"/>
              <a:gd name="connsiteY312" fmla="*/ 5152049 h 6868448"/>
              <a:gd name="connsiteX313" fmla="*/ 6118704 w 6474891"/>
              <a:gd name="connsiteY313" fmla="*/ 5163447 h 6868448"/>
              <a:gd name="connsiteX314" fmla="*/ 6134852 w 6474891"/>
              <a:gd name="connsiteY314" fmla="*/ 5084609 h 6868448"/>
              <a:gd name="connsiteX315" fmla="*/ 6172846 w 6474891"/>
              <a:gd name="connsiteY315" fmla="*/ 5073210 h 6868448"/>
              <a:gd name="connsiteX316" fmla="*/ 6151000 w 6474891"/>
              <a:gd name="connsiteY316" fmla="*/ 5118804 h 6868448"/>
              <a:gd name="connsiteX317" fmla="*/ 6155749 w 6474891"/>
              <a:gd name="connsiteY317" fmla="*/ 5175796 h 6868448"/>
              <a:gd name="connsiteX318" fmla="*/ 6171897 w 6474891"/>
              <a:gd name="connsiteY318" fmla="*/ 5141600 h 6868448"/>
              <a:gd name="connsiteX319" fmla="*/ 6177595 w 6474891"/>
              <a:gd name="connsiteY319" fmla="*/ 5174846 h 6868448"/>
              <a:gd name="connsiteX320" fmla="*/ 6172846 w 6474891"/>
              <a:gd name="connsiteY320" fmla="*/ 5073210 h 6868448"/>
              <a:gd name="connsiteX321" fmla="*/ 6273279 w 6474891"/>
              <a:gd name="connsiteY321" fmla="*/ 4949358 h 6868448"/>
              <a:gd name="connsiteX322" fmla="*/ 6274481 w 6474891"/>
              <a:gd name="connsiteY322" fmla="*/ 4994372 h 6868448"/>
              <a:gd name="connsiteX323" fmla="*/ 6274481 w 6474891"/>
              <a:gd name="connsiteY323" fmla="*/ 4971576 h 6868448"/>
              <a:gd name="connsiteX324" fmla="*/ 6273279 w 6474891"/>
              <a:gd name="connsiteY324" fmla="*/ 4949358 h 6868448"/>
              <a:gd name="connsiteX325" fmla="*/ 6307726 w 6474891"/>
              <a:gd name="connsiteY325" fmla="*/ 4948779 h 6868448"/>
              <a:gd name="connsiteX326" fmla="*/ 6290629 w 6474891"/>
              <a:gd name="connsiteY326" fmla="*/ 4994372 h 6868448"/>
              <a:gd name="connsiteX327" fmla="*/ 6312475 w 6474891"/>
              <a:gd name="connsiteY327" fmla="*/ 4982973 h 6868448"/>
              <a:gd name="connsiteX328" fmla="*/ 6344771 w 6474891"/>
              <a:gd name="connsiteY328" fmla="*/ 4982973 h 6868448"/>
              <a:gd name="connsiteX329" fmla="*/ 6340022 w 6474891"/>
              <a:gd name="connsiteY329" fmla="*/ 4948779 h 6868448"/>
              <a:gd name="connsiteX330" fmla="*/ 6307726 w 6474891"/>
              <a:gd name="connsiteY330" fmla="*/ 4948779 h 6868448"/>
              <a:gd name="connsiteX331" fmla="*/ 6224717 w 6474891"/>
              <a:gd name="connsiteY331" fmla="*/ 4947043 h 6868448"/>
              <a:gd name="connsiteX332" fmla="*/ 6226988 w 6474891"/>
              <a:gd name="connsiteY332" fmla="*/ 4982973 h 6868448"/>
              <a:gd name="connsiteX333" fmla="*/ 6232687 w 6474891"/>
              <a:gd name="connsiteY333" fmla="*/ 4948779 h 6868448"/>
              <a:gd name="connsiteX334" fmla="*/ 6224717 w 6474891"/>
              <a:gd name="connsiteY334" fmla="*/ 4947043 h 6868448"/>
              <a:gd name="connsiteX335" fmla="*/ 6307726 w 6474891"/>
              <a:gd name="connsiteY335" fmla="*/ 4835745 h 6868448"/>
              <a:gd name="connsiteX336" fmla="*/ 6318174 w 6474891"/>
              <a:gd name="connsiteY336" fmla="*/ 4903185 h 6868448"/>
              <a:gd name="connsiteX337" fmla="*/ 6307726 w 6474891"/>
              <a:gd name="connsiteY337" fmla="*/ 4835745 h 6868448"/>
              <a:gd name="connsiteX338" fmla="*/ 6244085 w 6474891"/>
              <a:gd name="connsiteY338" fmla="*/ 4835745 h 6868448"/>
              <a:gd name="connsiteX339" fmla="*/ 6244085 w 6474891"/>
              <a:gd name="connsiteY339" fmla="*/ 4881339 h 6868448"/>
              <a:gd name="connsiteX340" fmla="*/ 6264982 w 6474891"/>
              <a:gd name="connsiteY340" fmla="*/ 4881339 h 6868448"/>
              <a:gd name="connsiteX341" fmla="*/ 6264982 w 6474891"/>
              <a:gd name="connsiteY341" fmla="*/ 4847143 h 6868448"/>
              <a:gd name="connsiteX342" fmla="*/ 6244085 w 6474891"/>
              <a:gd name="connsiteY342" fmla="*/ 4835745 h 6868448"/>
              <a:gd name="connsiteX343" fmla="*/ 6194219 w 6474891"/>
              <a:gd name="connsiteY343" fmla="*/ 4830521 h 6868448"/>
              <a:gd name="connsiteX344" fmla="*/ 6195643 w 6474891"/>
              <a:gd name="connsiteY344" fmla="*/ 4857592 h 6868448"/>
              <a:gd name="connsiteX345" fmla="*/ 6194219 w 6474891"/>
              <a:gd name="connsiteY345" fmla="*/ 4830521 h 6868448"/>
              <a:gd name="connsiteX346" fmla="*/ 6281130 w 6474891"/>
              <a:gd name="connsiteY346" fmla="*/ 4824347 h 6868448"/>
              <a:gd name="connsiteX347" fmla="*/ 6281130 w 6474891"/>
              <a:gd name="connsiteY347" fmla="*/ 4892737 h 6868448"/>
              <a:gd name="connsiteX348" fmla="*/ 6291578 w 6474891"/>
              <a:gd name="connsiteY348" fmla="*/ 4892737 h 6868448"/>
              <a:gd name="connsiteX349" fmla="*/ 6297278 w 6474891"/>
              <a:gd name="connsiteY349" fmla="*/ 4881339 h 6868448"/>
              <a:gd name="connsiteX350" fmla="*/ 6281130 w 6474891"/>
              <a:gd name="connsiteY350" fmla="*/ 4824347 h 6868448"/>
              <a:gd name="connsiteX351" fmla="*/ 6356318 w 6474891"/>
              <a:gd name="connsiteY351" fmla="*/ 4823249 h 6868448"/>
              <a:gd name="connsiteX352" fmla="*/ 6340022 w 6474891"/>
              <a:gd name="connsiteY352" fmla="*/ 4848093 h 6868448"/>
              <a:gd name="connsiteX353" fmla="*/ 6329573 w 6474891"/>
              <a:gd name="connsiteY353" fmla="*/ 4825297 h 6868448"/>
              <a:gd name="connsiteX354" fmla="*/ 6334322 w 6474891"/>
              <a:gd name="connsiteY354" fmla="*/ 4904135 h 6868448"/>
              <a:gd name="connsiteX355" fmla="*/ 6366618 w 6474891"/>
              <a:gd name="connsiteY355" fmla="*/ 4825297 h 6868448"/>
              <a:gd name="connsiteX356" fmla="*/ 6356318 w 6474891"/>
              <a:gd name="connsiteY356" fmla="*/ 4823249 h 6868448"/>
              <a:gd name="connsiteX357" fmla="*/ 6357119 w 6474891"/>
              <a:gd name="connsiteY357" fmla="*/ 4678068 h 6868448"/>
              <a:gd name="connsiteX358" fmla="*/ 6361868 w 6474891"/>
              <a:gd name="connsiteY358" fmla="*/ 4735060 h 6868448"/>
              <a:gd name="connsiteX359" fmla="*/ 6378016 w 6474891"/>
              <a:gd name="connsiteY359" fmla="*/ 4689467 h 6868448"/>
              <a:gd name="connsiteX360" fmla="*/ 6357119 w 6474891"/>
              <a:gd name="connsiteY360" fmla="*/ 4678068 h 6868448"/>
              <a:gd name="connsiteX361" fmla="*/ 6260233 w 6474891"/>
              <a:gd name="connsiteY361" fmla="*/ 4677118 h 6868448"/>
              <a:gd name="connsiteX362" fmla="*/ 6260233 w 6474891"/>
              <a:gd name="connsiteY362" fmla="*/ 4722712 h 6868448"/>
              <a:gd name="connsiteX363" fmla="*/ 6270681 w 6474891"/>
              <a:gd name="connsiteY363" fmla="*/ 4722712 h 6868448"/>
              <a:gd name="connsiteX364" fmla="*/ 6270681 w 6474891"/>
              <a:gd name="connsiteY364" fmla="*/ 4677118 h 6868448"/>
              <a:gd name="connsiteX365" fmla="*/ 6260233 w 6474891"/>
              <a:gd name="connsiteY365" fmla="*/ 4677118 h 6868448"/>
              <a:gd name="connsiteX366" fmla="*/ 6192343 w 6474891"/>
              <a:gd name="connsiteY366" fmla="*/ 4664919 h 6868448"/>
              <a:gd name="connsiteX367" fmla="*/ 6201342 w 6474891"/>
              <a:gd name="connsiteY367" fmla="*/ 4734110 h 6868448"/>
              <a:gd name="connsiteX368" fmla="*/ 6201342 w 6474891"/>
              <a:gd name="connsiteY368" fmla="*/ 4665720 h 6868448"/>
              <a:gd name="connsiteX369" fmla="*/ 6192343 w 6474891"/>
              <a:gd name="connsiteY369" fmla="*/ 4664919 h 6868448"/>
              <a:gd name="connsiteX370" fmla="*/ 6329573 w 6474891"/>
              <a:gd name="connsiteY370" fmla="*/ 4632475 h 6868448"/>
              <a:gd name="connsiteX371" fmla="*/ 6323874 w 6474891"/>
              <a:gd name="connsiteY371" fmla="*/ 4722712 h 6868448"/>
              <a:gd name="connsiteX372" fmla="*/ 6345720 w 6474891"/>
              <a:gd name="connsiteY372" fmla="*/ 4655271 h 6868448"/>
              <a:gd name="connsiteX373" fmla="*/ 6361868 w 6474891"/>
              <a:gd name="connsiteY373" fmla="*/ 4632475 h 6868448"/>
              <a:gd name="connsiteX374" fmla="*/ 6329573 w 6474891"/>
              <a:gd name="connsiteY374" fmla="*/ 4632475 h 6868448"/>
              <a:gd name="connsiteX375" fmla="*/ 6298228 w 6474891"/>
              <a:gd name="connsiteY375" fmla="*/ 4632475 h 6868448"/>
              <a:gd name="connsiteX376" fmla="*/ 6298228 w 6474891"/>
              <a:gd name="connsiteY376" fmla="*/ 4655271 h 6868448"/>
              <a:gd name="connsiteX377" fmla="*/ 6308676 w 6474891"/>
              <a:gd name="connsiteY377" fmla="*/ 4655271 h 6868448"/>
              <a:gd name="connsiteX378" fmla="*/ 6308676 w 6474891"/>
              <a:gd name="connsiteY378" fmla="*/ 4632475 h 6868448"/>
              <a:gd name="connsiteX379" fmla="*/ 6298228 w 6474891"/>
              <a:gd name="connsiteY379" fmla="*/ 4632475 h 6868448"/>
              <a:gd name="connsiteX380" fmla="*/ 6346670 w 6474891"/>
              <a:gd name="connsiteY380" fmla="*/ 4564085 h 6868448"/>
              <a:gd name="connsiteX381" fmla="*/ 6340971 w 6474891"/>
              <a:gd name="connsiteY381" fmla="*/ 4598280 h 6868448"/>
              <a:gd name="connsiteX382" fmla="*/ 6362818 w 6474891"/>
              <a:gd name="connsiteY382" fmla="*/ 4575483 h 6868448"/>
              <a:gd name="connsiteX383" fmla="*/ 6346670 w 6474891"/>
              <a:gd name="connsiteY383" fmla="*/ 4564085 h 6868448"/>
              <a:gd name="connsiteX384" fmla="*/ 6378016 w 6474891"/>
              <a:gd name="connsiteY384" fmla="*/ 4529890 h 6868448"/>
              <a:gd name="connsiteX385" fmla="*/ 6383715 w 6474891"/>
              <a:gd name="connsiteY385" fmla="*/ 4586881 h 6868448"/>
              <a:gd name="connsiteX386" fmla="*/ 6383715 w 6474891"/>
              <a:gd name="connsiteY386" fmla="*/ 4552686 h 6868448"/>
              <a:gd name="connsiteX387" fmla="*/ 6378016 w 6474891"/>
              <a:gd name="connsiteY387" fmla="*/ 4529890 h 6868448"/>
              <a:gd name="connsiteX388" fmla="*/ 6228888 w 6474891"/>
              <a:gd name="connsiteY388" fmla="*/ 4507093 h 6868448"/>
              <a:gd name="connsiteX389" fmla="*/ 6239336 w 6474891"/>
              <a:gd name="connsiteY389" fmla="*/ 4541288 h 6868448"/>
              <a:gd name="connsiteX390" fmla="*/ 6228888 w 6474891"/>
              <a:gd name="connsiteY390" fmla="*/ 4507093 h 6868448"/>
              <a:gd name="connsiteX391" fmla="*/ 6212740 w 6474891"/>
              <a:gd name="connsiteY391" fmla="*/ 4507093 h 6868448"/>
              <a:gd name="connsiteX392" fmla="*/ 6186144 w 6474891"/>
              <a:gd name="connsiteY392" fmla="*/ 4518492 h 6868448"/>
              <a:gd name="connsiteX393" fmla="*/ 6186144 w 6474891"/>
              <a:gd name="connsiteY393" fmla="*/ 4575483 h 6868448"/>
              <a:gd name="connsiteX394" fmla="*/ 6212740 w 6474891"/>
              <a:gd name="connsiteY394" fmla="*/ 4507093 h 6868448"/>
              <a:gd name="connsiteX395" fmla="*/ 6376161 w 6474891"/>
              <a:gd name="connsiteY395" fmla="*/ 4420730 h 6868448"/>
              <a:gd name="connsiteX396" fmla="*/ 6373267 w 6474891"/>
              <a:gd name="connsiteY396" fmla="*/ 4428255 h 6868448"/>
              <a:gd name="connsiteX397" fmla="*/ 6378016 w 6474891"/>
              <a:gd name="connsiteY397" fmla="*/ 4462449 h 6868448"/>
              <a:gd name="connsiteX398" fmla="*/ 6378016 w 6474891"/>
              <a:gd name="connsiteY398" fmla="*/ 4473848 h 6868448"/>
              <a:gd name="connsiteX399" fmla="*/ 6383715 w 6474891"/>
              <a:gd name="connsiteY399" fmla="*/ 4451051 h 6868448"/>
              <a:gd name="connsiteX400" fmla="*/ 6378966 w 6474891"/>
              <a:gd name="connsiteY400" fmla="*/ 4451051 h 6868448"/>
              <a:gd name="connsiteX401" fmla="*/ 6376161 w 6474891"/>
              <a:gd name="connsiteY401" fmla="*/ 4420730 h 6868448"/>
              <a:gd name="connsiteX402" fmla="*/ 6351666 w 6474891"/>
              <a:gd name="connsiteY402" fmla="*/ 4419532 h 6868448"/>
              <a:gd name="connsiteX403" fmla="*/ 6346670 w 6474891"/>
              <a:gd name="connsiteY403" fmla="*/ 4428255 h 6868448"/>
              <a:gd name="connsiteX404" fmla="*/ 6346670 w 6474891"/>
              <a:gd name="connsiteY404" fmla="*/ 4439653 h 6868448"/>
              <a:gd name="connsiteX405" fmla="*/ 6351419 w 6474891"/>
              <a:gd name="connsiteY405" fmla="*/ 4529890 h 6868448"/>
              <a:gd name="connsiteX406" fmla="*/ 6351666 w 6474891"/>
              <a:gd name="connsiteY406" fmla="*/ 4419532 h 6868448"/>
              <a:gd name="connsiteX407" fmla="*/ 6272581 w 6474891"/>
              <a:gd name="connsiteY407" fmla="*/ 4405458 h 6868448"/>
              <a:gd name="connsiteX408" fmla="*/ 6272581 w 6474891"/>
              <a:gd name="connsiteY408" fmla="*/ 4495695 h 6868448"/>
              <a:gd name="connsiteX409" fmla="*/ 6262133 w 6474891"/>
              <a:gd name="connsiteY409" fmla="*/ 4529890 h 6868448"/>
              <a:gd name="connsiteX410" fmla="*/ 6272581 w 6474891"/>
              <a:gd name="connsiteY410" fmla="*/ 4586881 h 6868448"/>
              <a:gd name="connsiteX411" fmla="*/ 6314375 w 6474891"/>
              <a:gd name="connsiteY411" fmla="*/ 4586881 h 6868448"/>
              <a:gd name="connsiteX412" fmla="*/ 6303926 w 6474891"/>
              <a:gd name="connsiteY412" fmla="*/ 4541288 h 6868448"/>
              <a:gd name="connsiteX413" fmla="*/ 6303926 w 6474891"/>
              <a:gd name="connsiteY413" fmla="*/ 4518492 h 6868448"/>
              <a:gd name="connsiteX414" fmla="*/ 6287779 w 6474891"/>
              <a:gd name="connsiteY414" fmla="*/ 4495695 h 6868448"/>
              <a:gd name="connsiteX415" fmla="*/ 6303926 w 6474891"/>
              <a:gd name="connsiteY415" fmla="*/ 4495695 h 6868448"/>
              <a:gd name="connsiteX416" fmla="*/ 6299177 w 6474891"/>
              <a:gd name="connsiteY416" fmla="*/ 4405458 h 6868448"/>
              <a:gd name="connsiteX417" fmla="*/ 6272581 w 6474891"/>
              <a:gd name="connsiteY417" fmla="*/ 4405458 h 6868448"/>
              <a:gd name="connsiteX418" fmla="*/ 6245985 w 6474891"/>
              <a:gd name="connsiteY418" fmla="*/ 4348466 h 6868448"/>
              <a:gd name="connsiteX419" fmla="*/ 6245985 w 6474891"/>
              <a:gd name="connsiteY419" fmla="*/ 4371263 h 6868448"/>
              <a:gd name="connsiteX420" fmla="*/ 6256433 w 6474891"/>
              <a:gd name="connsiteY420" fmla="*/ 4371263 h 6868448"/>
              <a:gd name="connsiteX421" fmla="*/ 6256433 w 6474891"/>
              <a:gd name="connsiteY421" fmla="*/ 4348466 h 6868448"/>
              <a:gd name="connsiteX422" fmla="*/ 6245985 w 6474891"/>
              <a:gd name="connsiteY422" fmla="*/ 4348466 h 6868448"/>
              <a:gd name="connsiteX423" fmla="*/ 6378610 w 6474891"/>
              <a:gd name="connsiteY423" fmla="*/ 4303422 h 6868448"/>
              <a:gd name="connsiteX424" fmla="*/ 6374216 w 6474891"/>
              <a:gd name="connsiteY424" fmla="*/ 4315221 h 6868448"/>
              <a:gd name="connsiteX425" fmla="*/ 6390364 w 6474891"/>
              <a:gd name="connsiteY425" fmla="*/ 4338018 h 6868448"/>
              <a:gd name="connsiteX426" fmla="*/ 6378610 w 6474891"/>
              <a:gd name="connsiteY426" fmla="*/ 4303422 h 6868448"/>
              <a:gd name="connsiteX427" fmla="*/ 6309626 w 6474891"/>
              <a:gd name="connsiteY427" fmla="*/ 4292424 h 6868448"/>
              <a:gd name="connsiteX428" fmla="*/ 6298228 w 6474891"/>
              <a:gd name="connsiteY428" fmla="*/ 4371263 h 6868448"/>
              <a:gd name="connsiteX429" fmla="*/ 6325774 w 6474891"/>
              <a:gd name="connsiteY429" fmla="*/ 4360814 h 6868448"/>
              <a:gd name="connsiteX430" fmla="*/ 6309626 w 6474891"/>
              <a:gd name="connsiteY430" fmla="*/ 4292424 h 6868448"/>
              <a:gd name="connsiteX431" fmla="*/ 6245985 w 6474891"/>
              <a:gd name="connsiteY431" fmla="*/ 4292424 h 6868448"/>
              <a:gd name="connsiteX432" fmla="*/ 6245985 w 6474891"/>
              <a:gd name="connsiteY432" fmla="*/ 4315221 h 6868448"/>
              <a:gd name="connsiteX433" fmla="*/ 6256433 w 6474891"/>
              <a:gd name="connsiteY433" fmla="*/ 4315221 h 6868448"/>
              <a:gd name="connsiteX434" fmla="*/ 6256433 w 6474891"/>
              <a:gd name="connsiteY434" fmla="*/ 4292424 h 6868448"/>
              <a:gd name="connsiteX435" fmla="*/ 6245985 w 6474891"/>
              <a:gd name="connsiteY435" fmla="*/ 4292424 h 6868448"/>
              <a:gd name="connsiteX436" fmla="*/ 6321974 w 6474891"/>
              <a:gd name="connsiteY436" fmla="*/ 4167992 h 6868448"/>
              <a:gd name="connsiteX437" fmla="*/ 6310576 w 6474891"/>
              <a:gd name="connsiteY437" fmla="*/ 4202187 h 6868448"/>
              <a:gd name="connsiteX438" fmla="*/ 6326723 w 6474891"/>
              <a:gd name="connsiteY438" fmla="*/ 4202187 h 6868448"/>
              <a:gd name="connsiteX439" fmla="*/ 6321974 w 6474891"/>
              <a:gd name="connsiteY439" fmla="*/ 4167992 h 6868448"/>
              <a:gd name="connsiteX440" fmla="*/ 6380865 w 6474891"/>
              <a:gd name="connsiteY440" fmla="*/ 4156594 h 6868448"/>
              <a:gd name="connsiteX441" fmla="*/ 6369467 w 6474891"/>
              <a:gd name="connsiteY441" fmla="*/ 4213586 h 6868448"/>
              <a:gd name="connsiteX442" fmla="*/ 6380865 w 6474891"/>
              <a:gd name="connsiteY442" fmla="*/ 4156594 h 6868448"/>
              <a:gd name="connsiteX443" fmla="*/ 6348570 w 6474891"/>
              <a:gd name="connsiteY443" fmla="*/ 4145196 h 6868448"/>
              <a:gd name="connsiteX444" fmla="*/ 6353319 w 6474891"/>
              <a:gd name="connsiteY444" fmla="*/ 4213586 h 6868448"/>
              <a:gd name="connsiteX445" fmla="*/ 6353319 w 6474891"/>
              <a:gd name="connsiteY445" fmla="*/ 4179391 h 6868448"/>
              <a:gd name="connsiteX446" fmla="*/ 6348570 w 6474891"/>
              <a:gd name="connsiteY446" fmla="*/ 4145196 h 6868448"/>
              <a:gd name="connsiteX447" fmla="*/ 6347620 w 6474891"/>
              <a:gd name="connsiteY447" fmla="*/ 4010315 h 6868448"/>
              <a:gd name="connsiteX448" fmla="*/ 6331473 w 6474891"/>
              <a:gd name="connsiteY448" fmla="*/ 4066357 h 6868448"/>
              <a:gd name="connsiteX449" fmla="*/ 6352370 w 6474891"/>
              <a:gd name="connsiteY449" fmla="*/ 4134747 h 6868448"/>
              <a:gd name="connsiteX450" fmla="*/ 6358069 w 6474891"/>
              <a:gd name="connsiteY450" fmla="*/ 4077755 h 6868448"/>
              <a:gd name="connsiteX451" fmla="*/ 6378966 w 6474891"/>
              <a:gd name="connsiteY451" fmla="*/ 4111950 h 6868448"/>
              <a:gd name="connsiteX452" fmla="*/ 6401762 w 6474891"/>
              <a:gd name="connsiteY452" fmla="*/ 4010315 h 6868448"/>
              <a:gd name="connsiteX453" fmla="*/ 6385615 w 6474891"/>
              <a:gd name="connsiteY453" fmla="*/ 4055909 h 6868448"/>
              <a:gd name="connsiteX454" fmla="*/ 6369467 w 6474891"/>
              <a:gd name="connsiteY454" fmla="*/ 4010315 h 6868448"/>
              <a:gd name="connsiteX455" fmla="*/ 6374216 w 6474891"/>
              <a:gd name="connsiteY455" fmla="*/ 4055909 h 6868448"/>
              <a:gd name="connsiteX456" fmla="*/ 6347620 w 6474891"/>
              <a:gd name="connsiteY456" fmla="*/ 4010315 h 6868448"/>
              <a:gd name="connsiteX457" fmla="*/ 6209891 w 6474891"/>
              <a:gd name="connsiteY457" fmla="*/ 3986569 h 6868448"/>
              <a:gd name="connsiteX458" fmla="*/ 6193743 w 6474891"/>
              <a:gd name="connsiteY458" fmla="*/ 4009366 h 6868448"/>
              <a:gd name="connsiteX459" fmla="*/ 6193743 w 6474891"/>
              <a:gd name="connsiteY459" fmla="*/ 4054959 h 6868448"/>
              <a:gd name="connsiteX460" fmla="*/ 6214640 w 6474891"/>
              <a:gd name="connsiteY460" fmla="*/ 4043561 h 6868448"/>
              <a:gd name="connsiteX461" fmla="*/ 6209891 w 6474891"/>
              <a:gd name="connsiteY461" fmla="*/ 3986569 h 6868448"/>
              <a:gd name="connsiteX462" fmla="*/ 6272819 w 6474891"/>
              <a:gd name="connsiteY462" fmla="*/ 3955936 h 6868448"/>
              <a:gd name="connsiteX463" fmla="*/ 6273531 w 6474891"/>
              <a:gd name="connsiteY463" fmla="*/ 3986569 h 6868448"/>
              <a:gd name="connsiteX464" fmla="*/ 6272819 w 6474891"/>
              <a:gd name="connsiteY464" fmla="*/ 3955936 h 6868448"/>
              <a:gd name="connsiteX465" fmla="*/ 6237199 w 6474891"/>
              <a:gd name="connsiteY465" fmla="*/ 3948099 h 6868448"/>
              <a:gd name="connsiteX466" fmla="*/ 6236487 w 6474891"/>
              <a:gd name="connsiteY466" fmla="*/ 3975170 h 6868448"/>
              <a:gd name="connsiteX467" fmla="*/ 6237199 w 6474891"/>
              <a:gd name="connsiteY467" fmla="*/ 3948099 h 6868448"/>
              <a:gd name="connsiteX468" fmla="*/ 6321974 w 6474891"/>
              <a:gd name="connsiteY468" fmla="*/ 3941925 h 6868448"/>
              <a:gd name="connsiteX469" fmla="*/ 6321974 w 6474891"/>
              <a:gd name="connsiteY469" fmla="*/ 3976120 h 6868448"/>
              <a:gd name="connsiteX470" fmla="*/ 6342871 w 6474891"/>
              <a:gd name="connsiteY470" fmla="*/ 3987519 h 6868448"/>
              <a:gd name="connsiteX471" fmla="*/ 6338122 w 6474891"/>
              <a:gd name="connsiteY471" fmla="*/ 3941925 h 6868448"/>
              <a:gd name="connsiteX472" fmla="*/ 6332422 w 6474891"/>
              <a:gd name="connsiteY472" fmla="*/ 3964722 h 6868448"/>
              <a:gd name="connsiteX473" fmla="*/ 6321974 w 6474891"/>
              <a:gd name="connsiteY473" fmla="*/ 3941925 h 6868448"/>
              <a:gd name="connsiteX474" fmla="*/ 6321351 w 6474891"/>
              <a:gd name="connsiteY474" fmla="*/ 3882618 h 6868448"/>
              <a:gd name="connsiteX475" fmla="*/ 6317225 w 6474891"/>
              <a:gd name="connsiteY475" fmla="*/ 3896332 h 6868448"/>
              <a:gd name="connsiteX476" fmla="*/ 6333372 w 6474891"/>
              <a:gd name="connsiteY476" fmla="*/ 3907730 h 6868448"/>
              <a:gd name="connsiteX477" fmla="*/ 6321351 w 6474891"/>
              <a:gd name="connsiteY477" fmla="*/ 3882618 h 6868448"/>
              <a:gd name="connsiteX478" fmla="*/ 6194693 w 6474891"/>
              <a:gd name="connsiteY478" fmla="*/ 3862137 h 6868448"/>
              <a:gd name="connsiteX479" fmla="*/ 6188994 w 6474891"/>
              <a:gd name="connsiteY479" fmla="*/ 3975170 h 6868448"/>
              <a:gd name="connsiteX480" fmla="*/ 6210840 w 6474891"/>
              <a:gd name="connsiteY480" fmla="*/ 3952374 h 6868448"/>
              <a:gd name="connsiteX481" fmla="*/ 6215590 w 6474891"/>
              <a:gd name="connsiteY481" fmla="*/ 3975170 h 6868448"/>
              <a:gd name="connsiteX482" fmla="*/ 6194693 w 6474891"/>
              <a:gd name="connsiteY482" fmla="*/ 3862137 h 6868448"/>
              <a:gd name="connsiteX483" fmla="*/ 6325402 w 6474891"/>
              <a:gd name="connsiteY483" fmla="*/ 3827156 h 6868448"/>
              <a:gd name="connsiteX484" fmla="*/ 6327673 w 6474891"/>
              <a:gd name="connsiteY484" fmla="*/ 3863087 h 6868448"/>
              <a:gd name="connsiteX485" fmla="*/ 6333372 w 6474891"/>
              <a:gd name="connsiteY485" fmla="*/ 3828892 h 6868448"/>
              <a:gd name="connsiteX486" fmla="*/ 6325402 w 6474891"/>
              <a:gd name="connsiteY486" fmla="*/ 3827156 h 6868448"/>
              <a:gd name="connsiteX487" fmla="*/ 6274481 w 6474891"/>
              <a:gd name="connsiteY487" fmla="*/ 3771900 h 6868448"/>
              <a:gd name="connsiteX488" fmla="*/ 6274481 w 6474891"/>
              <a:gd name="connsiteY488" fmla="*/ 3806095 h 6868448"/>
              <a:gd name="connsiteX489" fmla="*/ 6284929 w 6474891"/>
              <a:gd name="connsiteY489" fmla="*/ 3806095 h 6868448"/>
              <a:gd name="connsiteX490" fmla="*/ 6284929 w 6474891"/>
              <a:gd name="connsiteY490" fmla="*/ 3771900 h 6868448"/>
              <a:gd name="connsiteX491" fmla="*/ 6274481 w 6474891"/>
              <a:gd name="connsiteY491" fmla="*/ 3771900 h 6868448"/>
              <a:gd name="connsiteX492" fmla="*/ 6408411 w 6474891"/>
              <a:gd name="connsiteY492" fmla="*/ 3750053 h 6868448"/>
              <a:gd name="connsiteX493" fmla="*/ 6397013 w 6474891"/>
              <a:gd name="connsiteY493" fmla="*/ 3828892 h 6868448"/>
              <a:gd name="connsiteX494" fmla="*/ 6408411 w 6474891"/>
              <a:gd name="connsiteY494" fmla="*/ 3750053 h 6868448"/>
              <a:gd name="connsiteX495" fmla="*/ 6301077 w 6474891"/>
              <a:gd name="connsiteY495" fmla="*/ 3749104 h 6868448"/>
              <a:gd name="connsiteX496" fmla="*/ 6311526 w 6474891"/>
              <a:gd name="connsiteY496" fmla="*/ 3850739 h 6868448"/>
              <a:gd name="connsiteX497" fmla="*/ 6301077 w 6474891"/>
              <a:gd name="connsiteY497" fmla="*/ 3749104 h 6868448"/>
              <a:gd name="connsiteX498" fmla="*/ 6322924 w 6474891"/>
              <a:gd name="connsiteY498" fmla="*/ 3737705 h 6868448"/>
              <a:gd name="connsiteX499" fmla="*/ 6333372 w 6474891"/>
              <a:gd name="connsiteY499" fmla="*/ 3816543 h 6868448"/>
              <a:gd name="connsiteX500" fmla="*/ 6322924 w 6474891"/>
              <a:gd name="connsiteY500" fmla="*/ 3737705 h 6868448"/>
              <a:gd name="connsiteX501" fmla="*/ 6182909 w 6474891"/>
              <a:gd name="connsiteY501" fmla="*/ 3590239 h 6868448"/>
              <a:gd name="connsiteX502" fmla="*/ 6184245 w 6474891"/>
              <a:gd name="connsiteY502" fmla="*/ 3635120 h 6868448"/>
              <a:gd name="connsiteX503" fmla="*/ 6184245 w 6474891"/>
              <a:gd name="connsiteY503" fmla="*/ 3612323 h 6868448"/>
              <a:gd name="connsiteX504" fmla="*/ 6182909 w 6474891"/>
              <a:gd name="connsiteY504" fmla="*/ 3590239 h 6868448"/>
              <a:gd name="connsiteX505" fmla="*/ 6394163 w 6474891"/>
              <a:gd name="connsiteY505" fmla="*/ 3410953 h 6868448"/>
              <a:gd name="connsiteX506" fmla="*/ 6394163 w 6474891"/>
              <a:gd name="connsiteY506" fmla="*/ 3489791 h 6868448"/>
              <a:gd name="connsiteX507" fmla="*/ 6382765 w 6474891"/>
              <a:gd name="connsiteY507" fmla="*/ 3534435 h 6868448"/>
              <a:gd name="connsiteX508" fmla="*/ 6366618 w 6474891"/>
              <a:gd name="connsiteY508" fmla="*/ 3545833 h 6868448"/>
              <a:gd name="connsiteX509" fmla="*/ 6382765 w 6474891"/>
              <a:gd name="connsiteY509" fmla="*/ 3614223 h 6868448"/>
              <a:gd name="connsiteX510" fmla="*/ 6378016 w 6474891"/>
              <a:gd name="connsiteY510" fmla="*/ 3568630 h 6868448"/>
              <a:gd name="connsiteX511" fmla="*/ 6388464 w 6474891"/>
              <a:gd name="connsiteY511" fmla="*/ 3557231 h 6868448"/>
              <a:gd name="connsiteX512" fmla="*/ 6410311 w 6474891"/>
              <a:gd name="connsiteY512" fmla="*/ 3489791 h 6868448"/>
              <a:gd name="connsiteX513" fmla="*/ 6394163 w 6474891"/>
              <a:gd name="connsiteY513" fmla="*/ 3410953 h 6868448"/>
              <a:gd name="connsiteX514" fmla="*/ 6319125 w 6474891"/>
              <a:gd name="connsiteY514" fmla="*/ 3387206 h 6868448"/>
              <a:gd name="connsiteX515" fmla="*/ 6323874 w 6474891"/>
              <a:gd name="connsiteY515" fmla="*/ 3432800 h 6868448"/>
              <a:gd name="connsiteX516" fmla="*/ 6319125 w 6474891"/>
              <a:gd name="connsiteY516" fmla="*/ 3387206 h 6868448"/>
              <a:gd name="connsiteX517" fmla="*/ 6394163 w 6474891"/>
              <a:gd name="connsiteY517" fmla="*/ 3375808 h 6868448"/>
              <a:gd name="connsiteX518" fmla="*/ 6410311 w 6474891"/>
              <a:gd name="connsiteY518" fmla="*/ 3387206 h 6868448"/>
              <a:gd name="connsiteX519" fmla="*/ 6404612 w 6474891"/>
              <a:gd name="connsiteY519" fmla="*/ 3375808 h 6868448"/>
              <a:gd name="connsiteX520" fmla="*/ 6394163 w 6474891"/>
              <a:gd name="connsiteY520" fmla="*/ 3375808 h 6868448"/>
              <a:gd name="connsiteX521" fmla="*/ 6351419 w 6474891"/>
              <a:gd name="connsiteY521" fmla="*/ 3375808 h 6868448"/>
              <a:gd name="connsiteX522" fmla="*/ 6356169 w 6474891"/>
              <a:gd name="connsiteY522" fmla="*/ 3443248 h 6868448"/>
              <a:gd name="connsiteX523" fmla="*/ 6378016 w 6474891"/>
              <a:gd name="connsiteY523" fmla="*/ 3443248 h 6868448"/>
              <a:gd name="connsiteX524" fmla="*/ 6351419 w 6474891"/>
              <a:gd name="connsiteY524" fmla="*/ 3375808 h 6868448"/>
              <a:gd name="connsiteX525" fmla="*/ 6315372 w 6474891"/>
              <a:gd name="connsiteY525" fmla="*/ 3098732 h 6868448"/>
              <a:gd name="connsiteX526" fmla="*/ 6325774 w 6474891"/>
              <a:gd name="connsiteY526" fmla="*/ 3104147 h 6868448"/>
              <a:gd name="connsiteX527" fmla="*/ 6315372 w 6474891"/>
              <a:gd name="connsiteY527" fmla="*/ 3098732 h 6868448"/>
              <a:gd name="connsiteX528" fmla="*/ 6353319 w 6474891"/>
              <a:gd name="connsiteY528" fmla="*/ 3026259 h 6868448"/>
              <a:gd name="connsiteX529" fmla="*/ 6358069 w 6474891"/>
              <a:gd name="connsiteY529" fmla="*/ 3093699 h 6868448"/>
              <a:gd name="connsiteX530" fmla="*/ 6352370 w 6474891"/>
              <a:gd name="connsiteY530" fmla="*/ 3105097 h 6868448"/>
              <a:gd name="connsiteX531" fmla="*/ 6358069 w 6474891"/>
              <a:gd name="connsiteY531" fmla="*/ 3127894 h 6868448"/>
              <a:gd name="connsiteX532" fmla="*/ 6358069 w 6474891"/>
              <a:gd name="connsiteY532" fmla="*/ 3183936 h 6868448"/>
              <a:gd name="connsiteX533" fmla="*/ 6363768 w 6474891"/>
              <a:gd name="connsiteY533" fmla="*/ 3105097 h 6868448"/>
              <a:gd name="connsiteX534" fmla="*/ 6353319 w 6474891"/>
              <a:gd name="connsiteY534" fmla="*/ 3026259 h 6868448"/>
              <a:gd name="connsiteX535" fmla="*/ 6325774 w 6474891"/>
              <a:gd name="connsiteY535" fmla="*/ 3002512 h 6868448"/>
              <a:gd name="connsiteX536" fmla="*/ 6304877 w 6474891"/>
              <a:gd name="connsiteY536" fmla="*/ 3025309 h 6868448"/>
              <a:gd name="connsiteX537" fmla="*/ 6325774 w 6474891"/>
              <a:gd name="connsiteY537" fmla="*/ 3048106 h 6868448"/>
              <a:gd name="connsiteX538" fmla="*/ 6325774 w 6474891"/>
              <a:gd name="connsiteY538" fmla="*/ 3002512 h 6868448"/>
              <a:gd name="connsiteX539" fmla="*/ 6410321 w 6474891"/>
              <a:gd name="connsiteY539" fmla="*/ 2605435 h 6868448"/>
              <a:gd name="connsiteX540" fmla="*/ 6402712 w 6474891"/>
              <a:gd name="connsiteY540" fmla="*/ 2617818 h 6868448"/>
              <a:gd name="connsiteX541" fmla="*/ 6408411 w 6474891"/>
              <a:gd name="connsiteY541" fmla="*/ 2640615 h 6868448"/>
              <a:gd name="connsiteX542" fmla="*/ 6410321 w 6474891"/>
              <a:gd name="connsiteY542" fmla="*/ 2605435 h 6868448"/>
              <a:gd name="connsiteX543" fmla="*/ 6369018 w 6474891"/>
              <a:gd name="connsiteY543" fmla="*/ 2600415 h 6868448"/>
              <a:gd name="connsiteX544" fmla="*/ 6365667 w 6474891"/>
              <a:gd name="connsiteY544" fmla="*/ 2606420 h 6868448"/>
              <a:gd name="connsiteX545" fmla="*/ 6349520 w 6474891"/>
              <a:gd name="connsiteY545" fmla="*/ 2652014 h 6868448"/>
              <a:gd name="connsiteX546" fmla="*/ 6365667 w 6474891"/>
              <a:gd name="connsiteY546" fmla="*/ 2663412 h 6868448"/>
              <a:gd name="connsiteX547" fmla="*/ 6369018 w 6474891"/>
              <a:gd name="connsiteY547" fmla="*/ 2600415 h 6868448"/>
              <a:gd name="connsiteX548" fmla="*/ 6246550 w 6474891"/>
              <a:gd name="connsiteY548" fmla="*/ 2560589 h 6868448"/>
              <a:gd name="connsiteX549" fmla="*/ 6247885 w 6474891"/>
              <a:gd name="connsiteY549" fmla="*/ 2605470 h 6868448"/>
              <a:gd name="connsiteX550" fmla="*/ 6247885 w 6474891"/>
              <a:gd name="connsiteY550" fmla="*/ 2582673 h 6868448"/>
              <a:gd name="connsiteX551" fmla="*/ 6246550 w 6474891"/>
              <a:gd name="connsiteY551" fmla="*/ 2560589 h 6868448"/>
              <a:gd name="connsiteX552" fmla="*/ 6366618 w 6474891"/>
              <a:gd name="connsiteY552" fmla="*/ 2447793 h 6868448"/>
              <a:gd name="connsiteX553" fmla="*/ 6356169 w 6474891"/>
              <a:gd name="connsiteY553" fmla="*/ 2493387 h 6868448"/>
              <a:gd name="connsiteX554" fmla="*/ 6344771 w 6474891"/>
              <a:gd name="connsiteY554" fmla="*/ 2459191 h 6868448"/>
              <a:gd name="connsiteX555" fmla="*/ 6355219 w 6474891"/>
              <a:gd name="connsiteY555" fmla="*/ 2538030 h 6868448"/>
              <a:gd name="connsiteX556" fmla="*/ 6365667 w 6474891"/>
              <a:gd name="connsiteY556" fmla="*/ 2572225 h 6868448"/>
              <a:gd name="connsiteX557" fmla="*/ 6371367 w 6474891"/>
              <a:gd name="connsiteY557" fmla="*/ 2481988 h 6868448"/>
              <a:gd name="connsiteX558" fmla="*/ 6366618 w 6474891"/>
              <a:gd name="connsiteY558" fmla="*/ 2447793 h 6868448"/>
              <a:gd name="connsiteX559" fmla="*/ 6413725 w 6474891"/>
              <a:gd name="connsiteY559" fmla="*/ 2289745 h 6868448"/>
              <a:gd name="connsiteX560" fmla="*/ 6415060 w 6474891"/>
              <a:gd name="connsiteY560" fmla="*/ 2334760 h 6868448"/>
              <a:gd name="connsiteX561" fmla="*/ 6415060 w 6474891"/>
              <a:gd name="connsiteY561" fmla="*/ 2311963 h 6868448"/>
              <a:gd name="connsiteX562" fmla="*/ 6413725 w 6474891"/>
              <a:gd name="connsiteY562" fmla="*/ 2289745 h 6868448"/>
              <a:gd name="connsiteX563" fmla="*/ 6410311 w 6474891"/>
              <a:gd name="connsiteY563" fmla="*/ 2187531 h 6868448"/>
              <a:gd name="connsiteX564" fmla="*/ 6404612 w 6474891"/>
              <a:gd name="connsiteY564" fmla="*/ 2233125 h 6868448"/>
              <a:gd name="connsiteX565" fmla="*/ 6410311 w 6474891"/>
              <a:gd name="connsiteY565" fmla="*/ 2187531 h 6868448"/>
              <a:gd name="connsiteX566" fmla="*/ 6388464 w 6474891"/>
              <a:gd name="connsiteY566" fmla="*/ 2187531 h 6868448"/>
              <a:gd name="connsiteX567" fmla="*/ 6398912 w 6474891"/>
              <a:gd name="connsiteY567" fmla="*/ 2244523 h 6868448"/>
              <a:gd name="connsiteX568" fmla="*/ 6388464 w 6474891"/>
              <a:gd name="connsiteY568" fmla="*/ 2187531 h 6868448"/>
              <a:gd name="connsiteX569" fmla="*/ 6361868 w 6474891"/>
              <a:gd name="connsiteY569" fmla="*/ 2187531 h 6868448"/>
              <a:gd name="connsiteX570" fmla="*/ 6356169 w 6474891"/>
              <a:gd name="connsiteY570" fmla="*/ 2210328 h 6868448"/>
              <a:gd name="connsiteX571" fmla="*/ 6351419 w 6474891"/>
              <a:gd name="connsiteY571" fmla="*/ 2210328 h 6868448"/>
              <a:gd name="connsiteX572" fmla="*/ 6372316 w 6474891"/>
              <a:gd name="connsiteY572" fmla="*/ 2233125 h 6868448"/>
              <a:gd name="connsiteX573" fmla="*/ 6361868 w 6474891"/>
              <a:gd name="connsiteY573" fmla="*/ 2187531 h 6868448"/>
              <a:gd name="connsiteX574" fmla="*/ 6330523 w 6474891"/>
              <a:gd name="connsiteY574" fmla="*/ 2028904 h 6868448"/>
              <a:gd name="connsiteX575" fmla="*/ 6330523 w 6474891"/>
              <a:gd name="connsiteY575" fmla="*/ 2085896 h 6868448"/>
              <a:gd name="connsiteX576" fmla="*/ 6340971 w 6474891"/>
              <a:gd name="connsiteY576" fmla="*/ 2051701 h 6868448"/>
              <a:gd name="connsiteX577" fmla="*/ 6335272 w 6474891"/>
              <a:gd name="connsiteY577" fmla="*/ 2063099 h 6868448"/>
              <a:gd name="connsiteX578" fmla="*/ 6330523 w 6474891"/>
              <a:gd name="connsiteY578" fmla="*/ 2028904 h 6868448"/>
              <a:gd name="connsiteX579" fmla="*/ 6404669 w 6474891"/>
              <a:gd name="connsiteY579" fmla="*/ 1859456 h 6868448"/>
              <a:gd name="connsiteX580" fmla="*/ 6400812 w 6474891"/>
              <a:gd name="connsiteY580" fmla="*/ 1871227 h 6868448"/>
              <a:gd name="connsiteX581" fmla="*/ 6400812 w 6474891"/>
              <a:gd name="connsiteY581" fmla="*/ 1928219 h 6868448"/>
              <a:gd name="connsiteX582" fmla="*/ 6404669 w 6474891"/>
              <a:gd name="connsiteY582" fmla="*/ 1859456 h 6868448"/>
              <a:gd name="connsiteX583" fmla="*/ 6401762 w 6474891"/>
              <a:gd name="connsiteY583" fmla="*/ 1599567 h 6868448"/>
              <a:gd name="connsiteX584" fmla="*/ 6396063 w 6474891"/>
              <a:gd name="connsiteY584" fmla="*/ 1610965 h 6868448"/>
              <a:gd name="connsiteX585" fmla="*/ 6396063 w 6474891"/>
              <a:gd name="connsiteY585" fmla="*/ 1633762 h 6868448"/>
              <a:gd name="connsiteX586" fmla="*/ 6401762 w 6474891"/>
              <a:gd name="connsiteY586" fmla="*/ 1599567 h 6868448"/>
              <a:gd name="connsiteX587" fmla="*/ 6337602 w 6474891"/>
              <a:gd name="connsiteY587" fmla="*/ 1220335 h 6868448"/>
              <a:gd name="connsiteX588" fmla="*/ 6334322 w 6474891"/>
              <a:gd name="connsiteY588" fmla="*/ 1225321 h 6868448"/>
              <a:gd name="connsiteX589" fmla="*/ 6334322 w 6474891"/>
              <a:gd name="connsiteY589" fmla="*/ 1248118 h 6868448"/>
              <a:gd name="connsiteX590" fmla="*/ 6328623 w 6474891"/>
              <a:gd name="connsiteY590" fmla="*/ 1259516 h 6868448"/>
              <a:gd name="connsiteX591" fmla="*/ 6339071 w 6474891"/>
              <a:gd name="connsiteY591" fmla="*/ 1248118 h 6868448"/>
              <a:gd name="connsiteX592" fmla="*/ 6337602 w 6474891"/>
              <a:gd name="connsiteY592" fmla="*/ 1220335 h 6868448"/>
              <a:gd name="connsiteX593" fmla="*/ 6356169 w 6474891"/>
              <a:gd name="connsiteY593" fmla="*/ 1033449 h 6868448"/>
              <a:gd name="connsiteX594" fmla="*/ 6366618 w 6474891"/>
              <a:gd name="connsiteY594" fmla="*/ 1056246 h 6868448"/>
              <a:gd name="connsiteX595" fmla="*/ 6356169 w 6474891"/>
              <a:gd name="connsiteY595" fmla="*/ 1033449 h 6868448"/>
              <a:gd name="connsiteX596" fmla="*/ 6362818 w 6474891"/>
              <a:gd name="connsiteY596" fmla="*/ 682001 h 6868448"/>
              <a:gd name="connsiteX597" fmla="*/ 6367567 w 6474891"/>
              <a:gd name="connsiteY597" fmla="*/ 829229 h 6868448"/>
              <a:gd name="connsiteX598" fmla="*/ 6378016 w 6474891"/>
              <a:gd name="connsiteY598" fmla="*/ 953661 h 6868448"/>
              <a:gd name="connsiteX599" fmla="*/ 6378966 w 6474891"/>
              <a:gd name="connsiteY599" fmla="*/ 817831 h 6868448"/>
              <a:gd name="connsiteX600" fmla="*/ 6373267 w 6474891"/>
              <a:gd name="connsiteY600" fmla="*/ 817831 h 6868448"/>
              <a:gd name="connsiteX601" fmla="*/ 6373267 w 6474891"/>
              <a:gd name="connsiteY601" fmla="*/ 738992 h 6868448"/>
              <a:gd name="connsiteX602" fmla="*/ 6362818 w 6474891"/>
              <a:gd name="connsiteY602" fmla="*/ 682001 h 6868448"/>
              <a:gd name="connsiteX603" fmla="*/ 6407461 w 6474891"/>
              <a:gd name="connsiteY603" fmla="*/ 421739 h 6868448"/>
              <a:gd name="connsiteX604" fmla="*/ 6407461 w 6474891"/>
              <a:gd name="connsiteY604" fmla="*/ 455934 h 6868448"/>
              <a:gd name="connsiteX605" fmla="*/ 6417910 w 6474891"/>
              <a:gd name="connsiteY605" fmla="*/ 455934 h 6868448"/>
              <a:gd name="connsiteX606" fmla="*/ 6417910 w 6474891"/>
              <a:gd name="connsiteY606" fmla="*/ 421739 h 6868448"/>
              <a:gd name="connsiteX607" fmla="*/ 6407461 w 6474891"/>
              <a:gd name="connsiteY607" fmla="*/ 421739 h 6868448"/>
              <a:gd name="connsiteX608" fmla="*/ 6413160 w 6474891"/>
              <a:gd name="connsiteY608" fmla="*/ 308705 h 6868448"/>
              <a:gd name="connsiteX609" fmla="*/ 6417910 w 6474891"/>
              <a:gd name="connsiteY609" fmla="*/ 398942 h 6868448"/>
              <a:gd name="connsiteX610" fmla="*/ 6413160 w 6474891"/>
              <a:gd name="connsiteY610" fmla="*/ 308705 h 6868448"/>
              <a:gd name="connsiteX611" fmla="*/ 0 w 6474891"/>
              <a:gd name="connsiteY611" fmla="*/ 0 h 6868448"/>
              <a:gd name="connsiteX612" fmla="*/ 1892778 w 6474891"/>
              <a:gd name="connsiteY612" fmla="*/ 0 h 6868448"/>
              <a:gd name="connsiteX613" fmla="*/ 5110903 w 6474891"/>
              <a:gd name="connsiteY613" fmla="*/ 0 h 6868448"/>
              <a:gd name="connsiteX614" fmla="*/ 5124201 w 6474891"/>
              <a:gd name="connsiteY614" fmla="*/ 0 h 6868448"/>
              <a:gd name="connsiteX615" fmla="*/ 5132750 w 6474891"/>
              <a:gd name="connsiteY615" fmla="*/ 0 h 6868448"/>
              <a:gd name="connsiteX616" fmla="*/ 5203989 w 6474891"/>
              <a:gd name="connsiteY616" fmla="*/ 0 h 6868448"/>
              <a:gd name="connsiteX617" fmla="*/ 5216337 w 6474891"/>
              <a:gd name="connsiteY617" fmla="*/ 0 h 6868448"/>
              <a:gd name="connsiteX618" fmla="*/ 5285678 w 6474891"/>
              <a:gd name="connsiteY618" fmla="*/ 0 h 6868448"/>
              <a:gd name="connsiteX619" fmla="*/ 5312273 w 6474891"/>
              <a:gd name="connsiteY619" fmla="*/ 0 h 6868448"/>
              <a:gd name="connsiteX620" fmla="*/ 5379713 w 6474891"/>
              <a:gd name="connsiteY620" fmla="*/ 0 h 6868448"/>
              <a:gd name="connsiteX621" fmla="*/ 5390162 w 6474891"/>
              <a:gd name="connsiteY621" fmla="*/ 0 h 6868448"/>
              <a:gd name="connsiteX622" fmla="*/ 5410109 w 6474891"/>
              <a:gd name="connsiteY622" fmla="*/ 0 h 6868448"/>
              <a:gd name="connsiteX623" fmla="*/ 5463301 w 6474891"/>
              <a:gd name="connsiteY623" fmla="*/ 0 h 6868448"/>
              <a:gd name="connsiteX624" fmla="*/ 5482298 w 6474891"/>
              <a:gd name="connsiteY624" fmla="*/ 0 h 6868448"/>
              <a:gd name="connsiteX625" fmla="*/ 5507944 w 6474891"/>
              <a:gd name="connsiteY625" fmla="*/ 0 h 6868448"/>
              <a:gd name="connsiteX626" fmla="*/ 5609579 w 6474891"/>
              <a:gd name="connsiteY626" fmla="*/ 0 h 6868448"/>
              <a:gd name="connsiteX627" fmla="*/ 5614329 w 6474891"/>
              <a:gd name="connsiteY627" fmla="*/ 0 h 6868448"/>
              <a:gd name="connsiteX628" fmla="*/ 6375166 w 6474891"/>
              <a:gd name="connsiteY628" fmla="*/ 0 h 6868448"/>
              <a:gd name="connsiteX629" fmla="*/ 6378016 w 6474891"/>
              <a:gd name="connsiteY629" fmla="*/ 48443 h 6868448"/>
              <a:gd name="connsiteX630" fmla="*/ 6394163 w 6474891"/>
              <a:gd name="connsiteY630" fmla="*/ 59841 h 6868448"/>
              <a:gd name="connsiteX631" fmla="*/ 6399863 w 6474891"/>
              <a:gd name="connsiteY631" fmla="*/ 82638 h 6868448"/>
              <a:gd name="connsiteX632" fmla="*/ 6394163 w 6474891"/>
              <a:gd name="connsiteY632" fmla="*/ 139630 h 6868448"/>
              <a:gd name="connsiteX633" fmla="*/ 6409361 w 6474891"/>
              <a:gd name="connsiteY633" fmla="*/ 399892 h 6868448"/>
              <a:gd name="connsiteX634" fmla="*/ 6425509 w 6474891"/>
              <a:gd name="connsiteY634" fmla="*/ 411290 h 6868448"/>
              <a:gd name="connsiteX635" fmla="*/ 6425509 w 6474891"/>
              <a:gd name="connsiteY635" fmla="*/ 479680 h 6868448"/>
              <a:gd name="connsiteX636" fmla="*/ 6409361 w 6474891"/>
              <a:gd name="connsiteY636" fmla="*/ 479680 h 6868448"/>
              <a:gd name="connsiteX637" fmla="*/ 6414111 w 6474891"/>
              <a:gd name="connsiteY637" fmla="*/ 592714 h 6868448"/>
              <a:gd name="connsiteX638" fmla="*/ 6419809 w 6474891"/>
              <a:gd name="connsiteY638" fmla="*/ 558519 h 6868448"/>
              <a:gd name="connsiteX639" fmla="*/ 6435957 w 6474891"/>
              <a:gd name="connsiteY639" fmla="*/ 626909 h 6868448"/>
              <a:gd name="connsiteX640" fmla="*/ 6419809 w 6474891"/>
              <a:gd name="connsiteY640" fmla="*/ 638307 h 6868448"/>
              <a:gd name="connsiteX641" fmla="*/ 6435957 w 6474891"/>
              <a:gd name="connsiteY641" fmla="*/ 683900 h 6868448"/>
              <a:gd name="connsiteX642" fmla="*/ 6430258 w 6474891"/>
              <a:gd name="connsiteY642" fmla="*/ 718095 h 6868448"/>
              <a:gd name="connsiteX643" fmla="*/ 6419809 w 6474891"/>
              <a:gd name="connsiteY643" fmla="*/ 706697 h 6868448"/>
              <a:gd name="connsiteX644" fmla="*/ 6425509 w 6474891"/>
              <a:gd name="connsiteY644" fmla="*/ 729494 h 6868448"/>
              <a:gd name="connsiteX645" fmla="*/ 6419809 w 6474891"/>
              <a:gd name="connsiteY645" fmla="*/ 740892 h 6868448"/>
              <a:gd name="connsiteX646" fmla="*/ 6424559 w 6474891"/>
              <a:gd name="connsiteY646" fmla="*/ 865324 h 6868448"/>
              <a:gd name="connsiteX647" fmla="*/ 6435008 w 6474891"/>
              <a:gd name="connsiteY647" fmla="*/ 876722 h 6868448"/>
              <a:gd name="connsiteX648" fmla="*/ 6435008 w 6474891"/>
              <a:gd name="connsiteY648" fmla="*/ 922316 h 6868448"/>
              <a:gd name="connsiteX649" fmla="*/ 6429308 w 6474891"/>
              <a:gd name="connsiteY649" fmla="*/ 989756 h 6868448"/>
              <a:gd name="connsiteX650" fmla="*/ 6435008 w 6474891"/>
              <a:gd name="connsiteY650" fmla="*/ 989756 h 6868448"/>
              <a:gd name="connsiteX651" fmla="*/ 6440706 w 6474891"/>
              <a:gd name="connsiteY651" fmla="*/ 1012552 h 6868448"/>
              <a:gd name="connsiteX652" fmla="*/ 6430258 w 6474891"/>
              <a:gd name="connsiteY652" fmla="*/ 1012552 h 6868448"/>
              <a:gd name="connsiteX653" fmla="*/ 6435008 w 6474891"/>
              <a:gd name="connsiteY653" fmla="*/ 1058146 h 6868448"/>
              <a:gd name="connsiteX654" fmla="*/ 6434057 w 6474891"/>
              <a:gd name="connsiteY654" fmla="*/ 1228171 h 6868448"/>
              <a:gd name="connsiteX655" fmla="*/ 6439757 w 6474891"/>
              <a:gd name="connsiteY655" fmla="*/ 1205374 h 6868448"/>
              <a:gd name="connsiteX656" fmla="*/ 6466353 w 6474891"/>
              <a:gd name="connsiteY656" fmla="*/ 1285163 h 6868448"/>
              <a:gd name="connsiteX657" fmla="*/ 6460653 w 6474891"/>
              <a:gd name="connsiteY657" fmla="*/ 1319358 h 6868448"/>
              <a:gd name="connsiteX658" fmla="*/ 6460653 w 6474891"/>
              <a:gd name="connsiteY658" fmla="*/ 1353553 h 6868448"/>
              <a:gd name="connsiteX659" fmla="*/ 6459704 w 6474891"/>
              <a:gd name="connsiteY659" fmla="*/ 1477985 h 6868448"/>
              <a:gd name="connsiteX660" fmla="*/ 6459704 w 6474891"/>
              <a:gd name="connsiteY660" fmla="*/ 1512180 h 6868448"/>
              <a:gd name="connsiteX661" fmla="*/ 6465403 w 6474891"/>
              <a:gd name="connsiteY661" fmla="*/ 1534976 h 6868448"/>
              <a:gd name="connsiteX662" fmla="*/ 6470152 w 6474891"/>
              <a:gd name="connsiteY662" fmla="*/ 1580570 h 6868448"/>
              <a:gd name="connsiteX663" fmla="*/ 6464453 w 6474891"/>
              <a:gd name="connsiteY663" fmla="*/ 1591968 h 6868448"/>
              <a:gd name="connsiteX664" fmla="*/ 6469202 w 6474891"/>
              <a:gd name="connsiteY664" fmla="*/ 1637561 h 6868448"/>
              <a:gd name="connsiteX665" fmla="*/ 6469202 w 6474891"/>
              <a:gd name="connsiteY665" fmla="*/ 1671756 h 6868448"/>
              <a:gd name="connsiteX666" fmla="*/ 6468253 w 6474891"/>
              <a:gd name="connsiteY666" fmla="*/ 1932018 h 6868448"/>
              <a:gd name="connsiteX667" fmla="*/ 6473002 w 6474891"/>
              <a:gd name="connsiteY667" fmla="*/ 1966213 h 6868448"/>
              <a:gd name="connsiteX668" fmla="*/ 6472052 w 6474891"/>
              <a:gd name="connsiteY668" fmla="*/ 2260670 h 6868448"/>
              <a:gd name="connsiteX669" fmla="*/ 6471102 w 6474891"/>
              <a:gd name="connsiteY669" fmla="*/ 2543729 h 6868448"/>
              <a:gd name="connsiteX670" fmla="*/ 6465403 w 6474891"/>
              <a:gd name="connsiteY670" fmla="*/ 2577924 h 6868448"/>
              <a:gd name="connsiteX671" fmla="*/ 6470152 w 6474891"/>
              <a:gd name="connsiteY671" fmla="*/ 2623518 h 6868448"/>
              <a:gd name="connsiteX672" fmla="*/ 6469202 w 6474891"/>
              <a:gd name="connsiteY672" fmla="*/ 2895178 h 6868448"/>
              <a:gd name="connsiteX673" fmla="*/ 6469202 w 6474891"/>
              <a:gd name="connsiteY673" fmla="*/ 2917975 h 6868448"/>
              <a:gd name="connsiteX674" fmla="*/ 6469202 w 6474891"/>
              <a:gd name="connsiteY674" fmla="*/ 2940771 h 6868448"/>
              <a:gd name="connsiteX675" fmla="*/ 6463503 w 6474891"/>
              <a:gd name="connsiteY675" fmla="*/ 3008212 h 6868448"/>
              <a:gd name="connsiteX676" fmla="*/ 6463503 w 6474891"/>
              <a:gd name="connsiteY676" fmla="*/ 3075652 h 6868448"/>
              <a:gd name="connsiteX677" fmla="*/ 6462553 w 6474891"/>
              <a:gd name="connsiteY677" fmla="*/ 3245677 h 6868448"/>
              <a:gd name="connsiteX678" fmla="*/ 6456854 w 6474891"/>
              <a:gd name="connsiteY678" fmla="*/ 3279872 h 6868448"/>
              <a:gd name="connsiteX679" fmla="*/ 6451155 w 6474891"/>
              <a:gd name="connsiteY679" fmla="*/ 3325465 h 6868448"/>
              <a:gd name="connsiteX680" fmla="*/ 6461603 w 6474891"/>
              <a:gd name="connsiteY680" fmla="*/ 3382457 h 6868448"/>
              <a:gd name="connsiteX681" fmla="*/ 6455904 w 6474891"/>
              <a:gd name="connsiteY681" fmla="*/ 3393855 h 6868448"/>
              <a:gd name="connsiteX682" fmla="*/ 6454954 w 6474891"/>
              <a:gd name="connsiteY682" fmla="*/ 3665516 h 6868448"/>
              <a:gd name="connsiteX683" fmla="*/ 6454954 w 6474891"/>
              <a:gd name="connsiteY683" fmla="*/ 3711109 h 6868448"/>
              <a:gd name="connsiteX684" fmla="*/ 6443556 w 6474891"/>
              <a:gd name="connsiteY684" fmla="*/ 3835541 h 6868448"/>
              <a:gd name="connsiteX685" fmla="*/ 6448305 w 6474891"/>
              <a:gd name="connsiteY685" fmla="*/ 3903931 h 6868448"/>
              <a:gd name="connsiteX686" fmla="*/ 6442606 w 6474891"/>
              <a:gd name="connsiteY686" fmla="*/ 3915329 h 6868448"/>
              <a:gd name="connsiteX687" fmla="*/ 6448305 w 6474891"/>
              <a:gd name="connsiteY687" fmla="*/ 3938126 h 6868448"/>
              <a:gd name="connsiteX688" fmla="*/ 6442606 w 6474891"/>
              <a:gd name="connsiteY688" fmla="*/ 3995118 h 6868448"/>
              <a:gd name="connsiteX689" fmla="*/ 6436907 w 6474891"/>
              <a:gd name="connsiteY689" fmla="*/ 4130948 h 6868448"/>
              <a:gd name="connsiteX690" fmla="*/ 6431208 w 6474891"/>
              <a:gd name="connsiteY690" fmla="*/ 4165143 h 6868448"/>
              <a:gd name="connsiteX691" fmla="*/ 6431208 w 6474891"/>
              <a:gd name="connsiteY691" fmla="*/ 4243981 h 6868448"/>
              <a:gd name="connsiteX692" fmla="*/ 6425509 w 6474891"/>
              <a:gd name="connsiteY692" fmla="*/ 4278176 h 6868448"/>
              <a:gd name="connsiteX693" fmla="*/ 6430258 w 6474891"/>
              <a:gd name="connsiteY693" fmla="*/ 4335168 h 6868448"/>
              <a:gd name="connsiteX694" fmla="*/ 6424559 w 6474891"/>
              <a:gd name="connsiteY694" fmla="*/ 4346567 h 6868448"/>
              <a:gd name="connsiteX695" fmla="*/ 6424559 w 6474891"/>
              <a:gd name="connsiteY695" fmla="*/ 4369363 h 6868448"/>
              <a:gd name="connsiteX696" fmla="*/ 6418860 w 6474891"/>
              <a:gd name="connsiteY696" fmla="*/ 4436803 h 6868448"/>
              <a:gd name="connsiteX697" fmla="*/ 6418860 w 6474891"/>
              <a:gd name="connsiteY697" fmla="*/ 4515642 h 6868448"/>
              <a:gd name="connsiteX698" fmla="*/ 6407461 w 6474891"/>
              <a:gd name="connsiteY698" fmla="*/ 4583082 h 6868448"/>
              <a:gd name="connsiteX699" fmla="*/ 6412211 w 6474891"/>
              <a:gd name="connsiteY699" fmla="*/ 4617277 h 6868448"/>
              <a:gd name="connsiteX700" fmla="*/ 6406512 w 6474891"/>
              <a:gd name="connsiteY700" fmla="*/ 4651472 h 6868448"/>
              <a:gd name="connsiteX701" fmla="*/ 6406512 w 6474891"/>
              <a:gd name="connsiteY701" fmla="*/ 4708464 h 6868448"/>
              <a:gd name="connsiteX702" fmla="*/ 6395113 w 6474891"/>
              <a:gd name="connsiteY702" fmla="*/ 4867091 h 6868448"/>
              <a:gd name="connsiteX703" fmla="*/ 6378016 w 6474891"/>
              <a:gd name="connsiteY703" fmla="*/ 5150149 h 6868448"/>
              <a:gd name="connsiteX704" fmla="*/ 6351419 w 6474891"/>
              <a:gd name="connsiteY704" fmla="*/ 5172946 h 6868448"/>
              <a:gd name="connsiteX705" fmla="*/ 6351419 w 6474891"/>
              <a:gd name="connsiteY705" fmla="*/ 5138751 h 6868448"/>
              <a:gd name="connsiteX706" fmla="*/ 6340971 w 6474891"/>
              <a:gd name="connsiteY706" fmla="*/ 5184344 h 6868448"/>
              <a:gd name="connsiteX707" fmla="*/ 6336222 w 6474891"/>
              <a:gd name="connsiteY707" fmla="*/ 5138751 h 6868448"/>
              <a:gd name="connsiteX708" fmla="*/ 6325774 w 6474891"/>
              <a:gd name="connsiteY708" fmla="*/ 5115954 h 6868448"/>
              <a:gd name="connsiteX709" fmla="*/ 6320074 w 6474891"/>
              <a:gd name="connsiteY709" fmla="*/ 5093158 h 6868448"/>
              <a:gd name="connsiteX710" fmla="*/ 6314375 w 6474891"/>
              <a:gd name="connsiteY710" fmla="*/ 5160598 h 6868448"/>
              <a:gd name="connsiteX711" fmla="*/ 6303926 w 6474891"/>
              <a:gd name="connsiteY711" fmla="*/ 5092207 h 6868448"/>
              <a:gd name="connsiteX712" fmla="*/ 6293478 w 6474891"/>
              <a:gd name="connsiteY712" fmla="*/ 5126403 h 6868448"/>
              <a:gd name="connsiteX713" fmla="*/ 6283030 w 6474891"/>
              <a:gd name="connsiteY713" fmla="*/ 5103606 h 6868448"/>
              <a:gd name="connsiteX714" fmla="*/ 6272581 w 6474891"/>
              <a:gd name="connsiteY714" fmla="*/ 5080810 h 6868448"/>
              <a:gd name="connsiteX715" fmla="*/ 6256433 w 6474891"/>
              <a:gd name="connsiteY715" fmla="*/ 5092207 h 6868448"/>
              <a:gd name="connsiteX716" fmla="*/ 6229837 w 6474891"/>
              <a:gd name="connsiteY716" fmla="*/ 5126403 h 6868448"/>
              <a:gd name="connsiteX717" fmla="*/ 6229837 w 6474891"/>
              <a:gd name="connsiteY717" fmla="*/ 5080810 h 6868448"/>
              <a:gd name="connsiteX718" fmla="*/ 6203242 w 6474891"/>
              <a:gd name="connsiteY718" fmla="*/ 5092207 h 6868448"/>
              <a:gd name="connsiteX719" fmla="*/ 6213690 w 6474891"/>
              <a:gd name="connsiteY719" fmla="*/ 5171046 h 6868448"/>
              <a:gd name="connsiteX720" fmla="*/ 6262133 w 6474891"/>
              <a:gd name="connsiteY720" fmla="*/ 5205241 h 6868448"/>
              <a:gd name="connsiteX721" fmla="*/ 6267832 w 6474891"/>
              <a:gd name="connsiteY721" fmla="*/ 5171046 h 6868448"/>
              <a:gd name="connsiteX722" fmla="*/ 6294428 w 6474891"/>
              <a:gd name="connsiteY722" fmla="*/ 5148250 h 6868448"/>
              <a:gd name="connsiteX723" fmla="*/ 6294428 w 6474891"/>
              <a:gd name="connsiteY723" fmla="*/ 5227088 h 6868448"/>
              <a:gd name="connsiteX724" fmla="*/ 6300127 w 6474891"/>
              <a:gd name="connsiteY724" fmla="*/ 5192893 h 6868448"/>
              <a:gd name="connsiteX725" fmla="*/ 6321974 w 6474891"/>
              <a:gd name="connsiteY725" fmla="*/ 5181495 h 6868448"/>
              <a:gd name="connsiteX726" fmla="*/ 6338122 w 6474891"/>
              <a:gd name="connsiteY726" fmla="*/ 5204292 h 6868448"/>
              <a:gd name="connsiteX727" fmla="*/ 6370417 w 6474891"/>
              <a:gd name="connsiteY727" fmla="*/ 5181495 h 6868448"/>
              <a:gd name="connsiteX728" fmla="*/ 6348570 w 6474891"/>
              <a:gd name="connsiteY728" fmla="*/ 5294528 h 6868448"/>
              <a:gd name="connsiteX729" fmla="*/ 6359019 w 6474891"/>
              <a:gd name="connsiteY729" fmla="*/ 5407562 h 6868448"/>
              <a:gd name="connsiteX730" fmla="*/ 6326723 w 6474891"/>
              <a:gd name="connsiteY730" fmla="*/ 5396163 h 6868448"/>
              <a:gd name="connsiteX731" fmla="*/ 6337172 w 6474891"/>
              <a:gd name="connsiteY731" fmla="*/ 5350570 h 6868448"/>
              <a:gd name="connsiteX732" fmla="*/ 6332422 w 6474891"/>
              <a:gd name="connsiteY732" fmla="*/ 5260333 h 6868448"/>
              <a:gd name="connsiteX733" fmla="*/ 6321974 w 6474891"/>
              <a:gd name="connsiteY733" fmla="*/ 5283130 h 6868448"/>
              <a:gd name="connsiteX734" fmla="*/ 6311526 w 6474891"/>
              <a:gd name="connsiteY734" fmla="*/ 5248935 h 6868448"/>
              <a:gd name="connsiteX735" fmla="*/ 6273531 w 6474891"/>
              <a:gd name="connsiteY735" fmla="*/ 5271732 h 6868448"/>
              <a:gd name="connsiteX736" fmla="*/ 6268782 w 6474891"/>
              <a:gd name="connsiteY736" fmla="*/ 5214740 h 6868448"/>
              <a:gd name="connsiteX737" fmla="*/ 6252634 w 6474891"/>
              <a:gd name="connsiteY737" fmla="*/ 5282180 h 6868448"/>
              <a:gd name="connsiteX738" fmla="*/ 6247885 w 6474891"/>
              <a:gd name="connsiteY738" fmla="*/ 5203341 h 6868448"/>
              <a:gd name="connsiteX739" fmla="*/ 6231737 w 6474891"/>
              <a:gd name="connsiteY739" fmla="*/ 5226138 h 6868448"/>
              <a:gd name="connsiteX740" fmla="*/ 6220339 w 6474891"/>
              <a:gd name="connsiteY740" fmla="*/ 5293578 h 6868448"/>
              <a:gd name="connsiteX741" fmla="*/ 6220339 w 6474891"/>
              <a:gd name="connsiteY741" fmla="*/ 5327774 h 6868448"/>
              <a:gd name="connsiteX742" fmla="*/ 6229482 w 6474891"/>
              <a:gd name="connsiteY742" fmla="*/ 5348077 h 6868448"/>
              <a:gd name="connsiteX743" fmla="*/ 6235537 w 6474891"/>
              <a:gd name="connsiteY743" fmla="*/ 5354971 h 6868448"/>
              <a:gd name="connsiteX744" fmla="*/ 6235537 w 6474891"/>
              <a:gd name="connsiteY744" fmla="*/ 5374031 h 6868448"/>
              <a:gd name="connsiteX745" fmla="*/ 6228458 w 6474891"/>
              <a:gd name="connsiteY745" fmla="*/ 5378977 h 6868448"/>
              <a:gd name="connsiteX746" fmla="*/ 6209891 w 6474891"/>
              <a:gd name="connsiteY746" fmla="*/ 5407562 h 6868448"/>
              <a:gd name="connsiteX747" fmla="*/ 6214640 w 6474891"/>
              <a:gd name="connsiteY747" fmla="*/ 5475952 h 6868448"/>
              <a:gd name="connsiteX748" fmla="*/ 6208940 w 6474891"/>
              <a:gd name="connsiteY748" fmla="*/ 5521545 h 6868448"/>
              <a:gd name="connsiteX749" fmla="*/ 6203242 w 6474891"/>
              <a:gd name="connsiteY749" fmla="*/ 5578537 h 6868448"/>
              <a:gd name="connsiteX750" fmla="*/ 6229837 w 6474891"/>
              <a:gd name="connsiteY750" fmla="*/ 5601334 h 6868448"/>
              <a:gd name="connsiteX751" fmla="*/ 6218439 w 6474891"/>
              <a:gd name="connsiteY751" fmla="*/ 5702969 h 6868448"/>
              <a:gd name="connsiteX752" fmla="*/ 6197543 w 6474891"/>
              <a:gd name="connsiteY752" fmla="*/ 5691570 h 6868448"/>
              <a:gd name="connsiteX753" fmla="*/ 6197543 w 6474891"/>
              <a:gd name="connsiteY753" fmla="*/ 5737164 h 6868448"/>
              <a:gd name="connsiteX754" fmla="*/ 6218439 w 6474891"/>
              <a:gd name="connsiteY754" fmla="*/ 5748562 h 6868448"/>
              <a:gd name="connsiteX755" fmla="*/ 6218439 w 6474891"/>
              <a:gd name="connsiteY755" fmla="*/ 5794155 h 6868448"/>
              <a:gd name="connsiteX756" fmla="*/ 6175696 w 6474891"/>
              <a:gd name="connsiteY756" fmla="*/ 5805554 h 6868448"/>
              <a:gd name="connsiteX757" fmla="*/ 6196592 w 6474891"/>
              <a:gd name="connsiteY757" fmla="*/ 5851147 h 6868448"/>
              <a:gd name="connsiteX758" fmla="*/ 6174746 w 6474891"/>
              <a:gd name="connsiteY758" fmla="*/ 5964181 h 6868448"/>
              <a:gd name="connsiteX759" fmla="*/ 6159548 w 6474891"/>
              <a:gd name="connsiteY759" fmla="*/ 5873944 h 6868448"/>
              <a:gd name="connsiteX760" fmla="*/ 6165247 w 6474891"/>
              <a:gd name="connsiteY760" fmla="*/ 5828350 h 6868448"/>
              <a:gd name="connsiteX761" fmla="*/ 6165247 w 6474891"/>
              <a:gd name="connsiteY761" fmla="*/ 5794155 h 6868448"/>
              <a:gd name="connsiteX762" fmla="*/ 6170946 w 6474891"/>
              <a:gd name="connsiteY762" fmla="*/ 5759961 h 6868448"/>
              <a:gd name="connsiteX763" fmla="*/ 6176646 w 6474891"/>
              <a:gd name="connsiteY763" fmla="*/ 5702969 h 6868448"/>
              <a:gd name="connsiteX764" fmla="*/ 6166197 w 6474891"/>
              <a:gd name="connsiteY764" fmla="*/ 5635528 h 6868448"/>
              <a:gd name="connsiteX765" fmla="*/ 6171897 w 6474891"/>
              <a:gd name="connsiteY765" fmla="*/ 5556690 h 6868448"/>
              <a:gd name="connsiteX766" fmla="*/ 6166197 w 6474891"/>
              <a:gd name="connsiteY766" fmla="*/ 5579487 h 6868448"/>
              <a:gd name="connsiteX767" fmla="*/ 6161448 w 6474891"/>
              <a:gd name="connsiteY767" fmla="*/ 5512046 h 6868448"/>
              <a:gd name="connsiteX768" fmla="*/ 6151000 w 6474891"/>
              <a:gd name="connsiteY768" fmla="*/ 5557640 h 6868448"/>
              <a:gd name="connsiteX769" fmla="*/ 6130102 w 6474891"/>
              <a:gd name="connsiteY769" fmla="*/ 5557640 h 6868448"/>
              <a:gd name="connsiteX770" fmla="*/ 6113005 w 6474891"/>
              <a:gd name="connsiteY770" fmla="*/ 5704868 h 6868448"/>
              <a:gd name="connsiteX771" fmla="*/ 6101607 w 6474891"/>
              <a:gd name="connsiteY771" fmla="*/ 5953732 h 6868448"/>
              <a:gd name="connsiteX772" fmla="*/ 6101607 w 6474891"/>
              <a:gd name="connsiteY772" fmla="*/ 5908139 h 6868448"/>
              <a:gd name="connsiteX773" fmla="*/ 6079760 w 6474891"/>
              <a:gd name="connsiteY773" fmla="*/ 5964181 h 6868448"/>
              <a:gd name="connsiteX774" fmla="*/ 6085459 w 6474891"/>
              <a:gd name="connsiteY774" fmla="*/ 5851147 h 6868448"/>
              <a:gd name="connsiteX775" fmla="*/ 6069312 w 6474891"/>
              <a:gd name="connsiteY775" fmla="*/ 5908139 h 6868448"/>
              <a:gd name="connsiteX776" fmla="*/ 6069312 w 6474891"/>
              <a:gd name="connsiteY776" fmla="*/ 5953732 h 6868448"/>
              <a:gd name="connsiteX777" fmla="*/ 6058863 w 6474891"/>
              <a:gd name="connsiteY777" fmla="*/ 5953732 h 6868448"/>
              <a:gd name="connsiteX778" fmla="*/ 6069312 w 6474891"/>
              <a:gd name="connsiteY778" fmla="*/ 6010724 h 6868448"/>
              <a:gd name="connsiteX779" fmla="*/ 6047465 w 6474891"/>
              <a:gd name="connsiteY779" fmla="*/ 6010724 h 6868448"/>
              <a:gd name="connsiteX780" fmla="*/ 6047465 w 6474891"/>
              <a:gd name="connsiteY780" fmla="*/ 6079114 h 6868448"/>
              <a:gd name="connsiteX781" fmla="*/ 6053164 w 6474891"/>
              <a:gd name="connsiteY781" fmla="*/ 6056317 h 6868448"/>
              <a:gd name="connsiteX782" fmla="*/ 6063612 w 6474891"/>
              <a:gd name="connsiteY782" fmla="*/ 6090512 h 6868448"/>
              <a:gd name="connsiteX783" fmla="*/ 6079760 w 6474891"/>
              <a:gd name="connsiteY783" fmla="*/ 6033521 h 6868448"/>
              <a:gd name="connsiteX784" fmla="*/ 6095908 w 6474891"/>
              <a:gd name="connsiteY784" fmla="*/ 6056317 h 6868448"/>
              <a:gd name="connsiteX785" fmla="*/ 6085459 w 6474891"/>
              <a:gd name="connsiteY785" fmla="*/ 6056317 h 6868448"/>
              <a:gd name="connsiteX786" fmla="*/ 6074061 w 6474891"/>
              <a:gd name="connsiteY786" fmla="*/ 6123757 h 6868448"/>
              <a:gd name="connsiteX787" fmla="*/ 6090208 w 6474891"/>
              <a:gd name="connsiteY787" fmla="*/ 6146554 h 6868448"/>
              <a:gd name="connsiteX788" fmla="*/ 6068362 w 6474891"/>
              <a:gd name="connsiteY788" fmla="*/ 6180749 h 6868448"/>
              <a:gd name="connsiteX789" fmla="*/ 6084509 w 6474891"/>
              <a:gd name="connsiteY789" fmla="*/ 6192148 h 6868448"/>
              <a:gd name="connsiteX790" fmla="*/ 6068362 w 6474891"/>
              <a:gd name="connsiteY790" fmla="*/ 6259588 h 6868448"/>
              <a:gd name="connsiteX791" fmla="*/ 6063612 w 6474891"/>
              <a:gd name="connsiteY791" fmla="*/ 6112359 h 6868448"/>
              <a:gd name="connsiteX792" fmla="*/ 6036067 w 6474891"/>
              <a:gd name="connsiteY792" fmla="*/ 6304231 h 6868448"/>
              <a:gd name="connsiteX793" fmla="*/ 6057913 w 6474891"/>
              <a:gd name="connsiteY793" fmla="*/ 6292833 h 6868448"/>
              <a:gd name="connsiteX794" fmla="*/ 6063612 w 6474891"/>
              <a:gd name="connsiteY794" fmla="*/ 6304231 h 6868448"/>
              <a:gd name="connsiteX795" fmla="*/ 6079760 w 6474891"/>
              <a:gd name="connsiteY795" fmla="*/ 6292833 h 6868448"/>
              <a:gd name="connsiteX796" fmla="*/ 6031317 w 6474891"/>
              <a:gd name="connsiteY796" fmla="*/ 6327027 h 6868448"/>
              <a:gd name="connsiteX797" fmla="*/ 6020869 w 6474891"/>
              <a:gd name="connsiteY797" fmla="*/ 6338426 h 6868448"/>
              <a:gd name="connsiteX798" fmla="*/ 6022531 w 6474891"/>
              <a:gd name="connsiteY798" fmla="*/ 6413465 h 6868448"/>
              <a:gd name="connsiteX799" fmla="*/ 6030784 w 6474891"/>
              <a:gd name="connsiteY799" fmla="*/ 6470567 h 6868448"/>
              <a:gd name="connsiteX800" fmla="*/ 6030472 w 6474891"/>
              <a:gd name="connsiteY800" fmla="*/ 6473683 h 6868448"/>
              <a:gd name="connsiteX801" fmla="*/ 6029284 w 6474891"/>
              <a:gd name="connsiteY801" fmla="*/ 6472876 h 6868448"/>
              <a:gd name="connsiteX802" fmla="*/ 6020869 w 6474891"/>
              <a:gd name="connsiteY802" fmla="*/ 6462858 h 6868448"/>
              <a:gd name="connsiteX803" fmla="*/ 6015170 w 6474891"/>
              <a:gd name="connsiteY803" fmla="*/ 6486605 h 6868448"/>
              <a:gd name="connsiteX804" fmla="*/ 6019919 w 6474891"/>
              <a:gd name="connsiteY804" fmla="*/ 6507501 h 6868448"/>
              <a:gd name="connsiteX805" fmla="*/ 6014219 w 6474891"/>
              <a:gd name="connsiteY805" fmla="*/ 6518900 h 6868448"/>
              <a:gd name="connsiteX806" fmla="*/ 6002822 w 6474891"/>
              <a:gd name="connsiteY806" fmla="*/ 6654730 h 6868448"/>
              <a:gd name="connsiteX807" fmla="*/ 5993323 w 6474891"/>
              <a:gd name="connsiteY807" fmla="*/ 6867499 h 6868448"/>
              <a:gd name="connsiteX808" fmla="*/ 5857493 w 6474891"/>
              <a:gd name="connsiteY808" fmla="*/ 6867499 h 6868448"/>
              <a:gd name="connsiteX809" fmla="*/ 5857493 w 6474891"/>
              <a:gd name="connsiteY809" fmla="*/ 6862750 h 6868448"/>
              <a:gd name="connsiteX810" fmla="*/ 5850844 w 6474891"/>
              <a:gd name="connsiteY810" fmla="*/ 6862750 h 6868448"/>
              <a:gd name="connsiteX811" fmla="*/ 5850844 w 6474891"/>
              <a:gd name="connsiteY811" fmla="*/ 6867499 h 6868448"/>
              <a:gd name="connsiteX812" fmla="*/ 5489897 w 6474891"/>
              <a:gd name="connsiteY812" fmla="*/ 6867499 h 6868448"/>
              <a:gd name="connsiteX813" fmla="*/ 5488947 w 6474891"/>
              <a:gd name="connsiteY813" fmla="*/ 6862750 h 6868448"/>
              <a:gd name="connsiteX814" fmla="*/ 5483248 w 6474891"/>
              <a:gd name="connsiteY814" fmla="*/ 6862750 h 6868448"/>
              <a:gd name="connsiteX815" fmla="*/ 5483248 w 6474891"/>
              <a:gd name="connsiteY815" fmla="*/ 6867499 h 6868448"/>
              <a:gd name="connsiteX816" fmla="*/ 5225836 w 6474891"/>
              <a:gd name="connsiteY816" fmla="*/ 6867499 h 6868448"/>
              <a:gd name="connsiteX817" fmla="*/ 5225836 w 6474891"/>
              <a:gd name="connsiteY817" fmla="*/ 6862750 h 6868448"/>
              <a:gd name="connsiteX818" fmla="*/ 5217288 w 6474891"/>
              <a:gd name="connsiteY818" fmla="*/ 6862750 h 6868448"/>
              <a:gd name="connsiteX819" fmla="*/ 5217288 w 6474891"/>
              <a:gd name="connsiteY819" fmla="*/ 6867499 h 6868448"/>
              <a:gd name="connsiteX820" fmla="*/ 5218237 w 6474891"/>
              <a:gd name="connsiteY820" fmla="*/ 6868448 h 6868448"/>
              <a:gd name="connsiteX821" fmla="*/ 5118502 w 6474891"/>
              <a:gd name="connsiteY821" fmla="*/ 6868448 h 6868448"/>
              <a:gd name="connsiteX822" fmla="*/ 3104799 w 6474891"/>
              <a:gd name="connsiteY822" fmla="*/ 6863699 h 6868448"/>
              <a:gd name="connsiteX823" fmla="*/ 0 w 6474891"/>
              <a:gd name="connsiteY823" fmla="*/ 6863699 h 686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Lst>
            <a:rect l="l" t="t" r="r" b="b"/>
            <a:pathLst>
              <a:path w="6474891" h="6868448">
                <a:moveTo>
                  <a:pt x="5117552" y="6853251"/>
                </a:moveTo>
                <a:cubicBezTo>
                  <a:pt x="5116602" y="6854201"/>
                  <a:pt x="5116602" y="6855151"/>
                  <a:pt x="5117552" y="6857051"/>
                </a:cubicBezTo>
                <a:cubicBezTo>
                  <a:pt x="5119452" y="6856100"/>
                  <a:pt x="5120402" y="6854201"/>
                  <a:pt x="5121351" y="6853251"/>
                </a:cubicBezTo>
                <a:close/>
                <a:moveTo>
                  <a:pt x="6122504" y="6804808"/>
                </a:moveTo>
                <a:cubicBezTo>
                  <a:pt x="6138651" y="6815256"/>
                  <a:pt x="6138651" y="6815256"/>
                  <a:pt x="6153849" y="6804808"/>
                </a:cubicBezTo>
                <a:cubicBezTo>
                  <a:pt x="6155749" y="6831404"/>
                  <a:pt x="6152899" y="6847552"/>
                  <a:pt x="6143401" y="6850401"/>
                </a:cubicBezTo>
                <a:cubicBezTo>
                  <a:pt x="6132002" y="6858950"/>
                  <a:pt x="6136752" y="6835203"/>
                  <a:pt x="6132952" y="6827605"/>
                </a:cubicBezTo>
                <a:cubicBezTo>
                  <a:pt x="6129153" y="6820006"/>
                  <a:pt x="6118704" y="6827605"/>
                  <a:pt x="6122504" y="6804808"/>
                </a:cubicBezTo>
                <a:close/>
                <a:moveTo>
                  <a:pt x="6063612" y="6803858"/>
                </a:moveTo>
                <a:cubicBezTo>
                  <a:pt x="6076911" y="6802908"/>
                  <a:pt x="6089259" y="6802908"/>
                  <a:pt x="6095908" y="6815256"/>
                </a:cubicBezTo>
                <a:cubicBezTo>
                  <a:pt x="6093058" y="6826655"/>
                  <a:pt x="6092108" y="6842803"/>
                  <a:pt x="6091158" y="6858000"/>
                </a:cubicBezTo>
                <a:lnTo>
                  <a:pt x="6056014" y="6858000"/>
                </a:lnTo>
                <a:cubicBezTo>
                  <a:pt x="6058863" y="6837103"/>
                  <a:pt x="6062663" y="6817156"/>
                  <a:pt x="6063612" y="6803858"/>
                </a:cubicBezTo>
                <a:close/>
                <a:moveTo>
                  <a:pt x="6019014" y="6794286"/>
                </a:moveTo>
                <a:cubicBezTo>
                  <a:pt x="6020869" y="6795250"/>
                  <a:pt x="6023006" y="6798159"/>
                  <a:pt x="6025618" y="6803858"/>
                </a:cubicBezTo>
                <a:cubicBezTo>
                  <a:pt x="6027518" y="6839003"/>
                  <a:pt x="6008521" y="6827605"/>
                  <a:pt x="5999022" y="6838053"/>
                </a:cubicBezTo>
                <a:cubicBezTo>
                  <a:pt x="5998072" y="6822855"/>
                  <a:pt x="6001871" y="6820955"/>
                  <a:pt x="6004721" y="6815256"/>
                </a:cubicBezTo>
                <a:cubicBezTo>
                  <a:pt x="6010420" y="6805995"/>
                  <a:pt x="6013448" y="6791392"/>
                  <a:pt x="6019014" y="6794286"/>
                </a:cubicBezTo>
                <a:close/>
                <a:moveTo>
                  <a:pt x="6032267" y="6747817"/>
                </a:moveTo>
                <a:cubicBezTo>
                  <a:pt x="6035117" y="6747817"/>
                  <a:pt x="6038916" y="6747817"/>
                  <a:pt x="6042715" y="6747817"/>
                </a:cubicBezTo>
                <a:cubicBezTo>
                  <a:pt x="6042715" y="6759214"/>
                  <a:pt x="6042715" y="6770613"/>
                  <a:pt x="6042715" y="6782011"/>
                </a:cubicBezTo>
                <a:cubicBezTo>
                  <a:pt x="6039866" y="6782011"/>
                  <a:pt x="6036067" y="6782011"/>
                  <a:pt x="6032267" y="6782011"/>
                </a:cubicBezTo>
                <a:cubicBezTo>
                  <a:pt x="6032267" y="6770613"/>
                  <a:pt x="6032267" y="6759214"/>
                  <a:pt x="6032267" y="6747817"/>
                </a:cubicBezTo>
                <a:close/>
                <a:moveTo>
                  <a:pt x="6158361" y="6668488"/>
                </a:moveTo>
                <a:cubicBezTo>
                  <a:pt x="6163348" y="6675034"/>
                  <a:pt x="6159786" y="6699611"/>
                  <a:pt x="6160498" y="6714571"/>
                </a:cubicBezTo>
                <a:cubicBezTo>
                  <a:pt x="6172846" y="6714571"/>
                  <a:pt x="6158598" y="6744967"/>
                  <a:pt x="6150050" y="6736418"/>
                </a:cubicBezTo>
                <a:cubicBezTo>
                  <a:pt x="6150050" y="6714571"/>
                  <a:pt x="6150050" y="6691774"/>
                  <a:pt x="6150050" y="6668978"/>
                </a:cubicBezTo>
                <a:cubicBezTo>
                  <a:pt x="6154087" y="6666129"/>
                  <a:pt x="6156699" y="6666307"/>
                  <a:pt x="6158361" y="6668488"/>
                </a:cubicBezTo>
                <a:close/>
                <a:moveTo>
                  <a:pt x="6016119" y="6645231"/>
                </a:moveTo>
                <a:cubicBezTo>
                  <a:pt x="6021819" y="6652830"/>
                  <a:pt x="6021819" y="6671828"/>
                  <a:pt x="6032267" y="6668028"/>
                </a:cubicBezTo>
                <a:cubicBezTo>
                  <a:pt x="6031317" y="6681326"/>
                  <a:pt x="6022768" y="6677527"/>
                  <a:pt x="6016119" y="6679426"/>
                </a:cubicBezTo>
                <a:cubicBezTo>
                  <a:pt x="6013270" y="6704123"/>
                  <a:pt x="6023718" y="6701273"/>
                  <a:pt x="6031317" y="6702223"/>
                </a:cubicBezTo>
                <a:cubicBezTo>
                  <a:pt x="6026568" y="6731669"/>
                  <a:pt x="6022768" y="6765864"/>
                  <a:pt x="6004721" y="6769663"/>
                </a:cubicBezTo>
                <a:cubicBezTo>
                  <a:pt x="6000922" y="6712672"/>
                  <a:pt x="6012320" y="6687025"/>
                  <a:pt x="6016119" y="6645231"/>
                </a:cubicBezTo>
                <a:close/>
                <a:moveTo>
                  <a:pt x="6155749" y="6589190"/>
                </a:moveTo>
                <a:cubicBezTo>
                  <a:pt x="6169997" y="6586340"/>
                  <a:pt x="6173796" y="6605337"/>
                  <a:pt x="6171897" y="6634783"/>
                </a:cubicBezTo>
                <a:cubicBezTo>
                  <a:pt x="6165247" y="6632883"/>
                  <a:pt x="6162398" y="6637632"/>
                  <a:pt x="6160498" y="6646181"/>
                </a:cubicBezTo>
                <a:cubicBezTo>
                  <a:pt x="6149100" y="6648081"/>
                  <a:pt x="6158598" y="6605337"/>
                  <a:pt x="6155749" y="6589190"/>
                </a:cubicBezTo>
                <a:close/>
                <a:moveTo>
                  <a:pt x="6241236" y="6555944"/>
                </a:moveTo>
                <a:cubicBezTo>
                  <a:pt x="6264033" y="6558794"/>
                  <a:pt x="6246935" y="6645231"/>
                  <a:pt x="6229837" y="6634783"/>
                </a:cubicBezTo>
                <a:cubicBezTo>
                  <a:pt x="6229837" y="6599638"/>
                  <a:pt x="6232687" y="6572092"/>
                  <a:pt x="6241236" y="6555944"/>
                </a:cubicBezTo>
                <a:close/>
                <a:moveTo>
                  <a:pt x="6219389" y="6555944"/>
                </a:moveTo>
                <a:cubicBezTo>
                  <a:pt x="6214640" y="6583490"/>
                  <a:pt x="6220339" y="6633833"/>
                  <a:pt x="6203242" y="6634783"/>
                </a:cubicBezTo>
                <a:cubicBezTo>
                  <a:pt x="6207991" y="6607237"/>
                  <a:pt x="6202292" y="6556894"/>
                  <a:pt x="6219389" y="6555944"/>
                </a:cubicBezTo>
                <a:close/>
                <a:moveTo>
                  <a:pt x="6166197" y="6533148"/>
                </a:moveTo>
                <a:cubicBezTo>
                  <a:pt x="6177595" y="6535047"/>
                  <a:pt x="6177595" y="6561643"/>
                  <a:pt x="6176646" y="6590139"/>
                </a:cubicBezTo>
                <a:cubicBezTo>
                  <a:pt x="6158598" y="6585390"/>
                  <a:pt x="6163348" y="6559744"/>
                  <a:pt x="6166197" y="6533148"/>
                </a:cubicBezTo>
                <a:close/>
                <a:moveTo>
                  <a:pt x="6241236" y="6499902"/>
                </a:moveTo>
                <a:cubicBezTo>
                  <a:pt x="6246935" y="6499902"/>
                  <a:pt x="6251684" y="6499902"/>
                  <a:pt x="6257384" y="6499902"/>
                </a:cubicBezTo>
                <a:cubicBezTo>
                  <a:pt x="6264982" y="6532198"/>
                  <a:pt x="6233637" y="6532198"/>
                  <a:pt x="6241236" y="6499902"/>
                </a:cubicBezTo>
                <a:close/>
                <a:moveTo>
                  <a:pt x="6220339" y="6431512"/>
                </a:moveTo>
                <a:cubicBezTo>
                  <a:pt x="6225088" y="6433412"/>
                  <a:pt x="6226038" y="6442911"/>
                  <a:pt x="6230788" y="6442911"/>
                </a:cubicBezTo>
                <a:cubicBezTo>
                  <a:pt x="6230788" y="6450509"/>
                  <a:pt x="6230788" y="6458109"/>
                  <a:pt x="6230788" y="6465708"/>
                </a:cubicBezTo>
                <a:cubicBezTo>
                  <a:pt x="6219389" y="6470457"/>
                  <a:pt x="6220339" y="6449560"/>
                  <a:pt x="6220339" y="6431512"/>
                </a:cubicBezTo>
                <a:close/>
                <a:moveTo>
                  <a:pt x="6049364" y="6430563"/>
                </a:moveTo>
                <a:cubicBezTo>
                  <a:pt x="6069312" y="6464757"/>
                  <a:pt x="6033217" y="6468557"/>
                  <a:pt x="6049364" y="6430563"/>
                </a:cubicBezTo>
                <a:close/>
                <a:moveTo>
                  <a:pt x="6172846" y="6419164"/>
                </a:moveTo>
                <a:cubicBezTo>
                  <a:pt x="6186144" y="6421064"/>
                  <a:pt x="6185194" y="6461908"/>
                  <a:pt x="6177595" y="6476156"/>
                </a:cubicBezTo>
                <a:cubicBezTo>
                  <a:pt x="6159548" y="6465708"/>
                  <a:pt x="6174746" y="6455259"/>
                  <a:pt x="6172846" y="6419164"/>
                </a:cubicBezTo>
                <a:close/>
                <a:moveTo>
                  <a:pt x="6044615" y="6384969"/>
                </a:moveTo>
                <a:cubicBezTo>
                  <a:pt x="6034167" y="6417264"/>
                  <a:pt x="6044615" y="6491354"/>
                  <a:pt x="6033217" y="6520799"/>
                </a:cubicBezTo>
                <a:cubicBezTo>
                  <a:pt x="6030367" y="6546446"/>
                  <a:pt x="6043665" y="6536947"/>
                  <a:pt x="6043665" y="6554994"/>
                </a:cubicBezTo>
                <a:cubicBezTo>
                  <a:pt x="6046515" y="6576841"/>
                  <a:pt x="6041766" y="6591089"/>
                  <a:pt x="6037966" y="6611036"/>
                </a:cubicBezTo>
                <a:cubicBezTo>
                  <a:pt x="6035117" y="6630033"/>
                  <a:pt x="6040816" y="6649031"/>
                  <a:pt x="6027518" y="6645231"/>
                </a:cubicBezTo>
                <a:cubicBezTo>
                  <a:pt x="6024668" y="6603437"/>
                  <a:pt x="6025618" y="6590139"/>
                  <a:pt x="6017070" y="6543596"/>
                </a:cubicBezTo>
                <a:cubicBezTo>
                  <a:pt x="6021819" y="6540272"/>
                  <a:pt x="6025144" y="6522699"/>
                  <a:pt x="6027637" y="6502040"/>
                </a:cubicBezTo>
                <a:lnTo>
                  <a:pt x="6030472" y="6473683"/>
                </a:lnTo>
                <a:lnTo>
                  <a:pt x="6031317" y="6474256"/>
                </a:lnTo>
                <a:lnTo>
                  <a:pt x="6030784" y="6470567"/>
                </a:lnTo>
                <a:lnTo>
                  <a:pt x="6030828" y="6470130"/>
                </a:lnTo>
                <a:cubicBezTo>
                  <a:pt x="6031733" y="6459652"/>
                  <a:pt x="6032505" y="6449797"/>
                  <a:pt x="6033217" y="6441961"/>
                </a:cubicBezTo>
                <a:cubicBezTo>
                  <a:pt x="6036067" y="6421064"/>
                  <a:pt x="6027518" y="6375471"/>
                  <a:pt x="6044615" y="6384969"/>
                </a:cubicBezTo>
                <a:close/>
                <a:moveTo>
                  <a:pt x="6124404" y="6351724"/>
                </a:moveTo>
                <a:cubicBezTo>
                  <a:pt x="6127253" y="6351724"/>
                  <a:pt x="6131053" y="6351724"/>
                  <a:pt x="6134852" y="6351724"/>
                </a:cubicBezTo>
                <a:cubicBezTo>
                  <a:pt x="6134852" y="6359323"/>
                  <a:pt x="6134852" y="6366922"/>
                  <a:pt x="6134852" y="6374521"/>
                </a:cubicBezTo>
                <a:cubicBezTo>
                  <a:pt x="6132002" y="6374521"/>
                  <a:pt x="6128203" y="6374521"/>
                  <a:pt x="6124404" y="6374521"/>
                </a:cubicBezTo>
                <a:cubicBezTo>
                  <a:pt x="6124404" y="6366922"/>
                  <a:pt x="6124404" y="6359323"/>
                  <a:pt x="6124404" y="6351724"/>
                </a:cubicBezTo>
                <a:close/>
                <a:moveTo>
                  <a:pt x="6231022" y="6350936"/>
                </a:moveTo>
                <a:cubicBezTo>
                  <a:pt x="6232539" y="6350196"/>
                  <a:pt x="6234350" y="6350656"/>
                  <a:pt x="6236487" y="6352674"/>
                </a:cubicBezTo>
                <a:cubicBezTo>
                  <a:pt x="6237436" y="6380220"/>
                  <a:pt x="6237436" y="6406816"/>
                  <a:pt x="6230788" y="6420114"/>
                </a:cubicBezTo>
                <a:cubicBezTo>
                  <a:pt x="6224138" y="6420114"/>
                  <a:pt x="6220398" y="6356117"/>
                  <a:pt x="6231022" y="6350936"/>
                </a:cubicBezTo>
                <a:close/>
                <a:moveTo>
                  <a:pt x="6182566" y="6305269"/>
                </a:moveTo>
                <a:cubicBezTo>
                  <a:pt x="6184260" y="6303682"/>
                  <a:pt x="6186382" y="6303757"/>
                  <a:pt x="6188994" y="6306131"/>
                </a:cubicBezTo>
                <a:cubicBezTo>
                  <a:pt x="6195643" y="6334627"/>
                  <a:pt x="6173796" y="6353624"/>
                  <a:pt x="6188994" y="6363123"/>
                </a:cubicBezTo>
                <a:cubicBezTo>
                  <a:pt x="6179852" y="6408835"/>
                  <a:pt x="6170710" y="6316372"/>
                  <a:pt x="6182566" y="6305269"/>
                </a:cubicBezTo>
                <a:close/>
                <a:moveTo>
                  <a:pt x="6087359" y="6294732"/>
                </a:moveTo>
                <a:cubicBezTo>
                  <a:pt x="6091158" y="6294732"/>
                  <a:pt x="6094008" y="6294732"/>
                  <a:pt x="6097808" y="6294732"/>
                </a:cubicBezTo>
                <a:cubicBezTo>
                  <a:pt x="6097808" y="6302331"/>
                  <a:pt x="6097808" y="6309930"/>
                  <a:pt x="6097808" y="6317529"/>
                </a:cubicBezTo>
                <a:cubicBezTo>
                  <a:pt x="6094008" y="6317529"/>
                  <a:pt x="6091158" y="6317529"/>
                  <a:pt x="6087359" y="6317529"/>
                </a:cubicBezTo>
                <a:cubicBezTo>
                  <a:pt x="6087359" y="6309930"/>
                  <a:pt x="6087359" y="6302331"/>
                  <a:pt x="6087359" y="6294732"/>
                </a:cubicBezTo>
                <a:close/>
                <a:moveTo>
                  <a:pt x="6108256" y="6293782"/>
                </a:moveTo>
                <a:cubicBezTo>
                  <a:pt x="6127253" y="6316579"/>
                  <a:pt x="6109205" y="6345075"/>
                  <a:pt x="6113005" y="6395418"/>
                </a:cubicBezTo>
                <a:cubicBezTo>
                  <a:pt x="6119654" y="6410616"/>
                  <a:pt x="6114905" y="6413465"/>
                  <a:pt x="6113005" y="6429613"/>
                </a:cubicBezTo>
                <a:cubicBezTo>
                  <a:pt x="6123453" y="6424864"/>
                  <a:pt x="6126303" y="6437212"/>
                  <a:pt x="6133902" y="6441011"/>
                </a:cubicBezTo>
                <a:cubicBezTo>
                  <a:pt x="6133902" y="6460008"/>
                  <a:pt x="6133902" y="6479005"/>
                  <a:pt x="6133902" y="6498003"/>
                </a:cubicBezTo>
                <a:cubicBezTo>
                  <a:pt x="6128203" y="6498003"/>
                  <a:pt x="6123453" y="6498003"/>
                  <a:pt x="6117754" y="6498003"/>
                </a:cubicBezTo>
                <a:cubicBezTo>
                  <a:pt x="6118704" y="6517950"/>
                  <a:pt x="6110156" y="6522699"/>
                  <a:pt x="6112055" y="6543596"/>
                </a:cubicBezTo>
                <a:cubicBezTo>
                  <a:pt x="6113005" y="6553095"/>
                  <a:pt x="6120604" y="6570192"/>
                  <a:pt x="6112055" y="6589190"/>
                </a:cubicBezTo>
                <a:cubicBezTo>
                  <a:pt x="6103507" y="6608187"/>
                  <a:pt x="6113005" y="6597738"/>
                  <a:pt x="6112055" y="6634783"/>
                </a:cubicBezTo>
                <a:cubicBezTo>
                  <a:pt x="6112055" y="6643332"/>
                  <a:pt x="6101607" y="6694624"/>
                  <a:pt x="6106356" y="6702223"/>
                </a:cubicBezTo>
                <a:cubicBezTo>
                  <a:pt x="6113005" y="6714571"/>
                  <a:pt x="6106356" y="6706022"/>
                  <a:pt x="6106356" y="6747817"/>
                </a:cubicBezTo>
                <a:cubicBezTo>
                  <a:pt x="6089259" y="6753515"/>
                  <a:pt x="6094008" y="6800059"/>
                  <a:pt x="6068362" y="6770613"/>
                </a:cubicBezTo>
                <a:cubicBezTo>
                  <a:pt x="6073111" y="6757315"/>
                  <a:pt x="6075960" y="6740217"/>
                  <a:pt x="6074061" y="6713621"/>
                </a:cubicBezTo>
                <a:cubicBezTo>
                  <a:pt x="6080710" y="6702223"/>
                  <a:pt x="6094008" y="6702223"/>
                  <a:pt x="6100657" y="6690825"/>
                </a:cubicBezTo>
                <a:cubicBezTo>
                  <a:pt x="6083560" y="6663279"/>
                  <a:pt x="6101607" y="6628134"/>
                  <a:pt x="6101607" y="6577791"/>
                </a:cubicBezTo>
                <a:cubicBezTo>
                  <a:pt x="6100657" y="6564493"/>
                  <a:pt x="6092108" y="6568292"/>
                  <a:pt x="6085459" y="6566393"/>
                </a:cubicBezTo>
                <a:cubicBezTo>
                  <a:pt x="6084509" y="6535997"/>
                  <a:pt x="6093058" y="6529348"/>
                  <a:pt x="6107306" y="6532198"/>
                </a:cubicBezTo>
                <a:cubicBezTo>
                  <a:pt x="6100657" y="6517000"/>
                  <a:pt x="6105406" y="6514150"/>
                  <a:pt x="6107306" y="6498003"/>
                </a:cubicBezTo>
                <a:cubicBezTo>
                  <a:pt x="6104456" y="6472357"/>
                  <a:pt x="6098757" y="6511301"/>
                  <a:pt x="6091158" y="6486605"/>
                </a:cubicBezTo>
                <a:cubicBezTo>
                  <a:pt x="6093058" y="6412515"/>
                  <a:pt x="6102557" y="6357423"/>
                  <a:pt x="6108256" y="6293782"/>
                </a:cubicBezTo>
                <a:close/>
                <a:moveTo>
                  <a:pt x="6141501" y="6227292"/>
                </a:moveTo>
                <a:cubicBezTo>
                  <a:pt x="6143401" y="6266237"/>
                  <a:pt x="6139601" y="6291883"/>
                  <a:pt x="6119654" y="6284284"/>
                </a:cubicBezTo>
                <a:cubicBezTo>
                  <a:pt x="6118704" y="6247239"/>
                  <a:pt x="6126303" y="6229192"/>
                  <a:pt x="6141501" y="6227292"/>
                </a:cubicBezTo>
                <a:close/>
                <a:moveTo>
                  <a:pt x="6194693" y="6171251"/>
                </a:moveTo>
                <a:cubicBezTo>
                  <a:pt x="6207041" y="6167451"/>
                  <a:pt x="6200392" y="6203545"/>
                  <a:pt x="6210840" y="6205445"/>
                </a:cubicBezTo>
                <a:cubicBezTo>
                  <a:pt x="6206091" y="6224443"/>
                  <a:pt x="6210840" y="6265286"/>
                  <a:pt x="6194693" y="6261487"/>
                </a:cubicBezTo>
                <a:cubicBezTo>
                  <a:pt x="6194693" y="6232041"/>
                  <a:pt x="6194693" y="6201646"/>
                  <a:pt x="6194693" y="6171251"/>
                </a:cubicBezTo>
                <a:close/>
                <a:moveTo>
                  <a:pt x="6101963" y="6156943"/>
                </a:moveTo>
                <a:cubicBezTo>
                  <a:pt x="6103566" y="6154865"/>
                  <a:pt x="6106119" y="6155103"/>
                  <a:pt x="6110156" y="6158902"/>
                </a:cubicBezTo>
                <a:cubicBezTo>
                  <a:pt x="6111105" y="6177900"/>
                  <a:pt x="6106356" y="6195947"/>
                  <a:pt x="6104456" y="6215894"/>
                </a:cubicBezTo>
                <a:cubicBezTo>
                  <a:pt x="6102557" y="6233941"/>
                  <a:pt x="6107306" y="6259588"/>
                  <a:pt x="6098757" y="6261487"/>
                </a:cubicBezTo>
                <a:cubicBezTo>
                  <a:pt x="6077860" y="6270036"/>
                  <a:pt x="6094958" y="6226342"/>
                  <a:pt x="6098757" y="6204496"/>
                </a:cubicBezTo>
                <a:cubicBezTo>
                  <a:pt x="6100895" y="6190248"/>
                  <a:pt x="6097155" y="6163176"/>
                  <a:pt x="6101963" y="6156943"/>
                </a:cubicBezTo>
                <a:close/>
                <a:moveTo>
                  <a:pt x="6275431" y="6125657"/>
                </a:moveTo>
                <a:cubicBezTo>
                  <a:pt x="6291578" y="6128507"/>
                  <a:pt x="6285879" y="6187398"/>
                  <a:pt x="6269732" y="6182649"/>
                </a:cubicBezTo>
                <a:cubicBezTo>
                  <a:pt x="6267832" y="6156052"/>
                  <a:pt x="6270681" y="6138955"/>
                  <a:pt x="6275431" y="6125657"/>
                </a:cubicBezTo>
                <a:close/>
                <a:moveTo>
                  <a:pt x="6252872" y="6109984"/>
                </a:moveTo>
                <a:cubicBezTo>
                  <a:pt x="6257383" y="6109509"/>
                  <a:pt x="6262133" y="6118058"/>
                  <a:pt x="6253584" y="6137055"/>
                </a:cubicBezTo>
                <a:cubicBezTo>
                  <a:pt x="6244086" y="6119958"/>
                  <a:pt x="6248360" y="6110459"/>
                  <a:pt x="6252872" y="6109984"/>
                </a:cubicBezTo>
                <a:close/>
                <a:moveTo>
                  <a:pt x="6206014" y="6068795"/>
                </a:moveTo>
                <a:cubicBezTo>
                  <a:pt x="6207621" y="6067686"/>
                  <a:pt x="6209535" y="6067834"/>
                  <a:pt x="6211791" y="6069615"/>
                </a:cubicBezTo>
                <a:cubicBezTo>
                  <a:pt x="6224139" y="6094311"/>
                  <a:pt x="6210840" y="6125657"/>
                  <a:pt x="6206091" y="6148454"/>
                </a:cubicBezTo>
                <a:cubicBezTo>
                  <a:pt x="6198612" y="6145961"/>
                  <a:pt x="6194767" y="6076561"/>
                  <a:pt x="6206014" y="6068795"/>
                </a:cubicBezTo>
                <a:close/>
                <a:moveTo>
                  <a:pt x="6088309" y="6068666"/>
                </a:moveTo>
                <a:cubicBezTo>
                  <a:pt x="6094008" y="6068666"/>
                  <a:pt x="6098757" y="6068666"/>
                  <a:pt x="6104456" y="6068666"/>
                </a:cubicBezTo>
                <a:cubicBezTo>
                  <a:pt x="6105406" y="6093362"/>
                  <a:pt x="6099707" y="6104760"/>
                  <a:pt x="6088309" y="6102860"/>
                </a:cubicBezTo>
                <a:cubicBezTo>
                  <a:pt x="6088309" y="6091462"/>
                  <a:pt x="6088309" y="6080063"/>
                  <a:pt x="6088309" y="6068666"/>
                </a:cubicBezTo>
                <a:close/>
                <a:moveTo>
                  <a:pt x="6257859" y="6064985"/>
                </a:moveTo>
                <a:cubicBezTo>
                  <a:pt x="6262371" y="6064629"/>
                  <a:pt x="6267357" y="6073415"/>
                  <a:pt x="6259283" y="6092412"/>
                </a:cubicBezTo>
                <a:cubicBezTo>
                  <a:pt x="6249310" y="6074840"/>
                  <a:pt x="6253347" y="6065341"/>
                  <a:pt x="6257859" y="6064985"/>
                </a:cubicBezTo>
                <a:close/>
                <a:moveTo>
                  <a:pt x="6141501" y="6057267"/>
                </a:moveTo>
                <a:cubicBezTo>
                  <a:pt x="6147200" y="6050618"/>
                  <a:pt x="6157649" y="6095262"/>
                  <a:pt x="6157649" y="6091462"/>
                </a:cubicBezTo>
                <a:cubicBezTo>
                  <a:pt x="6156698" y="6117108"/>
                  <a:pt x="6142451" y="6108559"/>
                  <a:pt x="6151949" y="6158902"/>
                </a:cubicBezTo>
                <a:cubicBezTo>
                  <a:pt x="6143401" y="6172200"/>
                  <a:pt x="6137701" y="6172200"/>
                  <a:pt x="6130102" y="6158902"/>
                </a:cubicBezTo>
                <a:cubicBezTo>
                  <a:pt x="6126303" y="6189298"/>
                  <a:pt x="6141501" y="6180749"/>
                  <a:pt x="6146250" y="6193097"/>
                </a:cubicBezTo>
                <a:cubicBezTo>
                  <a:pt x="6139601" y="6238690"/>
                  <a:pt x="6135802" y="6190248"/>
                  <a:pt x="6119654" y="6193097"/>
                </a:cubicBezTo>
                <a:cubicBezTo>
                  <a:pt x="6115855" y="6142755"/>
                  <a:pt x="6127253" y="6125657"/>
                  <a:pt x="6125353" y="6080063"/>
                </a:cubicBezTo>
                <a:cubicBezTo>
                  <a:pt x="6135802" y="6083863"/>
                  <a:pt x="6142451" y="6077214"/>
                  <a:pt x="6141501" y="6057267"/>
                </a:cubicBezTo>
                <a:close/>
                <a:moveTo>
                  <a:pt x="6260233" y="5978429"/>
                </a:moveTo>
                <a:cubicBezTo>
                  <a:pt x="6273531" y="5980328"/>
                  <a:pt x="6272581" y="6021173"/>
                  <a:pt x="6264982" y="6035420"/>
                </a:cubicBezTo>
                <a:cubicBezTo>
                  <a:pt x="6253584" y="6037320"/>
                  <a:pt x="6263083" y="5995526"/>
                  <a:pt x="6260233" y="5978429"/>
                </a:cubicBezTo>
                <a:close/>
                <a:moveTo>
                  <a:pt x="6157901" y="5968678"/>
                </a:moveTo>
                <a:cubicBezTo>
                  <a:pt x="6161864" y="5969227"/>
                  <a:pt x="6165723" y="5972255"/>
                  <a:pt x="6169047" y="5978429"/>
                </a:cubicBezTo>
                <a:cubicBezTo>
                  <a:pt x="6169997" y="5997426"/>
                  <a:pt x="6163348" y="5998376"/>
                  <a:pt x="6163348" y="6012624"/>
                </a:cubicBezTo>
                <a:cubicBezTo>
                  <a:pt x="6147200" y="6002175"/>
                  <a:pt x="6147200" y="6002175"/>
                  <a:pt x="6131053" y="6012624"/>
                </a:cubicBezTo>
                <a:cubicBezTo>
                  <a:pt x="6133190" y="5987690"/>
                  <a:pt x="6146013" y="5967030"/>
                  <a:pt x="6157901" y="5968678"/>
                </a:cubicBezTo>
                <a:close/>
                <a:moveTo>
                  <a:pt x="6040816" y="5944233"/>
                </a:moveTo>
                <a:cubicBezTo>
                  <a:pt x="6030367" y="5953732"/>
                  <a:pt x="6038916" y="6001225"/>
                  <a:pt x="6046515" y="5967030"/>
                </a:cubicBezTo>
                <a:cubicBezTo>
                  <a:pt x="6043665" y="5966080"/>
                  <a:pt x="6039866" y="5965130"/>
                  <a:pt x="6040816" y="5955632"/>
                </a:cubicBezTo>
                <a:cubicBezTo>
                  <a:pt x="6043665" y="5955632"/>
                  <a:pt x="6046515" y="5946133"/>
                  <a:pt x="6040816" y="5944233"/>
                </a:cubicBezTo>
                <a:close/>
                <a:moveTo>
                  <a:pt x="6248835" y="5900540"/>
                </a:moveTo>
                <a:cubicBezTo>
                  <a:pt x="6261183" y="5905289"/>
                  <a:pt x="6252634" y="5960381"/>
                  <a:pt x="6248835" y="5967980"/>
                </a:cubicBezTo>
                <a:cubicBezTo>
                  <a:pt x="6237436" y="5962281"/>
                  <a:pt x="6245036" y="5907189"/>
                  <a:pt x="6248835" y="5900540"/>
                </a:cubicBezTo>
                <a:close/>
                <a:moveTo>
                  <a:pt x="6148150" y="5876793"/>
                </a:moveTo>
                <a:cubicBezTo>
                  <a:pt x="6151949" y="5875843"/>
                  <a:pt x="6153849" y="5891041"/>
                  <a:pt x="6153849" y="5898640"/>
                </a:cubicBezTo>
                <a:cubicBezTo>
                  <a:pt x="6151949" y="5912888"/>
                  <a:pt x="6150050" y="5935685"/>
                  <a:pt x="6148150" y="5955632"/>
                </a:cubicBezTo>
                <a:cubicBezTo>
                  <a:pt x="6127253" y="5946133"/>
                  <a:pt x="6142451" y="5896740"/>
                  <a:pt x="6148150" y="5876793"/>
                </a:cubicBezTo>
                <a:close/>
                <a:moveTo>
                  <a:pt x="6274956" y="5838324"/>
                </a:moveTo>
                <a:cubicBezTo>
                  <a:pt x="6279468" y="5837849"/>
                  <a:pt x="6284455" y="5846398"/>
                  <a:pt x="6276381" y="5865395"/>
                </a:cubicBezTo>
                <a:cubicBezTo>
                  <a:pt x="6266407" y="5848298"/>
                  <a:pt x="6270444" y="5838799"/>
                  <a:pt x="6274956" y="5838324"/>
                </a:cubicBezTo>
                <a:close/>
                <a:moveTo>
                  <a:pt x="6223188" y="5831200"/>
                </a:moveTo>
                <a:cubicBezTo>
                  <a:pt x="6245985" y="5856846"/>
                  <a:pt x="6234587" y="5929985"/>
                  <a:pt x="6227938" y="5978429"/>
                </a:cubicBezTo>
                <a:cubicBezTo>
                  <a:pt x="6206091" y="5948033"/>
                  <a:pt x="6228888" y="5892941"/>
                  <a:pt x="6223188" y="5831200"/>
                </a:cubicBezTo>
                <a:close/>
                <a:moveTo>
                  <a:pt x="6300873" y="5827733"/>
                </a:moveTo>
                <a:cubicBezTo>
                  <a:pt x="6303111" y="5827015"/>
                  <a:pt x="6305708" y="5827995"/>
                  <a:pt x="6308676" y="5831200"/>
                </a:cubicBezTo>
                <a:cubicBezTo>
                  <a:pt x="6306776" y="5837849"/>
                  <a:pt x="6311526" y="5860646"/>
                  <a:pt x="6308676" y="5865395"/>
                </a:cubicBezTo>
                <a:cubicBezTo>
                  <a:pt x="6307726" y="5867295"/>
                  <a:pt x="6298228" y="5863495"/>
                  <a:pt x="6298228" y="5865395"/>
                </a:cubicBezTo>
                <a:cubicBezTo>
                  <a:pt x="6297278" y="5872994"/>
                  <a:pt x="6306776" y="5892941"/>
                  <a:pt x="6302977" y="5910988"/>
                </a:cubicBezTo>
                <a:cubicBezTo>
                  <a:pt x="6287185" y="5920962"/>
                  <a:pt x="6285211" y="5832759"/>
                  <a:pt x="6300873" y="5827733"/>
                </a:cubicBezTo>
                <a:close/>
                <a:moveTo>
                  <a:pt x="6132704" y="5816696"/>
                </a:moveTo>
                <a:cubicBezTo>
                  <a:pt x="6134139" y="5816611"/>
                  <a:pt x="6135802" y="5817546"/>
                  <a:pt x="6137701" y="5819802"/>
                </a:cubicBezTo>
                <a:cubicBezTo>
                  <a:pt x="6139601" y="5843548"/>
                  <a:pt x="6133902" y="5850197"/>
                  <a:pt x="6132002" y="5865395"/>
                </a:cubicBezTo>
                <a:cubicBezTo>
                  <a:pt x="6123691" y="5867888"/>
                  <a:pt x="6122653" y="5817293"/>
                  <a:pt x="6132704" y="5816696"/>
                </a:cubicBezTo>
                <a:close/>
                <a:moveTo>
                  <a:pt x="6231856" y="5755211"/>
                </a:moveTo>
                <a:cubicBezTo>
                  <a:pt x="6236961" y="5754261"/>
                  <a:pt x="6243611" y="5759961"/>
                  <a:pt x="6249785" y="5763760"/>
                </a:cubicBezTo>
                <a:cubicBezTo>
                  <a:pt x="6248835" y="5788456"/>
                  <a:pt x="6236487" y="5788456"/>
                  <a:pt x="6223188" y="5786557"/>
                </a:cubicBezTo>
                <a:cubicBezTo>
                  <a:pt x="6223188" y="5763760"/>
                  <a:pt x="6226750" y="5756161"/>
                  <a:pt x="6231856" y="5755211"/>
                </a:cubicBezTo>
                <a:close/>
                <a:moveTo>
                  <a:pt x="6138403" y="5748345"/>
                </a:moveTo>
                <a:cubicBezTo>
                  <a:pt x="6139839" y="5748236"/>
                  <a:pt x="6141501" y="5749156"/>
                  <a:pt x="6143401" y="5751412"/>
                </a:cubicBezTo>
                <a:cubicBezTo>
                  <a:pt x="6145301" y="5775158"/>
                  <a:pt x="6139601" y="5781807"/>
                  <a:pt x="6137701" y="5797005"/>
                </a:cubicBezTo>
                <a:cubicBezTo>
                  <a:pt x="6129391" y="5800330"/>
                  <a:pt x="6128352" y="5749111"/>
                  <a:pt x="6138403" y="5748345"/>
                </a:cubicBezTo>
                <a:close/>
                <a:moveTo>
                  <a:pt x="6116805" y="5740013"/>
                </a:moveTo>
                <a:cubicBezTo>
                  <a:pt x="6119654" y="5740013"/>
                  <a:pt x="6123453" y="5740013"/>
                  <a:pt x="6127253" y="5740013"/>
                </a:cubicBezTo>
                <a:cubicBezTo>
                  <a:pt x="6127253" y="5751412"/>
                  <a:pt x="6127253" y="5762810"/>
                  <a:pt x="6127253" y="5774209"/>
                </a:cubicBezTo>
                <a:cubicBezTo>
                  <a:pt x="6123453" y="5774209"/>
                  <a:pt x="6120604" y="5774209"/>
                  <a:pt x="6116805" y="5774209"/>
                </a:cubicBezTo>
                <a:cubicBezTo>
                  <a:pt x="6116805" y="5762810"/>
                  <a:pt x="6116805" y="5751412"/>
                  <a:pt x="6116805" y="5740013"/>
                </a:cubicBezTo>
                <a:close/>
                <a:moveTo>
                  <a:pt x="6311273" y="5717514"/>
                </a:moveTo>
                <a:cubicBezTo>
                  <a:pt x="6312713" y="5714783"/>
                  <a:pt x="6315325" y="5714604"/>
                  <a:pt x="6320074" y="5719116"/>
                </a:cubicBezTo>
                <a:cubicBezTo>
                  <a:pt x="6325774" y="5753311"/>
                  <a:pt x="6321974" y="5764710"/>
                  <a:pt x="6324823" y="5820751"/>
                </a:cubicBezTo>
                <a:cubicBezTo>
                  <a:pt x="6316275" y="5820751"/>
                  <a:pt x="6306776" y="5820751"/>
                  <a:pt x="6298228" y="5820751"/>
                </a:cubicBezTo>
                <a:cubicBezTo>
                  <a:pt x="6298228" y="5805554"/>
                  <a:pt x="6298228" y="5790356"/>
                  <a:pt x="6299177" y="5776108"/>
                </a:cubicBezTo>
                <a:cubicBezTo>
                  <a:pt x="6284929" y="5773258"/>
                  <a:pt x="6294428" y="5820751"/>
                  <a:pt x="6277330" y="5810303"/>
                </a:cubicBezTo>
                <a:cubicBezTo>
                  <a:pt x="6274481" y="5754261"/>
                  <a:pt x="6267832" y="5818852"/>
                  <a:pt x="6255484" y="5810303"/>
                </a:cubicBezTo>
                <a:cubicBezTo>
                  <a:pt x="6255484" y="5791306"/>
                  <a:pt x="6255484" y="5772309"/>
                  <a:pt x="6255484" y="5753311"/>
                </a:cubicBezTo>
                <a:cubicBezTo>
                  <a:pt x="6270681" y="5767559"/>
                  <a:pt x="6288729" y="5767559"/>
                  <a:pt x="6303926" y="5753311"/>
                </a:cubicBezTo>
                <a:cubicBezTo>
                  <a:pt x="6313188" y="5756874"/>
                  <a:pt x="6306955" y="5725706"/>
                  <a:pt x="6311273" y="5717514"/>
                </a:cubicBezTo>
                <a:close/>
                <a:moveTo>
                  <a:pt x="6234587" y="5673523"/>
                </a:moveTo>
                <a:cubicBezTo>
                  <a:pt x="6238386" y="5673523"/>
                  <a:pt x="6241236" y="5673523"/>
                  <a:pt x="6245036" y="5673523"/>
                </a:cubicBezTo>
                <a:cubicBezTo>
                  <a:pt x="6245036" y="5681122"/>
                  <a:pt x="6245036" y="5688721"/>
                  <a:pt x="6245036" y="5696320"/>
                </a:cubicBezTo>
                <a:cubicBezTo>
                  <a:pt x="6242186" y="5696320"/>
                  <a:pt x="6238386" y="5696320"/>
                  <a:pt x="6234587" y="5696320"/>
                </a:cubicBezTo>
                <a:cubicBezTo>
                  <a:pt x="6234587" y="5688721"/>
                  <a:pt x="6234587" y="5681122"/>
                  <a:pt x="6234587" y="5673523"/>
                </a:cubicBezTo>
                <a:close/>
                <a:moveTo>
                  <a:pt x="6068362" y="5671623"/>
                </a:moveTo>
                <a:cubicBezTo>
                  <a:pt x="6064563" y="5680172"/>
                  <a:pt x="6056963" y="5735264"/>
                  <a:pt x="6068362" y="5740013"/>
                </a:cubicBezTo>
                <a:cubicBezTo>
                  <a:pt x="6075011" y="5730515"/>
                  <a:pt x="6068362" y="5706768"/>
                  <a:pt x="6068362" y="5694420"/>
                </a:cubicBezTo>
                <a:cubicBezTo>
                  <a:pt x="6068362" y="5694420"/>
                  <a:pt x="6079760" y="5674473"/>
                  <a:pt x="6068362" y="5671623"/>
                </a:cubicBezTo>
                <a:close/>
                <a:moveTo>
                  <a:pt x="6201105" y="5629785"/>
                </a:moveTo>
                <a:cubicBezTo>
                  <a:pt x="6193447" y="5625555"/>
                  <a:pt x="6184720" y="5634817"/>
                  <a:pt x="6186144" y="5661175"/>
                </a:cubicBezTo>
                <a:cubicBezTo>
                  <a:pt x="6195643" y="5659275"/>
                  <a:pt x="6204191" y="5653576"/>
                  <a:pt x="6207991" y="5638378"/>
                </a:cubicBezTo>
                <a:cubicBezTo>
                  <a:pt x="6206092" y="5634104"/>
                  <a:pt x="6203658" y="5631195"/>
                  <a:pt x="6201105" y="5629785"/>
                </a:cubicBezTo>
                <a:close/>
                <a:moveTo>
                  <a:pt x="6144425" y="5604406"/>
                </a:moveTo>
                <a:cubicBezTo>
                  <a:pt x="6148388" y="5606855"/>
                  <a:pt x="6147675" y="5617718"/>
                  <a:pt x="6149100" y="5626980"/>
                </a:cubicBezTo>
                <a:cubicBezTo>
                  <a:pt x="6151949" y="5644077"/>
                  <a:pt x="6161448" y="5686821"/>
                  <a:pt x="6138651" y="5683972"/>
                </a:cubicBezTo>
                <a:cubicBezTo>
                  <a:pt x="6138651" y="5658325"/>
                  <a:pt x="6138651" y="5631729"/>
                  <a:pt x="6138651" y="5605133"/>
                </a:cubicBezTo>
                <a:cubicBezTo>
                  <a:pt x="6141263" y="5603709"/>
                  <a:pt x="6143104" y="5603590"/>
                  <a:pt x="6144425" y="5604406"/>
                </a:cubicBezTo>
                <a:close/>
                <a:moveTo>
                  <a:pt x="6245985" y="5593735"/>
                </a:moveTo>
                <a:cubicBezTo>
                  <a:pt x="6261183" y="5595634"/>
                  <a:pt x="6258333" y="5647876"/>
                  <a:pt x="6240286" y="5639328"/>
                </a:cubicBezTo>
                <a:cubicBezTo>
                  <a:pt x="6238386" y="5615582"/>
                  <a:pt x="6244085" y="5608932"/>
                  <a:pt x="6245985" y="5593735"/>
                </a:cubicBezTo>
                <a:close/>
                <a:moveTo>
                  <a:pt x="6315325" y="5583286"/>
                </a:moveTo>
                <a:cubicBezTo>
                  <a:pt x="6338122" y="5601334"/>
                  <a:pt x="6317225" y="5664974"/>
                  <a:pt x="6314375" y="5696320"/>
                </a:cubicBezTo>
                <a:cubicBezTo>
                  <a:pt x="6303926" y="5680172"/>
                  <a:pt x="6308676" y="5600383"/>
                  <a:pt x="6315325" y="5583286"/>
                </a:cubicBezTo>
                <a:close/>
                <a:moveTo>
                  <a:pt x="6288729" y="5583286"/>
                </a:moveTo>
                <a:cubicBezTo>
                  <a:pt x="6306776" y="5590885"/>
                  <a:pt x="6291578" y="5616531"/>
                  <a:pt x="6288729" y="5640278"/>
                </a:cubicBezTo>
                <a:cubicBezTo>
                  <a:pt x="6272581" y="5629829"/>
                  <a:pt x="6291578" y="5603233"/>
                  <a:pt x="6288729" y="5583286"/>
                </a:cubicBezTo>
                <a:close/>
                <a:moveTo>
                  <a:pt x="6271632" y="5583286"/>
                </a:moveTo>
                <a:cubicBezTo>
                  <a:pt x="6289679" y="5587086"/>
                  <a:pt x="6274481" y="5646927"/>
                  <a:pt x="6271632" y="5673523"/>
                </a:cubicBezTo>
                <a:cubicBezTo>
                  <a:pt x="6261183" y="5664024"/>
                  <a:pt x="6266882" y="5594684"/>
                  <a:pt x="6271632" y="5583286"/>
                </a:cubicBezTo>
                <a:close/>
                <a:moveTo>
                  <a:pt x="6187094" y="5548141"/>
                </a:moveTo>
                <a:lnTo>
                  <a:pt x="6187094" y="5559539"/>
                </a:lnTo>
                <a:cubicBezTo>
                  <a:pt x="6180445" y="5568088"/>
                  <a:pt x="6174746" y="5556690"/>
                  <a:pt x="6181395" y="5570938"/>
                </a:cubicBezTo>
                <a:cubicBezTo>
                  <a:pt x="6186144" y="5581386"/>
                  <a:pt x="6183295" y="5579487"/>
                  <a:pt x="6187094" y="5559539"/>
                </a:cubicBezTo>
                <a:cubicBezTo>
                  <a:pt x="6187094" y="5558590"/>
                  <a:pt x="6195643" y="5550991"/>
                  <a:pt x="6187094" y="5548141"/>
                </a:cubicBezTo>
                <a:close/>
                <a:moveTo>
                  <a:pt x="6080710" y="5536743"/>
                </a:moveTo>
                <a:cubicBezTo>
                  <a:pt x="6073111" y="5550991"/>
                  <a:pt x="6071211" y="5591835"/>
                  <a:pt x="6085459" y="5593735"/>
                </a:cubicBezTo>
                <a:cubicBezTo>
                  <a:pt x="6082609" y="5558590"/>
                  <a:pt x="6097808" y="5547191"/>
                  <a:pt x="6080710" y="5536743"/>
                </a:cubicBezTo>
                <a:close/>
                <a:moveTo>
                  <a:pt x="6219389" y="5525345"/>
                </a:moveTo>
                <a:cubicBezTo>
                  <a:pt x="6222239" y="5525345"/>
                  <a:pt x="6226038" y="5525345"/>
                  <a:pt x="6229837" y="5525345"/>
                </a:cubicBezTo>
                <a:cubicBezTo>
                  <a:pt x="6229837" y="5532943"/>
                  <a:pt x="6229837" y="5540542"/>
                  <a:pt x="6229837" y="5548141"/>
                </a:cubicBezTo>
                <a:cubicBezTo>
                  <a:pt x="6226988" y="5548141"/>
                  <a:pt x="6223188" y="5548141"/>
                  <a:pt x="6219389" y="5548141"/>
                </a:cubicBezTo>
                <a:cubicBezTo>
                  <a:pt x="6219389" y="5541492"/>
                  <a:pt x="6219389" y="5533893"/>
                  <a:pt x="6219389" y="5525345"/>
                </a:cubicBezTo>
                <a:close/>
                <a:moveTo>
                  <a:pt x="6315325" y="5514896"/>
                </a:moveTo>
                <a:cubicBezTo>
                  <a:pt x="6321024" y="5514896"/>
                  <a:pt x="6325774" y="5514896"/>
                  <a:pt x="6331473" y="5514896"/>
                </a:cubicBezTo>
                <a:cubicBezTo>
                  <a:pt x="6332422" y="5532943"/>
                  <a:pt x="6326723" y="5534843"/>
                  <a:pt x="6325774" y="5549091"/>
                </a:cubicBezTo>
                <a:cubicBezTo>
                  <a:pt x="6321974" y="5547191"/>
                  <a:pt x="6321024" y="5537693"/>
                  <a:pt x="6315325" y="5537693"/>
                </a:cubicBezTo>
                <a:cubicBezTo>
                  <a:pt x="6315325" y="5530094"/>
                  <a:pt x="6315325" y="5522495"/>
                  <a:pt x="6315325" y="5514896"/>
                </a:cubicBezTo>
                <a:close/>
                <a:moveTo>
                  <a:pt x="6294428" y="5514896"/>
                </a:moveTo>
                <a:cubicBezTo>
                  <a:pt x="6298228" y="5520595"/>
                  <a:pt x="6302977" y="5527245"/>
                  <a:pt x="6310576" y="5526294"/>
                </a:cubicBezTo>
                <a:cubicBezTo>
                  <a:pt x="6310576" y="5537693"/>
                  <a:pt x="6310576" y="5549091"/>
                  <a:pt x="6310576" y="5560490"/>
                </a:cubicBezTo>
                <a:cubicBezTo>
                  <a:pt x="6296328" y="5531044"/>
                  <a:pt x="6305826" y="5578537"/>
                  <a:pt x="6288729" y="5571888"/>
                </a:cubicBezTo>
                <a:cubicBezTo>
                  <a:pt x="6286829" y="5545292"/>
                  <a:pt x="6289679" y="5528194"/>
                  <a:pt x="6294428" y="5514896"/>
                </a:cubicBezTo>
                <a:close/>
                <a:moveTo>
                  <a:pt x="6084035" y="5498274"/>
                </a:moveTo>
                <a:cubicBezTo>
                  <a:pt x="6079523" y="5498749"/>
                  <a:pt x="6075486" y="5508247"/>
                  <a:pt x="6085459" y="5525345"/>
                </a:cubicBezTo>
                <a:cubicBezTo>
                  <a:pt x="6093533" y="5506348"/>
                  <a:pt x="6088547" y="5497799"/>
                  <a:pt x="6084035" y="5498274"/>
                </a:cubicBezTo>
                <a:close/>
                <a:moveTo>
                  <a:pt x="6107306" y="5434158"/>
                </a:moveTo>
                <a:cubicBezTo>
                  <a:pt x="6105406" y="5441757"/>
                  <a:pt x="6094008" y="5478801"/>
                  <a:pt x="6107306" y="5479751"/>
                </a:cubicBezTo>
                <a:cubicBezTo>
                  <a:pt x="6102557" y="5458854"/>
                  <a:pt x="6123453" y="5441757"/>
                  <a:pt x="6107306" y="5434158"/>
                </a:cubicBezTo>
                <a:close/>
                <a:moveTo>
                  <a:pt x="6155749" y="5378116"/>
                </a:moveTo>
                <a:cubicBezTo>
                  <a:pt x="6153849" y="5394264"/>
                  <a:pt x="6149100" y="5397113"/>
                  <a:pt x="6155749" y="5412311"/>
                </a:cubicBezTo>
                <a:cubicBezTo>
                  <a:pt x="6155749" y="5427509"/>
                  <a:pt x="6146250" y="5422760"/>
                  <a:pt x="6145301" y="5435108"/>
                </a:cubicBezTo>
                <a:cubicBezTo>
                  <a:pt x="6160498" y="5481651"/>
                  <a:pt x="6169047" y="5389515"/>
                  <a:pt x="6155749" y="5378116"/>
                </a:cubicBezTo>
                <a:close/>
                <a:moveTo>
                  <a:pt x="6235537" y="5344871"/>
                </a:moveTo>
                <a:cubicBezTo>
                  <a:pt x="6238386" y="5344871"/>
                  <a:pt x="6242186" y="5344871"/>
                  <a:pt x="6245985" y="5344871"/>
                </a:cubicBezTo>
                <a:cubicBezTo>
                  <a:pt x="6245985" y="5356269"/>
                  <a:pt x="6245985" y="5367667"/>
                  <a:pt x="6245985" y="5379066"/>
                </a:cubicBezTo>
                <a:cubicBezTo>
                  <a:pt x="6242186" y="5379066"/>
                  <a:pt x="6239336" y="5379066"/>
                  <a:pt x="6235537" y="5379066"/>
                </a:cubicBezTo>
                <a:lnTo>
                  <a:pt x="6235537" y="5374031"/>
                </a:lnTo>
                <a:lnTo>
                  <a:pt x="6236487" y="5373367"/>
                </a:lnTo>
                <a:cubicBezTo>
                  <a:pt x="6237674" y="5364343"/>
                  <a:pt x="6237140" y="5358822"/>
                  <a:pt x="6235700" y="5355156"/>
                </a:cubicBezTo>
                <a:lnTo>
                  <a:pt x="6235537" y="5354971"/>
                </a:lnTo>
                <a:close/>
                <a:moveTo>
                  <a:pt x="6289835" y="5319692"/>
                </a:moveTo>
                <a:cubicBezTo>
                  <a:pt x="6291401" y="5319255"/>
                  <a:pt x="6293241" y="5319937"/>
                  <a:pt x="6295378" y="5322074"/>
                </a:cubicBezTo>
                <a:cubicBezTo>
                  <a:pt x="6306776" y="5345821"/>
                  <a:pt x="6294428" y="5359119"/>
                  <a:pt x="6289679" y="5379066"/>
                </a:cubicBezTo>
                <a:cubicBezTo>
                  <a:pt x="6281368" y="5380729"/>
                  <a:pt x="6278875" y="5322758"/>
                  <a:pt x="6289835" y="5319692"/>
                </a:cubicBezTo>
                <a:close/>
                <a:moveTo>
                  <a:pt x="6317225" y="5288829"/>
                </a:moveTo>
                <a:cubicBezTo>
                  <a:pt x="6325774" y="5306877"/>
                  <a:pt x="6322924" y="5359119"/>
                  <a:pt x="6305826" y="5356269"/>
                </a:cubicBezTo>
                <a:cubicBezTo>
                  <a:pt x="6308676" y="5333473"/>
                  <a:pt x="6297278" y="5277430"/>
                  <a:pt x="6317225" y="5288829"/>
                </a:cubicBezTo>
                <a:close/>
                <a:moveTo>
                  <a:pt x="6296079" y="5262927"/>
                </a:moveTo>
                <a:cubicBezTo>
                  <a:pt x="6297515" y="5262842"/>
                  <a:pt x="6299177" y="5263777"/>
                  <a:pt x="6301077" y="5266033"/>
                </a:cubicBezTo>
                <a:cubicBezTo>
                  <a:pt x="6301077" y="5286929"/>
                  <a:pt x="6294428" y="5289779"/>
                  <a:pt x="6295378" y="5311626"/>
                </a:cubicBezTo>
                <a:cubicBezTo>
                  <a:pt x="6287067" y="5314119"/>
                  <a:pt x="6286028" y="5263524"/>
                  <a:pt x="6296079" y="5262927"/>
                </a:cubicBezTo>
                <a:close/>
                <a:moveTo>
                  <a:pt x="6129153" y="5230888"/>
                </a:moveTo>
                <a:cubicBezTo>
                  <a:pt x="6117754" y="5228988"/>
                  <a:pt x="6112055" y="5240386"/>
                  <a:pt x="6113005" y="5265082"/>
                </a:cubicBezTo>
                <a:cubicBezTo>
                  <a:pt x="6103507" y="5264133"/>
                  <a:pt x="6099707" y="5273631"/>
                  <a:pt x="6096857" y="5287879"/>
                </a:cubicBezTo>
                <a:cubicBezTo>
                  <a:pt x="6106356" y="5308776"/>
                  <a:pt x="6113955" y="5272681"/>
                  <a:pt x="6118704" y="5310676"/>
                </a:cubicBezTo>
                <a:cubicBezTo>
                  <a:pt x="6110156" y="5305926"/>
                  <a:pt x="6100657" y="5352470"/>
                  <a:pt x="6113005" y="5356269"/>
                </a:cubicBezTo>
                <a:cubicBezTo>
                  <a:pt x="6115855" y="5342971"/>
                  <a:pt x="6118704" y="5330623"/>
                  <a:pt x="6123453" y="5322074"/>
                </a:cubicBezTo>
                <a:cubicBezTo>
                  <a:pt x="6124404" y="5339171"/>
                  <a:pt x="6132002" y="5323974"/>
                  <a:pt x="6133902" y="5310676"/>
                </a:cubicBezTo>
                <a:cubicBezTo>
                  <a:pt x="6122504" y="5307826"/>
                  <a:pt x="6132952" y="5261283"/>
                  <a:pt x="6123453" y="5253684"/>
                </a:cubicBezTo>
                <a:cubicBezTo>
                  <a:pt x="6123453" y="5242286"/>
                  <a:pt x="6128203" y="5240386"/>
                  <a:pt x="6129153" y="5230888"/>
                </a:cubicBezTo>
                <a:close/>
                <a:moveTo>
                  <a:pt x="6151460" y="5223956"/>
                </a:moveTo>
                <a:cubicBezTo>
                  <a:pt x="6149813" y="5224416"/>
                  <a:pt x="6147913" y="5226613"/>
                  <a:pt x="6145301" y="5231837"/>
                </a:cubicBezTo>
                <a:cubicBezTo>
                  <a:pt x="6149100" y="5278381"/>
                  <a:pt x="6146250" y="5270782"/>
                  <a:pt x="6145301" y="5322074"/>
                </a:cubicBezTo>
                <a:cubicBezTo>
                  <a:pt x="6152899" y="5327774"/>
                  <a:pt x="6158598" y="5339171"/>
                  <a:pt x="6166197" y="5344871"/>
                </a:cubicBezTo>
                <a:cubicBezTo>
                  <a:pt x="6152899" y="5297378"/>
                  <a:pt x="6177595" y="5294528"/>
                  <a:pt x="6171897" y="5231837"/>
                </a:cubicBezTo>
                <a:cubicBezTo>
                  <a:pt x="6159074" y="5236824"/>
                  <a:pt x="6156402" y="5222576"/>
                  <a:pt x="6151460" y="5223956"/>
                </a:cubicBezTo>
                <a:close/>
                <a:moveTo>
                  <a:pt x="6236487" y="5129252"/>
                </a:moveTo>
                <a:cubicBezTo>
                  <a:pt x="6240286" y="5131152"/>
                  <a:pt x="6241236" y="5140651"/>
                  <a:pt x="6246935" y="5140651"/>
                </a:cubicBezTo>
                <a:cubicBezTo>
                  <a:pt x="6246935" y="5148250"/>
                  <a:pt x="6246935" y="5155848"/>
                  <a:pt x="6246935" y="5163447"/>
                </a:cubicBezTo>
                <a:cubicBezTo>
                  <a:pt x="6235537" y="5169147"/>
                  <a:pt x="6237436" y="5147300"/>
                  <a:pt x="6236487" y="5129252"/>
                </a:cubicBezTo>
                <a:close/>
                <a:moveTo>
                  <a:pt x="6211420" y="5096497"/>
                </a:moveTo>
                <a:cubicBezTo>
                  <a:pt x="6218143" y="5096720"/>
                  <a:pt x="6223663" y="5149437"/>
                  <a:pt x="6205141" y="5118804"/>
                </a:cubicBezTo>
                <a:cubicBezTo>
                  <a:pt x="6206804" y="5102182"/>
                  <a:pt x="6209179" y="5096423"/>
                  <a:pt x="6211420" y="5096497"/>
                </a:cubicBezTo>
                <a:close/>
                <a:moveTo>
                  <a:pt x="6134852" y="5084609"/>
                </a:moveTo>
                <a:cubicBezTo>
                  <a:pt x="6119654" y="5084609"/>
                  <a:pt x="6113005" y="5104556"/>
                  <a:pt x="6108256" y="5129252"/>
                </a:cubicBezTo>
                <a:cubicBezTo>
                  <a:pt x="6114905" y="5134951"/>
                  <a:pt x="6120604" y="5141600"/>
                  <a:pt x="6124404" y="5152049"/>
                </a:cubicBezTo>
                <a:cubicBezTo>
                  <a:pt x="6121554" y="5152999"/>
                  <a:pt x="6117754" y="5153948"/>
                  <a:pt x="6118704" y="5163447"/>
                </a:cubicBezTo>
                <a:cubicBezTo>
                  <a:pt x="6135802" y="5162497"/>
                  <a:pt x="6130102" y="5112155"/>
                  <a:pt x="6134852" y="5084609"/>
                </a:cubicBezTo>
                <a:close/>
                <a:moveTo>
                  <a:pt x="6172846" y="5073210"/>
                </a:moveTo>
                <a:cubicBezTo>
                  <a:pt x="6183295" y="5116904"/>
                  <a:pt x="6171897" y="5141600"/>
                  <a:pt x="6151000" y="5118804"/>
                </a:cubicBezTo>
                <a:cubicBezTo>
                  <a:pt x="6153849" y="5134951"/>
                  <a:pt x="6144350" y="5177695"/>
                  <a:pt x="6155749" y="5175796"/>
                </a:cubicBezTo>
                <a:cubicBezTo>
                  <a:pt x="6153849" y="5148250"/>
                  <a:pt x="6166197" y="5132102"/>
                  <a:pt x="6171897" y="5141600"/>
                </a:cubicBezTo>
                <a:cubicBezTo>
                  <a:pt x="6175696" y="5146350"/>
                  <a:pt x="6169047" y="5178645"/>
                  <a:pt x="6177595" y="5174846"/>
                </a:cubicBezTo>
                <a:cubicBezTo>
                  <a:pt x="6175696" y="5146350"/>
                  <a:pt x="6197543" y="5077010"/>
                  <a:pt x="6172846" y="5073210"/>
                </a:cubicBezTo>
                <a:close/>
                <a:moveTo>
                  <a:pt x="6273279" y="4949358"/>
                </a:moveTo>
                <a:cubicBezTo>
                  <a:pt x="6270207" y="4947533"/>
                  <a:pt x="6263795" y="4995797"/>
                  <a:pt x="6274481" y="4994372"/>
                </a:cubicBezTo>
                <a:cubicBezTo>
                  <a:pt x="6274481" y="4986773"/>
                  <a:pt x="6274481" y="4979174"/>
                  <a:pt x="6274481" y="4971576"/>
                </a:cubicBezTo>
                <a:cubicBezTo>
                  <a:pt x="6274956" y="4956141"/>
                  <a:pt x="6274303" y="4949967"/>
                  <a:pt x="6273279" y="4949358"/>
                </a:cubicBezTo>
                <a:close/>
                <a:moveTo>
                  <a:pt x="6307726" y="4948779"/>
                </a:moveTo>
                <a:cubicBezTo>
                  <a:pt x="6314375" y="4992472"/>
                  <a:pt x="6283030" y="4951628"/>
                  <a:pt x="6290629" y="4994372"/>
                </a:cubicBezTo>
                <a:cubicBezTo>
                  <a:pt x="6301077" y="4995322"/>
                  <a:pt x="6302977" y="4982973"/>
                  <a:pt x="6312475" y="4982973"/>
                </a:cubicBezTo>
                <a:cubicBezTo>
                  <a:pt x="6321024" y="4982973"/>
                  <a:pt x="6337172" y="5017169"/>
                  <a:pt x="6344771" y="4982973"/>
                </a:cubicBezTo>
                <a:cubicBezTo>
                  <a:pt x="6338122" y="4981074"/>
                  <a:pt x="6339071" y="4964926"/>
                  <a:pt x="6340022" y="4948779"/>
                </a:cubicBezTo>
                <a:cubicBezTo>
                  <a:pt x="6329573" y="4948779"/>
                  <a:pt x="6318174" y="4948779"/>
                  <a:pt x="6307726" y="4948779"/>
                </a:cubicBezTo>
                <a:close/>
                <a:moveTo>
                  <a:pt x="6224717" y="4947043"/>
                </a:moveTo>
                <a:cubicBezTo>
                  <a:pt x="6218796" y="4955012"/>
                  <a:pt x="6219152" y="4985823"/>
                  <a:pt x="6226988" y="4982973"/>
                </a:cubicBezTo>
                <a:cubicBezTo>
                  <a:pt x="6226988" y="4968726"/>
                  <a:pt x="6233637" y="4967776"/>
                  <a:pt x="6232687" y="4948779"/>
                </a:cubicBezTo>
                <a:cubicBezTo>
                  <a:pt x="6229363" y="4944267"/>
                  <a:pt x="6226691" y="4944386"/>
                  <a:pt x="6224717" y="4947043"/>
                </a:cubicBezTo>
                <a:close/>
                <a:moveTo>
                  <a:pt x="6307726" y="4835745"/>
                </a:moveTo>
                <a:cubicBezTo>
                  <a:pt x="6307726" y="4866141"/>
                  <a:pt x="6304877" y="4902235"/>
                  <a:pt x="6318174" y="4903185"/>
                </a:cubicBezTo>
                <a:cubicBezTo>
                  <a:pt x="6315325" y="4880388"/>
                  <a:pt x="6326723" y="4825297"/>
                  <a:pt x="6307726" y="4835745"/>
                </a:cubicBezTo>
                <a:close/>
                <a:moveTo>
                  <a:pt x="6244085" y="4835745"/>
                </a:moveTo>
                <a:cubicBezTo>
                  <a:pt x="6244085" y="4850943"/>
                  <a:pt x="6244085" y="4866141"/>
                  <a:pt x="6244085" y="4881339"/>
                </a:cubicBezTo>
                <a:cubicBezTo>
                  <a:pt x="6250735" y="4881339"/>
                  <a:pt x="6257384" y="4881339"/>
                  <a:pt x="6264982" y="4881339"/>
                </a:cubicBezTo>
                <a:cubicBezTo>
                  <a:pt x="6264982" y="4869940"/>
                  <a:pt x="6264982" y="4858542"/>
                  <a:pt x="6264982" y="4847143"/>
                </a:cubicBezTo>
                <a:cubicBezTo>
                  <a:pt x="6255484" y="4848093"/>
                  <a:pt x="6247885" y="4844294"/>
                  <a:pt x="6244085" y="4835745"/>
                </a:cubicBezTo>
                <a:close/>
                <a:moveTo>
                  <a:pt x="6194219" y="4830521"/>
                </a:moveTo>
                <a:cubicBezTo>
                  <a:pt x="6189707" y="4830996"/>
                  <a:pt x="6185670" y="4840495"/>
                  <a:pt x="6195643" y="4857592"/>
                </a:cubicBezTo>
                <a:cubicBezTo>
                  <a:pt x="6203717" y="4838595"/>
                  <a:pt x="6198731" y="4830046"/>
                  <a:pt x="6194219" y="4830521"/>
                </a:cubicBezTo>
                <a:close/>
                <a:moveTo>
                  <a:pt x="6281130" y="4824347"/>
                </a:moveTo>
                <a:cubicBezTo>
                  <a:pt x="6278281" y="4860442"/>
                  <a:pt x="6292529" y="4868990"/>
                  <a:pt x="6281130" y="4892737"/>
                </a:cubicBezTo>
                <a:cubicBezTo>
                  <a:pt x="6284929" y="4892737"/>
                  <a:pt x="6288729" y="4892737"/>
                  <a:pt x="6291578" y="4892737"/>
                </a:cubicBezTo>
                <a:cubicBezTo>
                  <a:pt x="6294428" y="4891787"/>
                  <a:pt x="6298228" y="4890837"/>
                  <a:pt x="6297278" y="4881339"/>
                </a:cubicBezTo>
                <a:cubicBezTo>
                  <a:pt x="6284929" y="4876589"/>
                  <a:pt x="6298228" y="4819597"/>
                  <a:pt x="6281130" y="4824347"/>
                </a:cubicBezTo>
                <a:close/>
                <a:moveTo>
                  <a:pt x="6356318" y="4823249"/>
                </a:moveTo>
                <a:cubicBezTo>
                  <a:pt x="6349817" y="4829393"/>
                  <a:pt x="6352133" y="4854505"/>
                  <a:pt x="6340022" y="4848093"/>
                </a:cubicBezTo>
                <a:cubicBezTo>
                  <a:pt x="6333372" y="4848093"/>
                  <a:pt x="6335272" y="4828146"/>
                  <a:pt x="6329573" y="4825297"/>
                </a:cubicBezTo>
                <a:cubicBezTo>
                  <a:pt x="6324823" y="4842394"/>
                  <a:pt x="6327673" y="4890837"/>
                  <a:pt x="6334322" y="4904135"/>
                </a:cubicBezTo>
                <a:cubicBezTo>
                  <a:pt x="6343821" y="4875639"/>
                  <a:pt x="6372316" y="4887038"/>
                  <a:pt x="6366618" y="4825297"/>
                </a:cubicBezTo>
                <a:cubicBezTo>
                  <a:pt x="6361631" y="4821260"/>
                  <a:pt x="6358485" y="4821201"/>
                  <a:pt x="6356318" y="4823249"/>
                </a:cubicBezTo>
                <a:close/>
                <a:moveTo>
                  <a:pt x="6357119" y="4678068"/>
                </a:moveTo>
                <a:cubicBezTo>
                  <a:pt x="6359968" y="4694216"/>
                  <a:pt x="6350470" y="4736960"/>
                  <a:pt x="6361868" y="4735060"/>
                </a:cubicBezTo>
                <a:cubicBezTo>
                  <a:pt x="6363768" y="4712263"/>
                  <a:pt x="6382765" y="4725561"/>
                  <a:pt x="6378016" y="4689467"/>
                </a:cubicBezTo>
                <a:cubicBezTo>
                  <a:pt x="6368517" y="4690416"/>
                  <a:pt x="6361868" y="4686617"/>
                  <a:pt x="6357119" y="4678068"/>
                </a:cubicBezTo>
                <a:close/>
                <a:moveTo>
                  <a:pt x="6260233" y="4677118"/>
                </a:moveTo>
                <a:cubicBezTo>
                  <a:pt x="6260233" y="4692316"/>
                  <a:pt x="6260233" y="4707514"/>
                  <a:pt x="6260233" y="4722712"/>
                </a:cubicBezTo>
                <a:cubicBezTo>
                  <a:pt x="6264033" y="4722712"/>
                  <a:pt x="6267832" y="4722712"/>
                  <a:pt x="6270681" y="4722712"/>
                </a:cubicBezTo>
                <a:cubicBezTo>
                  <a:pt x="6270681" y="4707514"/>
                  <a:pt x="6270681" y="4692316"/>
                  <a:pt x="6270681" y="4677118"/>
                </a:cubicBezTo>
                <a:cubicBezTo>
                  <a:pt x="6266882" y="4677118"/>
                  <a:pt x="6263083" y="4677118"/>
                  <a:pt x="6260233" y="4677118"/>
                </a:cubicBezTo>
                <a:close/>
                <a:moveTo>
                  <a:pt x="6192343" y="4664919"/>
                </a:moveTo>
                <a:cubicBezTo>
                  <a:pt x="6175890" y="4671984"/>
                  <a:pt x="6189706" y="4735773"/>
                  <a:pt x="6201342" y="4734110"/>
                </a:cubicBezTo>
                <a:cubicBezTo>
                  <a:pt x="6201342" y="4711313"/>
                  <a:pt x="6201342" y="4688517"/>
                  <a:pt x="6201342" y="4665720"/>
                </a:cubicBezTo>
                <a:cubicBezTo>
                  <a:pt x="6197662" y="4664058"/>
                  <a:pt x="6194693" y="4663910"/>
                  <a:pt x="6192343" y="4664919"/>
                </a:cubicBezTo>
                <a:close/>
                <a:moveTo>
                  <a:pt x="6329573" y="4632475"/>
                </a:moveTo>
                <a:cubicBezTo>
                  <a:pt x="6333372" y="4674269"/>
                  <a:pt x="6320074" y="4680918"/>
                  <a:pt x="6323874" y="4722712"/>
                </a:cubicBezTo>
                <a:cubicBezTo>
                  <a:pt x="6341921" y="4723661"/>
                  <a:pt x="6348570" y="4699915"/>
                  <a:pt x="6345720" y="4655271"/>
                </a:cubicBezTo>
                <a:cubicBezTo>
                  <a:pt x="6355219" y="4655271"/>
                  <a:pt x="6359968" y="4646723"/>
                  <a:pt x="6361868" y="4632475"/>
                </a:cubicBezTo>
                <a:cubicBezTo>
                  <a:pt x="6351419" y="4632475"/>
                  <a:pt x="6340971" y="4632475"/>
                  <a:pt x="6329573" y="4632475"/>
                </a:cubicBezTo>
                <a:close/>
                <a:moveTo>
                  <a:pt x="6298228" y="4632475"/>
                </a:moveTo>
                <a:cubicBezTo>
                  <a:pt x="6298228" y="4640074"/>
                  <a:pt x="6298228" y="4647672"/>
                  <a:pt x="6298228" y="4655271"/>
                </a:cubicBezTo>
                <a:cubicBezTo>
                  <a:pt x="6302027" y="4655271"/>
                  <a:pt x="6304877" y="4655271"/>
                  <a:pt x="6308676" y="4655271"/>
                </a:cubicBezTo>
                <a:cubicBezTo>
                  <a:pt x="6308676" y="4647672"/>
                  <a:pt x="6308676" y="4640074"/>
                  <a:pt x="6308676" y="4632475"/>
                </a:cubicBezTo>
                <a:cubicBezTo>
                  <a:pt x="6304877" y="4632475"/>
                  <a:pt x="6301077" y="4632475"/>
                  <a:pt x="6298228" y="4632475"/>
                </a:cubicBezTo>
                <a:close/>
                <a:moveTo>
                  <a:pt x="6346670" y="4564085"/>
                </a:moveTo>
                <a:cubicBezTo>
                  <a:pt x="6346670" y="4579283"/>
                  <a:pt x="6343821" y="4588781"/>
                  <a:pt x="6340971" y="4598280"/>
                </a:cubicBezTo>
                <a:cubicBezTo>
                  <a:pt x="6350470" y="4596380"/>
                  <a:pt x="6359019" y="4590681"/>
                  <a:pt x="6362818" y="4575483"/>
                </a:cubicBezTo>
                <a:cubicBezTo>
                  <a:pt x="6355219" y="4576433"/>
                  <a:pt x="6350470" y="4570734"/>
                  <a:pt x="6346670" y="4564085"/>
                </a:cubicBezTo>
                <a:close/>
                <a:moveTo>
                  <a:pt x="6378016" y="4529890"/>
                </a:moveTo>
                <a:cubicBezTo>
                  <a:pt x="6381815" y="4546987"/>
                  <a:pt x="6372316" y="4588781"/>
                  <a:pt x="6383715" y="4586881"/>
                </a:cubicBezTo>
                <a:cubicBezTo>
                  <a:pt x="6383715" y="4575483"/>
                  <a:pt x="6383715" y="4564085"/>
                  <a:pt x="6383715" y="4552686"/>
                </a:cubicBezTo>
                <a:cubicBezTo>
                  <a:pt x="6382765" y="4544138"/>
                  <a:pt x="6383715" y="4529890"/>
                  <a:pt x="6378016" y="4529890"/>
                </a:cubicBezTo>
                <a:close/>
                <a:moveTo>
                  <a:pt x="6228888" y="4507093"/>
                </a:moveTo>
                <a:cubicBezTo>
                  <a:pt x="6228888" y="4527040"/>
                  <a:pt x="6232687" y="4536539"/>
                  <a:pt x="6239336" y="4541288"/>
                </a:cubicBezTo>
                <a:cubicBezTo>
                  <a:pt x="6239336" y="4523241"/>
                  <a:pt x="6240286" y="4502344"/>
                  <a:pt x="6228888" y="4507093"/>
                </a:cubicBezTo>
                <a:close/>
                <a:moveTo>
                  <a:pt x="6212740" y="4507093"/>
                </a:moveTo>
                <a:cubicBezTo>
                  <a:pt x="6199442" y="4502344"/>
                  <a:pt x="6201342" y="4527990"/>
                  <a:pt x="6186144" y="4518492"/>
                </a:cubicBezTo>
                <a:cubicBezTo>
                  <a:pt x="6186144" y="4537489"/>
                  <a:pt x="6186144" y="4556486"/>
                  <a:pt x="6186144" y="4575483"/>
                </a:cubicBezTo>
                <a:cubicBezTo>
                  <a:pt x="6204191" y="4572633"/>
                  <a:pt x="6213690" y="4550787"/>
                  <a:pt x="6212740" y="4507093"/>
                </a:cubicBezTo>
                <a:close/>
                <a:moveTo>
                  <a:pt x="6376161" y="4420730"/>
                </a:moveTo>
                <a:cubicBezTo>
                  <a:pt x="6375404" y="4420834"/>
                  <a:pt x="6374454" y="4423031"/>
                  <a:pt x="6373267" y="4428255"/>
                </a:cubicBezTo>
                <a:cubicBezTo>
                  <a:pt x="6370417" y="4441553"/>
                  <a:pt x="6378016" y="4454851"/>
                  <a:pt x="6378016" y="4462449"/>
                </a:cubicBezTo>
                <a:cubicBezTo>
                  <a:pt x="6378016" y="4454851"/>
                  <a:pt x="6369467" y="4502344"/>
                  <a:pt x="6378016" y="4473848"/>
                </a:cubicBezTo>
                <a:cubicBezTo>
                  <a:pt x="6378966" y="4471948"/>
                  <a:pt x="6382765" y="4450101"/>
                  <a:pt x="6383715" y="4451051"/>
                </a:cubicBezTo>
                <a:cubicBezTo>
                  <a:pt x="6383715" y="4451051"/>
                  <a:pt x="6378966" y="4452001"/>
                  <a:pt x="6378966" y="4451051"/>
                </a:cubicBezTo>
                <a:cubicBezTo>
                  <a:pt x="6378966" y="4438941"/>
                  <a:pt x="6378432" y="4420419"/>
                  <a:pt x="6376161" y="4420730"/>
                </a:cubicBezTo>
                <a:close/>
                <a:moveTo>
                  <a:pt x="6351666" y="4419532"/>
                </a:moveTo>
                <a:cubicBezTo>
                  <a:pt x="6350232" y="4419974"/>
                  <a:pt x="6348570" y="4422675"/>
                  <a:pt x="6346670" y="4428255"/>
                </a:cubicBezTo>
                <a:cubicBezTo>
                  <a:pt x="6349520" y="4428255"/>
                  <a:pt x="6352370" y="4437753"/>
                  <a:pt x="6346670" y="4439653"/>
                </a:cubicBezTo>
                <a:cubicBezTo>
                  <a:pt x="6357119" y="4460550"/>
                  <a:pt x="6344771" y="4569784"/>
                  <a:pt x="6351419" y="4529890"/>
                </a:cubicBezTo>
                <a:cubicBezTo>
                  <a:pt x="6360562" y="4524072"/>
                  <a:pt x="6361705" y="4416441"/>
                  <a:pt x="6351666" y="4419532"/>
                </a:cubicBezTo>
                <a:close/>
                <a:moveTo>
                  <a:pt x="6272581" y="4405458"/>
                </a:moveTo>
                <a:cubicBezTo>
                  <a:pt x="6283030" y="4448202"/>
                  <a:pt x="6262133" y="4452951"/>
                  <a:pt x="6272581" y="4495695"/>
                </a:cubicBezTo>
                <a:cubicBezTo>
                  <a:pt x="6271632" y="4511842"/>
                  <a:pt x="6264033" y="4514692"/>
                  <a:pt x="6262133" y="4529890"/>
                </a:cubicBezTo>
                <a:cubicBezTo>
                  <a:pt x="6273531" y="4532739"/>
                  <a:pt x="6263083" y="4579283"/>
                  <a:pt x="6272581" y="4586881"/>
                </a:cubicBezTo>
                <a:cubicBezTo>
                  <a:pt x="6285879" y="4586881"/>
                  <a:pt x="6300127" y="4586881"/>
                  <a:pt x="6314375" y="4586881"/>
                </a:cubicBezTo>
                <a:cubicBezTo>
                  <a:pt x="6315325" y="4559335"/>
                  <a:pt x="6305826" y="4545088"/>
                  <a:pt x="6303926" y="4541288"/>
                </a:cubicBezTo>
                <a:cubicBezTo>
                  <a:pt x="6302027" y="4538438"/>
                  <a:pt x="6305826" y="4522291"/>
                  <a:pt x="6303926" y="4518492"/>
                </a:cubicBezTo>
                <a:cubicBezTo>
                  <a:pt x="6300127" y="4508993"/>
                  <a:pt x="6285879" y="4517542"/>
                  <a:pt x="6287779" y="4495695"/>
                </a:cubicBezTo>
                <a:cubicBezTo>
                  <a:pt x="6289679" y="4483347"/>
                  <a:pt x="6304877" y="4492845"/>
                  <a:pt x="6303926" y="4495695"/>
                </a:cubicBezTo>
                <a:cubicBezTo>
                  <a:pt x="6310576" y="4474798"/>
                  <a:pt x="6300127" y="4433954"/>
                  <a:pt x="6299177" y="4405458"/>
                </a:cubicBezTo>
                <a:cubicBezTo>
                  <a:pt x="6290629" y="4405458"/>
                  <a:pt x="6281130" y="4405458"/>
                  <a:pt x="6272581" y="4405458"/>
                </a:cubicBezTo>
                <a:close/>
                <a:moveTo>
                  <a:pt x="6245985" y="4348466"/>
                </a:moveTo>
                <a:cubicBezTo>
                  <a:pt x="6245985" y="4356065"/>
                  <a:pt x="6245985" y="4363664"/>
                  <a:pt x="6245985" y="4371263"/>
                </a:cubicBezTo>
                <a:cubicBezTo>
                  <a:pt x="6249785" y="4371263"/>
                  <a:pt x="6253584" y="4371263"/>
                  <a:pt x="6256433" y="4371263"/>
                </a:cubicBezTo>
                <a:cubicBezTo>
                  <a:pt x="6256433" y="4363664"/>
                  <a:pt x="6256433" y="4356065"/>
                  <a:pt x="6256433" y="4348466"/>
                </a:cubicBezTo>
                <a:cubicBezTo>
                  <a:pt x="6252634" y="4348466"/>
                  <a:pt x="6248835" y="4348466"/>
                  <a:pt x="6245985" y="4348466"/>
                </a:cubicBezTo>
                <a:close/>
                <a:moveTo>
                  <a:pt x="6378610" y="4303422"/>
                </a:moveTo>
                <a:cubicBezTo>
                  <a:pt x="6376591" y="4304476"/>
                  <a:pt x="6374929" y="4308097"/>
                  <a:pt x="6374216" y="4315221"/>
                </a:cubicBezTo>
                <a:cubicBezTo>
                  <a:pt x="6381815" y="4318071"/>
                  <a:pt x="6382765" y="4334218"/>
                  <a:pt x="6390364" y="4338018"/>
                </a:cubicBezTo>
                <a:cubicBezTo>
                  <a:pt x="6393926" y="4320208"/>
                  <a:pt x="6384665" y="4300261"/>
                  <a:pt x="6378610" y="4303422"/>
                </a:cubicBezTo>
                <a:close/>
                <a:moveTo>
                  <a:pt x="6309626" y="4292424"/>
                </a:moveTo>
                <a:cubicBezTo>
                  <a:pt x="6301077" y="4307622"/>
                  <a:pt x="6307726" y="4357015"/>
                  <a:pt x="6298228" y="4371263"/>
                </a:cubicBezTo>
                <a:cubicBezTo>
                  <a:pt x="6306776" y="4373163"/>
                  <a:pt x="6326723" y="4395010"/>
                  <a:pt x="6325774" y="4360814"/>
                </a:cubicBezTo>
                <a:cubicBezTo>
                  <a:pt x="6295378" y="4367463"/>
                  <a:pt x="6327673" y="4313321"/>
                  <a:pt x="6309626" y="4292424"/>
                </a:cubicBezTo>
                <a:close/>
                <a:moveTo>
                  <a:pt x="6245985" y="4292424"/>
                </a:moveTo>
                <a:cubicBezTo>
                  <a:pt x="6245985" y="4300023"/>
                  <a:pt x="6245985" y="4307622"/>
                  <a:pt x="6245985" y="4315221"/>
                </a:cubicBezTo>
                <a:cubicBezTo>
                  <a:pt x="6249785" y="4315221"/>
                  <a:pt x="6253584" y="4315221"/>
                  <a:pt x="6256433" y="4315221"/>
                </a:cubicBezTo>
                <a:cubicBezTo>
                  <a:pt x="6256433" y="4307622"/>
                  <a:pt x="6256433" y="4300023"/>
                  <a:pt x="6256433" y="4292424"/>
                </a:cubicBezTo>
                <a:cubicBezTo>
                  <a:pt x="6252634" y="4292424"/>
                  <a:pt x="6249785" y="4292424"/>
                  <a:pt x="6245985" y="4292424"/>
                </a:cubicBezTo>
                <a:close/>
                <a:moveTo>
                  <a:pt x="6321974" y="4167992"/>
                </a:moveTo>
                <a:cubicBezTo>
                  <a:pt x="6320074" y="4184140"/>
                  <a:pt x="6312475" y="4186989"/>
                  <a:pt x="6310576" y="4202187"/>
                </a:cubicBezTo>
                <a:cubicBezTo>
                  <a:pt x="6316275" y="4202187"/>
                  <a:pt x="6321024" y="4202187"/>
                  <a:pt x="6326723" y="4202187"/>
                </a:cubicBezTo>
                <a:cubicBezTo>
                  <a:pt x="6325774" y="4188889"/>
                  <a:pt x="6327673" y="4169892"/>
                  <a:pt x="6321974" y="4167992"/>
                </a:cubicBezTo>
                <a:close/>
                <a:moveTo>
                  <a:pt x="6380865" y="4156594"/>
                </a:moveTo>
                <a:cubicBezTo>
                  <a:pt x="6361868" y="4145196"/>
                  <a:pt x="6371367" y="4192689"/>
                  <a:pt x="6369467" y="4213586"/>
                </a:cubicBezTo>
                <a:cubicBezTo>
                  <a:pt x="6387515" y="4221185"/>
                  <a:pt x="6388464" y="4173691"/>
                  <a:pt x="6380865" y="4156594"/>
                </a:cubicBezTo>
                <a:close/>
                <a:moveTo>
                  <a:pt x="6348570" y="4145196"/>
                </a:moveTo>
                <a:cubicBezTo>
                  <a:pt x="6351419" y="4165143"/>
                  <a:pt x="6340971" y="4211686"/>
                  <a:pt x="6353319" y="4213586"/>
                </a:cubicBezTo>
                <a:cubicBezTo>
                  <a:pt x="6353319" y="4202187"/>
                  <a:pt x="6353319" y="4190789"/>
                  <a:pt x="6353319" y="4179391"/>
                </a:cubicBezTo>
                <a:cubicBezTo>
                  <a:pt x="6352370" y="4166093"/>
                  <a:pt x="6354269" y="4147095"/>
                  <a:pt x="6348570" y="4145196"/>
                </a:cubicBezTo>
                <a:close/>
                <a:moveTo>
                  <a:pt x="6347620" y="4010315"/>
                </a:moveTo>
                <a:cubicBezTo>
                  <a:pt x="6331473" y="4006516"/>
                  <a:pt x="6336222" y="4047360"/>
                  <a:pt x="6331473" y="4066357"/>
                </a:cubicBezTo>
                <a:cubicBezTo>
                  <a:pt x="6356169" y="4052109"/>
                  <a:pt x="6340022" y="4123349"/>
                  <a:pt x="6352370" y="4134747"/>
                </a:cubicBezTo>
                <a:cubicBezTo>
                  <a:pt x="6360918" y="4108151"/>
                  <a:pt x="6350470" y="4086304"/>
                  <a:pt x="6358069" y="4077755"/>
                </a:cubicBezTo>
                <a:cubicBezTo>
                  <a:pt x="6372316" y="4074906"/>
                  <a:pt x="6361868" y="4121449"/>
                  <a:pt x="6378966" y="4111950"/>
                </a:cubicBezTo>
                <a:cubicBezTo>
                  <a:pt x="6373267" y="4054009"/>
                  <a:pt x="6419809" y="4053059"/>
                  <a:pt x="6401762" y="4010315"/>
                </a:cubicBezTo>
                <a:cubicBezTo>
                  <a:pt x="6396063" y="4025513"/>
                  <a:pt x="6397013" y="4052109"/>
                  <a:pt x="6385615" y="4055909"/>
                </a:cubicBezTo>
                <a:cubicBezTo>
                  <a:pt x="6374216" y="4053059"/>
                  <a:pt x="6384665" y="4005566"/>
                  <a:pt x="6369467" y="4010315"/>
                </a:cubicBezTo>
                <a:cubicBezTo>
                  <a:pt x="6368517" y="4032162"/>
                  <a:pt x="6375166" y="4035012"/>
                  <a:pt x="6374216" y="4055909"/>
                </a:cubicBezTo>
                <a:cubicBezTo>
                  <a:pt x="6343821" y="4077755"/>
                  <a:pt x="6351419" y="4035012"/>
                  <a:pt x="6347620" y="4010315"/>
                </a:cubicBezTo>
                <a:close/>
                <a:moveTo>
                  <a:pt x="6209891" y="3986569"/>
                </a:moveTo>
                <a:cubicBezTo>
                  <a:pt x="6208940" y="4003666"/>
                  <a:pt x="6197543" y="3997967"/>
                  <a:pt x="6193743" y="4009366"/>
                </a:cubicBezTo>
                <a:cubicBezTo>
                  <a:pt x="6190894" y="4019814"/>
                  <a:pt x="6188044" y="4057809"/>
                  <a:pt x="6193743" y="4054959"/>
                </a:cubicBezTo>
                <a:cubicBezTo>
                  <a:pt x="6197543" y="4001766"/>
                  <a:pt x="6210840" y="4072056"/>
                  <a:pt x="6214640" y="4043561"/>
                </a:cubicBezTo>
                <a:cubicBezTo>
                  <a:pt x="6195643" y="4035962"/>
                  <a:pt x="6226988" y="3990368"/>
                  <a:pt x="6209891" y="3986569"/>
                </a:cubicBezTo>
                <a:close/>
                <a:moveTo>
                  <a:pt x="6272819" y="3955936"/>
                </a:moveTo>
                <a:cubicBezTo>
                  <a:pt x="6268782" y="3959261"/>
                  <a:pt x="6264982" y="3972796"/>
                  <a:pt x="6273531" y="3986569"/>
                </a:cubicBezTo>
                <a:cubicBezTo>
                  <a:pt x="6281130" y="3959498"/>
                  <a:pt x="6276856" y="3952612"/>
                  <a:pt x="6272819" y="3955936"/>
                </a:cubicBezTo>
                <a:close/>
                <a:moveTo>
                  <a:pt x="6237199" y="3948099"/>
                </a:moveTo>
                <a:cubicBezTo>
                  <a:pt x="6232687" y="3950474"/>
                  <a:pt x="6227938" y="3961872"/>
                  <a:pt x="6236487" y="3975170"/>
                </a:cubicBezTo>
                <a:cubicBezTo>
                  <a:pt x="6245986" y="3952374"/>
                  <a:pt x="6241711" y="3945725"/>
                  <a:pt x="6237199" y="3948099"/>
                </a:cubicBezTo>
                <a:close/>
                <a:moveTo>
                  <a:pt x="6321974" y="3941925"/>
                </a:moveTo>
                <a:cubicBezTo>
                  <a:pt x="6321974" y="3953324"/>
                  <a:pt x="6321974" y="3964722"/>
                  <a:pt x="6321974" y="3976120"/>
                </a:cubicBezTo>
                <a:cubicBezTo>
                  <a:pt x="6331473" y="3975170"/>
                  <a:pt x="6338122" y="3978970"/>
                  <a:pt x="6342871" y="3987519"/>
                </a:cubicBezTo>
                <a:cubicBezTo>
                  <a:pt x="6343821" y="3959023"/>
                  <a:pt x="6353319" y="3952374"/>
                  <a:pt x="6338122" y="3941925"/>
                </a:cubicBezTo>
                <a:cubicBezTo>
                  <a:pt x="6337172" y="3950474"/>
                  <a:pt x="6338122" y="3963772"/>
                  <a:pt x="6332422" y="3964722"/>
                </a:cubicBezTo>
                <a:cubicBezTo>
                  <a:pt x="6331473" y="3950474"/>
                  <a:pt x="6330523" y="3938126"/>
                  <a:pt x="6321974" y="3941925"/>
                </a:cubicBezTo>
                <a:close/>
                <a:moveTo>
                  <a:pt x="6321351" y="3882618"/>
                </a:moveTo>
                <a:cubicBezTo>
                  <a:pt x="6320015" y="3883212"/>
                  <a:pt x="6318650" y="3887071"/>
                  <a:pt x="6317225" y="3896332"/>
                </a:cubicBezTo>
                <a:cubicBezTo>
                  <a:pt x="6324823" y="3890633"/>
                  <a:pt x="6329573" y="3940975"/>
                  <a:pt x="6333372" y="3907730"/>
                </a:cubicBezTo>
                <a:cubicBezTo>
                  <a:pt x="6329098" y="3908443"/>
                  <a:pt x="6325358" y="3880837"/>
                  <a:pt x="6321351" y="3882618"/>
                </a:cubicBezTo>
                <a:close/>
                <a:moveTo>
                  <a:pt x="6194693" y="3862137"/>
                </a:moveTo>
                <a:cubicBezTo>
                  <a:pt x="6198492" y="3912480"/>
                  <a:pt x="6187094" y="3929577"/>
                  <a:pt x="6188994" y="3975170"/>
                </a:cubicBezTo>
                <a:cubicBezTo>
                  <a:pt x="6206091" y="3988468"/>
                  <a:pt x="6202292" y="3957123"/>
                  <a:pt x="6210840" y="3952374"/>
                </a:cubicBezTo>
                <a:cubicBezTo>
                  <a:pt x="6211791" y="3960923"/>
                  <a:pt x="6210840" y="3975170"/>
                  <a:pt x="6215590" y="3975170"/>
                </a:cubicBezTo>
                <a:cubicBezTo>
                  <a:pt x="6214640" y="3923878"/>
                  <a:pt x="6214640" y="3871636"/>
                  <a:pt x="6194693" y="3862137"/>
                </a:cubicBezTo>
                <a:close/>
                <a:moveTo>
                  <a:pt x="6325402" y="3827156"/>
                </a:moveTo>
                <a:cubicBezTo>
                  <a:pt x="6319481" y="3835126"/>
                  <a:pt x="6319837" y="3865936"/>
                  <a:pt x="6327673" y="3863087"/>
                </a:cubicBezTo>
                <a:cubicBezTo>
                  <a:pt x="6328623" y="3847889"/>
                  <a:pt x="6335272" y="3846939"/>
                  <a:pt x="6333372" y="3828892"/>
                </a:cubicBezTo>
                <a:cubicBezTo>
                  <a:pt x="6330048" y="3824380"/>
                  <a:pt x="6327376" y="3824499"/>
                  <a:pt x="6325402" y="3827156"/>
                </a:cubicBezTo>
                <a:close/>
                <a:moveTo>
                  <a:pt x="6274481" y="3771900"/>
                </a:moveTo>
                <a:cubicBezTo>
                  <a:pt x="6274481" y="3783298"/>
                  <a:pt x="6274481" y="3794697"/>
                  <a:pt x="6274481" y="3806095"/>
                </a:cubicBezTo>
                <a:cubicBezTo>
                  <a:pt x="6278281" y="3806095"/>
                  <a:pt x="6282080" y="3806095"/>
                  <a:pt x="6284929" y="3806095"/>
                </a:cubicBezTo>
                <a:cubicBezTo>
                  <a:pt x="6284929" y="3794697"/>
                  <a:pt x="6284929" y="3783298"/>
                  <a:pt x="6284929" y="3771900"/>
                </a:cubicBezTo>
                <a:cubicBezTo>
                  <a:pt x="6282080" y="3771900"/>
                  <a:pt x="6278281" y="3771900"/>
                  <a:pt x="6274481" y="3771900"/>
                </a:cubicBezTo>
                <a:close/>
                <a:moveTo>
                  <a:pt x="6408411" y="3750053"/>
                </a:moveTo>
                <a:cubicBezTo>
                  <a:pt x="6412211" y="3791847"/>
                  <a:pt x="6397013" y="3793747"/>
                  <a:pt x="6397013" y="3828892"/>
                </a:cubicBezTo>
                <a:cubicBezTo>
                  <a:pt x="6416960" y="3844090"/>
                  <a:pt x="6418860" y="3762402"/>
                  <a:pt x="6408411" y="3750053"/>
                </a:cubicBezTo>
                <a:close/>
                <a:moveTo>
                  <a:pt x="6301077" y="3749104"/>
                </a:moveTo>
                <a:cubicBezTo>
                  <a:pt x="6303926" y="3786148"/>
                  <a:pt x="6294428" y="3846939"/>
                  <a:pt x="6311526" y="3850739"/>
                </a:cubicBezTo>
                <a:cubicBezTo>
                  <a:pt x="6314375" y="3823193"/>
                  <a:pt x="6321974" y="3769050"/>
                  <a:pt x="6301077" y="3749104"/>
                </a:cubicBezTo>
                <a:close/>
                <a:moveTo>
                  <a:pt x="6322924" y="3737705"/>
                </a:moveTo>
                <a:cubicBezTo>
                  <a:pt x="6323874" y="3770000"/>
                  <a:pt x="6318174" y="3815594"/>
                  <a:pt x="6333372" y="3816543"/>
                </a:cubicBezTo>
                <a:cubicBezTo>
                  <a:pt x="6332422" y="3785198"/>
                  <a:pt x="6338122" y="3739605"/>
                  <a:pt x="6322924" y="3737705"/>
                </a:cubicBezTo>
                <a:close/>
                <a:moveTo>
                  <a:pt x="6182909" y="3590239"/>
                </a:moveTo>
                <a:cubicBezTo>
                  <a:pt x="6179614" y="3588636"/>
                  <a:pt x="6172847" y="3637258"/>
                  <a:pt x="6184245" y="3635120"/>
                </a:cubicBezTo>
                <a:cubicBezTo>
                  <a:pt x="6184245" y="3627521"/>
                  <a:pt x="6184245" y="3619922"/>
                  <a:pt x="6184245" y="3612323"/>
                </a:cubicBezTo>
                <a:cubicBezTo>
                  <a:pt x="6184720" y="3596888"/>
                  <a:pt x="6184008" y="3590773"/>
                  <a:pt x="6182909" y="3590239"/>
                </a:cubicBezTo>
                <a:close/>
                <a:moveTo>
                  <a:pt x="6394163" y="3410953"/>
                </a:moveTo>
                <a:cubicBezTo>
                  <a:pt x="6394163" y="3437549"/>
                  <a:pt x="6394163" y="3464145"/>
                  <a:pt x="6394163" y="3489791"/>
                </a:cubicBezTo>
                <a:cubicBezTo>
                  <a:pt x="6375166" y="3475543"/>
                  <a:pt x="6387515" y="3523036"/>
                  <a:pt x="6382765" y="3534435"/>
                </a:cubicBezTo>
                <a:cubicBezTo>
                  <a:pt x="6379915" y="3542034"/>
                  <a:pt x="6367567" y="3533485"/>
                  <a:pt x="6366618" y="3545833"/>
                </a:cubicBezTo>
                <a:cubicBezTo>
                  <a:pt x="6369467" y="3574329"/>
                  <a:pt x="6366618" y="3614223"/>
                  <a:pt x="6382765" y="3614223"/>
                </a:cubicBezTo>
                <a:cubicBezTo>
                  <a:pt x="6383715" y="3594276"/>
                  <a:pt x="6381815" y="3579078"/>
                  <a:pt x="6378016" y="3568630"/>
                </a:cubicBezTo>
                <a:cubicBezTo>
                  <a:pt x="6381815" y="3565780"/>
                  <a:pt x="6385615" y="3562931"/>
                  <a:pt x="6388464" y="3557231"/>
                </a:cubicBezTo>
                <a:cubicBezTo>
                  <a:pt x="6398912" y="3536334"/>
                  <a:pt x="6395113" y="3488841"/>
                  <a:pt x="6410311" y="3489791"/>
                </a:cubicBezTo>
                <a:cubicBezTo>
                  <a:pt x="6413160" y="3447047"/>
                  <a:pt x="6408411" y="3419502"/>
                  <a:pt x="6394163" y="3410953"/>
                </a:cubicBezTo>
                <a:close/>
                <a:moveTo>
                  <a:pt x="6319125" y="3387206"/>
                </a:moveTo>
                <a:cubicBezTo>
                  <a:pt x="6312475" y="3402404"/>
                  <a:pt x="6315325" y="3421401"/>
                  <a:pt x="6323874" y="3432800"/>
                </a:cubicBezTo>
                <a:cubicBezTo>
                  <a:pt x="6331473" y="3417602"/>
                  <a:pt x="6331473" y="3390056"/>
                  <a:pt x="6319125" y="3387206"/>
                </a:cubicBezTo>
                <a:close/>
                <a:moveTo>
                  <a:pt x="6394163" y="3375808"/>
                </a:moveTo>
                <a:cubicBezTo>
                  <a:pt x="6385615" y="3403354"/>
                  <a:pt x="6412211" y="3409053"/>
                  <a:pt x="6410311" y="3387206"/>
                </a:cubicBezTo>
                <a:cubicBezTo>
                  <a:pt x="6406512" y="3387206"/>
                  <a:pt x="6403662" y="3386256"/>
                  <a:pt x="6404612" y="3375808"/>
                </a:cubicBezTo>
                <a:cubicBezTo>
                  <a:pt x="6400812" y="3375808"/>
                  <a:pt x="6397013" y="3375808"/>
                  <a:pt x="6394163" y="3375808"/>
                </a:cubicBezTo>
                <a:close/>
                <a:moveTo>
                  <a:pt x="6351419" y="3375808"/>
                </a:moveTo>
                <a:cubicBezTo>
                  <a:pt x="6355219" y="3419502"/>
                  <a:pt x="6351419" y="3415702"/>
                  <a:pt x="6356169" y="3443248"/>
                </a:cubicBezTo>
                <a:cubicBezTo>
                  <a:pt x="6363768" y="3443248"/>
                  <a:pt x="6370417" y="3443248"/>
                  <a:pt x="6378016" y="3443248"/>
                </a:cubicBezTo>
                <a:cubicBezTo>
                  <a:pt x="6376116" y="3406204"/>
                  <a:pt x="6361868" y="3394805"/>
                  <a:pt x="6351419" y="3375808"/>
                </a:cubicBezTo>
                <a:close/>
                <a:moveTo>
                  <a:pt x="6315372" y="3098732"/>
                </a:moveTo>
                <a:cubicBezTo>
                  <a:pt x="6296476" y="3094174"/>
                  <a:pt x="6313307" y="3139887"/>
                  <a:pt x="6325774" y="3104147"/>
                </a:cubicBezTo>
                <a:cubicBezTo>
                  <a:pt x="6321500" y="3101060"/>
                  <a:pt x="6318071" y="3099383"/>
                  <a:pt x="6315372" y="3098732"/>
                </a:cubicBezTo>
                <a:close/>
                <a:moveTo>
                  <a:pt x="6353319" y="3026259"/>
                </a:moveTo>
                <a:cubicBezTo>
                  <a:pt x="6354269" y="3057604"/>
                  <a:pt x="6359019" y="3078501"/>
                  <a:pt x="6358069" y="3093699"/>
                </a:cubicBezTo>
                <a:cubicBezTo>
                  <a:pt x="6358069" y="3100348"/>
                  <a:pt x="6352370" y="3106047"/>
                  <a:pt x="6352370" y="3105097"/>
                </a:cubicBezTo>
                <a:cubicBezTo>
                  <a:pt x="6352370" y="3116496"/>
                  <a:pt x="6358069" y="3119345"/>
                  <a:pt x="6358069" y="3127894"/>
                </a:cubicBezTo>
                <a:cubicBezTo>
                  <a:pt x="6357119" y="3141192"/>
                  <a:pt x="6342871" y="3167788"/>
                  <a:pt x="6358069" y="3183936"/>
                </a:cubicBezTo>
                <a:cubicBezTo>
                  <a:pt x="6364718" y="3175387"/>
                  <a:pt x="6363768" y="3134543"/>
                  <a:pt x="6363768" y="3105097"/>
                </a:cubicBezTo>
                <a:cubicBezTo>
                  <a:pt x="6363768" y="3070902"/>
                  <a:pt x="6370417" y="3020560"/>
                  <a:pt x="6353319" y="3026259"/>
                </a:cubicBezTo>
                <a:close/>
                <a:moveTo>
                  <a:pt x="6325774" y="3002512"/>
                </a:moveTo>
                <a:cubicBezTo>
                  <a:pt x="6314375" y="2998713"/>
                  <a:pt x="6305826" y="3005362"/>
                  <a:pt x="6304877" y="3025309"/>
                </a:cubicBezTo>
                <a:cubicBezTo>
                  <a:pt x="6319125" y="3016760"/>
                  <a:pt x="6315325" y="3048106"/>
                  <a:pt x="6325774" y="3048106"/>
                </a:cubicBezTo>
                <a:cubicBezTo>
                  <a:pt x="6325774" y="3032908"/>
                  <a:pt x="6325774" y="3017710"/>
                  <a:pt x="6325774" y="3002512"/>
                </a:cubicBezTo>
                <a:close/>
                <a:moveTo>
                  <a:pt x="6410321" y="2605435"/>
                </a:moveTo>
                <a:cubicBezTo>
                  <a:pt x="6408411" y="2606539"/>
                  <a:pt x="6405918" y="2610338"/>
                  <a:pt x="6402712" y="2617818"/>
                </a:cubicBezTo>
                <a:cubicBezTo>
                  <a:pt x="6406512" y="2620668"/>
                  <a:pt x="6408411" y="2627317"/>
                  <a:pt x="6408411" y="2640615"/>
                </a:cubicBezTo>
                <a:cubicBezTo>
                  <a:pt x="6408411" y="2722066"/>
                  <a:pt x="6423683" y="2597708"/>
                  <a:pt x="6410321" y="2605435"/>
                </a:cubicBezTo>
                <a:close/>
                <a:moveTo>
                  <a:pt x="6369018" y="2600415"/>
                </a:moveTo>
                <a:cubicBezTo>
                  <a:pt x="6368294" y="2601285"/>
                  <a:pt x="6367211" y="2603215"/>
                  <a:pt x="6365667" y="2606420"/>
                </a:cubicBezTo>
                <a:cubicBezTo>
                  <a:pt x="6363768" y="2629217"/>
                  <a:pt x="6351419" y="2628267"/>
                  <a:pt x="6349520" y="2652014"/>
                </a:cubicBezTo>
                <a:cubicBezTo>
                  <a:pt x="6356169" y="2651064"/>
                  <a:pt x="6360918" y="2656763"/>
                  <a:pt x="6365667" y="2663412"/>
                </a:cubicBezTo>
                <a:cubicBezTo>
                  <a:pt x="6361512" y="2640141"/>
                  <a:pt x="6374083" y="2594325"/>
                  <a:pt x="6369018" y="2600415"/>
                </a:cubicBezTo>
                <a:close/>
                <a:moveTo>
                  <a:pt x="6246550" y="2560589"/>
                </a:moveTo>
                <a:cubicBezTo>
                  <a:pt x="6243255" y="2558987"/>
                  <a:pt x="6236487" y="2607608"/>
                  <a:pt x="6247885" y="2605470"/>
                </a:cubicBezTo>
                <a:cubicBezTo>
                  <a:pt x="6247885" y="2597871"/>
                  <a:pt x="6247885" y="2590273"/>
                  <a:pt x="6247885" y="2582673"/>
                </a:cubicBezTo>
                <a:cubicBezTo>
                  <a:pt x="6248360" y="2567238"/>
                  <a:pt x="6247648" y="2561123"/>
                  <a:pt x="6246550" y="2560589"/>
                </a:cubicBezTo>
                <a:close/>
                <a:moveTo>
                  <a:pt x="6366618" y="2447793"/>
                </a:moveTo>
                <a:cubicBezTo>
                  <a:pt x="6367567" y="2473439"/>
                  <a:pt x="6364718" y="2490537"/>
                  <a:pt x="6356169" y="2493387"/>
                </a:cubicBezTo>
                <a:cubicBezTo>
                  <a:pt x="6355219" y="2475339"/>
                  <a:pt x="6356169" y="2453492"/>
                  <a:pt x="6344771" y="2459191"/>
                </a:cubicBezTo>
                <a:cubicBezTo>
                  <a:pt x="6340022" y="2507634"/>
                  <a:pt x="6350470" y="2518083"/>
                  <a:pt x="6355219" y="2538030"/>
                </a:cubicBezTo>
                <a:cubicBezTo>
                  <a:pt x="6359019" y="2552278"/>
                  <a:pt x="6352370" y="2579824"/>
                  <a:pt x="6365667" y="2572225"/>
                </a:cubicBezTo>
                <a:cubicBezTo>
                  <a:pt x="6378016" y="2563676"/>
                  <a:pt x="6367567" y="2508584"/>
                  <a:pt x="6371367" y="2481988"/>
                </a:cubicBezTo>
                <a:cubicBezTo>
                  <a:pt x="6381815" y="2485788"/>
                  <a:pt x="6370417" y="2449693"/>
                  <a:pt x="6366618" y="2447793"/>
                </a:cubicBezTo>
                <a:close/>
                <a:moveTo>
                  <a:pt x="6413725" y="2289745"/>
                </a:moveTo>
                <a:cubicBezTo>
                  <a:pt x="6410430" y="2287920"/>
                  <a:pt x="6403663" y="2336185"/>
                  <a:pt x="6415060" y="2334760"/>
                </a:cubicBezTo>
                <a:cubicBezTo>
                  <a:pt x="6415060" y="2327161"/>
                  <a:pt x="6415060" y="2319562"/>
                  <a:pt x="6415060" y="2311963"/>
                </a:cubicBezTo>
                <a:cubicBezTo>
                  <a:pt x="6415535" y="2296528"/>
                  <a:pt x="6414823" y="2290354"/>
                  <a:pt x="6413725" y="2289745"/>
                </a:cubicBezTo>
                <a:close/>
                <a:moveTo>
                  <a:pt x="6410311" y="2187531"/>
                </a:moveTo>
                <a:cubicBezTo>
                  <a:pt x="6408411" y="2202729"/>
                  <a:pt x="6402712" y="2209378"/>
                  <a:pt x="6404612" y="2233125"/>
                </a:cubicBezTo>
                <a:cubicBezTo>
                  <a:pt x="6419809" y="2251172"/>
                  <a:pt x="6419809" y="2183732"/>
                  <a:pt x="6410311" y="2187531"/>
                </a:cubicBezTo>
                <a:close/>
                <a:moveTo>
                  <a:pt x="6388464" y="2187531"/>
                </a:moveTo>
                <a:cubicBezTo>
                  <a:pt x="6387515" y="2216027"/>
                  <a:pt x="6387515" y="2242623"/>
                  <a:pt x="6398912" y="2244523"/>
                </a:cubicBezTo>
                <a:cubicBezTo>
                  <a:pt x="6399863" y="2216027"/>
                  <a:pt x="6397013" y="2197030"/>
                  <a:pt x="6388464" y="2187531"/>
                </a:cubicBezTo>
                <a:close/>
                <a:moveTo>
                  <a:pt x="6361868" y="2187531"/>
                </a:moveTo>
                <a:cubicBezTo>
                  <a:pt x="6360918" y="2196080"/>
                  <a:pt x="6361868" y="2210328"/>
                  <a:pt x="6356169" y="2210328"/>
                </a:cubicBezTo>
                <a:cubicBezTo>
                  <a:pt x="6356169" y="2203679"/>
                  <a:pt x="6352370" y="2197030"/>
                  <a:pt x="6351419" y="2210328"/>
                </a:cubicBezTo>
                <a:cubicBezTo>
                  <a:pt x="6359019" y="2216027"/>
                  <a:pt x="6364718" y="2227425"/>
                  <a:pt x="6372316" y="2233125"/>
                </a:cubicBezTo>
                <a:cubicBezTo>
                  <a:pt x="6375166" y="2204629"/>
                  <a:pt x="6381815" y="2189431"/>
                  <a:pt x="6361868" y="2187531"/>
                </a:cubicBezTo>
                <a:close/>
                <a:moveTo>
                  <a:pt x="6330523" y="2028904"/>
                </a:moveTo>
                <a:cubicBezTo>
                  <a:pt x="6330523" y="2047902"/>
                  <a:pt x="6330523" y="2066899"/>
                  <a:pt x="6330523" y="2085896"/>
                </a:cubicBezTo>
                <a:cubicBezTo>
                  <a:pt x="6340971" y="2095395"/>
                  <a:pt x="6354269" y="2056450"/>
                  <a:pt x="6340971" y="2051701"/>
                </a:cubicBezTo>
                <a:cubicBezTo>
                  <a:pt x="6340971" y="2058350"/>
                  <a:pt x="6340022" y="2064999"/>
                  <a:pt x="6335272" y="2063099"/>
                </a:cubicBezTo>
                <a:cubicBezTo>
                  <a:pt x="6334322" y="2049801"/>
                  <a:pt x="6336222" y="2030804"/>
                  <a:pt x="6330523" y="2028904"/>
                </a:cubicBezTo>
                <a:close/>
                <a:moveTo>
                  <a:pt x="6404669" y="1859456"/>
                </a:moveTo>
                <a:cubicBezTo>
                  <a:pt x="6403425" y="1860987"/>
                  <a:pt x="6402118" y="1864697"/>
                  <a:pt x="6400812" y="1871227"/>
                </a:cubicBezTo>
                <a:cubicBezTo>
                  <a:pt x="6413160" y="1874077"/>
                  <a:pt x="6403662" y="1920620"/>
                  <a:pt x="6400812" y="1928219"/>
                </a:cubicBezTo>
                <a:cubicBezTo>
                  <a:pt x="6419097" y="1944842"/>
                  <a:pt x="6413384" y="1848743"/>
                  <a:pt x="6404669" y="1859456"/>
                </a:cubicBezTo>
                <a:close/>
                <a:moveTo>
                  <a:pt x="6401762" y="1599567"/>
                </a:moveTo>
                <a:cubicBezTo>
                  <a:pt x="6401762" y="1606216"/>
                  <a:pt x="6400812" y="1612865"/>
                  <a:pt x="6396063" y="1610965"/>
                </a:cubicBezTo>
                <a:cubicBezTo>
                  <a:pt x="6396063" y="1618564"/>
                  <a:pt x="6396063" y="1626163"/>
                  <a:pt x="6396063" y="1633762"/>
                </a:cubicBezTo>
                <a:cubicBezTo>
                  <a:pt x="6409361" y="1650859"/>
                  <a:pt x="6412211" y="1594817"/>
                  <a:pt x="6401762" y="1599567"/>
                </a:cubicBezTo>
                <a:close/>
                <a:moveTo>
                  <a:pt x="6337602" y="1220335"/>
                </a:moveTo>
                <a:cubicBezTo>
                  <a:pt x="6336637" y="1220275"/>
                  <a:pt x="6335509" y="1221759"/>
                  <a:pt x="6334322" y="1225321"/>
                </a:cubicBezTo>
                <a:cubicBezTo>
                  <a:pt x="6333372" y="1229121"/>
                  <a:pt x="6334322" y="1243369"/>
                  <a:pt x="6334322" y="1248118"/>
                </a:cubicBezTo>
                <a:cubicBezTo>
                  <a:pt x="6334322" y="1248118"/>
                  <a:pt x="6324823" y="1250968"/>
                  <a:pt x="6328623" y="1259516"/>
                </a:cubicBezTo>
                <a:cubicBezTo>
                  <a:pt x="6329573" y="1262366"/>
                  <a:pt x="6339071" y="1249068"/>
                  <a:pt x="6339071" y="1248118"/>
                </a:cubicBezTo>
                <a:cubicBezTo>
                  <a:pt x="6341921" y="1234583"/>
                  <a:pt x="6340496" y="1220513"/>
                  <a:pt x="6337602" y="1220335"/>
                </a:cubicBezTo>
                <a:close/>
                <a:moveTo>
                  <a:pt x="6356169" y="1033449"/>
                </a:moveTo>
                <a:cubicBezTo>
                  <a:pt x="6352370" y="1041998"/>
                  <a:pt x="6357119" y="1095190"/>
                  <a:pt x="6366618" y="1056246"/>
                </a:cubicBezTo>
                <a:cubicBezTo>
                  <a:pt x="6362818" y="1060995"/>
                  <a:pt x="6359019" y="1028700"/>
                  <a:pt x="6356169" y="1033449"/>
                </a:cubicBezTo>
                <a:close/>
                <a:moveTo>
                  <a:pt x="6362818" y="682001"/>
                </a:moveTo>
                <a:cubicBezTo>
                  <a:pt x="6364718" y="727594"/>
                  <a:pt x="6365667" y="768438"/>
                  <a:pt x="6367567" y="829229"/>
                </a:cubicBezTo>
                <a:cubicBezTo>
                  <a:pt x="6368517" y="865324"/>
                  <a:pt x="6358069" y="924215"/>
                  <a:pt x="6378016" y="953661"/>
                </a:cubicBezTo>
                <a:cubicBezTo>
                  <a:pt x="6375166" y="910917"/>
                  <a:pt x="6382765" y="866274"/>
                  <a:pt x="6378966" y="817831"/>
                </a:cubicBezTo>
                <a:cubicBezTo>
                  <a:pt x="6378966" y="816881"/>
                  <a:pt x="6374216" y="818781"/>
                  <a:pt x="6373267" y="817831"/>
                </a:cubicBezTo>
                <a:cubicBezTo>
                  <a:pt x="6369467" y="810232"/>
                  <a:pt x="6374216" y="754190"/>
                  <a:pt x="6373267" y="738992"/>
                </a:cubicBezTo>
                <a:cubicBezTo>
                  <a:pt x="6372316" y="719995"/>
                  <a:pt x="6379915" y="675352"/>
                  <a:pt x="6362818" y="682001"/>
                </a:cubicBezTo>
                <a:close/>
                <a:moveTo>
                  <a:pt x="6407461" y="421739"/>
                </a:moveTo>
                <a:cubicBezTo>
                  <a:pt x="6407461" y="433137"/>
                  <a:pt x="6407461" y="444535"/>
                  <a:pt x="6407461" y="455934"/>
                </a:cubicBezTo>
                <a:cubicBezTo>
                  <a:pt x="6410311" y="455934"/>
                  <a:pt x="6414111" y="455934"/>
                  <a:pt x="6417910" y="455934"/>
                </a:cubicBezTo>
                <a:cubicBezTo>
                  <a:pt x="6417910" y="444535"/>
                  <a:pt x="6417910" y="433137"/>
                  <a:pt x="6417910" y="421739"/>
                </a:cubicBezTo>
                <a:cubicBezTo>
                  <a:pt x="6414111" y="421739"/>
                  <a:pt x="6410311" y="421739"/>
                  <a:pt x="6407461" y="421739"/>
                </a:cubicBezTo>
                <a:close/>
                <a:moveTo>
                  <a:pt x="6413160" y="308705"/>
                </a:moveTo>
                <a:cubicBezTo>
                  <a:pt x="6424559" y="330552"/>
                  <a:pt x="6424559" y="367596"/>
                  <a:pt x="6417910" y="398942"/>
                </a:cubicBezTo>
                <a:cubicBezTo>
                  <a:pt x="6406512" y="390393"/>
                  <a:pt x="6416010" y="335301"/>
                  <a:pt x="6413160" y="308705"/>
                </a:cubicBezTo>
                <a:close/>
                <a:moveTo>
                  <a:pt x="0" y="0"/>
                </a:moveTo>
                <a:lnTo>
                  <a:pt x="1892778" y="0"/>
                </a:lnTo>
                <a:lnTo>
                  <a:pt x="5110903" y="0"/>
                </a:lnTo>
                <a:lnTo>
                  <a:pt x="5124201" y="0"/>
                </a:lnTo>
                <a:lnTo>
                  <a:pt x="5132750" y="0"/>
                </a:lnTo>
                <a:lnTo>
                  <a:pt x="5203989" y="0"/>
                </a:lnTo>
                <a:lnTo>
                  <a:pt x="5216337" y="0"/>
                </a:lnTo>
                <a:lnTo>
                  <a:pt x="5285678" y="0"/>
                </a:lnTo>
                <a:lnTo>
                  <a:pt x="5312273" y="0"/>
                </a:lnTo>
                <a:lnTo>
                  <a:pt x="5379713" y="0"/>
                </a:lnTo>
                <a:lnTo>
                  <a:pt x="5390162" y="0"/>
                </a:lnTo>
                <a:lnTo>
                  <a:pt x="5410109" y="0"/>
                </a:lnTo>
                <a:lnTo>
                  <a:pt x="5463301" y="0"/>
                </a:lnTo>
                <a:lnTo>
                  <a:pt x="5482298" y="0"/>
                </a:lnTo>
                <a:lnTo>
                  <a:pt x="5507944" y="0"/>
                </a:lnTo>
                <a:lnTo>
                  <a:pt x="5609579" y="0"/>
                </a:lnTo>
                <a:lnTo>
                  <a:pt x="5614329" y="0"/>
                </a:lnTo>
                <a:lnTo>
                  <a:pt x="6375166" y="0"/>
                </a:lnTo>
                <a:cubicBezTo>
                  <a:pt x="6376116" y="17098"/>
                  <a:pt x="6377066" y="33245"/>
                  <a:pt x="6378016" y="48443"/>
                </a:cubicBezTo>
                <a:cubicBezTo>
                  <a:pt x="6380865" y="74089"/>
                  <a:pt x="6386564" y="35145"/>
                  <a:pt x="6394163" y="59841"/>
                </a:cubicBezTo>
                <a:cubicBezTo>
                  <a:pt x="6393213" y="73139"/>
                  <a:pt x="6395113" y="79788"/>
                  <a:pt x="6399863" y="82638"/>
                </a:cubicBezTo>
                <a:cubicBezTo>
                  <a:pt x="6403662" y="114933"/>
                  <a:pt x="6392264" y="112084"/>
                  <a:pt x="6394163" y="139630"/>
                </a:cubicBezTo>
                <a:cubicBezTo>
                  <a:pt x="6409361" y="224167"/>
                  <a:pt x="6405562" y="311555"/>
                  <a:pt x="6409361" y="399892"/>
                </a:cubicBezTo>
                <a:cubicBezTo>
                  <a:pt x="6410311" y="413190"/>
                  <a:pt x="6418860" y="409390"/>
                  <a:pt x="6425509" y="411290"/>
                </a:cubicBezTo>
                <a:cubicBezTo>
                  <a:pt x="6425509" y="434087"/>
                  <a:pt x="6425509" y="456883"/>
                  <a:pt x="6425509" y="479680"/>
                </a:cubicBezTo>
                <a:cubicBezTo>
                  <a:pt x="6418860" y="466382"/>
                  <a:pt x="6416960" y="474931"/>
                  <a:pt x="6409361" y="479680"/>
                </a:cubicBezTo>
                <a:cubicBezTo>
                  <a:pt x="6415060" y="509126"/>
                  <a:pt x="6415060" y="549020"/>
                  <a:pt x="6414111" y="592714"/>
                </a:cubicBezTo>
                <a:cubicBezTo>
                  <a:pt x="6435008" y="594613"/>
                  <a:pt x="6416010" y="583215"/>
                  <a:pt x="6419809" y="558519"/>
                </a:cubicBezTo>
                <a:cubicBezTo>
                  <a:pt x="6438807" y="553769"/>
                  <a:pt x="6422659" y="620260"/>
                  <a:pt x="6435957" y="626909"/>
                </a:cubicBezTo>
                <a:cubicBezTo>
                  <a:pt x="6433108" y="650655"/>
                  <a:pt x="6427408" y="650655"/>
                  <a:pt x="6419809" y="638307"/>
                </a:cubicBezTo>
                <a:cubicBezTo>
                  <a:pt x="6415060" y="674402"/>
                  <a:pt x="6427408" y="673452"/>
                  <a:pt x="6435957" y="683900"/>
                </a:cubicBezTo>
                <a:cubicBezTo>
                  <a:pt x="6431208" y="682950"/>
                  <a:pt x="6433108" y="715246"/>
                  <a:pt x="6430258" y="718095"/>
                </a:cubicBezTo>
                <a:cubicBezTo>
                  <a:pt x="6429308" y="719045"/>
                  <a:pt x="6420760" y="702898"/>
                  <a:pt x="6419809" y="706697"/>
                </a:cubicBezTo>
                <a:cubicBezTo>
                  <a:pt x="6418860" y="712396"/>
                  <a:pt x="6425509" y="720945"/>
                  <a:pt x="6425509" y="729494"/>
                </a:cubicBezTo>
                <a:cubicBezTo>
                  <a:pt x="6425509" y="735193"/>
                  <a:pt x="6419809" y="743742"/>
                  <a:pt x="6419809" y="740892"/>
                </a:cubicBezTo>
                <a:cubicBezTo>
                  <a:pt x="6420760" y="773187"/>
                  <a:pt x="6429308" y="810232"/>
                  <a:pt x="6424559" y="865324"/>
                </a:cubicBezTo>
                <a:cubicBezTo>
                  <a:pt x="6426459" y="883371"/>
                  <a:pt x="6434057" y="855825"/>
                  <a:pt x="6435008" y="876722"/>
                </a:cubicBezTo>
                <a:cubicBezTo>
                  <a:pt x="6433108" y="915667"/>
                  <a:pt x="6418860" y="895719"/>
                  <a:pt x="6435008" y="922316"/>
                </a:cubicBezTo>
                <a:cubicBezTo>
                  <a:pt x="6435008" y="948912"/>
                  <a:pt x="6425509" y="955561"/>
                  <a:pt x="6429308" y="989756"/>
                </a:cubicBezTo>
                <a:cubicBezTo>
                  <a:pt x="6430258" y="1003054"/>
                  <a:pt x="6435008" y="996405"/>
                  <a:pt x="6435008" y="989756"/>
                </a:cubicBezTo>
                <a:cubicBezTo>
                  <a:pt x="6437857" y="985006"/>
                  <a:pt x="6441656" y="1009703"/>
                  <a:pt x="6440706" y="1012552"/>
                </a:cubicBezTo>
                <a:cubicBezTo>
                  <a:pt x="6439757" y="1013502"/>
                  <a:pt x="6430258" y="1010653"/>
                  <a:pt x="6430258" y="1012552"/>
                </a:cubicBezTo>
                <a:cubicBezTo>
                  <a:pt x="6430258" y="1018252"/>
                  <a:pt x="6435008" y="1041998"/>
                  <a:pt x="6435008" y="1058146"/>
                </a:cubicBezTo>
                <a:cubicBezTo>
                  <a:pt x="6436907" y="1100890"/>
                  <a:pt x="6433108" y="1174979"/>
                  <a:pt x="6434057" y="1228171"/>
                </a:cubicBezTo>
                <a:cubicBezTo>
                  <a:pt x="6438807" y="1228171"/>
                  <a:pt x="6437857" y="1213923"/>
                  <a:pt x="6439757" y="1205374"/>
                </a:cubicBezTo>
                <a:cubicBezTo>
                  <a:pt x="6464453" y="1222472"/>
                  <a:pt x="6438807" y="1276614"/>
                  <a:pt x="6466353" y="1285163"/>
                </a:cubicBezTo>
                <a:cubicBezTo>
                  <a:pt x="6470152" y="1297511"/>
                  <a:pt x="6457804" y="1311759"/>
                  <a:pt x="6460653" y="1319358"/>
                </a:cubicBezTo>
                <a:cubicBezTo>
                  <a:pt x="6468253" y="1335505"/>
                  <a:pt x="6461603" y="1333606"/>
                  <a:pt x="6460653" y="1353553"/>
                </a:cubicBezTo>
                <a:cubicBezTo>
                  <a:pt x="6460653" y="1354503"/>
                  <a:pt x="6454954" y="1469436"/>
                  <a:pt x="6459704" y="1477985"/>
                </a:cubicBezTo>
                <a:cubicBezTo>
                  <a:pt x="6466353" y="1489383"/>
                  <a:pt x="6457804" y="1487483"/>
                  <a:pt x="6459704" y="1512180"/>
                </a:cubicBezTo>
                <a:cubicBezTo>
                  <a:pt x="6461603" y="1530227"/>
                  <a:pt x="6461603" y="1524528"/>
                  <a:pt x="6465403" y="1534976"/>
                </a:cubicBezTo>
                <a:cubicBezTo>
                  <a:pt x="6468253" y="1544475"/>
                  <a:pt x="6473002" y="1561572"/>
                  <a:pt x="6470152" y="1580570"/>
                </a:cubicBezTo>
                <a:cubicBezTo>
                  <a:pt x="6469202" y="1586269"/>
                  <a:pt x="6464453" y="1593868"/>
                  <a:pt x="6464453" y="1591968"/>
                </a:cubicBezTo>
                <a:cubicBezTo>
                  <a:pt x="6464453" y="1593868"/>
                  <a:pt x="6474901" y="1628063"/>
                  <a:pt x="6469202" y="1637561"/>
                </a:cubicBezTo>
                <a:cubicBezTo>
                  <a:pt x="6464453" y="1646110"/>
                  <a:pt x="6468253" y="1648960"/>
                  <a:pt x="6469202" y="1671756"/>
                </a:cubicBezTo>
                <a:cubicBezTo>
                  <a:pt x="6472052" y="1751545"/>
                  <a:pt x="6466353" y="1843681"/>
                  <a:pt x="6468253" y="1932018"/>
                </a:cubicBezTo>
                <a:cubicBezTo>
                  <a:pt x="6468253" y="1950066"/>
                  <a:pt x="6473002" y="1951016"/>
                  <a:pt x="6473002" y="1966213"/>
                </a:cubicBezTo>
                <a:cubicBezTo>
                  <a:pt x="6477751" y="2051701"/>
                  <a:pt x="6472052" y="2160935"/>
                  <a:pt x="6472052" y="2260670"/>
                </a:cubicBezTo>
                <a:cubicBezTo>
                  <a:pt x="6472052" y="2358506"/>
                  <a:pt x="6474901" y="2461091"/>
                  <a:pt x="6471102" y="2543729"/>
                </a:cubicBezTo>
                <a:cubicBezTo>
                  <a:pt x="6470152" y="2560827"/>
                  <a:pt x="6465403" y="2563676"/>
                  <a:pt x="6465403" y="2577924"/>
                </a:cubicBezTo>
                <a:cubicBezTo>
                  <a:pt x="6465403" y="2602621"/>
                  <a:pt x="6470152" y="2606420"/>
                  <a:pt x="6470152" y="2623518"/>
                </a:cubicBezTo>
                <a:cubicBezTo>
                  <a:pt x="6473952" y="2691908"/>
                  <a:pt x="6473952" y="2812540"/>
                  <a:pt x="6469202" y="2895178"/>
                </a:cubicBezTo>
                <a:cubicBezTo>
                  <a:pt x="6469202" y="2898978"/>
                  <a:pt x="6470152" y="2916075"/>
                  <a:pt x="6469202" y="2917975"/>
                </a:cubicBezTo>
                <a:cubicBezTo>
                  <a:pt x="6462553" y="2929373"/>
                  <a:pt x="6470152" y="2922724"/>
                  <a:pt x="6469202" y="2940771"/>
                </a:cubicBezTo>
                <a:cubicBezTo>
                  <a:pt x="6468253" y="2962618"/>
                  <a:pt x="6458754" y="2972117"/>
                  <a:pt x="6463503" y="3008212"/>
                </a:cubicBezTo>
                <a:cubicBezTo>
                  <a:pt x="6467302" y="3033858"/>
                  <a:pt x="6464453" y="3027209"/>
                  <a:pt x="6463503" y="3075652"/>
                </a:cubicBezTo>
                <a:cubicBezTo>
                  <a:pt x="6462553" y="3114596"/>
                  <a:pt x="6466353" y="3200083"/>
                  <a:pt x="6462553" y="3245677"/>
                </a:cubicBezTo>
                <a:cubicBezTo>
                  <a:pt x="6461603" y="3258975"/>
                  <a:pt x="6460653" y="3272273"/>
                  <a:pt x="6456854" y="3279872"/>
                </a:cubicBezTo>
                <a:cubicBezTo>
                  <a:pt x="6446405" y="3300769"/>
                  <a:pt x="6473952" y="3305518"/>
                  <a:pt x="6451155" y="3325465"/>
                </a:cubicBezTo>
                <a:cubicBezTo>
                  <a:pt x="6454005" y="3342563"/>
                  <a:pt x="6460653" y="3358710"/>
                  <a:pt x="6461603" y="3382457"/>
                </a:cubicBezTo>
                <a:cubicBezTo>
                  <a:pt x="6461603" y="3378658"/>
                  <a:pt x="6455904" y="3389106"/>
                  <a:pt x="6455904" y="3393855"/>
                </a:cubicBezTo>
                <a:cubicBezTo>
                  <a:pt x="6454954" y="3443248"/>
                  <a:pt x="6446405" y="3595226"/>
                  <a:pt x="6454954" y="3665516"/>
                </a:cubicBezTo>
                <a:cubicBezTo>
                  <a:pt x="6457804" y="3687363"/>
                  <a:pt x="6459704" y="3675014"/>
                  <a:pt x="6454954" y="3711109"/>
                </a:cubicBezTo>
                <a:cubicBezTo>
                  <a:pt x="6451155" y="3735805"/>
                  <a:pt x="6445456" y="3795647"/>
                  <a:pt x="6443556" y="3835541"/>
                </a:cubicBezTo>
                <a:cubicBezTo>
                  <a:pt x="6442606" y="3869736"/>
                  <a:pt x="6453055" y="3866886"/>
                  <a:pt x="6448305" y="3903931"/>
                </a:cubicBezTo>
                <a:cubicBezTo>
                  <a:pt x="6447356" y="3910580"/>
                  <a:pt x="6442606" y="3915329"/>
                  <a:pt x="6442606" y="3915329"/>
                </a:cubicBezTo>
                <a:cubicBezTo>
                  <a:pt x="6441656" y="3931477"/>
                  <a:pt x="6447356" y="3932427"/>
                  <a:pt x="6448305" y="3938126"/>
                </a:cubicBezTo>
                <a:cubicBezTo>
                  <a:pt x="6448305" y="3941925"/>
                  <a:pt x="6444506" y="3967572"/>
                  <a:pt x="6442606" y="3995118"/>
                </a:cubicBezTo>
                <a:cubicBezTo>
                  <a:pt x="6440706" y="4022664"/>
                  <a:pt x="6439757" y="4075856"/>
                  <a:pt x="6436907" y="4130948"/>
                </a:cubicBezTo>
                <a:cubicBezTo>
                  <a:pt x="6435957" y="4148995"/>
                  <a:pt x="6432157" y="4149945"/>
                  <a:pt x="6431208" y="4165143"/>
                </a:cubicBezTo>
                <a:cubicBezTo>
                  <a:pt x="6429308" y="4189839"/>
                  <a:pt x="6433108" y="4219285"/>
                  <a:pt x="6431208" y="4243981"/>
                </a:cubicBezTo>
                <a:cubicBezTo>
                  <a:pt x="6430258" y="4261079"/>
                  <a:pt x="6426459" y="4263928"/>
                  <a:pt x="6425509" y="4278176"/>
                </a:cubicBezTo>
                <a:cubicBezTo>
                  <a:pt x="6424559" y="4295274"/>
                  <a:pt x="6431208" y="4318071"/>
                  <a:pt x="6430258" y="4335168"/>
                </a:cubicBezTo>
                <a:cubicBezTo>
                  <a:pt x="6430258" y="4330419"/>
                  <a:pt x="6425509" y="4343717"/>
                  <a:pt x="6424559" y="4346567"/>
                </a:cubicBezTo>
                <a:cubicBezTo>
                  <a:pt x="6423609" y="4354165"/>
                  <a:pt x="6425509" y="4361764"/>
                  <a:pt x="6424559" y="4369363"/>
                </a:cubicBezTo>
                <a:cubicBezTo>
                  <a:pt x="6421709" y="4395010"/>
                  <a:pt x="6420760" y="4396909"/>
                  <a:pt x="6418860" y="4436803"/>
                </a:cubicBezTo>
                <a:cubicBezTo>
                  <a:pt x="6416960" y="4464349"/>
                  <a:pt x="6410311" y="4479547"/>
                  <a:pt x="6418860" y="4515642"/>
                </a:cubicBezTo>
                <a:cubicBezTo>
                  <a:pt x="6408411" y="4515642"/>
                  <a:pt x="6405562" y="4546037"/>
                  <a:pt x="6407461" y="4583082"/>
                </a:cubicBezTo>
                <a:cubicBezTo>
                  <a:pt x="6408411" y="4599230"/>
                  <a:pt x="6412211" y="4603979"/>
                  <a:pt x="6412211" y="4617277"/>
                </a:cubicBezTo>
                <a:cubicBezTo>
                  <a:pt x="6412211" y="4635324"/>
                  <a:pt x="6408411" y="4636274"/>
                  <a:pt x="6406512" y="4651472"/>
                </a:cubicBezTo>
                <a:cubicBezTo>
                  <a:pt x="6404612" y="4669519"/>
                  <a:pt x="6407461" y="4689467"/>
                  <a:pt x="6406512" y="4708464"/>
                </a:cubicBezTo>
                <a:cubicBezTo>
                  <a:pt x="6404612" y="4741709"/>
                  <a:pt x="6399863" y="4815798"/>
                  <a:pt x="6395113" y="4867091"/>
                </a:cubicBezTo>
                <a:cubicBezTo>
                  <a:pt x="6388464" y="4935480"/>
                  <a:pt x="6381815" y="5065611"/>
                  <a:pt x="6378016" y="5150149"/>
                </a:cubicBezTo>
                <a:cubicBezTo>
                  <a:pt x="6367567" y="5154899"/>
                  <a:pt x="6364718" y="5174846"/>
                  <a:pt x="6351419" y="5172946"/>
                </a:cubicBezTo>
                <a:cubicBezTo>
                  <a:pt x="6351419" y="5161548"/>
                  <a:pt x="6351419" y="5150149"/>
                  <a:pt x="6351419" y="5138751"/>
                </a:cubicBezTo>
                <a:cubicBezTo>
                  <a:pt x="6341921" y="5140651"/>
                  <a:pt x="6347620" y="5176745"/>
                  <a:pt x="6340971" y="5184344"/>
                </a:cubicBezTo>
                <a:cubicBezTo>
                  <a:pt x="6332422" y="5181495"/>
                  <a:pt x="6338122" y="5154899"/>
                  <a:pt x="6336222" y="5138751"/>
                </a:cubicBezTo>
                <a:cubicBezTo>
                  <a:pt x="6334322" y="5129252"/>
                  <a:pt x="6328623" y="5126403"/>
                  <a:pt x="6325774" y="5115954"/>
                </a:cubicBezTo>
                <a:cubicBezTo>
                  <a:pt x="6322924" y="5107406"/>
                  <a:pt x="6327673" y="5092207"/>
                  <a:pt x="6320074" y="5093158"/>
                </a:cubicBezTo>
                <a:cubicBezTo>
                  <a:pt x="6315325" y="5103606"/>
                  <a:pt x="6304877" y="5156799"/>
                  <a:pt x="6314375" y="5160598"/>
                </a:cubicBezTo>
                <a:cubicBezTo>
                  <a:pt x="6301077" y="5202392"/>
                  <a:pt x="6302977" y="5117854"/>
                  <a:pt x="6303926" y="5092207"/>
                </a:cubicBezTo>
                <a:cubicBezTo>
                  <a:pt x="6299177" y="5100756"/>
                  <a:pt x="6295378" y="5113105"/>
                  <a:pt x="6293478" y="5126403"/>
                </a:cubicBezTo>
                <a:cubicBezTo>
                  <a:pt x="6286829" y="5124503"/>
                  <a:pt x="6286829" y="5111205"/>
                  <a:pt x="6283030" y="5103606"/>
                </a:cubicBezTo>
                <a:cubicBezTo>
                  <a:pt x="6279230" y="5096007"/>
                  <a:pt x="6274481" y="5092207"/>
                  <a:pt x="6272581" y="5080810"/>
                </a:cubicBezTo>
                <a:cubicBezTo>
                  <a:pt x="6267832" y="5086509"/>
                  <a:pt x="6264033" y="5092207"/>
                  <a:pt x="6256433" y="5092207"/>
                </a:cubicBezTo>
                <a:cubicBezTo>
                  <a:pt x="6242186" y="5092207"/>
                  <a:pt x="6245036" y="5128303"/>
                  <a:pt x="6229837" y="5126403"/>
                </a:cubicBezTo>
                <a:cubicBezTo>
                  <a:pt x="6229837" y="5111205"/>
                  <a:pt x="6229837" y="5096007"/>
                  <a:pt x="6229837" y="5080810"/>
                </a:cubicBezTo>
                <a:cubicBezTo>
                  <a:pt x="6216540" y="5076060"/>
                  <a:pt x="6218439" y="5101706"/>
                  <a:pt x="6203242" y="5092207"/>
                </a:cubicBezTo>
                <a:cubicBezTo>
                  <a:pt x="6199442" y="5134002"/>
                  <a:pt x="6214640" y="5135901"/>
                  <a:pt x="6213690" y="5171046"/>
                </a:cubicBezTo>
                <a:cubicBezTo>
                  <a:pt x="6234587" y="5172946"/>
                  <a:pt x="6237436" y="5194793"/>
                  <a:pt x="6262133" y="5205241"/>
                </a:cubicBezTo>
                <a:cubicBezTo>
                  <a:pt x="6268782" y="5203341"/>
                  <a:pt x="6266882" y="5184344"/>
                  <a:pt x="6267832" y="5171046"/>
                </a:cubicBezTo>
                <a:cubicBezTo>
                  <a:pt x="6283980" y="5179595"/>
                  <a:pt x="6278281" y="5139701"/>
                  <a:pt x="6294428" y="5148250"/>
                </a:cubicBezTo>
                <a:cubicBezTo>
                  <a:pt x="6294428" y="5174846"/>
                  <a:pt x="6294428" y="5201442"/>
                  <a:pt x="6294428" y="5227088"/>
                </a:cubicBezTo>
                <a:cubicBezTo>
                  <a:pt x="6301077" y="5225188"/>
                  <a:pt x="6299177" y="5206191"/>
                  <a:pt x="6300127" y="5192893"/>
                </a:cubicBezTo>
                <a:cubicBezTo>
                  <a:pt x="6311526" y="5197642"/>
                  <a:pt x="6314375" y="5185294"/>
                  <a:pt x="6321974" y="5181495"/>
                </a:cubicBezTo>
                <a:cubicBezTo>
                  <a:pt x="6333372" y="5175796"/>
                  <a:pt x="6329573" y="5203341"/>
                  <a:pt x="6338122" y="5204292"/>
                </a:cubicBezTo>
                <a:cubicBezTo>
                  <a:pt x="6353319" y="5207141"/>
                  <a:pt x="6354269" y="5178645"/>
                  <a:pt x="6370417" y="5181495"/>
                </a:cubicBezTo>
                <a:cubicBezTo>
                  <a:pt x="6376116" y="5217589"/>
                  <a:pt x="6378966" y="5302127"/>
                  <a:pt x="6348570" y="5294528"/>
                </a:cubicBezTo>
                <a:cubicBezTo>
                  <a:pt x="6365667" y="5327774"/>
                  <a:pt x="6350470" y="5359119"/>
                  <a:pt x="6359019" y="5407562"/>
                </a:cubicBezTo>
                <a:cubicBezTo>
                  <a:pt x="6338122" y="5412311"/>
                  <a:pt x="6340022" y="5419910"/>
                  <a:pt x="6326723" y="5396163"/>
                </a:cubicBezTo>
                <a:cubicBezTo>
                  <a:pt x="6322924" y="5364818"/>
                  <a:pt x="6337172" y="5373367"/>
                  <a:pt x="6337172" y="5350570"/>
                </a:cubicBezTo>
                <a:cubicBezTo>
                  <a:pt x="6328623" y="5334422"/>
                  <a:pt x="6332422" y="5292629"/>
                  <a:pt x="6332422" y="5260333"/>
                </a:cubicBezTo>
                <a:cubicBezTo>
                  <a:pt x="6326723" y="5263183"/>
                  <a:pt x="6328623" y="5283130"/>
                  <a:pt x="6321974" y="5283130"/>
                </a:cubicBezTo>
                <a:cubicBezTo>
                  <a:pt x="6310576" y="5288829"/>
                  <a:pt x="6311526" y="5266982"/>
                  <a:pt x="6311526" y="5248935"/>
                </a:cubicBezTo>
                <a:cubicBezTo>
                  <a:pt x="6296328" y="5250834"/>
                  <a:pt x="6274481" y="5239436"/>
                  <a:pt x="6273531" y="5271732"/>
                </a:cubicBezTo>
                <a:cubicBezTo>
                  <a:pt x="6262133" y="5273631"/>
                  <a:pt x="6271632" y="5231837"/>
                  <a:pt x="6268782" y="5214740"/>
                </a:cubicBezTo>
                <a:cubicBezTo>
                  <a:pt x="6262133" y="5234687"/>
                  <a:pt x="6250735" y="5244185"/>
                  <a:pt x="6252634" y="5282180"/>
                </a:cubicBezTo>
                <a:cubicBezTo>
                  <a:pt x="6240286" y="5277430"/>
                  <a:pt x="6250735" y="5226138"/>
                  <a:pt x="6247885" y="5203341"/>
                </a:cubicBezTo>
                <a:cubicBezTo>
                  <a:pt x="6242186" y="5210940"/>
                  <a:pt x="6242186" y="5228988"/>
                  <a:pt x="6231737" y="5226138"/>
                </a:cubicBezTo>
                <a:cubicBezTo>
                  <a:pt x="6230788" y="5255584"/>
                  <a:pt x="6228888" y="5280281"/>
                  <a:pt x="6220339" y="5293578"/>
                </a:cubicBezTo>
                <a:cubicBezTo>
                  <a:pt x="6224139" y="5302127"/>
                  <a:pt x="6243136" y="5329673"/>
                  <a:pt x="6220339" y="5327774"/>
                </a:cubicBezTo>
                <a:cubicBezTo>
                  <a:pt x="6219389" y="5342497"/>
                  <a:pt x="6224613" y="5344871"/>
                  <a:pt x="6229482" y="5348077"/>
                </a:cubicBezTo>
                <a:lnTo>
                  <a:pt x="6235537" y="5354971"/>
                </a:lnTo>
                <a:lnTo>
                  <a:pt x="6235537" y="5374031"/>
                </a:lnTo>
                <a:lnTo>
                  <a:pt x="6228458" y="5378977"/>
                </a:lnTo>
                <a:cubicBezTo>
                  <a:pt x="6222536" y="5389040"/>
                  <a:pt x="6221289" y="5408986"/>
                  <a:pt x="6209891" y="5407562"/>
                </a:cubicBezTo>
                <a:cubicBezTo>
                  <a:pt x="6206091" y="5441757"/>
                  <a:pt x="6215590" y="5448406"/>
                  <a:pt x="6214640" y="5475952"/>
                </a:cubicBezTo>
                <a:cubicBezTo>
                  <a:pt x="6217489" y="5499698"/>
                  <a:pt x="6210840" y="5505397"/>
                  <a:pt x="6208940" y="5521545"/>
                </a:cubicBezTo>
                <a:cubicBezTo>
                  <a:pt x="6207041" y="5540542"/>
                  <a:pt x="6214640" y="5572838"/>
                  <a:pt x="6203242" y="5578537"/>
                </a:cubicBezTo>
                <a:cubicBezTo>
                  <a:pt x="6204191" y="5602283"/>
                  <a:pt x="6226988" y="5581386"/>
                  <a:pt x="6229837" y="5601334"/>
                </a:cubicBezTo>
                <a:cubicBezTo>
                  <a:pt x="6232687" y="5648827"/>
                  <a:pt x="6220339" y="5664974"/>
                  <a:pt x="6218439" y="5702969"/>
                </a:cubicBezTo>
                <a:cubicBezTo>
                  <a:pt x="6207041" y="5725765"/>
                  <a:pt x="6207991" y="5698220"/>
                  <a:pt x="6197543" y="5691570"/>
                </a:cubicBezTo>
                <a:cubicBezTo>
                  <a:pt x="6197543" y="5706768"/>
                  <a:pt x="6197543" y="5721966"/>
                  <a:pt x="6197543" y="5737164"/>
                </a:cubicBezTo>
                <a:cubicBezTo>
                  <a:pt x="6198492" y="5763760"/>
                  <a:pt x="6209891" y="5719116"/>
                  <a:pt x="6218439" y="5748562"/>
                </a:cubicBezTo>
                <a:cubicBezTo>
                  <a:pt x="6218439" y="5763760"/>
                  <a:pt x="6218439" y="5778958"/>
                  <a:pt x="6218439" y="5794155"/>
                </a:cubicBezTo>
                <a:cubicBezTo>
                  <a:pt x="6206091" y="5823601"/>
                  <a:pt x="6183295" y="5785606"/>
                  <a:pt x="6175696" y="5805554"/>
                </a:cubicBezTo>
                <a:cubicBezTo>
                  <a:pt x="6178546" y="5829300"/>
                  <a:pt x="6186144" y="5844498"/>
                  <a:pt x="6196592" y="5851147"/>
                </a:cubicBezTo>
                <a:cubicBezTo>
                  <a:pt x="6183295" y="5875843"/>
                  <a:pt x="6183295" y="5928086"/>
                  <a:pt x="6174746" y="5964181"/>
                </a:cubicBezTo>
                <a:cubicBezTo>
                  <a:pt x="6154799" y="5959432"/>
                  <a:pt x="6181395" y="5889142"/>
                  <a:pt x="6159548" y="5873944"/>
                </a:cubicBezTo>
                <a:cubicBezTo>
                  <a:pt x="6163348" y="5864445"/>
                  <a:pt x="6160498" y="5835950"/>
                  <a:pt x="6165247" y="5828350"/>
                </a:cubicBezTo>
                <a:cubicBezTo>
                  <a:pt x="6173796" y="5813153"/>
                  <a:pt x="6166197" y="5813153"/>
                  <a:pt x="6165247" y="5794155"/>
                </a:cubicBezTo>
                <a:cubicBezTo>
                  <a:pt x="6165247" y="5776108"/>
                  <a:pt x="6169047" y="5774209"/>
                  <a:pt x="6170946" y="5759961"/>
                </a:cubicBezTo>
                <a:cubicBezTo>
                  <a:pt x="6172846" y="5743813"/>
                  <a:pt x="6165247" y="5710568"/>
                  <a:pt x="6176646" y="5702969"/>
                </a:cubicBezTo>
                <a:cubicBezTo>
                  <a:pt x="6162398" y="5678272"/>
                  <a:pt x="6175696" y="5664974"/>
                  <a:pt x="6166197" y="5635528"/>
                </a:cubicBezTo>
                <a:cubicBezTo>
                  <a:pt x="6163348" y="5598484"/>
                  <a:pt x="6169997" y="5583286"/>
                  <a:pt x="6171897" y="5556690"/>
                </a:cubicBezTo>
                <a:cubicBezTo>
                  <a:pt x="6166197" y="5550041"/>
                  <a:pt x="6168097" y="5578537"/>
                  <a:pt x="6166197" y="5579487"/>
                </a:cubicBezTo>
                <a:cubicBezTo>
                  <a:pt x="6154799" y="5582336"/>
                  <a:pt x="6156698" y="5532943"/>
                  <a:pt x="6161448" y="5512046"/>
                </a:cubicBezTo>
                <a:cubicBezTo>
                  <a:pt x="6145301" y="5500648"/>
                  <a:pt x="6151949" y="5536743"/>
                  <a:pt x="6151000" y="5557640"/>
                </a:cubicBezTo>
                <a:cubicBezTo>
                  <a:pt x="6140551" y="5576637"/>
                  <a:pt x="6144350" y="5556690"/>
                  <a:pt x="6130102" y="5557640"/>
                </a:cubicBezTo>
                <a:cubicBezTo>
                  <a:pt x="6131053" y="5621280"/>
                  <a:pt x="6128203" y="5676372"/>
                  <a:pt x="6113005" y="5704868"/>
                </a:cubicBezTo>
                <a:cubicBezTo>
                  <a:pt x="6112055" y="5793206"/>
                  <a:pt x="6116805" y="5895791"/>
                  <a:pt x="6101607" y="5953732"/>
                </a:cubicBezTo>
                <a:cubicBezTo>
                  <a:pt x="6085459" y="5946133"/>
                  <a:pt x="6106356" y="5929985"/>
                  <a:pt x="6101607" y="5908139"/>
                </a:cubicBezTo>
                <a:cubicBezTo>
                  <a:pt x="6077860" y="5891041"/>
                  <a:pt x="6104456" y="5982228"/>
                  <a:pt x="6079760" y="5964181"/>
                </a:cubicBezTo>
                <a:cubicBezTo>
                  <a:pt x="6085459" y="5917637"/>
                  <a:pt x="6080710" y="5908139"/>
                  <a:pt x="6085459" y="5851147"/>
                </a:cubicBezTo>
                <a:cubicBezTo>
                  <a:pt x="6056014" y="5854947"/>
                  <a:pt x="6083560" y="5877743"/>
                  <a:pt x="6069312" y="5908139"/>
                </a:cubicBezTo>
                <a:cubicBezTo>
                  <a:pt x="6061712" y="5924287"/>
                  <a:pt x="6072161" y="5909088"/>
                  <a:pt x="6069312" y="5953732"/>
                </a:cubicBezTo>
                <a:cubicBezTo>
                  <a:pt x="6069312" y="5954682"/>
                  <a:pt x="6059813" y="5952782"/>
                  <a:pt x="6058863" y="5953732"/>
                </a:cubicBezTo>
                <a:cubicBezTo>
                  <a:pt x="6064563" y="5967030"/>
                  <a:pt x="6074061" y="5974629"/>
                  <a:pt x="6069312" y="6010724"/>
                </a:cubicBezTo>
                <a:cubicBezTo>
                  <a:pt x="6061712" y="6024022"/>
                  <a:pt x="6056014" y="6024022"/>
                  <a:pt x="6047465" y="6010724"/>
                </a:cubicBezTo>
                <a:cubicBezTo>
                  <a:pt x="6047465" y="6033521"/>
                  <a:pt x="6047465" y="6056317"/>
                  <a:pt x="6047465" y="6079114"/>
                </a:cubicBezTo>
                <a:cubicBezTo>
                  <a:pt x="6058863" y="6085763"/>
                  <a:pt x="6060763" y="6057267"/>
                  <a:pt x="6053164" y="6056317"/>
                </a:cubicBezTo>
                <a:cubicBezTo>
                  <a:pt x="6059813" y="6020222"/>
                  <a:pt x="6068362" y="6067715"/>
                  <a:pt x="6063612" y="6090512"/>
                </a:cubicBezTo>
                <a:cubicBezTo>
                  <a:pt x="6071211" y="6076264"/>
                  <a:pt x="6072161" y="6047769"/>
                  <a:pt x="6079760" y="6033521"/>
                </a:cubicBezTo>
                <a:cubicBezTo>
                  <a:pt x="6085459" y="6041119"/>
                  <a:pt x="6085459" y="6059167"/>
                  <a:pt x="6095908" y="6056317"/>
                </a:cubicBezTo>
                <a:cubicBezTo>
                  <a:pt x="6094958" y="6070565"/>
                  <a:pt x="6085459" y="6067715"/>
                  <a:pt x="6085459" y="6056317"/>
                </a:cubicBezTo>
                <a:cubicBezTo>
                  <a:pt x="6071211" y="6075314"/>
                  <a:pt x="6094008" y="6110459"/>
                  <a:pt x="6074061" y="6123757"/>
                </a:cubicBezTo>
                <a:cubicBezTo>
                  <a:pt x="6075011" y="6139905"/>
                  <a:pt x="6090208" y="6127557"/>
                  <a:pt x="6090208" y="6146554"/>
                </a:cubicBezTo>
                <a:cubicBezTo>
                  <a:pt x="6094958" y="6182649"/>
                  <a:pt x="6073111" y="6162702"/>
                  <a:pt x="6068362" y="6180749"/>
                </a:cubicBezTo>
                <a:cubicBezTo>
                  <a:pt x="6069312" y="6194047"/>
                  <a:pt x="6077860" y="6190248"/>
                  <a:pt x="6084509" y="6192148"/>
                </a:cubicBezTo>
                <a:cubicBezTo>
                  <a:pt x="6089259" y="6235841"/>
                  <a:pt x="6060763" y="6210195"/>
                  <a:pt x="6068362" y="6259588"/>
                </a:cubicBezTo>
                <a:cubicBezTo>
                  <a:pt x="6043665" y="6234891"/>
                  <a:pt x="6069312" y="6167451"/>
                  <a:pt x="6063612" y="6112359"/>
                </a:cubicBezTo>
                <a:cubicBezTo>
                  <a:pt x="6039866" y="6164601"/>
                  <a:pt x="6056963" y="6239641"/>
                  <a:pt x="6036067" y="6304231"/>
                </a:cubicBezTo>
                <a:cubicBezTo>
                  <a:pt x="6047465" y="6324178"/>
                  <a:pt x="6045565" y="6298532"/>
                  <a:pt x="6057913" y="6292833"/>
                </a:cubicBezTo>
                <a:cubicBezTo>
                  <a:pt x="6056014" y="6293782"/>
                  <a:pt x="6060763" y="6309930"/>
                  <a:pt x="6063612" y="6304231"/>
                </a:cubicBezTo>
                <a:cubicBezTo>
                  <a:pt x="6067412" y="6295682"/>
                  <a:pt x="6071211" y="6291883"/>
                  <a:pt x="6079760" y="6292833"/>
                </a:cubicBezTo>
                <a:cubicBezTo>
                  <a:pt x="6084509" y="6364072"/>
                  <a:pt x="6049364" y="6330827"/>
                  <a:pt x="6031317" y="6327027"/>
                </a:cubicBezTo>
                <a:cubicBezTo>
                  <a:pt x="6026568" y="6328927"/>
                  <a:pt x="6025618" y="6338426"/>
                  <a:pt x="6020869" y="6338426"/>
                </a:cubicBezTo>
                <a:cubicBezTo>
                  <a:pt x="6018020" y="6370721"/>
                  <a:pt x="6019682" y="6393281"/>
                  <a:pt x="6022531" y="6413465"/>
                </a:cubicBezTo>
                <a:lnTo>
                  <a:pt x="6030784" y="6470567"/>
                </a:lnTo>
                <a:lnTo>
                  <a:pt x="6030472" y="6473683"/>
                </a:lnTo>
                <a:lnTo>
                  <a:pt x="6029284" y="6472876"/>
                </a:lnTo>
                <a:cubicBezTo>
                  <a:pt x="6026746" y="6468736"/>
                  <a:pt x="6023006" y="6458584"/>
                  <a:pt x="6020869" y="6462858"/>
                </a:cubicBezTo>
                <a:cubicBezTo>
                  <a:pt x="6021819" y="6460008"/>
                  <a:pt x="6017070" y="6485654"/>
                  <a:pt x="6015170" y="6486605"/>
                </a:cubicBezTo>
                <a:cubicBezTo>
                  <a:pt x="6015170" y="6494203"/>
                  <a:pt x="6020869" y="6498003"/>
                  <a:pt x="6019919" y="6507501"/>
                </a:cubicBezTo>
                <a:cubicBezTo>
                  <a:pt x="6019919" y="6513201"/>
                  <a:pt x="6014219" y="6521749"/>
                  <a:pt x="6014219" y="6518900"/>
                </a:cubicBezTo>
                <a:cubicBezTo>
                  <a:pt x="6015170" y="6557844"/>
                  <a:pt x="6022768" y="6618635"/>
                  <a:pt x="6002822" y="6654730"/>
                </a:cubicBezTo>
                <a:cubicBezTo>
                  <a:pt x="6002822" y="6738318"/>
                  <a:pt x="5998072" y="6799109"/>
                  <a:pt x="5993323" y="6867499"/>
                </a:cubicBezTo>
                <a:lnTo>
                  <a:pt x="5857493" y="6867499"/>
                </a:lnTo>
                <a:cubicBezTo>
                  <a:pt x="5857493" y="6865599"/>
                  <a:pt x="5857493" y="6864649"/>
                  <a:pt x="5857493" y="6862750"/>
                </a:cubicBezTo>
                <a:lnTo>
                  <a:pt x="5850844" y="6862750"/>
                </a:lnTo>
                <a:cubicBezTo>
                  <a:pt x="5850844" y="6864649"/>
                  <a:pt x="5850844" y="6866549"/>
                  <a:pt x="5850844" y="6867499"/>
                </a:cubicBezTo>
                <a:lnTo>
                  <a:pt x="5489897" y="6867499"/>
                </a:lnTo>
                <a:cubicBezTo>
                  <a:pt x="5489897" y="6865599"/>
                  <a:pt x="5489897" y="6864649"/>
                  <a:pt x="5488947" y="6862750"/>
                </a:cubicBezTo>
                <a:lnTo>
                  <a:pt x="5483248" y="6862750"/>
                </a:lnTo>
                <a:cubicBezTo>
                  <a:pt x="5483248" y="6864649"/>
                  <a:pt x="5483248" y="6866549"/>
                  <a:pt x="5483248" y="6867499"/>
                </a:cubicBezTo>
                <a:lnTo>
                  <a:pt x="5225836" y="6867499"/>
                </a:lnTo>
                <a:cubicBezTo>
                  <a:pt x="5225836" y="6865599"/>
                  <a:pt x="5225836" y="6863699"/>
                  <a:pt x="5225836" y="6862750"/>
                </a:cubicBezTo>
                <a:lnTo>
                  <a:pt x="5217288" y="6862750"/>
                </a:lnTo>
                <a:cubicBezTo>
                  <a:pt x="5217288" y="6864649"/>
                  <a:pt x="5217288" y="6866549"/>
                  <a:pt x="5217288" y="6867499"/>
                </a:cubicBezTo>
                <a:cubicBezTo>
                  <a:pt x="5217288" y="6867499"/>
                  <a:pt x="5218237" y="6867499"/>
                  <a:pt x="5218237" y="6868448"/>
                </a:cubicBezTo>
                <a:lnTo>
                  <a:pt x="5118502" y="6868448"/>
                </a:lnTo>
                <a:cubicBezTo>
                  <a:pt x="5118502" y="6866549"/>
                  <a:pt x="5118502" y="6864649"/>
                  <a:pt x="3104799" y="6863699"/>
                </a:cubicBezTo>
                <a:lnTo>
                  <a:pt x="0" y="6863699"/>
                </a:lnTo>
                <a:close/>
              </a:path>
            </a:pathLst>
          </a:custGeom>
        </p:spPr>
      </p:pic>
      <p:pic>
        <p:nvPicPr>
          <p:cNvPr id="12" name="Graphic 11">
            <a:extLst>
              <a:ext uri="{FF2B5EF4-FFF2-40B4-BE49-F238E27FC236}">
                <a16:creationId xmlns:a16="http://schemas.microsoft.com/office/drawing/2014/main" id="{7F7E12FB-5E4A-4CF8-8B38-362C2FDA404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
        <p:nvSpPr>
          <p:cNvPr id="14" name="Picture Placeholder 13">
            <a:extLst>
              <a:ext uri="{FF2B5EF4-FFF2-40B4-BE49-F238E27FC236}">
                <a16:creationId xmlns:a16="http://schemas.microsoft.com/office/drawing/2014/main" id="{A0AD4013-A163-4778-9E1D-C247D0DFCBEA}"/>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lvl1pPr>
              <a:defRPr>
                <a:solidFill>
                  <a:schemeClr val="bg1"/>
                </a:solidFill>
              </a:defRPr>
            </a:lvl1pPr>
          </a:lstStyle>
          <a:p>
            <a:r>
              <a:rPr lang="en-US"/>
              <a:t>To change the footer go to menu "Insert" &gt; "Header and Footer" &gt; "Apply to All"</a:t>
            </a:r>
            <a:endParaRPr lang="en-GB"/>
          </a:p>
        </p:txBody>
      </p:sp>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7" y="2622512"/>
            <a:ext cx="5220000" cy="1959013"/>
          </a:xfrm>
        </p:spPr>
        <p:txBody>
          <a:bodyPr vert="horz" anchor="t">
            <a:normAutofit/>
          </a:bodyPr>
          <a:lstStyle>
            <a:lvl1pPr algn="l">
              <a:lnSpc>
                <a:spcPct val="90000"/>
              </a:lnSpc>
              <a:defRPr sz="4000" spc="-150">
                <a:solidFill>
                  <a:schemeClr val="bg1"/>
                </a:solidFill>
                <a:latin typeface="+mj-lt"/>
              </a:defRPr>
            </a:lvl1pPr>
          </a:lstStyle>
          <a:p>
            <a:r>
              <a:rPr lang="en-US"/>
              <a:t>Click to edit Master title style</a:t>
            </a:r>
            <a:endParaRPr lang="en-GB"/>
          </a:p>
        </p:txBody>
      </p:sp>
      <p:sp>
        <p:nvSpPr>
          <p:cNvPr id="45" name="Slide Number Placeholder 44">
            <a:extLst>
              <a:ext uri="{FF2B5EF4-FFF2-40B4-BE49-F238E27FC236}">
                <a16:creationId xmlns:a16="http://schemas.microsoft.com/office/drawing/2014/main" id="{8A26B033-71E0-42E5-94FE-FA589DC64740}"/>
              </a:ext>
            </a:extLst>
          </p:cNvPr>
          <p:cNvSpPr>
            <a:spLocks noGrp="1"/>
          </p:cNvSpPr>
          <p:nvPr>
            <p:ph type="sldNum" sz="quarter" idx="15"/>
          </p:nvPr>
        </p:nvSpPr>
        <p:spPr/>
        <p:txBody>
          <a:bodyPr/>
          <a:lstStyle>
            <a:lvl1pPr>
              <a:defRPr>
                <a:solidFill>
                  <a:schemeClr val="bg1"/>
                </a:solidFill>
              </a:defRPr>
            </a:lvl1pPr>
          </a:lstStyle>
          <a:p>
            <a:fld id="{A8B7E462-AA7B-4427-9DF0-5AABDADAA92F}" type="slidenum">
              <a:rPr lang="en-GB" smtClean="0"/>
              <a:pPr/>
              <a:t>‹#›</a:t>
            </a:fld>
            <a:endParaRPr lang="en-GB"/>
          </a:p>
        </p:txBody>
      </p:sp>
      <p:sp>
        <p:nvSpPr>
          <p:cNvPr id="13" name="Text Placeholder 17">
            <a:extLst>
              <a:ext uri="{FF2B5EF4-FFF2-40B4-BE49-F238E27FC236}">
                <a16:creationId xmlns:a16="http://schemas.microsoft.com/office/drawing/2014/main" id="{688D4511-DFB5-4FAA-A914-15D91627D65F}"/>
              </a:ext>
            </a:extLst>
          </p:cNvPr>
          <p:cNvSpPr>
            <a:spLocks noGrp="1"/>
          </p:cNvSpPr>
          <p:nvPr>
            <p:ph type="body" sz="quarter" idx="14" hasCustomPrompt="1"/>
          </p:nvPr>
        </p:nvSpPr>
        <p:spPr>
          <a:xfrm>
            <a:off x="520701" y="1931354"/>
            <a:ext cx="570669" cy="615553"/>
          </a:xfrm>
        </p:spPr>
        <p:txBody>
          <a:bodyPr wrap="none">
            <a:spAutoFit/>
          </a:bodyPr>
          <a:lstStyle>
            <a:lvl1pPr>
              <a:defRPr sz="4000" b="1">
                <a:solidFill>
                  <a:schemeClr val="bg1">
                    <a:alpha val="50000"/>
                  </a:schemeClr>
                </a:solidFill>
              </a:defRPr>
            </a:lvl1pPr>
          </a:lstStyle>
          <a:p>
            <a:pPr lvl="0"/>
            <a:r>
              <a:rPr lang="en-US"/>
              <a:t>##</a:t>
            </a:r>
            <a:endParaRPr lang="en-GB"/>
          </a:p>
        </p:txBody>
      </p:sp>
      <p:sp>
        <p:nvSpPr>
          <p:cNvPr id="15" name="Text Placeholder 21">
            <a:extLst>
              <a:ext uri="{FF2B5EF4-FFF2-40B4-BE49-F238E27FC236}">
                <a16:creationId xmlns:a16="http://schemas.microsoft.com/office/drawing/2014/main" id="{09C4CDE8-0976-452E-93B0-3EA0A3989521}"/>
              </a:ext>
            </a:extLst>
          </p:cNvPr>
          <p:cNvSpPr>
            <a:spLocks noGrp="1"/>
          </p:cNvSpPr>
          <p:nvPr>
            <p:ph type="body" sz="quarter" idx="12"/>
          </p:nvPr>
        </p:nvSpPr>
        <p:spPr>
          <a:xfrm>
            <a:off x="515937" y="4911726"/>
            <a:ext cx="5220000" cy="796924"/>
          </a:xfrm>
        </p:spPr>
        <p:txBody>
          <a:bodyPr>
            <a:normAutofit/>
          </a:bodyPr>
          <a:lstStyle>
            <a:lvl1pPr marL="0" indent="0">
              <a:lnSpc>
                <a:spcPct val="90000"/>
              </a:lnSpc>
              <a:spcBef>
                <a:spcPts val="0"/>
              </a:spcBef>
              <a:buFont typeface="Arial" panose="020B0604020202020204" pitchFamily="34" charset="0"/>
              <a:buNone/>
              <a:defRPr sz="1600">
                <a:solidFill>
                  <a:schemeClr val="bg1">
                    <a:alpha val="50000"/>
                  </a:schemeClr>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Tree>
    <p:extLst>
      <p:ext uri="{BB962C8B-B14F-4D97-AF65-F5344CB8AC3E}">
        <p14:creationId xmlns:p14="http://schemas.microsoft.com/office/powerpoint/2010/main" val="355083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 Divider Orange Gradient">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439141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0" name="Rectangle 279">
            <a:extLst>
              <a:ext uri="{FF2B5EF4-FFF2-40B4-BE49-F238E27FC236}">
                <a16:creationId xmlns:a16="http://schemas.microsoft.com/office/drawing/2014/main" id="{6658115D-F111-47F2-8015-A20D083190B8}"/>
              </a:ext>
            </a:extLst>
          </p:cNvPr>
          <p:cNvSpPr/>
          <p:nvPr userDrawn="1"/>
        </p:nvSpPr>
        <p:spPr>
          <a:xfrm>
            <a:off x="7372238" y="0"/>
            <a:ext cx="4819762" cy="6858000"/>
          </a:xfrm>
          <a:prstGeom prst="rect">
            <a:avLst/>
          </a:prstGeom>
          <a:gradFill>
            <a:gsLst>
              <a:gs pos="100000">
                <a:schemeClr val="accent2"/>
              </a:gs>
              <a:gs pos="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136DD164-D5EA-4AFD-9E70-226F18029DB1}"/>
              </a:ext>
            </a:extLst>
          </p:cNvPr>
          <p:cNvPicPr>
            <a:picLocks noChangeAspect="1"/>
          </p:cNvPicPr>
          <p:nvPr userDrawn="1"/>
        </p:nvPicPr>
        <p:blipFill>
          <a:blip r:embed="rId5"/>
          <a:stretch>
            <a:fillRect/>
          </a:stretch>
        </p:blipFill>
        <p:spPr>
          <a:xfrm>
            <a:off x="0" y="0"/>
            <a:ext cx="10954513" cy="6858000"/>
          </a:xfrm>
          <a:prstGeom prst="rect">
            <a:avLst/>
          </a:prstGeom>
        </p:spPr>
      </p:pic>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515937" y="517525"/>
            <a:ext cx="1325563" cy="530225"/>
          </a:xfrm>
          <a:prstGeom prst="rect">
            <a:avLst/>
          </a:prstGeom>
        </p:spPr>
      </p:pic>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18" name="Text Placeholder 17">
            <a:extLst>
              <a:ext uri="{FF2B5EF4-FFF2-40B4-BE49-F238E27FC236}">
                <a16:creationId xmlns:a16="http://schemas.microsoft.com/office/drawing/2014/main" id="{10D988DF-64DF-4887-A7F8-75E271734057}"/>
              </a:ext>
            </a:extLst>
          </p:cNvPr>
          <p:cNvSpPr>
            <a:spLocks noGrp="1"/>
          </p:cNvSpPr>
          <p:nvPr>
            <p:ph type="body" sz="quarter" idx="14" hasCustomPrompt="1"/>
          </p:nvPr>
        </p:nvSpPr>
        <p:spPr>
          <a:xfrm>
            <a:off x="520701" y="1931354"/>
            <a:ext cx="570669" cy="553998"/>
          </a:xfrm>
        </p:spPr>
        <p:txBody>
          <a:bodyPr wrap="none">
            <a:spAutoFit/>
          </a:bodyPr>
          <a:lstStyle>
            <a:lvl1pPr>
              <a:defRPr sz="4000" b="1"/>
            </a:lvl1pPr>
          </a:lstStyle>
          <a:p>
            <a:pPr lvl="0"/>
            <a:r>
              <a:rPr lang="en-US"/>
              <a:t>##</a:t>
            </a:r>
            <a:endParaRPr lang="en-GB"/>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itle 1">
            <a:extLst>
              <a:ext uri="{FF2B5EF4-FFF2-40B4-BE49-F238E27FC236}">
                <a16:creationId xmlns:a16="http://schemas.microsoft.com/office/drawing/2014/main" id="{9682577F-6F16-4DC2-AE23-9E49C01CBAEF}"/>
              </a:ext>
            </a:extLst>
          </p:cNvPr>
          <p:cNvSpPr>
            <a:spLocks noGrp="1"/>
          </p:cNvSpPr>
          <p:nvPr>
            <p:ph type="ctrTitle"/>
          </p:nvPr>
        </p:nvSpPr>
        <p:spPr>
          <a:xfrm>
            <a:off x="515936" y="2622512"/>
            <a:ext cx="5958953" cy="1959013"/>
          </a:xfrm>
        </p:spPr>
        <p:txBody>
          <a:bodyPr vert="horz" anchor="t">
            <a:normAutofit/>
          </a:bodyPr>
          <a:lstStyle>
            <a:lvl1pPr algn="l">
              <a:lnSpc>
                <a:spcPct val="90000"/>
              </a:lnSpc>
              <a:defRPr sz="4000" spc="-150">
                <a:solidFill>
                  <a:schemeClr val="tx1"/>
                </a:solidFill>
                <a:latin typeface="+mj-lt"/>
              </a:defRPr>
            </a:lvl1pPr>
          </a:lstStyle>
          <a:p>
            <a:r>
              <a:rPr lang="en-US"/>
              <a:t>Click to edit Master title style</a:t>
            </a:r>
            <a:endParaRPr lang="en-GB"/>
          </a:p>
        </p:txBody>
      </p:sp>
      <p:sp>
        <p:nvSpPr>
          <p:cNvPr id="19" name="Text Placeholder 21">
            <a:extLst>
              <a:ext uri="{FF2B5EF4-FFF2-40B4-BE49-F238E27FC236}">
                <a16:creationId xmlns:a16="http://schemas.microsoft.com/office/drawing/2014/main" id="{5C58D29B-435F-4139-ADBF-F84E064167BB}"/>
              </a:ext>
            </a:extLst>
          </p:cNvPr>
          <p:cNvSpPr>
            <a:spLocks noGrp="1"/>
          </p:cNvSpPr>
          <p:nvPr>
            <p:ph type="body" sz="quarter" idx="12"/>
          </p:nvPr>
        </p:nvSpPr>
        <p:spPr>
          <a:xfrm>
            <a:off x="515936" y="4911726"/>
            <a:ext cx="5958953"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Tree>
    <p:extLst>
      <p:ext uri="{BB962C8B-B14F-4D97-AF65-F5344CB8AC3E}">
        <p14:creationId xmlns:p14="http://schemas.microsoft.com/office/powerpoint/2010/main" val="813134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hite Divider Yellow Gradient">
    <p:bg>
      <p:bgPr>
        <a:solidFill>
          <a:srgbClr val="FFCC00"/>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1849409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75C24F7-4911-4BC0-8B6D-1E27D6F9F4E5}"/>
              </a:ext>
            </a:extLst>
          </p:cNvPr>
          <p:cNvSpPr/>
          <p:nvPr userDrawn="1"/>
        </p:nvSpPr>
        <p:spPr>
          <a:xfrm>
            <a:off x="7372238" y="0"/>
            <a:ext cx="4819762" cy="6858000"/>
          </a:xfrm>
          <a:prstGeom prst="rect">
            <a:avLst/>
          </a:prstGeom>
          <a:gradFill>
            <a:gsLst>
              <a:gs pos="100000">
                <a:srgbClr val="F7A600"/>
              </a:gs>
              <a:gs pos="0">
                <a:srgbClr val="FFCC00"/>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3F8E8A1C-D126-4429-AE8F-EF97A36B5ADB}"/>
              </a:ext>
            </a:extLst>
          </p:cNvPr>
          <p:cNvPicPr>
            <a:picLocks noChangeAspect="1"/>
          </p:cNvPicPr>
          <p:nvPr userDrawn="1"/>
        </p:nvPicPr>
        <p:blipFill>
          <a:blip r:embed="rId5"/>
          <a:stretch>
            <a:fillRect/>
          </a:stretch>
        </p:blipFill>
        <p:spPr>
          <a:xfrm>
            <a:off x="0" y="0"/>
            <a:ext cx="10954513" cy="6858000"/>
          </a:xfrm>
          <a:prstGeom prst="rect">
            <a:avLst/>
          </a:prstGeom>
        </p:spPr>
      </p:pic>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515937" y="517525"/>
            <a:ext cx="1325563" cy="530225"/>
          </a:xfrm>
          <a:prstGeom prst="rect">
            <a:avLst/>
          </a:prstGeom>
        </p:spPr>
      </p:pic>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tx1"/>
                </a:solidFill>
              </a:defRPr>
            </a:lvl1pPr>
          </a:lstStyle>
          <a:p>
            <a:fld id="{A8B7E462-AA7B-4427-9DF0-5AABDADAA92F}" type="slidenum">
              <a:rPr lang="en-GB" smtClean="0"/>
              <a:pPr/>
              <a:t>‹#›</a:t>
            </a:fld>
            <a:endParaRPr lang="en-GB"/>
          </a:p>
        </p:txBody>
      </p:sp>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DA3B0839-0AEF-428E-9B1C-CEB0CA2CE71F}"/>
              </a:ext>
            </a:extLst>
          </p:cNvPr>
          <p:cNvSpPr>
            <a:spLocks noGrp="1"/>
          </p:cNvSpPr>
          <p:nvPr>
            <p:ph type="ctrTitle"/>
          </p:nvPr>
        </p:nvSpPr>
        <p:spPr>
          <a:xfrm>
            <a:off x="515936" y="2622512"/>
            <a:ext cx="5958953" cy="1959013"/>
          </a:xfrm>
        </p:spPr>
        <p:txBody>
          <a:bodyPr vert="horz" anchor="t">
            <a:normAutofit/>
          </a:bodyPr>
          <a:lstStyle>
            <a:lvl1pPr algn="l">
              <a:lnSpc>
                <a:spcPct val="90000"/>
              </a:lnSpc>
              <a:defRPr sz="4000" spc="-150">
                <a:solidFill>
                  <a:schemeClr val="tx1"/>
                </a:solidFill>
                <a:latin typeface="+mj-lt"/>
              </a:defRPr>
            </a:lvl1pPr>
          </a:lstStyle>
          <a:p>
            <a:r>
              <a:rPr lang="en-US"/>
              <a:t>Click to edit Master title style</a:t>
            </a:r>
            <a:endParaRPr lang="en-GB"/>
          </a:p>
        </p:txBody>
      </p:sp>
      <p:sp>
        <p:nvSpPr>
          <p:cNvPr id="17" name="Text Placeholder 21">
            <a:extLst>
              <a:ext uri="{FF2B5EF4-FFF2-40B4-BE49-F238E27FC236}">
                <a16:creationId xmlns:a16="http://schemas.microsoft.com/office/drawing/2014/main" id="{43406336-FCD4-471B-A29F-DF7B06586B07}"/>
              </a:ext>
            </a:extLst>
          </p:cNvPr>
          <p:cNvSpPr>
            <a:spLocks noGrp="1"/>
          </p:cNvSpPr>
          <p:nvPr>
            <p:ph type="body" sz="quarter" idx="12"/>
          </p:nvPr>
        </p:nvSpPr>
        <p:spPr>
          <a:xfrm>
            <a:off x="515936" y="4911726"/>
            <a:ext cx="5958953"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
        <p:nvSpPr>
          <p:cNvPr id="19" name="Text Placeholder 17">
            <a:extLst>
              <a:ext uri="{FF2B5EF4-FFF2-40B4-BE49-F238E27FC236}">
                <a16:creationId xmlns:a16="http://schemas.microsoft.com/office/drawing/2014/main" id="{A3FC19C0-4D03-410C-9F4B-54D88F213022}"/>
              </a:ext>
            </a:extLst>
          </p:cNvPr>
          <p:cNvSpPr>
            <a:spLocks noGrp="1"/>
          </p:cNvSpPr>
          <p:nvPr>
            <p:ph type="body" sz="quarter" idx="14" hasCustomPrompt="1"/>
          </p:nvPr>
        </p:nvSpPr>
        <p:spPr>
          <a:xfrm>
            <a:off x="520701" y="1931354"/>
            <a:ext cx="570669" cy="553998"/>
          </a:xfrm>
        </p:spPr>
        <p:txBody>
          <a:bodyPr wrap="none">
            <a:spAutoFit/>
          </a:bodyPr>
          <a:lstStyle>
            <a:lvl1pPr>
              <a:defRPr sz="4000" b="1"/>
            </a:lvl1pPr>
          </a:lstStyle>
          <a:p>
            <a:pPr lvl="0"/>
            <a:r>
              <a:rPr lang="en-US"/>
              <a:t>##</a:t>
            </a:r>
            <a:endParaRPr lang="en-GB"/>
          </a:p>
        </p:txBody>
      </p:sp>
    </p:spTree>
    <p:extLst>
      <p:ext uri="{BB962C8B-B14F-4D97-AF65-F5344CB8AC3E}">
        <p14:creationId xmlns:p14="http://schemas.microsoft.com/office/powerpoint/2010/main" val="83007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 Divider Blue Gradient">
    <p:bg>
      <p:bgPr>
        <a:solidFill>
          <a:srgbClr val="0F88C9"/>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1672725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75C24F7-4911-4BC0-8B6D-1E27D6F9F4E5}"/>
              </a:ext>
            </a:extLst>
          </p:cNvPr>
          <p:cNvSpPr/>
          <p:nvPr userDrawn="1"/>
        </p:nvSpPr>
        <p:spPr>
          <a:xfrm>
            <a:off x="7372238" y="0"/>
            <a:ext cx="4819762" cy="6858000"/>
          </a:xfrm>
          <a:prstGeom prst="rect">
            <a:avLst/>
          </a:prstGeom>
          <a:gradFill>
            <a:gsLst>
              <a:gs pos="100000">
                <a:schemeClr val="accent4"/>
              </a:gs>
              <a:gs pos="0">
                <a:srgbClr val="6CC9F3"/>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1D44D650-4636-4D5E-9425-3493D5FDEB93}"/>
              </a:ext>
            </a:extLst>
          </p:cNvPr>
          <p:cNvPicPr>
            <a:picLocks noChangeAspect="1"/>
          </p:cNvPicPr>
          <p:nvPr userDrawn="1"/>
        </p:nvPicPr>
        <p:blipFill>
          <a:blip r:embed="rId5"/>
          <a:stretch>
            <a:fillRect/>
          </a:stretch>
        </p:blipFill>
        <p:spPr>
          <a:xfrm>
            <a:off x="0" y="0"/>
            <a:ext cx="10954513" cy="6858000"/>
          </a:xfrm>
          <a:prstGeom prst="rect">
            <a:avLst/>
          </a:prstGeom>
        </p:spPr>
      </p:pic>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515937" y="517525"/>
            <a:ext cx="1325563" cy="530225"/>
          </a:xfrm>
          <a:prstGeom prst="rect">
            <a:avLst/>
          </a:prstGeom>
        </p:spPr>
      </p:pic>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C90C036D-6841-44DE-9B7B-FCB408B40F07}"/>
              </a:ext>
            </a:extLst>
          </p:cNvPr>
          <p:cNvSpPr>
            <a:spLocks noGrp="1"/>
          </p:cNvSpPr>
          <p:nvPr>
            <p:ph type="ctrTitle"/>
          </p:nvPr>
        </p:nvSpPr>
        <p:spPr>
          <a:xfrm>
            <a:off x="515936" y="2622512"/>
            <a:ext cx="5958953" cy="1959013"/>
          </a:xfrm>
        </p:spPr>
        <p:txBody>
          <a:bodyPr vert="horz" anchor="t">
            <a:normAutofit/>
          </a:bodyPr>
          <a:lstStyle>
            <a:lvl1pPr algn="l">
              <a:lnSpc>
                <a:spcPct val="90000"/>
              </a:lnSpc>
              <a:defRPr sz="4000" spc="-150">
                <a:solidFill>
                  <a:schemeClr val="tx1"/>
                </a:solidFill>
                <a:latin typeface="+mj-lt"/>
              </a:defRPr>
            </a:lvl1pPr>
          </a:lstStyle>
          <a:p>
            <a:r>
              <a:rPr lang="en-US"/>
              <a:t>Click to edit Master title style</a:t>
            </a:r>
            <a:endParaRPr lang="en-GB"/>
          </a:p>
        </p:txBody>
      </p:sp>
      <p:sp>
        <p:nvSpPr>
          <p:cNvPr id="17" name="Text Placeholder 21">
            <a:extLst>
              <a:ext uri="{FF2B5EF4-FFF2-40B4-BE49-F238E27FC236}">
                <a16:creationId xmlns:a16="http://schemas.microsoft.com/office/drawing/2014/main" id="{874F4E61-B04A-4183-826F-75075BCBF979}"/>
              </a:ext>
            </a:extLst>
          </p:cNvPr>
          <p:cNvSpPr>
            <a:spLocks noGrp="1"/>
          </p:cNvSpPr>
          <p:nvPr>
            <p:ph type="body" sz="quarter" idx="12"/>
          </p:nvPr>
        </p:nvSpPr>
        <p:spPr>
          <a:xfrm>
            <a:off x="515936" y="4911726"/>
            <a:ext cx="5958953"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
        <p:nvSpPr>
          <p:cNvPr id="19" name="Text Placeholder 17">
            <a:extLst>
              <a:ext uri="{FF2B5EF4-FFF2-40B4-BE49-F238E27FC236}">
                <a16:creationId xmlns:a16="http://schemas.microsoft.com/office/drawing/2014/main" id="{E715B8EE-3A52-42CD-8C5D-10EB526D867B}"/>
              </a:ext>
            </a:extLst>
          </p:cNvPr>
          <p:cNvSpPr>
            <a:spLocks noGrp="1"/>
          </p:cNvSpPr>
          <p:nvPr>
            <p:ph type="body" sz="quarter" idx="14" hasCustomPrompt="1"/>
          </p:nvPr>
        </p:nvSpPr>
        <p:spPr>
          <a:xfrm>
            <a:off x="520701" y="1931354"/>
            <a:ext cx="570669" cy="553998"/>
          </a:xfrm>
        </p:spPr>
        <p:txBody>
          <a:bodyPr wrap="none">
            <a:spAutoFit/>
          </a:bodyPr>
          <a:lstStyle>
            <a:lvl1pPr>
              <a:defRPr sz="4000" b="1"/>
            </a:lvl1pPr>
          </a:lstStyle>
          <a:p>
            <a:pPr lvl="0"/>
            <a:r>
              <a:rPr lang="en-US"/>
              <a:t>##</a:t>
            </a:r>
            <a:endParaRPr lang="en-GB"/>
          </a:p>
        </p:txBody>
      </p:sp>
    </p:spTree>
    <p:extLst>
      <p:ext uri="{BB962C8B-B14F-4D97-AF65-F5344CB8AC3E}">
        <p14:creationId xmlns:p14="http://schemas.microsoft.com/office/powerpoint/2010/main" val="157153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Divider Green Gradient">
    <p:bg>
      <p:bgPr>
        <a:solidFill>
          <a:srgbClr val="0F88C9"/>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2297086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75C24F7-4911-4BC0-8B6D-1E27D6F9F4E5}"/>
              </a:ext>
            </a:extLst>
          </p:cNvPr>
          <p:cNvSpPr/>
          <p:nvPr userDrawn="1"/>
        </p:nvSpPr>
        <p:spPr>
          <a:xfrm>
            <a:off x="7372238" y="0"/>
            <a:ext cx="4819762" cy="6858000"/>
          </a:xfrm>
          <a:prstGeom prst="rect">
            <a:avLst/>
          </a:prstGeom>
          <a:gradFill>
            <a:gsLst>
              <a:gs pos="100000">
                <a:schemeClr val="accent6"/>
              </a:gs>
              <a:gs pos="0">
                <a:srgbClr val="36B5AE"/>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6FB04F4F-FBAB-4F7C-B8FA-86E57B3DB07C}"/>
              </a:ext>
            </a:extLst>
          </p:cNvPr>
          <p:cNvPicPr>
            <a:picLocks noChangeAspect="1"/>
          </p:cNvPicPr>
          <p:nvPr userDrawn="1"/>
        </p:nvPicPr>
        <p:blipFill>
          <a:blip r:embed="rId5"/>
          <a:stretch>
            <a:fillRect/>
          </a:stretch>
        </p:blipFill>
        <p:spPr>
          <a:xfrm>
            <a:off x="0" y="0"/>
            <a:ext cx="10954513" cy="6858000"/>
          </a:xfrm>
          <a:prstGeom prst="rect">
            <a:avLst/>
          </a:prstGeom>
        </p:spPr>
      </p:pic>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515937" y="517525"/>
            <a:ext cx="1325563" cy="530225"/>
          </a:xfrm>
          <a:prstGeom prst="rect">
            <a:avLst/>
          </a:prstGeom>
        </p:spPr>
      </p:pic>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6FB95B07-44F7-4D14-9B6D-CCD9EF1A9B0B}"/>
              </a:ext>
            </a:extLst>
          </p:cNvPr>
          <p:cNvSpPr>
            <a:spLocks noGrp="1"/>
          </p:cNvSpPr>
          <p:nvPr>
            <p:ph type="ctrTitle"/>
          </p:nvPr>
        </p:nvSpPr>
        <p:spPr>
          <a:xfrm>
            <a:off x="515936" y="2622512"/>
            <a:ext cx="5958953" cy="1959013"/>
          </a:xfrm>
        </p:spPr>
        <p:txBody>
          <a:bodyPr vert="horz" anchor="t">
            <a:normAutofit/>
          </a:bodyPr>
          <a:lstStyle>
            <a:lvl1pPr algn="l">
              <a:lnSpc>
                <a:spcPct val="90000"/>
              </a:lnSpc>
              <a:defRPr sz="4000" spc="-150">
                <a:solidFill>
                  <a:schemeClr val="tx1"/>
                </a:solidFill>
                <a:latin typeface="+mj-lt"/>
              </a:defRPr>
            </a:lvl1pPr>
          </a:lstStyle>
          <a:p>
            <a:r>
              <a:rPr lang="en-US"/>
              <a:t>Click to edit Master title style</a:t>
            </a:r>
            <a:endParaRPr lang="en-GB"/>
          </a:p>
        </p:txBody>
      </p:sp>
      <p:sp>
        <p:nvSpPr>
          <p:cNvPr id="17" name="Text Placeholder 21">
            <a:extLst>
              <a:ext uri="{FF2B5EF4-FFF2-40B4-BE49-F238E27FC236}">
                <a16:creationId xmlns:a16="http://schemas.microsoft.com/office/drawing/2014/main" id="{D0F420B0-42D7-4302-93B2-A41DBE846AE0}"/>
              </a:ext>
            </a:extLst>
          </p:cNvPr>
          <p:cNvSpPr>
            <a:spLocks noGrp="1"/>
          </p:cNvSpPr>
          <p:nvPr>
            <p:ph type="body" sz="quarter" idx="12"/>
          </p:nvPr>
        </p:nvSpPr>
        <p:spPr>
          <a:xfrm>
            <a:off x="515936" y="4911726"/>
            <a:ext cx="5958953"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
        <p:nvSpPr>
          <p:cNvPr id="19" name="Text Placeholder 17">
            <a:extLst>
              <a:ext uri="{FF2B5EF4-FFF2-40B4-BE49-F238E27FC236}">
                <a16:creationId xmlns:a16="http://schemas.microsoft.com/office/drawing/2014/main" id="{467E46C0-0D4C-4229-8C0F-39BDF2C4F390}"/>
              </a:ext>
            </a:extLst>
          </p:cNvPr>
          <p:cNvSpPr>
            <a:spLocks noGrp="1"/>
          </p:cNvSpPr>
          <p:nvPr>
            <p:ph type="body" sz="quarter" idx="14" hasCustomPrompt="1"/>
          </p:nvPr>
        </p:nvSpPr>
        <p:spPr>
          <a:xfrm>
            <a:off x="520701" y="1931354"/>
            <a:ext cx="570669" cy="553998"/>
          </a:xfrm>
        </p:spPr>
        <p:txBody>
          <a:bodyPr wrap="none">
            <a:spAutoFit/>
          </a:bodyPr>
          <a:lstStyle>
            <a:lvl1pPr>
              <a:defRPr sz="4000" b="1"/>
            </a:lvl1pPr>
          </a:lstStyle>
          <a:p>
            <a:pPr lvl="0"/>
            <a:r>
              <a:rPr lang="en-US"/>
              <a:t>##</a:t>
            </a:r>
            <a:endParaRPr lang="en-GB"/>
          </a:p>
        </p:txBody>
      </p:sp>
    </p:spTree>
    <p:extLst>
      <p:ext uri="{BB962C8B-B14F-4D97-AF65-F5344CB8AC3E}">
        <p14:creationId xmlns:p14="http://schemas.microsoft.com/office/powerpoint/2010/main" val="160416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 Divider Purple Gradient">
    <p:bg>
      <p:bgPr>
        <a:solidFill>
          <a:srgbClr val="0F88C9"/>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1553080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75C24F7-4911-4BC0-8B6D-1E27D6F9F4E5}"/>
              </a:ext>
            </a:extLst>
          </p:cNvPr>
          <p:cNvSpPr/>
          <p:nvPr userDrawn="1"/>
        </p:nvSpPr>
        <p:spPr>
          <a:xfrm>
            <a:off x="7372238" y="0"/>
            <a:ext cx="4819762" cy="6858000"/>
          </a:xfrm>
          <a:prstGeom prst="rect">
            <a:avLst/>
          </a:prstGeom>
          <a:gradFill>
            <a:gsLst>
              <a:gs pos="100000">
                <a:schemeClr val="accent3"/>
              </a:gs>
              <a:gs pos="0">
                <a:srgbClr val="E35F9F"/>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Picture 17">
            <a:extLst>
              <a:ext uri="{FF2B5EF4-FFF2-40B4-BE49-F238E27FC236}">
                <a16:creationId xmlns:a16="http://schemas.microsoft.com/office/drawing/2014/main" id="{AC3B5FB9-0EB4-4034-B6C3-76A1500D0482}"/>
              </a:ext>
            </a:extLst>
          </p:cNvPr>
          <p:cNvPicPr>
            <a:picLocks noChangeAspect="1"/>
          </p:cNvPicPr>
          <p:nvPr userDrawn="1"/>
        </p:nvPicPr>
        <p:blipFill>
          <a:blip r:embed="rId5"/>
          <a:stretch>
            <a:fillRect/>
          </a:stretch>
        </p:blipFill>
        <p:spPr>
          <a:xfrm>
            <a:off x="0" y="0"/>
            <a:ext cx="10954513" cy="6858000"/>
          </a:xfrm>
          <a:prstGeom prst="rect">
            <a:avLst/>
          </a:prstGeom>
        </p:spPr>
      </p:pic>
      <p:pic>
        <p:nvPicPr>
          <p:cNvPr id="15" name="Graphic 14">
            <a:extLst>
              <a:ext uri="{FF2B5EF4-FFF2-40B4-BE49-F238E27FC236}">
                <a16:creationId xmlns:a16="http://schemas.microsoft.com/office/drawing/2014/main" id="{EB0A6E97-D49E-4418-AFFA-25F954C6D80F}"/>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515937" y="517525"/>
            <a:ext cx="1325563" cy="530225"/>
          </a:xfrm>
          <a:prstGeom prst="rect">
            <a:avLst/>
          </a:prstGeom>
        </p:spPr>
      </p:pic>
      <p:sp>
        <p:nvSpPr>
          <p:cNvPr id="8" name="Footer Placeholder 7">
            <a:extLst>
              <a:ext uri="{FF2B5EF4-FFF2-40B4-BE49-F238E27FC236}">
                <a16:creationId xmlns:a16="http://schemas.microsoft.com/office/drawing/2014/main" id="{CD22BC01-0135-4C51-B15F-1B4AE9CE40B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26" name="Slide Number Placeholder 44">
            <a:extLst>
              <a:ext uri="{FF2B5EF4-FFF2-40B4-BE49-F238E27FC236}">
                <a16:creationId xmlns:a16="http://schemas.microsoft.com/office/drawing/2014/main" id="{62A7C744-F4EC-41F1-9172-ADB903BE342E}"/>
              </a:ext>
            </a:extLst>
          </p:cNvPr>
          <p:cNvSpPr>
            <a:spLocks noGrp="1"/>
          </p:cNvSpPr>
          <p:nvPr>
            <p:ph type="sldNum" sz="quarter" idx="15"/>
          </p:nvPr>
        </p:nvSpPr>
        <p:spPr>
          <a:xfrm>
            <a:off x="11316063" y="6498430"/>
            <a:ext cx="360000" cy="108000"/>
          </a:xfrm>
        </p:spPr>
        <p:txBody>
          <a:bodyPr/>
          <a:lstStyle>
            <a:lvl1pPr>
              <a:defRPr>
                <a:solidFill>
                  <a:schemeClr val="bg1"/>
                </a:solidFill>
              </a:defRPr>
            </a:lvl1pPr>
          </a:lstStyle>
          <a:p>
            <a:fld id="{A8B7E462-AA7B-4427-9DF0-5AABDADAA92F}" type="slidenum">
              <a:rPr lang="en-GB" smtClean="0"/>
              <a:pPr/>
              <a:t>‹#›</a:t>
            </a:fld>
            <a:endParaRPr lang="en-GB"/>
          </a:p>
        </p:txBody>
      </p:sp>
      <p:sp>
        <p:nvSpPr>
          <p:cNvPr id="266" name="Rectangle 265">
            <a:extLst>
              <a:ext uri="{FF2B5EF4-FFF2-40B4-BE49-F238E27FC236}">
                <a16:creationId xmlns:a16="http://schemas.microsoft.com/office/drawing/2014/main" id="{11052560-51C7-48D5-9F0E-655A376874D6}"/>
              </a:ext>
            </a:extLst>
          </p:cNvPr>
          <p:cNvSpPr/>
          <p:nvPr userDrawn="1"/>
        </p:nvSpPr>
        <p:spPr>
          <a:xfrm>
            <a:off x="5930900" y="0"/>
            <a:ext cx="27559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0F5F4B13-7703-4D4F-8E7F-DB51C69831E9}"/>
              </a:ext>
            </a:extLst>
          </p:cNvPr>
          <p:cNvSpPr>
            <a:spLocks noGrp="1"/>
          </p:cNvSpPr>
          <p:nvPr>
            <p:ph type="ctrTitle"/>
          </p:nvPr>
        </p:nvSpPr>
        <p:spPr>
          <a:xfrm>
            <a:off x="515936" y="2622512"/>
            <a:ext cx="5958953" cy="1959013"/>
          </a:xfrm>
        </p:spPr>
        <p:txBody>
          <a:bodyPr vert="horz" anchor="t">
            <a:normAutofit/>
          </a:bodyPr>
          <a:lstStyle>
            <a:lvl1pPr algn="l">
              <a:lnSpc>
                <a:spcPct val="90000"/>
              </a:lnSpc>
              <a:defRPr sz="4000" spc="-150">
                <a:solidFill>
                  <a:schemeClr val="tx1"/>
                </a:solidFill>
                <a:latin typeface="+mj-lt"/>
              </a:defRPr>
            </a:lvl1pPr>
          </a:lstStyle>
          <a:p>
            <a:r>
              <a:rPr lang="en-US"/>
              <a:t>Click to edit Master title style</a:t>
            </a:r>
            <a:endParaRPr lang="en-GB"/>
          </a:p>
        </p:txBody>
      </p:sp>
      <p:sp>
        <p:nvSpPr>
          <p:cNvPr id="17" name="Text Placeholder 21">
            <a:extLst>
              <a:ext uri="{FF2B5EF4-FFF2-40B4-BE49-F238E27FC236}">
                <a16:creationId xmlns:a16="http://schemas.microsoft.com/office/drawing/2014/main" id="{B0C858E6-696D-4D79-801D-E313772027B6}"/>
              </a:ext>
            </a:extLst>
          </p:cNvPr>
          <p:cNvSpPr>
            <a:spLocks noGrp="1"/>
          </p:cNvSpPr>
          <p:nvPr>
            <p:ph type="body" sz="quarter" idx="12"/>
          </p:nvPr>
        </p:nvSpPr>
        <p:spPr>
          <a:xfrm>
            <a:off x="515936" y="4911726"/>
            <a:ext cx="5958953" cy="796924"/>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sp>
        <p:nvSpPr>
          <p:cNvPr id="19" name="Text Placeholder 17">
            <a:extLst>
              <a:ext uri="{FF2B5EF4-FFF2-40B4-BE49-F238E27FC236}">
                <a16:creationId xmlns:a16="http://schemas.microsoft.com/office/drawing/2014/main" id="{E46D17B7-B0B6-4EB1-8E24-51E6CFAF5039}"/>
              </a:ext>
            </a:extLst>
          </p:cNvPr>
          <p:cNvSpPr>
            <a:spLocks noGrp="1"/>
          </p:cNvSpPr>
          <p:nvPr>
            <p:ph type="body" sz="quarter" idx="14" hasCustomPrompt="1"/>
          </p:nvPr>
        </p:nvSpPr>
        <p:spPr>
          <a:xfrm>
            <a:off x="520701" y="1931354"/>
            <a:ext cx="570669" cy="553998"/>
          </a:xfrm>
        </p:spPr>
        <p:txBody>
          <a:bodyPr wrap="none">
            <a:spAutoFit/>
          </a:bodyPr>
          <a:lstStyle>
            <a:lvl1pPr>
              <a:defRPr sz="4000" b="1"/>
            </a:lvl1pPr>
          </a:lstStyle>
          <a:p>
            <a:pPr lvl="0"/>
            <a:r>
              <a:rPr lang="en-US"/>
              <a:t>##</a:t>
            </a:r>
            <a:endParaRPr lang="en-GB"/>
          </a:p>
        </p:txBody>
      </p:sp>
    </p:spTree>
    <p:extLst>
      <p:ext uri="{BB962C8B-B14F-4D97-AF65-F5344CB8AC3E}">
        <p14:creationId xmlns:p14="http://schemas.microsoft.com/office/powerpoint/2010/main" val="256439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mp; 2 Image">
    <p:spTree>
      <p:nvGrpSpPr>
        <p:cNvPr id="1" name=""/>
        <p:cNvGrpSpPr/>
        <p:nvPr/>
      </p:nvGrpSpPr>
      <p:grpSpPr>
        <a:xfrm>
          <a:off x="0" y="0"/>
          <a:ext cx="0" cy="0"/>
          <a:chOff x="0" y="0"/>
          <a:chExt cx="0" cy="0"/>
        </a:xfrm>
      </p:grpSpPr>
      <p:sp>
        <p:nvSpPr>
          <p:cNvPr id="2" name="Title 1"/>
          <p:cNvSpPr>
            <a:spLocks noGrp="1"/>
          </p:cNvSpPr>
          <p:nvPr>
            <p:ph type="title"/>
          </p:nvPr>
        </p:nvSpPr>
        <p:spPr>
          <a:xfrm>
            <a:off x="733426" y="2136777"/>
            <a:ext cx="5776559" cy="1258625"/>
          </a:xfrm>
        </p:spPr>
        <p:txBody>
          <a:bodyPr/>
          <a:lstStyle/>
          <a:p>
            <a:r>
              <a:rPr lang="en-US"/>
              <a:t>Click to edit Master title style</a:t>
            </a:r>
            <a:endParaRPr lang="en-GB" dirty="0"/>
          </a:p>
        </p:txBody>
      </p:sp>
      <p:sp>
        <p:nvSpPr>
          <p:cNvPr id="3" name="Content Placeholder 2"/>
          <p:cNvSpPr>
            <a:spLocks noGrp="1"/>
          </p:cNvSpPr>
          <p:nvPr>
            <p:ph idx="1"/>
          </p:nvPr>
        </p:nvSpPr>
        <p:spPr>
          <a:xfrm>
            <a:off x="733426" y="3395401"/>
            <a:ext cx="5776559" cy="297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6064C687-E54E-4A59-A131-5441B095AAD8}" type="datetime1">
              <a:rPr lang="en-GB" smtClean="0"/>
              <a:t>07/10/2025</a:t>
            </a:fld>
            <a:endParaRPr lang="en-GB" dirty="0"/>
          </a:p>
        </p:txBody>
      </p:sp>
      <p:sp>
        <p:nvSpPr>
          <p:cNvPr id="5" name="Footer Placeholder 4"/>
          <p:cNvSpPr>
            <a:spLocks noGrp="1"/>
          </p:cNvSpPr>
          <p:nvPr>
            <p:ph type="ftr" sz="quarter" idx="11"/>
          </p:nvPr>
        </p:nvSpPr>
        <p:spPr/>
        <p:txBody>
          <a:bodyPr/>
          <a:lstStyle/>
          <a:p>
            <a:r>
              <a:rPr lang="en-GB" dirty="0"/>
              <a:t>Presentation info in footer</a:t>
            </a:r>
          </a:p>
        </p:txBody>
      </p:sp>
      <p:sp>
        <p:nvSpPr>
          <p:cNvPr id="6" name="Slide Number Placeholder 5"/>
          <p:cNvSpPr>
            <a:spLocks noGrp="1"/>
          </p:cNvSpPr>
          <p:nvPr>
            <p:ph type="sldNum" sz="quarter" idx="12"/>
          </p:nvPr>
        </p:nvSpPr>
        <p:spPr/>
        <p:txBody>
          <a:bodyPr/>
          <a:lstStyle/>
          <a:p>
            <a:fld id="{D5361521-EF7F-456B-A25F-4EAD8E019C37}" type="slidenum">
              <a:rPr lang="en-GB" smtClean="0"/>
              <a:t>‹#›</a:t>
            </a:fld>
            <a:endParaRPr lang="en-GB" dirty="0"/>
          </a:p>
        </p:txBody>
      </p:sp>
      <p:sp>
        <p:nvSpPr>
          <p:cNvPr id="8" name="Picture Placeholder 7"/>
          <p:cNvSpPr>
            <a:spLocks noGrp="1"/>
          </p:cNvSpPr>
          <p:nvPr>
            <p:ph type="pic" sz="quarter" idx="13"/>
          </p:nvPr>
        </p:nvSpPr>
        <p:spPr>
          <a:xfrm>
            <a:off x="7877177" y="657226"/>
            <a:ext cx="4314825" cy="3409951"/>
          </a:xfrm>
        </p:spPr>
        <p:txBody>
          <a:bodyPr/>
          <a:lstStyle/>
          <a:p>
            <a:r>
              <a:rPr lang="en-US" dirty="0"/>
              <a:t>Click icon to add picture</a:t>
            </a:r>
            <a:endParaRPr lang="en-GB" dirty="0"/>
          </a:p>
        </p:txBody>
      </p:sp>
      <p:sp>
        <p:nvSpPr>
          <p:cNvPr id="9" name="Rectangle 8"/>
          <p:cNvSpPr/>
          <p:nvPr userDrawn="1"/>
        </p:nvSpPr>
        <p:spPr>
          <a:xfrm>
            <a:off x="7877175" y="4067175"/>
            <a:ext cx="2514600" cy="700087"/>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ln>
                <a:noFill/>
              </a:ln>
            </a:endParaRPr>
          </a:p>
        </p:txBody>
      </p:sp>
      <p:sp>
        <p:nvSpPr>
          <p:cNvPr id="10" name="Picture Placeholder 7"/>
          <p:cNvSpPr>
            <a:spLocks noGrp="1"/>
          </p:cNvSpPr>
          <p:nvPr>
            <p:ph type="pic" sz="quarter" idx="14"/>
          </p:nvPr>
        </p:nvSpPr>
        <p:spPr>
          <a:xfrm>
            <a:off x="7012018" y="4767263"/>
            <a:ext cx="2541559" cy="1604963"/>
          </a:xfrm>
        </p:spPr>
        <p:txBody>
          <a:bodyPr/>
          <a:lstStyle/>
          <a:p>
            <a:r>
              <a:rPr lang="en-US" dirty="0"/>
              <a:t>Click icon to add picture</a:t>
            </a:r>
            <a:endParaRPr lang="en-GB" dirty="0"/>
          </a:p>
        </p:txBody>
      </p:sp>
    </p:spTree>
    <p:extLst>
      <p:ext uri="{BB962C8B-B14F-4D97-AF65-F5344CB8AC3E}">
        <p14:creationId xmlns:p14="http://schemas.microsoft.com/office/powerpoint/2010/main" val="32041453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2006587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p:txBody>
          <a:bodyPr numCol="2"/>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GB"/>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p>
            <a:fld id="{A8B7E462-AA7B-4427-9DF0-5AABDADAA92F}" type="slidenum">
              <a:rPr lang="en-GB" smtClean="0"/>
              <a:t>‹#›</a:t>
            </a:fld>
            <a:endParaRPr lang="en-GB"/>
          </a:p>
        </p:txBody>
      </p:sp>
    </p:spTree>
    <p:extLst>
      <p:ext uri="{BB962C8B-B14F-4D97-AF65-F5344CB8AC3E}">
        <p14:creationId xmlns:p14="http://schemas.microsoft.com/office/powerpoint/2010/main" val="473372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wo Column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1842551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a:xfrm>
            <a:off x="515937" y="512764"/>
            <a:ext cx="11160125" cy="1051200"/>
          </a:xfrm>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a:xfrm>
            <a:off x="515937" y="2060575"/>
            <a:ext cx="5318806" cy="4284661"/>
          </a:xfrm>
        </p:spPr>
        <p:txBody>
          <a:bodyPr numCol="1"/>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GB"/>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p>
            <a:fld id="{A8B7E462-AA7B-4427-9DF0-5AABDADAA92F}" type="slidenum">
              <a:rPr lang="en-GB" smtClean="0"/>
              <a:t>‹#›</a:t>
            </a:fld>
            <a:endParaRPr lang="en-GB"/>
          </a:p>
        </p:txBody>
      </p:sp>
      <p:sp>
        <p:nvSpPr>
          <p:cNvPr id="7" name="Content Placeholder 2">
            <a:extLst>
              <a:ext uri="{FF2B5EF4-FFF2-40B4-BE49-F238E27FC236}">
                <a16:creationId xmlns:a16="http://schemas.microsoft.com/office/drawing/2014/main" id="{D04EBD15-42E8-43A7-A8E2-0F4191C3FCF9}"/>
              </a:ext>
            </a:extLst>
          </p:cNvPr>
          <p:cNvSpPr>
            <a:spLocks noGrp="1"/>
          </p:cNvSpPr>
          <p:nvPr>
            <p:ph idx="13"/>
          </p:nvPr>
        </p:nvSpPr>
        <p:spPr>
          <a:xfrm>
            <a:off x="6357256" y="2060575"/>
            <a:ext cx="5318806" cy="4284661"/>
          </a:xfrm>
        </p:spPr>
        <p:txBody>
          <a:bodyPr numCol="1"/>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GB"/>
          </a:p>
        </p:txBody>
      </p:sp>
    </p:spTree>
    <p:extLst>
      <p:ext uri="{BB962C8B-B14F-4D97-AF65-F5344CB8AC3E}">
        <p14:creationId xmlns:p14="http://schemas.microsoft.com/office/powerpoint/2010/main" val="399947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1648772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40" name="Picture Placeholder 2439">
            <a:extLst>
              <a:ext uri="{FF2B5EF4-FFF2-40B4-BE49-F238E27FC236}">
                <a16:creationId xmlns:a16="http://schemas.microsoft.com/office/drawing/2014/main" id="{286F7148-2231-43C9-8145-73755F69A2C5}"/>
              </a:ext>
            </a:extLst>
          </p:cNvPr>
          <p:cNvSpPr>
            <a:spLocks noGrp="1"/>
          </p:cNvSpPr>
          <p:nvPr>
            <p:ph type="pic" sz="quarter" idx="13"/>
          </p:nvPr>
        </p:nvSpPr>
        <p:spPr>
          <a:xfrm>
            <a:off x="7200901" y="0"/>
            <a:ext cx="4991099" cy="6857998"/>
          </a:xfrm>
          <a:custGeom>
            <a:avLst/>
            <a:gdLst>
              <a:gd name="connsiteX0" fmla="*/ 572814 w 4991099"/>
              <a:gd name="connsiteY0" fmla="*/ 4535775 h 6857998"/>
              <a:gd name="connsiteX1" fmla="*/ 591872 w 4991099"/>
              <a:gd name="connsiteY1" fmla="*/ 4570960 h 6857998"/>
              <a:gd name="connsiteX2" fmla="*/ 566951 w 4991099"/>
              <a:gd name="connsiteY2" fmla="*/ 4581225 h 6857998"/>
              <a:gd name="connsiteX3" fmla="*/ 572814 w 4991099"/>
              <a:gd name="connsiteY3" fmla="*/ 4535775 h 6857998"/>
              <a:gd name="connsiteX4" fmla="*/ 394050 w 4991099"/>
              <a:gd name="connsiteY4" fmla="*/ 3806517 h 6857998"/>
              <a:gd name="connsiteX5" fmla="*/ 399824 w 4991099"/>
              <a:gd name="connsiteY5" fmla="*/ 3810089 h 6857998"/>
              <a:gd name="connsiteX6" fmla="*/ 386629 w 4991099"/>
              <a:gd name="connsiteY6" fmla="*/ 3818888 h 6857998"/>
              <a:gd name="connsiteX7" fmla="*/ 384428 w 4991099"/>
              <a:gd name="connsiteY7" fmla="*/ 3806794 h 6857998"/>
              <a:gd name="connsiteX8" fmla="*/ 394050 w 4991099"/>
              <a:gd name="connsiteY8" fmla="*/ 3806517 h 6857998"/>
              <a:gd name="connsiteX9" fmla="*/ 559620 w 4991099"/>
              <a:gd name="connsiteY9" fmla="*/ 3766110 h 6857998"/>
              <a:gd name="connsiteX10" fmla="*/ 572814 w 4991099"/>
              <a:gd name="connsiteY10" fmla="*/ 3792499 h 6857998"/>
              <a:gd name="connsiteX11" fmla="*/ 559620 w 4991099"/>
              <a:gd name="connsiteY11" fmla="*/ 3766110 h 6857998"/>
              <a:gd name="connsiteX12" fmla="*/ 561705 w 4991099"/>
              <a:gd name="connsiteY12" fmla="*/ 3721303 h 6857998"/>
              <a:gd name="connsiteX13" fmla="*/ 572814 w 4991099"/>
              <a:gd name="connsiteY13" fmla="*/ 3729458 h 6857998"/>
              <a:gd name="connsiteX14" fmla="*/ 553756 w 4991099"/>
              <a:gd name="connsiteY14" fmla="*/ 3783703 h 6857998"/>
              <a:gd name="connsiteX15" fmla="*/ 534698 w 4991099"/>
              <a:gd name="connsiteY15" fmla="*/ 3748519 h 6857998"/>
              <a:gd name="connsiteX16" fmla="*/ 549907 w 4991099"/>
              <a:gd name="connsiteY16" fmla="*/ 3723594 h 6857998"/>
              <a:gd name="connsiteX17" fmla="*/ 561705 w 4991099"/>
              <a:gd name="connsiteY17" fmla="*/ 3721303 h 6857998"/>
              <a:gd name="connsiteX18" fmla="*/ 354376 w 4991099"/>
              <a:gd name="connsiteY18" fmla="*/ 3613644 h 6857998"/>
              <a:gd name="connsiteX19" fmla="*/ 367571 w 4991099"/>
              <a:gd name="connsiteY19" fmla="*/ 3613644 h 6857998"/>
              <a:gd name="connsiteX20" fmla="*/ 367571 w 4991099"/>
              <a:gd name="connsiteY20" fmla="*/ 3631235 h 6857998"/>
              <a:gd name="connsiteX21" fmla="*/ 354376 w 4991099"/>
              <a:gd name="connsiteY21" fmla="*/ 3631235 h 6857998"/>
              <a:gd name="connsiteX22" fmla="*/ 569515 w 4991099"/>
              <a:gd name="connsiteY22" fmla="*/ 3550969 h 6857998"/>
              <a:gd name="connsiteX23" fmla="*/ 572814 w 4991099"/>
              <a:gd name="connsiteY23" fmla="*/ 3587255 h 6857998"/>
              <a:gd name="connsiteX24" fmla="*/ 559620 w 4991099"/>
              <a:gd name="connsiteY24" fmla="*/ 3552068 h 6857998"/>
              <a:gd name="connsiteX25" fmla="*/ 569515 w 4991099"/>
              <a:gd name="connsiteY25" fmla="*/ 3550969 h 6857998"/>
              <a:gd name="connsiteX26" fmla="*/ 335318 w 4991099"/>
              <a:gd name="connsiteY26" fmla="*/ 3550603 h 6857998"/>
              <a:gd name="connsiteX27" fmla="*/ 354376 w 4991099"/>
              <a:gd name="connsiteY27" fmla="*/ 3550603 h 6857998"/>
              <a:gd name="connsiteX28" fmla="*/ 354376 w 4991099"/>
              <a:gd name="connsiteY28" fmla="*/ 3576992 h 6857998"/>
              <a:gd name="connsiteX29" fmla="*/ 335318 w 4991099"/>
              <a:gd name="connsiteY29" fmla="*/ 3568194 h 6857998"/>
              <a:gd name="connsiteX30" fmla="*/ 561087 w 4991099"/>
              <a:gd name="connsiteY30" fmla="*/ 3184096 h 6857998"/>
              <a:gd name="connsiteX31" fmla="*/ 574279 w 4991099"/>
              <a:gd name="connsiteY31" fmla="*/ 3219281 h 6857998"/>
              <a:gd name="connsiteX32" fmla="*/ 580145 w 4991099"/>
              <a:gd name="connsiteY32" fmla="*/ 3184096 h 6857998"/>
              <a:gd name="connsiteX33" fmla="*/ 605067 w 4991099"/>
              <a:gd name="connsiteY33" fmla="*/ 3229541 h 6857998"/>
              <a:gd name="connsiteX34" fmla="*/ 559620 w 4991099"/>
              <a:gd name="connsiteY34" fmla="*/ 3255930 h 6857998"/>
              <a:gd name="connsiteX35" fmla="*/ 561087 w 4991099"/>
              <a:gd name="connsiteY35" fmla="*/ 3184096 h 6857998"/>
              <a:gd name="connsiteX36" fmla="*/ 552800 w 4991099"/>
              <a:gd name="connsiteY36" fmla="*/ 3051568 h 6857998"/>
              <a:gd name="connsiteX37" fmla="*/ 566951 w 4991099"/>
              <a:gd name="connsiteY37" fmla="*/ 3112260 h 6857998"/>
              <a:gd name="connsiteX38" fmla="*/ 542026 w 4991099"/>
              <a:gd name="connsiteY38" fmla="*/ 3103465 h 6857998"/>
              <a:gd name="connsiteX39" fmla="*/ 547893 w 4991099"/>
              <a:gd name="connsiteY39" fmla="*/ 3058017 h 6857998"/>
              <a:gd name="connsiteX40" fmla="*/ 552800 w 4991099"/>
              <a:gd name="connsiteY40" fmla="*/ 3051568 h 6857998"/>
              <a:gd name="connsiteX41" fmla="*/ 610931 w 4991099"/>
              <a:gd name="connsiteY41" fmla="*/ 3015502 h 6857998"/>
              <a:gd name="connsiteX42" fmla="*/ 624125 w 4991099"/>
              <a:gd name="connsiteY42" fmla="*/ 3050686 h 6857998"/>
              <a:gd name="connsiteX43" fmla="*/ 610931 w 4991099"/>
              <a:gd name="connsiteY43" fmla="*/ 3077073 h 6857998"/>
              <a:gd name="connsiteX44" fmla="*/ 591872 w 4991099"/>
              <a:gd name="connsiteY44" fmla="*/ 3050686 h 6857998"/>
              <a:gd name="connsiteX45" fmla="*/ 610931 w 4991099"/>
              <a:gd name="connsiteY45" fmla="*/ 3015502 h 6857998"/>
              <a:gd name="connsiteX46" fmla="*/ 546425 w 4991099"/>
              <a:gd name="connsiteY46" fmla="*/ 2789733 h 6857998"/>
              <a:gd name="connsiteX47" fmla="*/ 559620 w 4991099"/>
              <a:gd name="connsiteY47" fmla="*/ 2816122 h 6857998"/>
              <a:gd name="connsiteX48" fmla="*/ 546425 w 4991099"/>
              <a:gd name="connsiteY48" fmla="*/ 2789733 h 6857998"/>
              <a:gd name="connsiteX49" fmla="*/ 553756 w 4991099"/>
              <a:gd name="connsiteY49" fmla="*/ 2754548 h 6857998"/>
              <a:gd name="connsiteX50" fmla="*/ 540562 w 4991099"/>
              <a:gd name="connsiteY50" fmla="*/ 2772139 h 6857998"/>
              <a:gd name="connsiteX51" fmla="*/ 553756 w 4991099"/>
              <a:gd name="connsiteY51" fmla="*/ 2754548 h 6857998"/>
              <a:gd name="connsiteX52" fmla="*/ 521503 w 4991099"/>
              <a:gd name="connsiteY52" fmla="*/ 2754548 h 6857998"/>
              <a:gd name="connsiteX53" fmla="*/ 521503 w 4991099"/>
              <a:gd name="connsiteY53" fmla="*/ 2772139 h 6857998"/>
              <a:gd name="connsiteX54" fmla="*/ 281073 w 4991099"/>
              <a:gd name="connsiteY54" fmla="*/ 2744286 h 6857998"/>
              <a:gd name="connsiteX55" fmla="*/ 281073 w 4991099"/>
              <a:gd name="connsiteY55" fmla="*/ 2861569 h 6857998"/>
              <a:gd name="connsiteX56" fmla="*/ 279400 w 4991099"/>
              <a:gd name="connsiteY56" fmla="*/ 2856794 h 6857998"/>
              <a:gd name="connsiteX57" fmla="*/ 279400 w 4991099"/>
              <a:gd name="connsiteY57" fmla="*/ 2756251 h 6857998"/>
              <a:gd name="connsiteX58" fmla="*/ 279676 w 4991099"/>
              <a:gd name="connsiteY58" fmla="*/ 2754273 h 6857998"/>
              <a:gd name="connsiteX59" fmla="*/ 281073 w 4991099"/>
              <a:gd name="connsiteY59" fmla="*/ 2744286 h 6857998"/>
              <a:gd name="connsiteX60" fmla="*/ 525123 w 4991099"/>
              <a:gd name="connsiteY60" fmla="*/ 2708276 h 6857998"/>
              <a:gd name="connsiteX61" fmla="*/ 534698 w 4991099"/>
              <a:gd name="connsiteY61" fmla="*/ 2709101 h 6857998"/>
              <a:gd name="connsiteX62" fmla="*/ 534698 w 4991099"/>
              <a:gd name="connsiteY62" fmla="*/ 2726692 h 6857998"/>
              <a:gd name="connsiteX63" fmla="*/ 528834 w 4991099"/>
              <a:gd name="connsiteY63" fmla="*/ 2735490 h 6857998"/>
              <a:gd name="connsiteX64" fmla="*/ 525123 w 4991099"/>
              <a:gd name="connsiteY64" fmla="*/ 2708276 h 6857998"/>
              <a:gd name="connsiteX65" fmla="*/ 584748 w 4991099"/>
              <a:gd name="connsiteY65" fmla="*/ 2693982 h 6857998"/>
              <a:gd name="connsiteX66" fmla="*/ 610931 w 4991099"/>
              <a:gd name="connsiteY66" fmla="*/ 2717896 h 6857998"/>
              <a:gd name="connsiteX67" fmla="*/ 586009 w 4991099"/>
              <a:gd name="connsiteY67" fmla="*/ 2726692 h 6857998"/>
              <a:gd name="connsiteX68" fmla="*/ 578678 w 4991099"/>
              <a:gd name="connsiteY68" fmla="*/ 2700306 h 6857998"/>
              <a:gd name="connsiteX69" fmla="*/ 584748 w 4991099"/>
              <a:gd name="connsiteY69" fmla="*/ 2693982 h 6857998"/>
              <a:gd name="connsiteX70" fmla="*/ 547893 w 4991099"/>
              <a:gd name="connsiteY70" fmla="*/ 2673917 h 6857998"/>
              <a:gd name="connsiteX71" fmla="*/ 542026 w 4991099"/>
              <a:gd name="connsiteY71" fmla="*/ 2709101 h 6857998"/>
              <a:gd name="connsiteX72" fmla="*/ 547893 w 4991099"/>
              <a:gd name="connsiteY72" fmla="*/ 2673917 h 6857998"/>
              <a:gd name="connsiteX73" fmla="*/ 474933 w 4991099"/>
              <a:gd name="connsiteY73" fmla="*/ 2609983 h 6857998"/>
              <a:gd name="connsiteX74" fmla="*/ 482470 w 4991099"/>
              <a:gd name="connsiteY74" fmla="*/ 2610328 h 6857998"/>
              <a:gd name="connsiteX75" fmla="*/ 496582 w 4991099"/>
              <a:gd name="connsiteY75" fmla="*/ 2619674 h 6857998"/>
              <a:gd name="connsiteX76" fmla="*/ 471657 w 4991099"/>
              <a:gd name="connsiteY76" fmla="*/ 2619674 h 6857998"/>
              <a:gd name="connsiteX77" fmla="*/ 474933 w 4991099"/>
              <a:gd name="connsiteY77" fmla="*/ 2609983 h 6857998"/>
              <a:gd name="connsiteX78" fmla="*/ 548303 w 4991099"/>
              <a:gd name="connsiteY78" fmla="*/ 2600087 h 6857998"/>
              <a:gd name="connsiteX79" fmla="*/ 559620 w 4991099"/>
              <a:gd name="connsiteY79" fmla="*/ 2602080 h 6857998"/>
              <a:gd name="connsiteX80" fmla="*/ 553756 w 4991099"/>
              <a:gd name="connsiteY80" fmla="*/ 2637265 h 6857998"/>
              <a:gd name="connsiteX81" fmla="*/ 521503 w 4991099"/>
              <a:gd name="connsiteY81" fmla="*/ 2637265 h 6857998"/>
              <a:gd name="connsiteX82" fmla="*/ 521503 w 4991099"/>
              <a:gd name="connsiteY82" fmla="*/ 2602080 h 6857998"/>
              <a:gd name="connsiteX83" fmla="*/ 534698 w 4991099"/>
              <a:gd name="connsiteY83" fmla="*/ 2619674 h 6857998"/>
              <a:gd name="connsiteX84" fmla="*/ 548303 w 4991099"/>
              <a:gd name="connsiteY84" fmla="*/ 2600087 h 6857998"/>
              <a:gd name="connsiteX85" fmla="*/ 289871 w 4991099"/>
              <a:gd name="connsiteY85" fmla="*/ 2597681 h 6857998"/>
              <a:gd name="connsiteX86" fmla="*/ 286754 w 4991099"/>
              <a:gd name="connsiteY86" fmla="*/ 2622239 h 6857998"/>
              <a:gd name="connsiteX87" fmla="*/ 279400 w 4991099"/>
              <a:gd name="connsiteY87" fmla="*/ 2624251 h 6857998"/>
              <a:gd name="connsiteX88" fmla="*/ 279400 w 4991099"/>
              <a:gd name="connsiteY88" fmla="*/ 2606611 h 6857998"/>
              <a:gd name="connsiteX89" fmla="*/ 279447 w 4991099"/>
              <a:gd name="connsiteY89" fmla="*/ 2606593 h 6857998"/>
              <a:gd name="connsiteX90" fmla="*/ 289871 w 4991099"/>
              <a:gd name="connsiteY90" fmla="*/ 2597681 h 6857998"/>
              <a:gd name="connsiteX91" fmla="*/ 553756 w 4991099"/>
              <a:gd name="connsiteY91" fmla="*/ 2495060 h 6857998"/>
              <a:gd name="connsiteX92" fmla="*/ 521503 w 4991099"/>
              <a:gd name="connsiteY92" fmla="*/ 2540507 h 6857998"/>
              <a:gd name="connsiteX93" fmla="*/ 553756 w 4991099"/>
              <a:gd name="connsiteY93" fmla="*/ 2495060 h 6857998"/>
              <a:gd name="connsiteX94" fmla="*/ 584542 w 4991099"/>
              <a:gd name="connsiteY94" fmla="*/ 2476001 h 6857998"/>
              <a:gd name="connsiteX95" fmla="*/ 590408 w 4991099"/>
              <a:gd name="connsiteY95" fmla="*/ 2539042 h 6857998"/>
              <a:gd name="connsiteX96" fmla="*/ 584542 w 4991099"/>
              <a:gd name="connsiteY96" fmla="*/ 2547838 h 6857998"/>
              <a:gd name="connsiteX97" fmla="*/ 578678 w 4991099"/>
              <a:gd name="connsiteY97" fmla="*/ 2556633 h 6857998"/>
              <a:gd name="connsiteX98" fmla="*/ 584542 w 4991099"/>
              <a:gd name="connsiteY98" fmla="*/ 2476001 h 6857998"/>
              <a:gd name="connsiteX99" fmla="*/ 624125 w 4991099"/>
              <a:gd name="connsiteY99" fmla="*/ 2298611 h 6857998"/>
              <a:gd name="connsiteX100" fmla="*/ 643183 w 4991099"/>
              <a:gd name="connsiteY100" fmla="*/ 2333796 h 6857998"/>
              <a:gd name="connsiteX101" fmla="*/ 624125 w 4991099"/>
              <a:gd name="connsiteY101" fmla="*/ 2351390 h 6857998"/>
              <a:gd name="connsiteX102" fmla="*/ 643183 w 4991099"/>
              <a:gd name="connsiteY102" fmla="*/ 2386574 h 6857998"/>
              <a:gd name="connsiteX103" fmla="*/ 629989 w 4991099"/>
              <a:gd name="connsiteY103" fmla="*/ 2404165 h 6857998"/>
              <a:gd name="connsiteX104" fmla="*/ 605067 w 4991099"/>
              <a:gd name="connsiteY104" fmla="*/ 2377779 h 6857998"/>
              <a:gd name="connsiteX105" fmla="*/ 610931 w 4991099"/>
              <a:gd name="connsiteY105" fmla="*/ 2333796 h 6857998"/>
              <a:gd name="connsiteX106" fmla="*/ 624125 w 4991099"/>
              <a:gd name="connsiteY106" fmla="*/ 2333796 h 6857998"/>
              <a:gd name="connsiteX107" fmla="*/ 610931 w 4991099"/>
              <a:gd name="connsiteY107" fmla="*/ 2316205 h 6857998"/>
              <a:gd name="connsiteX108" fmla="*/ 624125 w 4991099"/>
              <a:gd name="connsiteY108" fmla="*/ 2298611 h 6857998"/>
              <a:gd name="connsiteX109" fmla="*/ 586009 w 4991099"/>
              <a:gd name="connsiteY109" fmla="*/ 2279553 h 6857998"/>
              <a:gd name="connsiteX110" fmla="*/ 599203 w 4991099"/>
              <a:gd name="connsiteY110" fmla="*/ 2297147 h 6857998"/>
              <a:gd name="connsiteX111" fmla="*/ 580145 w 4991099"/>
              <a:gd name="connsiteY111" fmla="*/ 2305942 h 6857998"/>
              <a:gd name="connsiteX112" fmla="*/ 586009 w 4991099"/>
              <a:gd name="connsiteY112" fmla="*/ 2279553 h 6857998"/>
              <a:gd name="connsiteX113" fmla="*/ 367571 w 4991099"/>
              <a:gd name="connsiteY113" fmla="*/ 2216515 h 6857998"/>
              <a:gd name="connsiteX114" fmla="*/ 367571 w 4991099"/>
              <a:gd name="connsiteY114" fmla="*/ 2216515 h 6857998"/>
              <a:gd name="connsiteX115" fmla="*/ 662242 w 4991099"/>
              <a:gd name="connsiteY115" fmla="*/ 2173322 h 6857998"/>
              <a:gd name="connsiteX116" fmla="*/ 674378 w 4991099"/>
              <a:gd name="connsiteY116" fmla="*/ 2190126 h 6857998"/>
              <a:gd name="connsiteX117" fmla="*/ 662242 w 4991099"/>
              <a:gd name="connsiteY117" fmla="*/ 2190126 h 6857998"/>
              <a:gd name="connsiteX118" fmla="*/ 656378 w 4991099"/>
              <a:gd name="connsiteY118" fmla="*/ 2165201 h 6857998"/>
              <a:gd name="connsiteX119" fmla="*/ 662242 w 4991099"/>
              <a:gd name="connsiteY119" fmla="*/ 2167452 h 6857998"/>
              <a:gd name="connsiteX120" fmla="*/ 662242 w 4991099"/>
              <a:gd name="connsiteY120" fmla="*/ 2173322 h 6857998"/>
              <a:gd name="connsiteX121" fmla="*/ 662242 w 4991099"/>
              <a:gd name="connsiteY121" fmla="*/ 2163737 h 6857998"/>
              <a:gd name="connsiteX122" fmla="*/ 675436 w 4991099"/>
              <a:gd name="connsiteY122" fmla="*/ 2163737 h 6857998"/>
              <a:gd name="connsiteX123" fmla="*/ 675436 w 4991099"/>
              <a:gd name="connsiteY123" fmla="*/ 2169803 h 6857998"/>
              <a:gd name="connsiteX124" fmla="*/ 672138 w 4991099"/>
              <a:gd name="connsiteY124" fmla="*/ 2171250 h 6857998"/>
              <a:gd name="connsiteX125" fmla="*/ 662242 w 4991099"/>
              <a:gd name="connsiteY125" fmla="*/ 2167452 h 6857998"/>
              <a:gd name="connsiteX126" fmla="*/ 374899 w 4991099"/>
              <a:gd name="connsiteY126" fmla="*/ 2163737 h 6857998"/>
              <a:gd name="connsiteX127" fmla="*/ 374899 w 4991099"/>
              <a:gd name="connsiteY127" fmla="*/ 2174000 h 6857998"/>
              <a:gd name="connsiteX128" fmla="*/ 361704 w 4991099"/>
              <a:gd name="connsiteY128" fmla="*/ 2209184 h 6857998"/>
              <a:gd name="connsiteX129" fmla="*/ 374899 w 4991099"/>
              <a:gd name="connsiteY129" fmla="*/ 2163737 h 6857998"/>
              <a:gd name="connsiteX130" fmla="*/ 316257 w 4991099"/>
              <a:gd name="connsiteY130" fmla="*/ 2153474 h 6857998"/>
              <a:gd name="connsiteX131" fmla="*/ 316257 w 4991099"/>
              <a:gd name="connsiteY131" fmla="*/ 2338195 h 6857998"/>
              <a:gd name="connsiteX132" fmla="*/ 291335 w 4991099"/>
              <a:gd name="connsiteY132" fmla="*/ 2351390 h 6857998"/>
              <a:gd name="connsiteX133" fmla="*/ 316257 w 4991099"/>
              <a:gd name="connsiteY133" fmla="*/ 2377779 h 6857998"/>
              <a:gd name="connsiteX134" fmla="*/ 291335 w 4991099"/>
              <a:gd name="connsiteY134" fmla="*/ 2401233 h 6857998"/>
              <a:gd name="connsiteX135" fmla="*/ 284004 w 4991099"/>
              <a:gd name="connsiteY135" fmla="*/ 2474534 h 6857998"/>
              <a:gd name="connsiteX136" fmla="*/ 282540 w 4991099"/>
              <a:gd name="connsiteY136" fmla="*/ 2380710 h 6857998"/>
              <a:gd name="connsiteX137" fmla="*/ 284004 w 4991099"/>
              <a:gd name="connsiteY137" fmla="*/ 2314738 h 6857998"/>
              <a:gd name="connsiteX138" fmla="*/ 297199 w 4991099"/>
              <a:gd name="connsiteY138" fmla="*/ 2332331 h 6857998"/>
              <a:gd name="connsiteX139" fmla="*/ 303063 w 4991099"/>
              <a:gd name="connsiteY139" fmla="*/ 2264891 h 6857998"/>
              <a:gd name="connsiteX140" fmla="*/ 316257 w 4991099"/>
              <a:gd name="connsiteY140" fmla="*/ 2153474 h 6857998"/>
              <a:gd name="connsiteX141" fmla="*/ 629989 w 4991099"/>
              <a:gd name="connsiteY141" fmla="*/ 2137348 h 6857998"/>
              <a:gd name="connsiteX142" fmla="*/ 643183 w 4991099"/>
              <a:gd name="connsiteY142" fmla="*/ 2137348 h 6857998"/>
              <a:gd name="connsiteX143" fmla="*/ 643183 w 4991099"/>
              <a:gd name="connsiteY143" fmla="*/ 2154942 h 6857998"/>
              <a:gd name="connsiteX144" fmla="*/ 629989 w 4991099"/>
              <a:gd name="connsiteY144" fmla="*/ 2154942 h 6857998"/>
              <a:gd name="connsiteX145" fmla="*/ 605067 w 4991099"/>
              <a:gd name="connsiteY145" fmla="*/ 2127085 h 6857998"/>
              <a:gd name="connsiteX146" fmla="*/ 610931 w 4991099"/>
              <a:gd name="connsiteY146" fmla="*/ 2190126 h 6857998"/>
              <a:gd name="connsiteX147" fmla="*/ 605067 w 4991099"/>
              <a:gd name="connsiteY147" fmla="*/ 2127085 h 6857998"/>
              <a:gd name="connsiteX148" fmla="*/ 553756 w 4991099"/>
              <a:gd name="connsiteY148" fmla="*/ 1983415 h 6857998"/>
              <a:gd name="connsiteX149" fmla="*/ 547893 w 4991099"/>
              <a:gd name="connsiteY149" fmla="*/ 2028862 h 6857998"/>
              <a:gd name="connsiteX150" fmla="*/ 553756 w 4991099"/>
              <a:gd name="connsiteY150" fmla="*/ 1983415 h 6857998"/>
              <a:gd name="connsiteX151" fmla="*/ 371097 w 4991099"/>
              <a:gd name="connsiteY151" fmla="*/ 1983141 h 6857998"/>
              <a:gd name="connsiteX152" fmla="*/ 374899 w 4991099"/>
              <a:gd name="connsiteY152" fmla="*/ 1992211 h 6857998"/>
              <a:gd name="connsiteX153" fmla="*/ 374899 w 4991099"/>
              <a:gd name="connsiteY153" fmla="*/ 2037658 h 6857998"/>
              <a:gd name="connsiteX154" fmla="*/ 374899 w 4991099"/>
              <a:gd name="connsiteY154" fmla="*/ 2134416 h 6857998"/>
              <a:gd name="connsiteX155" fmla="*/ 374899 w 4991099"/>
              <a:gd name="connsiteY155" fmla="*/ 2108027 h 6857998"/>
              <a:gd name="connsiteX156" fmla="*/ 369035 w 4991099"/>
              <a:gd name="connsiteY156" fmla="*/ 2081638 h 6857998"/>
              <a:gd name="connsiteX157" fmla="*/ 374899 w 4991099"/>
              <a:gd name="connsiteY157" fmla="*/ 2072842 h 6857998"/>
              <a:gd name="connsiteX158" fmla="*/ 369035 w 4991099"/>
              <a:gd name="connsiteY158" fmla="*/ 2018600 h 6857998"/>
              <a:gd name="connsiteX159" fmla="*/ 368669 w 4991099"/>
              <a:gd name="connsiteY159" fmla="*/ 1991113 h 6857998"/>
              <a:gd name="connsiteX160" fmla="*/ 371097 w 4991099"/>
              <a:gd name="connsiteY160" fmla="*/ 1983141 h 6857998"/>
              <a:gd name="connsiteX161" fmla="*/ 304571 w 4991099"/>
              <a:gd name="connsiteY161" fmla="*/ 1970963 h 6857998"/>
              <a:gd name="connsiteX162" fmla="*/ 307096 w 4991099"/>
              <a:gd name="connsiteY162" fmla="*/ 1979566 h 6857998"/>
              <a:gd name="connsiteX163" fmla="*/ 295734 w 4991099"/>
              <a:gd name="connsiteY163" fmla="*/ 1983415 h 6857998"/>
              <a:gd name="connsiteX164" fmla="*/ 303063 w 4991099"/>
              <a:gd name="connsiteY164" fmla="*/ 1965821 h 6857998"/>
              <a:gd name="connsiteX165" fmla="*/ 307501 w 4991099"/>
              <a:gd name="connsiteY165" fmla="*/ 1966834 h 6857998"/>
              <a:gd name="connsiteX166" fmla="*/ 304571 w 4991099"/>
              <a:gd name="connsiteY166" fmla="*/ 1970963 h 6857998"/>
              <a:gd name="connsiteX167" fmla="*/ 327987 w 4991099"/>
              <a:gd name="connsiteY167" fmla="*/ 1937968 h 6857998"/>
              <a:gd name="connsiteX168" fmla="*/ 327987 w 4991099"/>
              <a:gd name="connsiteY168" fmla="*/ 1983415 h 6857998"/>
              <a:gd name="connsiteX169" fmla="*/ 319923 w 4991099"/>
              <a:gd name="connsiteY169" fmla="*/ 1969670 h 6857998"/>
              <a:gd name="connsiteX170" fmla="*/ 307501 w 4991099"/>
              <a:gd name="connsiteY170" fmla="*/ 1966834 h 6857998"/>
              <a:gd name="connsiteX171" fmla="*/ 597736 w 4991099"/>
              <a:gd name="connsiteY171" fmla="*/ 1932104 h 6857998"/>
              <a:gd name="connsiteX172" fmla="*/ 629989 w 4991099"/>
              <a:gd name="connsiteY172" fmla="*/ 1949695 h 6857998"/>
              <a:gd name="connsiteX173" fmla="*/ 629989 w 4991099"/>
              <a:gd name="connsiteY173" fmla="*/ 1967289 h 6857998"/>
              <a:gd name="connsiteX174" fmla="*/ 649047 w 4991099"/>
              <a:gd name="connsiteY174" fmla="*/ 1984880 h 6857998"/>
              <a:gd name="connsiteX175" fmla="*/ 644648 w 4991099"/>
              <a:gd name="connsiteY175" fmla="*/ 2065511 h 6857998"/>
              <a:gd name="connsiteX176" fmla="*/ 631456 w 4991099"/>
              <a:gd name="connsiteY176" fmla="*/ 2047921 h 6857998"/>
              <a:gd name="connsiteX177" fmla="*/ 618262 w 4991099"/>
              <a:gd name="connsiteY177" fmla="*/ 2119757 h 6857998"/>
              <a:gd name="connsiteX178" fmla="*/ 572814 w 4991099"/>
              <a:gd name="connsiteY178" fmla="*/ 2093368 h 6857998"/>
              <a:gd name="connsiteX179" fmla="*/ 572814 w 4991099"/>
              <a:gd name="connsiteY179" fmla="*/ 2012736 h 6857998"/>
              <a:gd name="connsiteX180" fmla="*/ 597736 w 4991099"/>
              <a:gd name="connsiteY180" fmla="*/ 1932104 h 6857998"/>
              <a:gd name="connsiteX181" fmla="*/ 588985 w 4991099"/>
              <a:gd name="connsiteY181" fmla="*/ 1857152 h 6857998"/>
              <a:gd name="connsiteX182" fmla="*/ 591872 w 4991099"/>
              <a:gd name="connsiteY182" fmla="*/ 1885190 h 6857998"/>
              <a:gd name="connsiteX183" fmla="*/ 597736 w 4991099"/>
              <a:gd name="connsiteY183" fmla="*/ 1876394 h 6857998"/>
              <a:gd name="connsiteX184" fmla="*/ 597736 w 4991099"/>
              <a:gd name="connsiteY184" fmla="*/ 1858801 h 6857998"/>
              <a:gd name="connsiteX185" fmla="*/ 588985 w 4991099"/>
              <a:gd name="connsiteY185" fmla="*/ 1857152 h 6857998"/>
              <a:gd name="connsiteX186" fmla="*/ 307829 w 4991099"/>
              <a:gd name="connsiteY186" fmla="*/ 1801076 h 6857998"/>
              <a:gd name="connsiteX187" fmla="*/ 329452 w 4991099"/>
              <a:gd name="connsiteY187" fmla="*/ 1806025 h 6857998"/>
              <a:gd name="connsiteX188" fmla="*/ 297199 w 4991099"/>
              <a:gd name="connsiteY188" fmla="*/ 1814821 h 6857998"/>
              <a:gd name="connsiteX189" fmla="*/ 307829 w 4991099"/>
              <a:gd name="connsiteY189" fmla="*/ 1801076 h 6857998"/>
              <a:gd name="connsiteX190" fmla="*/ 593510 w 4991099"/>
              <a:gd name="connsiteY190" fmla="*/ 1776251 h 6857998"/>
              <a:gd name="connsiteX191" fmla="*/ 578678 w 4991099"/>
              <a:gd name="connsiteY191" fmla="*/ 1841210 h 6857998"/>
              <a:gd name="connsiteX192" fmla="*/ 609466 w 4991099"/>
              <a:gd name="connsiteY192" fmla="*/ 1823619 h 6857998"/>
              <a:gd name="connsiteX193" fmla="*/ 603600 w 4991099"/>
              <a:gd name="connsiteY193" fmla="*/ 1778172 h 6857998"/>
              <a:gd name="connsiteX194" fmla="*/ 593510 w 4991099"/>
              <a:gd name="connsiteY194" fmla="*/ 1776251 h 6857998"/>
              <a:gd name="connsiteX195" fmla="*/ 656378 w 4991099"/>
              <a:gd name="connsiteY195" fmla="*/ 1706335 h 6857998"/>
              <a:gd name="connsiteX196" fmla="*/ 672688 w 4991099"/>
              <a:gd name="connsiteY196" fmla="*/ 1733091 h 6857998"/>
              <a:gd name="connsiteX197" fmla="*/ 678616 w 4991099"/>
              <a:gd name="connsiteY197" fmla="*/ 1759077 h 6857998"/>
              <a:gd name="connsiteX198" fmla="*/ 673969 w 4991099"/>
              <a:gd name="connsiteY198" fmla="*/ 1764977 h 6857998"/>
              <a:gd name="connsiteX199" fmla="*/ 681037 w 4991099"/>
              <a:gd name="connsiteY199" fmla="*/ 1769689 h 6857998"/>
              <a:gd name="connsiteX200" fmla="*/ 681300 w 4991099"/>
              <a:gd name="connsiteY200" fmla="*/ 1770841 h 6857998"/>
              <a:gd name="connsiteX201" fmla="*/ 656378 w 4991099"/>
              <a:gd name="connsiteY201" fmla="*/ 1779636 h 6857998"/>
              <a:gd name="connsiteX202" fmla="*/ 650514 w 4991099"/>
              <a:gd name="connsiteY202" fmla="*/ 1814821 h 6857998"/>
              <a:gd name="connsiteX203" fmla="*/ 656378 w 4991099"/>
              <a:gd name="connsiteY203" fmla="*/ 1751783 h 6857998"/>
              <a:gd name="connsiteX204" fmla="*/ 656378 w 4991099"/>
              <a:gd name="connsiteY204" fmla="*/ 1706335 h 6857998"/>
              <a:gd name="connsiteX205" fmla="*/ 616794 w 4991099"/>
              <a:gd name="connsiteY205" fmla="*/ 1672615 h 6857998"/>
              <a:gd name="connsiteX206" fmla="*/ 622658 w 4991099"/>
              <a:gd name="connsiteY206" fmla="*/ 1699004 h 6857998"/>
              <a:gd name="connsiteX207" fmla="*/ 635852 w 4991099"/>
              <a:gd name="connsiteY207" fmla="*/ 1744452 h 6857998"/>
              <a:gd name="connsiteX208" fmla="*/ 629989 w 4991099"/>
              <a:gd name="connsiteY208" fmla="*/ 1779636 h 6857998"/>
              <a:gd name="connsiteX209" fmla="*/ 629989 w 4991099"/>
              <a:gd name="connsiteY209" fmla="*/ 1797230 h 6857998"/>
              <a:gd name="connsiteX210" fmla="*/ 624125 w 4991099"/>
              <a:gd name="connsiteY210" fmla="*/ 1823616 h 6857998"/>
              <a:gd name="connsiteX211" fmla="*/ 610931 w 4991099"/>
              <a:gd name="connsiteY211" fmla="*/ 1858801 h 6857998"/>
              <a:gd name="connsiteX212" fmla="*/ 629989 w 4991099"/>
              <a:gd name="connsiteY212" fmla="*/ 1893985 h 6857998"/>
              <a:gd name="connsiteX213" fmla="*/ 610931 w 4991099"/>
              <a:gd name="connsiteY213" fmla="*/ 1911579 h 6857998"/>
              <a:gd name="connsiteX214" fmla="*/ 578678 w 4991099"/>
              <a:gd name="connsiteY214" fmla="*/ 1911579 h 6857998"/>
              <a:gd name="connsiteX215" fmla="*/ 572814 w 4991099"/>
              <a:gd name="connsiteY215" fmla="*/ 1983415 h 6857998"/>
              <a:gd name="connsiteX216" fmla="*/ 572814 w 4991099"/>
              <a:gd name="connsiteY216" fmla="*/ 1920374 h 6857998"/>
              <a:gd name="connsiteX217" fmla="*/ 572814 w 4991099"/>
              <a:gd name="connsiteY217" fmla="*/ 1893985 h 6857998"/>
              <a:gd name="connsiteX218" fmla="*/ 566951 w 4991099"/>
              <a:gd name="connsiteY218" fmla="*/ 1885190 h 6857998"/>
              <a:gd name="connsiteX219" fmla="*/ 572814 w 4991099"/>
              <a:gd name="connsiteY219" fmla="*/ 1867599 h 6857998"/>
              <a:gd name="connsiteX220" fmla="*/ 572814 w 4991099"/>
              <a:gd name="connsiteY220" fmla="*/ 1832414 h 6857998"/>
              <a:gd name="connsiteX221" fmla="*/ 572814 w 4991099"/>
              <a:gd name="connsiteY221" fmla="*/ 1823616 h 6857998"/>
              <a:gd name="connsiteX222" fmla="*/ 572814 w 4991099"/>
              <a:gd name="connsiteY222" fmla="*/ 1726858 h 6857998"/>
              <a:gd name="connsiteX223" fmla="*/ 591872 w 4991099"/>
              <a:gd name="connsiteY223" fmla="*/ 1753247 h 6857998"/>
              <a:gd name="connsiteX224" fmla="*/ 597736 w 4991099"/>
              <a:gd name="connsiteY224" fmla="*/ 1726858 h 6857998"/>
              <a:gd name="connsiteX225" fmla="*/ 616794 w 4991099"/>
              <a:gd name="connsiteY225" fmla="*/ 1726858 h 6857998"/>
              <a:gd name="connsiteX226" fmla="*/ 329452 w 4991099"/>
              <a:gd name="connsiteY226" fmla="*/ 1662353 h 6857998"/>
              <a:gd name="connsiteX227" fmla="*/ 329452 w 4991099"/>
              <a:gd name="connsiteY227" fmla="*/ 1697537 h 6857998"/>
              <a:gd name="connsiteX228" fmla="*/ 329452 w 4991099"/>
              <a:gd name="connsiteY228" fmla="*/ 1662353 h 6857998"/>
              <a:gd name="connsiteX229" fmla="*/ 663709 w 4991099"/>
              <a:gd name="connsiteY229" fmla="*/ 1634499 h 6857998"/>
              <a:gd name="connsiteX230" fmla="*/ 669572 w 4991099"/>
              <a:gd name="connsiteY230" fmla="*/ 1688742 h 6857998"/>
              <a:gd name="connsiteX231" fmla="*/ 657845 w 4991099"/>
              <a:gd name="connsiteY231" fmla="*/ 1697537 h 6857998"/>
              <a:gd name="connsiteX232" fmla="*/ 663709 w 4991099"/>
              <a:gd name="connsiteY232" fmla="*/ 1634499 h 6857998"/>
              <a:gd name="connsiteX233" fmla="*/ 660181 w 4991099"/>
              <a:gd name="connsiteY233" fmla="*/ 1557120 h 6857998"/>
              <a:gd name="connsiteX234" fmla="*/ 675436 w 4991099"/>
              <a:gd name="connsiteY234" fmla="*/ 1564130 h 6857998"/>
              <a:gd name="connsiteX235" fmla="*/ 669572 w 4991099"/>
              <a:gd name="connsiteY235" fmla="*/ 1599314 h 6857998"/>
              <a:gd name="connsiteX236" fmla="*/ 656378 w 4991099"/>
              <a:gd name="connsiteY236" fmla="*/ 1564130 h 6857998"/>
              <a:gd name="connsiteX237" fmla="*/ 660181 w 4991099"/>
              <a:gd name="connsiteY237" fmla="*/ 1557120 h 6857998"/>
              <a:gd name="connsiteX238" fmla="*/ 355841 w 4991099"/>
              <a:gd name="connsiteY238" fmla="*/ 1545072 h 6857998"/>
              <a:gd name="connsiteX239" fmla="*/ 374899 w 4991099"/>
              <a:gd name="connsiteY239" fmla="*/ 1599314 h 6857998"/>
              <a:gd name="connsiteX240" fmla="*/ 355841 w 4991099"/>
              <a:gd name="connsiteY240" fmla="*/ 1545072 h 6857998"/>
              <a:gd name="connsiteX241" fmla="*/ 572814 w 4991099"/>
              <a:gd name="connsiteY241" fmla="*/ 1446846 h 6857998"/>
              <a:gd name="connsiteX242" fmla="*/ 572814 w 4991099"/>
              <a:gd name="connsiteY242" fmla="*/ 1464440 h 6857998"/>
              <a:gd name="connsiteX243" fmla="*/ 626507 w 4991099"/>
              <a:gd name="connsiteY243" fmla="*/ 1446022 h 6857998"/>
              <a:gd name="connsiteX244" fmla="*/ 637320 w 4991099"/>
              <a:gd name="connsiteY244" fmla="*/ 1446846 h 6857998"/>
              <a:gd name="connsiteX245" fmla="*/ 643183 w 4991099"/>
              <a:gd name="connsiteY245" fmla="*/ 1492294 h 6857998"/>
              <a:gd name="connsiteX246" fmla="*/ 629989 w 4991099"/>
              <a:gd name="connsiteY246" fmla="*/ 1492294 h 6857998"/>
              <a:gd name="connsiteX247" fmla="*/ 643183 w 4991099"/>
              <a:gd name="connsiteY247" fmla="*/ 1501089 h 6857998"/>
              <a:gd name="connsiteX248" fmla="*/ 599203 w 4991099"/>
              <a:gd name="connsiteY248" fmla="*/ 1482031 h 6857998"/>
              <a:gd name="connsiteX249" fmla="*/ 605067 w 4991099"/>
              <a:gd name="connsiteY249" fmla="*/ 1455642 h 6857998"/>
              <a:gd name="connsiteX250" fmla="*/ 618262 w 4991099"/>
              <a:gd name="connsiteY250" fmla="*/ 1473235 h 6857998"/>
              <a:gd name="connsiteX251" fmla="*/ 626507 w 4991099"/>
              <a:gd name="connsiteY251" fmla="*/ 1446022 h 6857998"/>
              <a:gd name="connsiteX252" fmla="*/ 374899 w 4991099"/>
              <a:gd name="connsiteY252" fmla="*/ 1438051 h 6857998"/>
              <a:gd name="connsiteX253" fmla="*/ 374899 w 4991099"/>
              <a:gd name="connsiteY253" fmla="*/ 1509887 h 6857998"/>
              <a:gd name="connsiteX254" fmla="*/ 374899 w 4991099"/>
              <a:gd name="connsiteY254" fmla="*/ 1438051 h 6857998"/>
              <a:gd name="connsiteX255" fmla="*/ 361704 w 4991099"/>
              <a:gd name="connsiteY255" fmla="*/ 1394071 h 6857998"/>
              <a:gd name="connsiteX256" fmla="*/ 374899 w 4991099"/>
              <a:gd name="connsiteY256" fmla="*/ 1394071 h 6857998"/>
              <a:gd name="connsiteX257" fmla="*/ 374899 w 4991099"/>
              <a:gd name="connsiteY257" fmla="*/ 1411662 h 6857998"/>
              <a:gd name="connsiteX258" fmla="*/ 361704 w 4991099"/>
              <a:gd name="connsiteY258" fmla="*/ 1411662 h 6857998"/>
              <a:gd name="connsiteX259" fmla="*/ 687163 w 4991099"/>
              <a:gd name="connsiteY259" fmla="*/ 1392604 h 6857998"/>
              <a:gd name="connsiteX260" fmla="*/ 681300 w 4991099"/>
              <a:gd name="connsiteY260" fmla="*/ 1464440 h 6857998"/>
              <a:gd name="connsiteX261" fmla="*/ 654911 w 4991099"/>
              <a:gd name="connsiteY261" fmla="*/ 1410194 h 6857998"/>
              <a:gd name="connsiteX262" fmla="*/ 687163 w 4991099"/>
              <a:gd name="connsiteY262" fmla="*/ 1392604 h 6857998"/>
              <a:gd name="connsiteX263" fmla="*/ 618262 w 4991099"/>
              <a:gd name="connsiteY263" fmla="*/ 1310505 h 6857998"/>
              <a:gd name="connsiteX264" fmla="*/ 615330 w 4991099"/>
              <a:gd name="connsiteY264" fmla="*/ 1366215 h 6857998"/>
              <a:gd name="connsiteX265" fmla="*/ 596272 w 4991099"/>
              <a:gd name="connsiteY265" fmla="*/ 1361818 h 6857998"/>
              <a:gd name="connsiteX266" fmla="*/ 600668 w 4991099"/>
              <a:gd name="connsiteY266" fmla="*/ 1326631 h 6857998"/>
              <a:gd name="connsiteX267" fmla="*/ 618262 w 4991099"/>
              <a:gd name="connsiteY267" fmla="*/ 1310505 h 6857998"/>
              <a:gd name="connsiteX268" fmla="*/ 578678 w 4991099"/>
              <a:gd name="connsiteY268" fmla="*/ 1169766 h 6857998"/>
              <a:gd name="connsiteX269" fmla="*/ 578678 w 4991099"/>
              <a:gd name="connsiteY269" fmla="*/ 1259194 h 6857998"/>
              <a:gd name="connsiteX270" fmla="*/ 540562 w 4991099"/>
              <a:gd name="connsiteY270" fmla="*/ 1196156 h 6857998"/>
              <a:gd name="connsiteX271" fmla="*/ 578678 w 4991099"/>
              <a:gd name="connsiteY271" fmla="*/ 1169766 h 6857998"/>
              <a:gd name="connsiteX272" fmla="*/ 465793 w 4991099"/>
              <a:gd name="connsiteY272" fmla="*/ 1169766 h 6857998"/>
              <a:gd name="connsiteX273" fmla="*/ 465793 w 4991099"/>
              <a:gd name="connsiteY273" fmla="*/ 1187360 h 6857998"/>
              <a:gd name="connsiteX274" fmla="*/ 478988 w 4991099"/>
              <a:gd name="connsiteY274" fmla="*/ 1232807 h 6857998"/>
              <a:gd name="connsiteX275" fmla="*/ 446735 w 4991099"/>
              <a:gd name="connsiteY275" fmla="*/ 1224009 h 6857998"/>
              <a:gd name="connsiteX276" fmla="*/ 465793 w 4991099"/>
              <a:gd name="connsiteY276" fmla="*/ 1169766 h 6857998"/>
              <a:gd name="connsiteX277" fmla="*/ 415950 w 4991099"/>
              <a:gd name="connsiteY277" fmla="*/ 1159504 h 6857998"/>
              <a:gd name="connsiteX278" fmla="*/ 435008 w 4991099"/>
              <a:gd name="connsiteY278" fmla="*/ 1213746 h 6857998"/>
              <a:gd name="connsiteX279" fmla="*/ 415950 w 4991099"/>
              <a:gd name="connsiteY279" fmla="*/ 1231340 h 6857998"/>
              <a:gd name="connsiteX280" fmla="*/ 415950 w 4991099"/>
              <a:gd name="connsiteY280" fmla="*/ 1294378 h 6857998"/>
              <a:gd name="connsiteX281" fmla="*/ 402753 w 4991099"/>
              <a:gd name="connsiteY281" fmla="*/ 1222545 h 6857998"/>
              <a:gd name="connsiteX282" fmla="*/ 402753 w 4991099"/>
              <a:gd name="connsiteY282" fmla="*/ 1196156 h 6857998"/>
              <a:gd name="connsiteX283" fmla="*/ 402753 w 4991099"/>
              <a:gd name="connsiteY283" fmla="*/ 1168299 h 6857998"/>
              <a:gd name="connsiteX284" fmla="*/ 415950 w 4991099"/>
              <a:gd name="connsiteY284" fmla="*/ 1159504 h 6857998"/>
              <a:gd name="connsiteX285" fmla="*/ 429144 w 4991099"/>
              <a:gd name="connsiteY285" fmla="*/ 1127251 h 6857998"/>
              <a:gd name="connsiteX286" fmla="*/ 448203 w 4991099"/>
              <a:gd name="connsiteY286" fmla="*/ 1127251 h 6857998"/>
              <a:gd name="connsiteX287" fmla="*/ 448203 w 4991099"/>
              <a:gd name="connsiteY287" fmla="*/ 1144845 h 6857998"/>
              <a:gd name="connsiteX288" fmla="*/ 429144 w 4991099"/>
              <a:gd name="connsiteY288" fmla="*/ 1127251 h 6857998"/>
              <a:gd name="connsiteX289" fmla="*/ 486319 w 4991099"/>
              <a:gd name="connsiteY289" fmla="*/ 1115524 h 6857998"/>
              <a:gd name="connsiteX290" fmla="*/ 492183 w 4991099"/>
              <a:gd name="connsiteY290" fmla="*/ 1160971 h 6857998"/>
              <a:gd name="connsiteX291" fmla="*/ 486319 w 4991099"/>
              <a:gd name="connsiteY291" fmla="*/ 1115524 h 6857998"/>
              <a:gd name="connsiteX292" fmla="*/ 502445 w 4991099"/>
              <a:gd name="connsiteY292" fmla="*/ 936667 h 6857998"/>
              <a:gd name="connsiteX293" fmla="*/ 496582 w 4991099"/>
              <a:gd name="connsiteY293" fmla="*/ 982114 h 6857998"/>
              <a:gd name="connsiteX294" fmla="*/ 502445 w 4991099"/>
              <a:gd name="connsiteY294" fmla="*/ 936667 h 6857998"/>
              <a:gd name="connsiteX295" fmla="*/ 346862 w 4991099"/>
              <a:gd name="connsiteY295" fmla="*/ 922008 h 6857998"/>
              <a:gd name="connsiteX296" fmla="*/ 351069 w 4991099"/>
              <a:gd name="connsiteY296" fmla="*/ 925354 h 6857998"/>
              <a:gd name="connsiteX297" fmla="*/ 349410 w 4991099"/>
              <a:gd name="connsiteY297" fmla="*/ 940795 h 6857998"/>
              <a:gd name="connsiteX298" fmla="*/ 348513 w 4991099"/>
              <a:gd name="connsiteY298" fmla="*/ 943998 h 6857998"/>
              <a:gd name="connsiteX299" fmla="*/ 346862 w 4991099"/>
              <a:gd name="connsiteY299" fmla="*/ 922008 h 6857998"/>
              <a:gd name="connsiteX300" fmla="*/ 348513 w 4991099"/>
              <a:gd name="connsiteY300" fmla="*/ 880959 h 6857998"/>
              <a:gd name="connsiteX301" fmla="*/ 354452 w 4991099"/>
              <a:gd name="connsiteY301" fmla="*/ 893889 h 6857998"/>
              <a:gd name="connsiteX302" fmla="*/ 354052 w 4991099"/>
              <a:gd name="connsiteY302" fmla="*/ 897616 h 6857998"/>
              <a:gd name="connsiteX303" fmla="*/ 349610 w 4991099"/>
              <a:gd name="connsiteY303" fmla="*/ 901852 h 6857998"/>
              <a:gd name="connsiteX304" fmla="*/ 348513 w 4991099"/>
              <a:gd name="connsiteY304" fmla="*/ 880959 h 6857998"/>
              <a:gd name="connsiteX305" fmla="*/ 470193 w 4991099"/>
              <a:gd name="connsiteY305" fmla="*/ 766608 h 6857998"/>
              <a:gd name="connsiteX306" fmla="*/ 470193 w 4991099"/>
              <a:gd name="connsiteY306" fmla="*/ 820850 h 6857998"/>
              <a:gd name="connsiteX307" fmla="*/ 470193 w 4991099"/>
              <a:gd name="connsiteY307" fmla="*/ 766608 h 6857998"/>
              <a:gd name="connsiteX308" fmla="*/ 364683 w 4991099"/>
              <a:gd name="connsiteY308" fmla="*/ 584637 h 6857998"/>
              <a:gd name="connsiteX309" fmla="*/ 367571 w 4991099"/>
              <a:gd name="connsiteY309" fmla="*/ 612675 h 6857998"/>
              <a:gd name="connsiteX310" fmla="*/ 373434 w 4991099"/>
              <a:gd name="connsiteY310" fmla="*/ 603880 h 6857998"/>
              <a:gd name="connsiteX311" fmla="*/ 373434 w 4991099"/>
              <a:gd name="connsiteY311" fmla="*/ 586286 h 6857998"/>
              <a:gd name="connsiteX312" fmla="*/ 364683 w 4991099"/>
              <a:gd name="connsiteY312" fmla="*/ 584637 h 6857998"/>
              <a:gd name="connsiteX313" fmla="*/ 480382 w 4991099"/>
              <a:gd name="connsiteY313" fmla="*/ 553616 h 6857998"/>
              <a:gd name="connsiteX314" fmla="*/ 483384 w 4991099"/>
              <a:gd name="connsiteY314" fmla="*/ 571624 h 6857998"/>
              <a:gd name="connsiteX315" fmla="*/ 477521 w 4991099"/>
              <a:gd name="connsiteY315" fmla="*/ 580422 h 6857998"/>
              <a:gd name="connsiteX316" fmla="*/ 483384 w 4991099"/>
              <a:gd name="connsiteY316" fmla="*/ 598013 h 6857998"/>
              <a:gd name="connsiteX317" fmla="*/ 473855 w 4991099"/>
              <a:gd name="connsiteY317" fmla="*/ 606809 h 6857998"/>
              <a:gd name="connsiteX318" fmla="*/ 466129 w 4991099"/>
              <a:gd name="connsiteY318" fmla="*/ 613942 h 6857998"/>
              <a:gd name="connsiteX319" fmla="*/ 464876 w 4991099"/>
              <a:gd name="connsiteY319" fmla="*/ 597280 h 6857998"/>
              <a:gd name="connsiteX320" fmla="*/ 463296 w 4991099"/>
              <a:gd name="connsiteY320" fmla="*/ 565303 h 6857998"/>
              <a:gd name="connsiteX321" fmla="*/ 367571 w 4991099"/>
              <a:gd name="connsiteY321" fmla="*/ 532043 h 6857998"/>
              <a:gd name="connsiteX322" fmla="*/ 367571 w 4991099"/>
              <a:gd name="connsiteY322" fmla="*/ 532043 h 6857998"/>
              <a:gd name="connsiteX323" fmla="*/ 637320 w 4991099"/>
              <a:gd name="connsiteY323" fmla="*/ 524712 h 6857998"/>
              <a:gd name="connsiteX324" fmla="*/ 649462 w 4991099"/>
              <a:gd name="connsiteY324" fmla="*/ 556943 h 6857998"/>
              <a:gd name="connsiteX325" fmla="*/ 650483 w 4991099"/>
              <a:gd name="connsiteY325" fmla="*/ 571342 h 6857998"/>
              <a:gd name="connsiteX326" fmla="*/ 637320 w 4991099"/>
              <a:gd name="connsiteY326" fmla="*/ 605344 h 6857998"/>
              <a:gd name="connsiteX327" fmla="*/ 637320 w 4991099"/>
              <a:gd name="connsiteY327" fmla="*/ 524712 h 6857998"/>
              <a:gd name="connsiteX328" fmla="*/ 479471 w 4991099"/>
              <a:gd name="connsiteY328" fmla="*/ 480715 h 6857998"/>
              <a:gd name="connsiteX329" fmla="*/ 483384 w 4991099"/>
              <a:gd name="connsiteY329" fmla="*/ 492460 h 6857998"/>
              <a:gd name="connsiteX330" fmla="*/ 483384 w 4991099"/>
              <a:gd name="connsiteY330" fmla="*/ 527644 h 6857998"/>
              <a:gd name="connsiteX331" fmla="*/ 481006 w 4991099"/>
              <a:gd name="connsiteY331" fmla="*/ 531214 h 6857998"/>
              <a:gd name="connsiteX332" fmla="*/ 479169 w 4991099"/>
              <a:gd name="connsiteY332" fmla="*/ 488427 h 6857998"/>
              <a:gd name="connsiteX333" fmla="*/ 559620 w 4991099"/>
              <a:gd name="connsiteY333" fmla="*/ 398633 h 6857998"/>
              <a:gd name="connsiteX334" fmla="*/ 553756 w 4991099"/>
              <a:gd name="connsiteY334" fmla="*/ 452876 h 6857998"/>
              <a:gd name="connsiteX335" fmla="*/ 547893 w 4991099"/>
              <a:gd name="connsiteY335" fmla="*/ 426490 h 6857998"/>
              <a:gd name="connsiteX336" fmla="*/ 515640 w 4991099"/>
              <a:gd name="connsiteY336" fmla="*/ 452876 h 6857998"/>
              <a:gd name="connsiteX337" fmla="*/ 521503 w 4991099"/>
              <a:gd name="connsiteY337" fmla="*/ 444081 h 6857998"/>
              <a:gd name="connsiteX338" fmla="*/ 559620 w 4991099"/>
              <a:gd name="connsiteY338" fmla="*/ 398633 h 6857998"/>
              <a:gd name="connsiteX339" fmla="*/ 481920 w 4991099"/>
              <a:gd name="connsiteY339" fmla="*/ 337060 h 6857998"/>
              <a:gd name="connsiteX340" fmla="*/ 456998 w 4991099"/>
              <a:gd name="connsiteY340" fmla="*/ 400098 h 6857998"/>
              <a:gd name="connsiteX341" fmla="*/ 481920 w 4991099"/>
              <a:gd name="connsiteY341" fmla="*/ 408896 h 6857998"/>
              <a:gd name="connsiteX342" fmla="*/ 481920 w 4991099"/>
              <a:gd name="connsiteY342" fmla="*/ 337060 h 6857998"/>
              <a:gd name="connsiteX343" fmla="*/ 376231 w 4991099"/>
              <a:gd name="connsiteY343" fmla="*/ 302538 h 6857998"/>
              <a:gd name="connsiteX344" fmla="*/ 378313 w 4991099"/>
              <a:gd name="connsiteY344" fmla="*/ 304280 h 6857998"/>
              <a:gd name="connsiteX345" fmla="*/ 378847 w 4991099"/>
              <a:gd name="connsiteY345" fmla="*/ 311035 h 6857998"/>
              <a:gd name="connsiteX346" fmla="*/ 376112 w 4991099"/>
              <a:gd name="connsiteY346" fmla="*/ 303181 h 6857998"/>
              <a:gd name="connsiteX347" fmla="*/ 392490 w 4991099"/>
              <a:gd name="connsiteY347" fmla="*/ 181660 h 6857998"/>
              <a:gd name="connsiteX348" fmla="*/ 386626 w 4991099"/>
              <a:gd name="connsiteY348" fmla="*/ 244698 h 6857998"/>
              <a:gd name="connsiteX349" fmla="*/ 398353 w 4991099"/>
              <a:gd name="connsiteY349" fmla="*/ 208049 h 6857998"/>
              <a:gd name="connsiteX350" fmla="*/ 392490 w 4991099"/>
              <a:gd name="connsiteY350" fmla="*/ 181660 h 6857998"/>
              <a:gd name="connsiteX351" fmla="*/ 412296 w 4991099"/>
              <a:gd name="connsiteY351" fmla="*/ 91309 h 6857998"/>
              <a:gd name="connsiteX352" fmla="*/ 399824 w 4991099"/>
              <a:gd name="connsiteY352" fmla="*/ 92233 h 6857998"/>
              <a:gd name="connsiteX353" fmla="*/ 407154 w 4991099"/>
              <a:gd name="connsiteY353" fmla="*/ 137680 h 6857998"/>
              <a:gd name="connsiteX354" fmla="*/ 400557 w 4991099"/>
              <a:gd name="connsiteY354" fmla="*/ 143729 h 6857998"/>
              <a:gd name="connsiteX355" fmla="*/ 394467 w 4991099"/>
              <a:gd name="connsiteY355" fmla="*/ 154386 h 6857998"/>
              <a:gd name="connsiteX356" fmla="*/ 394463 w 4991099"/>
              <a:gd name="connsiteY356" fmla="*/ 154380 h 6857998"/>
              <a:gd name="connsiteX357" fmla="*/ 393960 w 4991099"/>
              <a:gd name="connsiteY357" fmla="*/ 155274 h 6857998"/>
              <a:gd name="connsiteX358" fmla="*/ 394467 w 4991099"/>
              <a:gd name="connsiteY358" fmla="*/ 154386 h 6857998"/>
              <a:gd name="connsiteX359" fmla="*/ 396891 w 4991099"/>
              <a:gd name="connsiteY359" fmla="*/ 158023 h 6857998"/>
              <a:gd name="connsiteX360" fmla="*/ 399824 w 4991099"/>
              <a:gd name="connsiteY360" fmla="*/ 164069 h 6857998"/>
              <a:gd name="connsiteX361" fmla="*/ 413018 w 4991099"/>
              <a:gd name="connsiteY361" fmla="*/ 172864 h 6857998"/>
              <a:gd name="connsiteX362" fmla="*/ 412296 w 4991099"/>
              <a:gd name="connsiteY362" fmla="*/ 91309 h 6857998"/>
              <a:gd name="connsiteX363" fmla="*/ 588305 w 4991099"/>
              <a:gd name="connsiteY363" fmla="*/ 1 h 6857998"/>
              <a:gd name="connsiteX364" fmla="*/ 592787 w 4991099"/>
              <a:gd name="connsiteY364" fmla="*/ 9036 h 6857998"/>
              <a:gd name="connsiteX365" fmla="*/ 609463 w 4991099"/>
              <a:gd name="connsiteY365" fmla="*/ 23331 h 6857998"/>
              <a:gd name="connsiteX366" fmla="*/ 611718 w 4991099"/>
              <a:gd name="connsiteY366" fmla="*/ 1 h 6857998"/>
              <a:gd name="connsiteX367" fmla="*/ 515591 w 4991099"/>
              <a:gd name="connsiteY367" fmla="*/ 1 h 6857998"/>
              <a:gd name="connsiteX368" fmla="*/ 516181 w 4991099"/>
              <a:gd name="connsiteY368" fmla="*/ 2323 h 6857998"/>
              <a:gd name="connsiteX369" fmla="*/ 521503 w 4991099"/>
              <a:gd name="connsiteY369" fmla="*/ 5737 h 6857998"/>
              <a:gd name="connsiteX370" fmla="*/ 523931 w 4991099"/>
              <a:gd name="connsiteY370" fmla="*/ 1 h 6857998"/>
              <a:gd name="connsiteX371" fmla="*/ 412048 w 4991099"/>
              <a:gd name="connsiteY371" fmla="*/ 1 h 6857998"/>
              <a:gd name="connsiteX372" fmla="*/ 413015 w 4991099"/>
              <a:gd name="connsiteY372" fmla="*/ 29194 h 6857998"/>
              <a:gd name="connsiteX373" fmla="*/ 418882 w 4991099"/>
              <a:gd name="connsiteY373" fmla="*/ 74642 h 6857998"/>
              <a:gd name="connsiteX374" fmla="*/ 424745 w 4991099"/>
              <a:gd name="connsiteY374" fmla="*/ 11601 h 6857998"/>
              <a:gd name="connsiteX375" fmla="*/ 428196 w 4991099"/>
              <a:gd name="connsiteY375" fmla="*/ 1 h 6857998"/>
              <a:gd name="connsiteX376" fmla="*/ 0 w 4991099"/>
              <a:gd name="connsiteY376" fmla="*/ 0 h 6857998"/>
              <a:gd name="connsiteX377" fmla="*/ 4991099 w 4991099"/>
              <a:gd name="connsiteY377" fmla="*/ 0 h 6857998"/>
              <a:gd name="connsiteX378" fmla="*/ 4991099 w 4991099"/>
              <a:gd name="connsiteY378" fmla="*/ 6857998 h 6857998"/>
              <a:gd name="connsiteX379" fmla="*/ 754628 w 4991099"/>
              <a:gd name="connsiteY379" fmla="*/ 6857998 h 6857998"/>
              <a:gd name="connsiteX380" fmla="*/ 751671 w 4991099"/>
              <a:gd name="connsiteY380" fmla="*/ 6842579 h 6857998"/>
              <a:gd name="connsiteX381" fmla="*/ 737010 w 4991099"/>
              <a:gd name="connsiteY381" fmla="*/ 6789069 h 6857998"/>
              <a:gd name="connsiteX382" fmla="*/ 742873 w 4991099"/>
              <a:gd name="connsiteY382" fmla="*/ 6771475 h 6857998"/>
              <a:gd name="connsiteX383" fmla="*/ 737010 w 4991099"/>
              <a:gd name="connsiteY383" fmla="*/ 6717232 h 6857998"/>
              <a:gd name="connsiteX384" fmla="*/ 737010 w 4991099"/>
              <a:gd name="connsiteY384" fmla="*/ 6601416 h 6857998"/>
              <a:gd name="connsiteX385" fmla="*/ 731146 w 4991099"/>
              <a:gd name="connsiteY385" fmla="*/ 6583825 h 6857998"/>
              <a:gd name="connsiteX386" fmla="*/ 731146 w 4991099"/>
              <a:gd name="connsiteY386" fmla="*/ 6557436 h 6857998"/>
              <a:gd name="connsiteX387" fmla="*/ 731146 w 4991099"/>
              <a:gd name="connsiteY387" fmla="*/ 6522249 h 6857998"/>
              <a:gd name="connsiteX388" fmla="*/ 725280 w 4991099"/>
              <a:gd name="connsiteY388" fmla="*/ 6495862 h 6857998"/>
              <a:gd name="connsiteX389" fmla="*/ 725280 w 4991099"/>
              <a:gd name="connsiteY389" fmla="*/ 6450415 h 6857998"/>
              <a:gd name="connsiteX390" fmla="*/ 725280 w 4991099"/>
              <a:gd name="connsiteY390" fmla="*/ 6432821 h 6857998"/>
              <a:gd name="connsiteX391" fmla="*/ 719419 w 4991099"/>
              <a:gd name="connsiteY391" fmla="*/ 6369783 h 6857998"/>
              <a:gd name="connsiteX392" fmla="*/ 719419 w 4991099"/>
              <a:gd name="connsiteY392" fmla="*/ 6271558 h 6857998"/>
              <a:gd name="connsiteX393" fmla="*/ 713552 w 4991099"/>
              <a:gd name="connsiteY393" fmla="*/ 6253967 h 6857998"/>
              <a:gd name="connsiteX394" fmla="*/ 713552 w 4991099"/>
              <a:gd name="connsiteY394" fmla="*/ 6227578 h 6857998"/>
              <a:gd name="connsiteX395" fmla="*/ 713552 w 4991099"/>
              <a:gd name="connsiteY395" fmla="*/ 6182131 h 6857998"/>
              <a:gd name="connsiteX396" fmla="*/ 713552 w 4991099"/>
              <a:gd name="connsiteY396" fmla="*/ 6155742 h 6857998"/>
              <a:gd name="connsiteX397" fmla="*/ 707689 w 4991099"/>
              <a:gd name="connsiteY397" fmla="*/ 6129355 h 6857998"/>
              <a:gd name="connsiteX398" fmla="*/ 713552 w 4991099"/>
              <a:gd name="connsiteY398" fmla="*/ 6120557 h 6857998"/>
              <a:gd name="connsiteX399" fmla="*/ 707689 w 4991099"/>
              <a:gd name="connsiteY399" fmla="*/ 6094168 h 6857998"/>
              <a:gd name="connsiteX400" fmla="*/ 713552 w 4991099"/>
              <a:gd name="connsiteY400" fmla="*/ 6067779 h 6857998"/>
              <a:gd name="connsiteX401" fmla="*/ 713552 w 4991099"/>
              <a:gd name="connsiteY401" fmla="*/ 6041393 h 6857998"/>
              <a:gd name="connsiteX402" fmla="*/ 707689 w 4991099"/>
              <a:gd name="connsiteY402" fmla="*/ 5995945 h 6857998"/>
              <a:gd name="connsiteX403" fmla="*/ 713552 w 4991099"/>
              <a:gd name="connsiteY403" fmla="*/ 5987147 h 6857998"/>
              <a:gd name="connsiteX404" fmla="*/ 700358 w 4991099"/>
              <a:gd name="connsiteY404" fmla="*/ 5924109 h 6857998"/>
              <a:gd name="connsiteX405" fmla="*/ 713552 w 4991099"/>
              <a:gd name="connsiteY405" fmla="*/ 5878662 h 6857998"/>
              <a:gd name="connsiteX406" fmla="*/ 707689 w 4991099"/>
              <a:gd name="connsiteY406" fmla="*/ 5843477 h 6857998"/>
              <a:gd name="connsiteX407" fmla="*/ 694494 w 4991099"/>
              <a:gd name="connsiteY407" fmla="*/ 5762846 h 6857998"/>
              <a:gd name="connsiteX408" fmla="*/ 707689 w 4991099"/>
              <a:gd name="connsiteY408" fmla="*/ 5745252 h 6857998"/>
              <a:gd name="connsiteX409" fmla="*/ 701825 w 4991099"/>
              <a:gd name="connsiteY409" fmla="*/ 5727661 h 6857998"/>
              <a:gd name="connsiteX410" fmla="*/ 707689 w 4991099"/>
              <a:gd name="connsiteY410" fmla="*/ 5682214 h 6857998"/>
              <a:gd name="connsiteX411" fmla="*/ 701825 w 4991099"/>
              <a:gd name="connsiteY411" fmla="*/ 5673418 h 6857998"/>
              <a:gd name="connsiteX412" fmla="*/ 707689 w 4991099"/>
              <a:gd name="connsiteY412" fmla="*/ 5655825 h 6857998"/>
              <a:gd name="connsiteX413" fmla="*/ 694494 w 4991099"/>
              <a:gd name="connsiteY413" fmla="*/ 5629438 h 6857998"/>
              <a:gd name="connsiteX414" fmla="*/ 713552 w 4991099"/>
              <a:gd name="connsiteY414" fmla="*/ 5557602 h 6857998"/>
              <a:gd name="connsiteX415" fmla="*/ 694494 w 4991099"/>
              <a:gd name="connsiteY415" fmla="*/ 5531213 h 6857998"/>
              <a:gd name="connsiteX416" fmla="*/ 700358 w 4991099"/>
              <a:gd name="connsiteY416" fmla="*/ 5468175 h 6857998"/>
              <a:gd name="connsiteX417" fmla="*/ 700358 w 4991099"/>
              <a:gd name="connsiteY417" fmla="*/ 5459377 h 6857998"/>
              <a:gd name="connsiteX418" fmla="*/ 706221 w 4991099"/>
              <a:gd name="connsiteY418" fmla="*/ 5450581 h 6857998"/>
              <a:gd name="connsiteX419" fmla="*/ 700358 w 4991099"/>
              <a:gd name="connsiteY419" fmla="*/ 5396339 h 6857998"/>
              <a:gd name="connsiteX420" fmla="*/ 706221 w 4991099"/>
              <a:gd name="connsiteY420" fmla="*/ 5361154 h 6857998"/>
              <a:gd name="connsiteX421" fmla="*/ 700358 w 4991099"/>
              <a:gd name="connsiteY421" fmla="*/ 5334765 h 6857998"/>
              <a:gd name="connsiteX422" fmla="*/ 687163 w 4991099"/>
              <a:gd name="connsiteY422" fmla="*/ 5227744 h 6857998"/>
              <a:gd name="connsiteX423" fmla="*/ 690098 w 4991099"/>
              <a:gd name="connsiteY423" fmla="*/ 4988781 h 6857998"/>
              <a:gd name="connsiteX424" fmla="*/ 676903 w 4991099"/>
              <a:gd name="connsiteY424" fmla="*/ 4971190 h 6857998"/>
              <a:gd name="connsiteX425" fmla="*/ 676903 w 4991099"/>
              <a:gd name="connsiteY425" fmla="*/ 4890558 h 6857998"/>
              <a:gd name="connsiteX426" fmla="*/ 690098 w 4991099"/>
              <a:gd name="connsiteY426" fmla="*/ 4855371 h 6857998"/>
              <a:gd name="connsiteX427" fmla="*/ 676903 w 4991099"/>
              <a:gd name="connsiteY427" fmla="*/ 4809926 h 6857998"/>
              <a:gd name="connsiteX428" fmla="*/ 663709 w 4991099"/>
              <a:gd name="connsiteY428" fmla="*/ 4792333 h 6857998"/>
              <a:gd name="connsiteX429" fmla="*/ 669572 w 4991099"/>
              <a:gd name="connsiteY429" fmla="*/ 4746885 h 6857998"/>
              <a:gd name="connsiteX430" fmla="*/ 663709 w 4991099"/>
              <a:gd name="connsiteY430" fmla="*/ 4711701 h 6857998"/>
              <a:gd name="connsiteX431" fmla="*/ 669572 w 4991099"/>
              <a:gd name="connsiteY431" fmla="*/ 4702903 h 6857998"/>
              <a:gd name="connsiteX432" fmla="*/ 669572 w 4991099"/>
              <a:gd name="connsiteY432" fmla="*/ 4648663 h 6857998"/>
              <a:gd name="connsiteX433" fmla="*/ 675436 w 4991099"/>
              <a:gd name="connsiteY433" fmla="*/ 4513785 h 6857998"/>
              <a:gd name="connsiteX434" fmla="*/ 669572 w 4991099"/>
              <a:gd name="connsiteY434" fmla="*/ 4504990 h 6857998"/>
              <a:gd name="connsiteX435" fmla="*/ 675436 w 4991099"/>
              <a:gd name="connsiteY435" fmla="*/ 4496195 h 6857998"/>
              <a:gd name="connsiteX436" fmla="*/ 669572 w 4991099"/>
              <a:gd name="connsiteY436" fmla="*/ 4415563 h 6857998"/>
              <a:gd name="connsiteX437" fmla="*/ 675436 w 4991099"/>
              <a:gd name="connsiteY437" fmla="*/ 4370116 h 6857998"/>
              <a:gd name="connsiteX438" fmla="*/ 669572 w 4991099"/>
              <a:gd name="connsiteY438" fmla="*/ 4352522 h 6857998"/>
              <a:gd name="connsiteX439" fmla="*/ 675436 w 4991099"/>
              <a:gd name="connsiteY439" fmla="*/ 4326136 h 6857998"/>
              <a:gd name="connsiteX440" fmla="*/ 656378 w 4991099"/>
              <a:gd name="connsiteY440" fmla="*/ 4299744 h 6857998"/>
              <a:gd name="connsiteX441" fmla="*/ 669572 w 4991099"/>
              <a:gd name="connsiteY441" fmla="*/ 4254299 h 6857998"/>
              <a:gd name="connsiteX442" fmla="*/ 656378 w 4991099"/>
              <a:gd name="connsiteY442" fmla="*/ 4129685 h 6857998"/>
              <a:gd name="connsiteX443" fmla="*/ 643183 w 4991099"/>
              <a:gd name="connsiteY443" fmla="*/ 4103296 h 6857998"/>
              <a:gd name="connsiteX444" fmla="*/ 654911 w 4991099"/>
              <a:gd name="connsiteY444" fmla="*/ 4103296 h 6857998"/>
              <a:gd name="connsiteX445" fmla="*/ 641719 w 4991099"/>
              <a:gd name="connsiteY445" fmla="*/ 4022664 h 6857998"/>
              <a:gd name="connsiteX446" fmla="*/ 654911 w 4991099"/>
              <a:gd name="connsiteY446" fmla="*/ 3996278 h 6857998"/>
              <a:gd name="connsiteX447" fmla="*/ 649047 w 4991099"/>
              <a:gd name="connsiteY447" fmla="*/ 3969889 h 6857998"/>
              <a:gd name="connsiteX448" fmla="*/ 643183 w 4991099"/>
              <a:gd name="connsiteY448" fmla="*/ 3924441 h 6857998"/>
              <a:gd name="connsiteX449" fmla="*/ 629989 w 4991099"/>
              <a:gd name="connsiteY449" fmla="*/ 3889257 h 6857998"/>
              <a:gd name="connsiteX450" fmla="*/ 643183 w 4991099"/>
              <a:gd name="connsiteY450" fmla="*/ 3862868 h 6857998"/>
              <a:gd name="connsiteX451" fmla="*/ 624125 w 4991099"/>
              <a:gd name="connsiteY451" fmla="*/ 3854072 h 6857998"/>
              <a:gd name="connsiteX452" fmla="*/ 643183 w 4991099"/>
              <a:gd name="connsiteY452" fmla="*/ 3827683 h 6857998"/>
              <a:gd name="connsiteX453" fmla="*/ 643183 w 4991099"/>
              <a:gd name="connsiteY453" fmla="*/ 3801294 h 6857998"/>
              <a:gd name="connsiteX454" fmla="*/ 624125 w 4991099"/>
              <a:gd name="connsiteY454" fmla="*/ 3729458 h 6857998"/>
              <a:gd name="connsiteX455" fmla="*/ 649047 w 4991099"/>
              <a:gd name="connsiteY455" fmla="*/ 3720662 h 6857998"/>
              <a:gd name="connsiteX456" fmla="*/ 654911 w 4991099"/>
              <a:gd name="connsiteY456" fmla="*/ 3640031 h 6857998"/>
              <a:gd name="connsiteX457" fmla="*/ 635852 w 4991099"/>
              <a:gd name="connsiteY457" fmla="*/ 3604846 h 6857998"/>
              <a:gd name="connsiteX458" fmla="*/ 641719 w 4991099"/>
              <a:gd name="connsiteY458" fmla="*/ 3578457 h 6857998"/>
              <a:gd name="connsiteX459" fmla="*/ 616794 w 4991099"/>
              <a:gd name="connsiteY459" fmla="*/ 3569661 h 6857998"/>
              <a:gd name="connsiteX460" fmla="*/ 616794 w 4991099"/>
              <a:gd name="connsiteY460" fmla="*/ 3524214 h 6857998"/>
              <a:gd name="connsiteX461" fmla="*/ 622658 w 4991099"/>
              <a:gd name="connsiteY461" fmla="*/ 3497825 h 6857998"/>
              <a:gd name="connsiteX462" fmla="*/ 641719 w 4991099"/>
              <a:gd name="connsiteY462" fmla="*/ 3515419 h 6857998"/>
              <a:gd name="connsiteX463" fmla="*/ 616794 w 4991099"/>
              <a:gd name="connsiteY463" fmla="*/ 3399600 h 6857998"/>
              <a:gd name="connsiteX464" fmla="*/ 635852 w 4991099"/>
              <a:gd name="connsiteY464" fmla="*/ 3399600 h 6857998"/>
              <a:gd name="connsiteX465" fmla="*/ 616794 w 4991099"/>
              <a:gd name="connsiteY465" fmla="*/ 3373213 h 6857998"/>
              <a:gd name="connsiteX466" fmla="*/ 629989 w 4991099"/>
              <a:gd name="connsiteY466" fmla="*/ 3355620 h 6857998"/>
              <a:gd name="connsiteX467" fmla="*/ 643183 w 4991099"/>
              <a:gd name="connsiteY467" fmla="*/ 3329233 h 6857998"/>
              <a:gd name="connsiteX468" fmla="*/ 629989 w 4991099"/>
              <a:gd name="connsiteY468" fmla="*/ 3274988 h 6857998"/>
              <a:gd name="connsiteX469" fmla="*/ 654911 w 4991099"/>
              <a:gd name="connsiteY469" fmla="*/ 3266193 h 6857998"/>
              <a:gd name="connsiteX470" fmla="*/ 649047 w 4991099"/>
              <a:gd name="connsiteY470" fmla="*/ 3211950 h 6857998"/>
              <a:gd name="connsiteX471" fmla="*/ 629989 w 4991099"/>
              <a:gd name="connsiteY471" fmla="*/ 3194356 h 6857998"/>
              <a:gd name="connsiteX472" fmla="*/ 635852 w 4991099"/>
              <a:gd name="connsiteY472" fmla="*/ 3148909 h 6857998"/>
              <a:gd name="connsiteX473" fmla="*/ 622658 w 4991099"/>
              <a:gd name="connsiteY473" fmla="*/ 3131318 h 6857998"/>
              <a:gd name="connsiteX474" fmla="*/ 647582 w 4991099"/>
              <a:gd name="connsiteY474" fmla="*/ 3113724 h 6857998"/>
              <a:gd name="connsiteX475" fmla="*/ 622658 w 4991099"/>
              <a:gd name="connsiteY475" fmla="*/ 3078543 h 6857998"/>
              <a:gd name="connsiteX476" fmla="*/ 628524 w 4991099"/>
              <a:gd name="connsiteY476" fmla="*/ 3052151 h 6857998"/>
              <a:gd name="connsiteX477" fmla="*/ 622658 w 4991099"/>
              <a:gd name="connsiteY477" fmla="*/ 3043355 h 6857998"/>
              <a:gd name="connsiteX478" fmla="*/ 628524 w 4991099"/>
              <a:gd name="connsiteY478" fmla="*/ 3025762 h 6857998"/>
              <a:gd name="connsiteX479" fmla="*/ 622658 w 4991099"/>
              <a:gd name="connsiteY479" fmla="*/ 2999375 h 6857998"/>
              <a:gd name="connsiteX480" fmla="*/ 635852 w 4991099"/>
              <a:gd name="connsiteY480" fmla="*/ 2990580 h 6857998"/>
              <a:gd name="connsiteX481" fmla="*/ 635852 w 4991099"/>
              <a:gd name="connsiteY481" fmla="*/ 2955396 h 6857998"/>
              <a:gd name="connsiteX482" fmla="*/ 654911 w 4991099"/>
              <a:gd name="connsiteY482" fmla="*/ 2964191 h 6857998"/>
              <a:gd name="connsiteX483" fmla="*/ 654911 w 4991099"/>
              <a:gd name="connsiteY483" fmla="*/ 2848372 h 6857998"/>
              <a:gd name="connsiteX484" fmla="*/ 649047 w 4991099"/>
              <a:gd name="connsiteY484" fmla="*/ 2821985 h 6857998"/>
              <a:gd name="connsiteX485" fmla="*/ 629989 w 4991099"/>
              <a:gd name="connsiteY485" fmla="*/ 2795597 h 6857998"/>
              <a:gd name="connsiteX486" fmla="*/ 635852 w 4991099"/>
              <a:gd name="connsiteY486" fmla="*/ 2723760 h 6857998"/>
              <a:gd name="connsiteX487" fmla="*/ 649047 w 4991099"/>
              <a:gd name="connsiteY487" fmla="*/ 2688576 h 6857998"/>
              <a:gd name="connsiteX488" fmla="*/ 649047 w 4991099"/>
              <a:gd name="connsiteY488" fmla="*/ 2643129 h 6857998"/>
              <a:gd name="connsiteX489" fmla="*/ 635852 w 4991099"/>
              <a:gd name="connsiteY489" fmla="*/ 2616739 h 6857998"/>
              <a:gd name="connsiteX490" fmla="*/ 654911 w 4991099"/>
              <a:gd name="connsiteY490" fmla="*/ 2599149 h 6857998"/>
              <a:gd name="connsiteX491" fmla="*/ 635852 w 4991099"/>
              <a:gd name="connsiteY491" fmla="*/ 2563964 h 6857998"/>
              <a:gd name="connsiteX492" fmla="*/ 654911 w 4991099"/>
              <a:gd name="connsiteY492" fmla="*/ 2546370 h 6857998"/>
              <a:gd name="connsiteX493" fmla="*/ 668105 w 4991099"/>
              <a:gd name="connsiteY493" fmla="*/ 2519981 h 6857998"/>
              <a:gd name="connsiteX494" fmla="*/ 643183 w 4991099"/>
              <a:gd name="connsiteY494" fmla="*/ 2502390 h 6857998"/>
              <a:gd name="connsiteX495" fmla="*/ 637320 w 4991099"/>
              <a:gd name="connsiteY495" fmla="*/ 2476001 h 6857998"/>
              <a:gd name="connsiteX496" fmla="*/ 612398 w 4991099"/>
              <a:gd name="connsiteY496" fmla="*/ 2476001 h 6857998"/>
              <a:gd name="connsiteX497" fmla="*/ 618262 w 4991099"/>
              <a:gd name="connsiteY497" fmla="*/ 2440817 h 6857998"/>
              <a:gd name="connsiteX498" fmla="*/ 624125 w 4991099"/>
              <a:gd name="connsiteY498" fmla="*/ 2467206 h 6857998"/>
              <a:gd name="connsiteX499" fmla="*/ 662242 w 4991099"/>
              <a:gd name="connsiteY499" fmla="*/ 2449612 h 6857998"/>
              <a:gd name="connsiteX500" fmla="*/ 635852 w 4991099"/>
              <a:gd name="connsiteY500" fmla="*/ 2440817 h 6857998"/>
              <a:gd name="connsiteX501" fmla="*/ 681300 w 4991099"/>
              <a:gd name="connsiteY501" fmla="*/ 2377779 h 6857998"/>
              <a:gd name="connsiteX502" fmla="*/ 662242 w 4991099"/>
              <a:gd name="connsiteY502" fmla="*/ 2351390 h 6857998"/>
              <a:gd name="connsiteX503" fmla="*/ 656378 w 4991099"/>
              <a:gd name="connsiteY503" fmla="*/ 2325000 h 6857998"/>
              <a:gd name="connsiteX504" fmla="*/ 662242 w 4991099"/>
              <a:gd name="connsiteY504" fmla="*/ 2289816 h 6857998"/>
              <a:gd name="connsiteX505" fmla="*/ 662242 w 4991099"/>
              <a:gd name="connsiteY505" fmla="*/ 2244369 h 6857998"/>
              <a:gd name="connsiteX506" fmla="*/ 681300 w 4991099"/>
              <a:gd name="connsiteY506" fmla="*/ 2226775 h 6857998"/>
              <a:gd name="connsiteX507" fmla="*/ 662242 w 4991099"/>
              <a:gd name="connsiteY507" fmla="*/ 2217979 h 6857998"/>
              <a:gd name="connsiteX508" fmla="*/ 675436 w 4991099"/>
              <a:gd name="connsiteY508" fmla="*/ 2191591 h 6857998"/>
              <a:gd name="connsiteX509" fmla="*/ 674378 w 4991099"/>
              <a:gd name="connsiteY509" fmla="*/ 2190126 h 6857998"/>
              <a:gd name="connsiteX510" fmla="*/ 675436 w 4991099"/>
              <a:gd name="connsiteY510" fmla="*/ 2190126 h 6857998"/>
              <a:gd name="connsiteX511" fmla="*/ 675436 w 4991099"/>
              <a:gd name="connsiteY511" fmla="*/ 2169803 h 6857998"/>
              <a:gd name="connsiteX512" fmla="*/ 676994 w 4991099"/>
              <a:gd name="connsiteY512" fmla="*/ 2169120 h 6857998"/>
              <a:gd name="connsiteX513" fmla="*/ 681300 w 4991099"/>
              <a:gd name="connsiteY513" fmla="*/ 2156406 h 6857998"/>
              <a:gd name="connsiteX514" fmla="*/ 668105 w 4991099"/>
              <a:gd name="connsiteY514" fmla="*/ 2102163 h 6857998"/>
              <a:gd name="connsiteX515" fmla="*/ 654911 w 4991099"/>
              <a:gd name="connsiteY515" fmla="*/ 2102163 h 6857998"/>
              <a:gd name="connsiteX516" fmla="*/ 673969 w 4991099"/>
              <a:gd name="connsiteY516" fmla="*/ 2075774 h 6857998"/>
              <a:gd name="connsiteX517" fmla="*/ 668105 w 4991099"/>
              <a:gd name="connsiteY517" fmla="*/ 2040590 h 6857998"/>
              <a:gd name="connsiteX518" fmla="*/ 654911 w 4991099"/>
              <a:gd name="connsiteY518" fmla="*/ 2014200 h 6857998"/>
              <a:gd name="connsiteX519" fmla="*/ 679835 w 4991099"/>
              <a:gd name="connsiteY519" fmla="*/ 2005405 h 6857998"/>
              <a:gd name="connsiteX520" fmla="*/ 660777 w 4991099"/>
              <a:gd name="connsiteY520" fmla="*/ 1970221 h 6857998"/>
              <a:gd name="connsiteX521" fmla="*/ 647582 w 4991099"/>
              <a:gd name="connsiteY521" fmla="*/ 1915978 h 6857998"/>
              <a:gd name="connsiteX522" fmla="*/ 660777 w 4991099"/>
              <a:gd name="connsiteY522" fmla="*/ 1880791 h 6857998"/>
              <a:gd name="connsiteX523" fmla="*/ 673969 w 4991099"/>
              <a:gd name="connsiteY523" fmla="*/ 1898384 h 6857998"/>
              <a:gd name="connsiteX524" fmla="*/ 687163 w 4991099"/>
              <a:gd name="connsiteY524" fmla="*/ 1889589 h 6857998"/>
              <a:gd name="connsiteX525" fmla="*/ 700358 w 4991099"/>
              <a:gd name="connsiteY525" fmla="*/ 1863200 h 6857998"/>
              <a:gd name="connsiteX526" fmla="*/ 700358 w 4991099"/>
              <a:gd name="connsiteY526" fmla="*/ 1808957 h 6857998"/>
              <a:gd name="connsiteX527" fmla="*/ 687163 w 4991099"/>
              <a:gd name="connsiteY527" fmla="*/ 1773772 h 6857998"/>
              <a:gd name="connsiteX528" fmla="*/ 681037 w 4991099"/>
              <a:gd name="connsiteY528" fmla="*/ 1769689 h 6857998"/>
              <a:gd name="connsiteX529" fmla="*/ 678616 w 4991099"/>
              <a:gd name="connsiteY529" fmla="*/ 1759077 h 6857998"/>
              <a:gd name="connsiteX530" fmla="*/ 685515 w 4991099"/>
              <a:gd name="connsiteY530" fmla="*/ 1750318 h 6857998"/>
              <a:gd name="connsiteX531" fmla="*/ 687163 w 4991099"/>
              <a:gd name="connsiteY531" fmla="*/ 1684345 h 6857998"/>
              <a:gd name="connsiteX532" fmla="*/ 700358 w 4991099"/>
              <a:gd name="connsiteY532" fmla="*/ 1719527 h 6857998"/>
              <a:gd name="connsiteX533" fmla="*/ 681300 w 4991099"/>
              <a:gd name="connsiteY533" fmla="*/ 1647693 h 6857998"/>
              <a:gd name="connsiteX534" fmla="*/ 700358 w 4991099"/>
              <a:gd name="connsiteY534" fmla="*/ 1638895 h 6857998"/>
              <a:gd name="connsiteX535" fmla="*/ 700358 w 4991099"/>
              <a:gd name="connsiteY535" fmla="*/ 1603714 h 6857998"/>
              <a:gd name="connsiteX536" fmla="*/ 706221 w 4991099"/>
              <a:gd name="connsiteY536" fmla="*/ 1594915 h 6857998"/>
              <a:gd name="connsiteX537" fmla="*/ 700358 w 4991099"/>
              <a:gd name="connsiteY537" fmla="*/ 1540673 h 6857998"/>
              <a:gd name="connsiteX538" fmla="*/ 706221 w 4991099"/>
              <a:gd name="connsiteY538" fmla="*/ 1505488 h 6857998"/>
              <a:gd name="connsiteX539" fmla="*/ 700358 w 4991099"/>
              <a:gd name="connsiteY539" fmla="*/ 1442450 h 6857998"/>
              <a:gd name="connsiteX540" fmla="*/ 706221 w 4991099"/>
              <a:gd name="connsiteY540" fmla="*/ 1416061 h 6857998"/>
              <a:gd name="connsiteX541" fmla="*/ 706221 w 4991099"/>
              <a:gd name="connsiteY541" fmla="*/ 1353020 h 6857998"/>
              <a:gd name="connsiteX542" fmla="*/ 712088 w 4991099"/>
              <a:gd name="connsiteY542" fmla="*/ 1344225 h 6857998"/>
              <a:gd name="connsiteX543" fmla="*/ 706221 w 4991099"/>
              <a:gd name="connsiteY543" fmla="*/ 1289982 h 6857998"/>
              <a:gd name="connsiteX544" fmla="*/ 712088 w 4991099"/>
              <a:gd name="connsiteY544" fmla="*/ 1254797 h 6857998"/>
              <a:gd name="connsiteX545" fmla="*/ 706221 w 4991099"/>
              <a:gd name="connsiteY545" fmla="*/ 1219613 h 6857998"/>
              <a:gd name="connsiteX546" fmla="*/ 700358 w 4991099"/>
              <a:gd name="connsiteY546" fmla="*/ 1165367 h 6857998"/>
              <a:gd name="connsiteX547" fmla="*/ 694494 w 4991099"/>
              <a:gd name="connsiteY547" fmla="*/ 1210815 h 6857998"/>
              <a:gd name="connsiteX548" fmla="*/ 694494 w 4991099"/>
              <a:gd name="connsiteY548" fmla="*/ 1326631 h 6857998"/>
              <a:gd name="connsiteX549" fmla="*/ 675436 w 4991099"/>
              <a:gd name="connsiteY549" fmla="*/ 1344225 h 6857998"/>
              <a:gd name="connsiteX550" fmla="*/ 656378 w 4991099"/>
              <a:gd name="connsiteY550" fmla="*/ 1317835 h 6857998"/>
              <a:gd name="connsiteX551" fmla="*/ 662242 w 4991099"/>
              <a:gd name="connsiteY551" fmla="*/ 1309040 h 6857998"/>
              <a:gd name="connsiteX552" fmla="*/ 668105 w 4991099"/>
              <a:gd name="connsiteY552" fmla="*/ 1210815 h 6857998"/>
              <a:gd name="connsiteX553" fmla="*/ 622658 w 4991099"/>
              <a:gd name="connsiteY553" fmla="*/ 1202019 h 6857998"/>
              <a:gd name="connsiteX554" fmla="*/ 603600 w 4991099"/>
              <a:gd name="connsiteY554" fmla="*/ 1147777 h 6857998"/>
              <a:gd name="connsiteX555" fmla="*/ 590408 w 4991099"/>
              <a:gd name="connsiteY555" fmla="*/ 1210815 h 6857998"/>
              <a:gd name="connsiteX556" fmla="*/ 584542 w 4991099"/>
              <a:gd name="connsiteY556" fmla="*/ 1138981 h 6857998"/>
              <a:gd name="connsiteX557" fmla="*/ 590408 w 4991099"/>
              <a:gd name="connsiteY557" fmla="*/ 1103794 h 6857998"/>
              <a:gd name="connsiteX558" fmla="*/ 635852 w 4991099"/>
              <a:gd name="connsiteY558" fmla="*/ 1112592 h 6857998"/>
              <a:gd name="connsiteX559" fmla="*/ 641719 w 4991099"/>
              <a:gd name="connsiteY559" fmla="*/ 996776 h 6857998"/>
              <a:gd name="connsiteX560" fmla="*/ 635852 w 4991099"/>
              <a:gd name="connsiteY560" fmla="*/ 924939 h 6857998"/>
              <a:gd name="connsiteX561" fmla="*/ 641719 w 4991099"/>
              <a:gd name="connsiteY561" fmla="*/ 870697 h 6857998"/>
              <a:gd name="connsiteX562" fmla="*/ 635852 w 4991099"/>
              <a:gd name="connsiteY562" fmla="*/ 861898 h 6857998"/>
              <a:gd name="connsiteX563" fmla="*/ 641719 w 4991099"/>
              <a:gd name="connsiteY563" fmla="*/ 835512 h 6857998"/>
              <a:gd name="connsiteX564" fmla="*/ 635852 w 4991099"/>
              <a:gd name="connsiteY564" fmla="*/ 800328 h 6857998"/>
              <a:gd name="connsiteX565" fmla="*/ 622658 w 4991099"/>
              <a:gd name="connsiteY565" fmla="*/ 773939 h 6857998"/>
              <a:gd name="connsiteX566" fmla="*/ 603600 w 4991099"/>
              <a:gd name="connsiteY566" fmla="*/ 809123 h 6857998"/>
              <a:gd name="connsiteX567" fmla="*/ 590408 w 4991099"/>
              <a:gd name="connsiteY567" fmla="*/ 773939 h 6857998"/>
              <a:gd name="connsiteX568" fmla="*/ 571347 w 4991099"/>
              <a:gd name="connsiteY568" fmla="*/ 828181 h 6857998"/>
              <a:gd name="connsiteX569" fmla="*/ 590408 w 4991099"/>
              <a:gd name="connsiteY569" fmla="*/ 917608 h 6857998"/>
              <a:gd name="connsiteX570" fmla="*/ 628524 w 4991099"/>
              <a:gd name="connsiteY570" fmla="*/ 943998 h 6857998"/>
              <a:gd name="connsiteX571" fmla="*/ 603600 w 4991099"/>
              <a:gd name="connsiteY571" fmla="*/ 1007036 h 6857998"/>
              <a:gd name="connsiteX572" fmla="*/ 578678 w 4991099"/>
              <a:gd name="connsiteY572" fmla="*/ 971851 h 6857998"/>
              <a:gd name="connsiteX573" fmla="*/ 572814 w 4991099"/>
              <a:gd name="connsiteY573" fmla="*/ 1124319 h 6857998"/>
              <a:gd name="connsiteX574" fmla="*/ 547893 w 4991099"/>
              <a:gd name="connsiteY574" fmla="*/ 1078872 h 6857998"/>
              <a:gd name="connsiteX575" fmla="*/ 553756 w 4991099"/>
              <a:gd name="connsiteY575" fmla="*/ 1033425 h 6857998"/>
              <a:gd name="connsiteX576" fmla="*/ 553756 w 4991099"/>
              <a:gd name="connsiteY576" fmla="*/ 943998 h 6857998"/>
              <a:gd name="connsiteX577" fmla="*/ 547893 w 4991099"/>
              <a:gd name="connsiteY577" fmla="*/ 917608 h 6857998"/>
              <a:gd name="connsiteX578" fmla="*/ 553756 w 4991099"/>
              <a:gd name="connsiteY578" fmla="*/ 900018 h 6857998"/>
              <a:gd name="connsiteX579" fmla="*/ 566951 w 4991099"/>
              <a:gd name="connsiteY579" fmla="*/ 836977 h 6857998"/>
              <a:gd name="connsiteX580" fmla="*/ 553756 w 4991099"/>
              <a:gd name="connsiteY580" fmla="*/ 801792 h 6857998"/>
              <a:gd name="connsiteX581" fmla="*/ 559620 w 4991099"/>
              <a:gd name="connsiteY581" fmla="*/ 775403 h 6857998"/>
              <a:gd name="connsiteX582" fmla="*/ 546425 w 4991099"/>
              <a:gd name="connsiteY582" fmla="*/ 766608 h 6857998"/>
              <a:gd name="connsiteX583" fmla="*/ 635852 w 4991099"/>
              <a:gd name="connsiteY583" fmla="*/ 757812 h 6857998"/>
              <a:gd name="connsiteX584" fmla="*/ 662242 w 4991099"/>
              <a:gd name="connsiteY584" fmla="*/ 712365 h 6857998"/>
              <a:gd name="connsiteX585" fmla="*/ 662242 w 4991099"/>
              <a:gd name="connsiteY585" fmla="*/ 596549 h 6857998"/>
              <a:gd name="connsiteX586" fmla="*/ 650698 w 4991099"/>
              <a:gd name="connsiteY586" fmla="*/ 574372 h 6857998"/>
              <a:gd name="connsiteX587" fmla="*/ 650483 w 4991099"/>
              <a:gd name="connsiteY587" fmla="*/ 571342 h 6857998"/>
              <a:gd name="connsiteX588" fmla="*/ 652712 w 4991099"/>
              <a:gd name="connsiteY588" fmla="*/ 565577 h 6857998"/>
              <a:gd name="connsiteX589" fmla="*/ 649462 w 4991099"/>
              <a:gd name="connsiteY589" fmla="*/ 556943 h 6857998"/>
              <a:gd name="connsiteX590" fmla="*/ 649047 w 4991099"/>
              <a:gd name="connsiteY590" fmla="*/ 551101 h 6857998"/>
              <a:gd name="connsiteX591" fmla="*/ 668105 w 4991099"/>
              <a:gd name="connsiteY591" fmla="*/ 542306 h 6857998"/>
              <a:gd name="connsiteX592" fmla="*/ 649047 w 4991099"/>
              <a:gd name="connsiteY592" fmla="*/ 533508 h 6857998"/>
              <a:gd name="connsiteX593" fmla="*/ 668105 w 4991099"/>
              <a:gd name="connsiteY593" fmla="*/ 507121 h 6857998"/>
              <a:gd name="connsiteX594" fmla="*/ 654911 w 4991099"/>
              <a:gd name="connsiteY594" fmla="*/ 489528 h 6857998"/>
              <a:gd name="connsiteX595" fmla="*/ 673969 w 4991099"/>
              <a:gd name="connsiteY595" fmla="*/ 454343 h 6857998"/>
              <a:gd name="connsiteX596" fmla="*/ 679835 w 4991099"/>
              <a:gd name="connsiteY596" fmla="*/ 356118 h 6857998"/>
              <a:gd name="connsiteX597" fmla="*/ 673969 w 4991099"/>
              <a:gd name="connsiteY597" fmla="*/ 329729 h 6857998"/>
              <a:gd name="connsiteX598" fmla="*/ 673969 w 4991099"/>
              <a:gd name="connsiteY598" fmla="*/ 266691 h 6857998"/>
              <a:gd name="connsiteX599" fmla="*/ 641719 w 4991099"/>
              <a:gd name="connsiteY599" fmla="*/ 338527 h 6857998"/>
              <a:gd name="connsiteX600" fmla="*/ 647582 w 4991099"/>
              <a:gd name="connsiteY600" fmla="*/ 213915 h 6857998"/>
              <a:gd name="connsiteX601" fmla="*/ 672504 w 4991099"/>
              <a:gd name="connsiteY601" fmla="*/ 205117 h 6857998"/>
              <a:gd name="connsiteX602" fmla="*/ 653446 w 4991099"/>
              <a:gd name="connsiteY602" fmla="*/ 169932 h 6857998"/>
              <a:gd name="connsiteX603" fmla="*/ 647582 w 4991099"/>
              <a:gd name="connsiteY603" fmla="*/ 134748 h 6857998"/>
              <a:gd name="connsiteX604" fmla="*/ 653446 w 4991099"/>
              <a:gd name="connsiteY604" fmla="*/ 108359 h 6857998"/>
              <a:gd name="connsiteX605" fmla="*/ 634388 w 4991099"/>
              <a:gd name="connsiteY605" fmla="*/ 180195 h 6857998"/>
              <a:gd name="connsiteX606" fmla="*/ 621193 w 4991099"/>
              <a:gd name="connsiteY606" fmla="*/ 243233 h 6857998"/>
              <a:gd name="connsiteX607" fmla="*/ 627057 w 4991099"/>
              <a:gd name="connsiteY607" fmla="*/ 252032 h 6857998"/>
              <a:gd name="connsiteX608" fmla="*/ 613862 w 4991099"/>
              <a:gd name="connsiteY608" fmla="*/ 260827 h 6857998"/>
              <a:gd name="connsiteX609" fmla="*/ 607999 w 4991099"/>
              <a:gd name="connsiteY609" fmla="*/ 269623 h 6857998"/>
              <a:gd name="connsiteX610" fmla="*/ 607999 w 4991099"/>
              <a:gd name="connsiteY610" fmla="*/ 287216 h 6857998"/>
              <a:gd name="connsiteX611" fmla="*/ 627057 w 4991099"/>
              <a:gd name="connsiteY611" fmla="*/ 313605 h 6857998"/>
              <a:gd name="connsiteX612" fmla="*/ 607999 w 4991099"/>
              <a:gd name="connsiteY612" fmla="*/ 313605 h 6857998"/>
              <a:gd name="connsiteX613" fmla="*/ 602135 w 4991099"/>
              <a:gd name="connsiteY613" fmla="*/ 403032 h 6857998"/>
              <a:gd name="connsiteX614" fmla="*/ 607999 w 4991099"/>
              <a:gd name="connsiteY614" fmla="*/ 411828 h 6857998"/>
              <a:gd name="connsiteX615" fmla="*/ 607999 w 4991099"/>
              <a:gd name="connsiteY615" fmla="*/ 536442 h 6857998"/>
              <a:gd name="connsiteX616" fmla="*/ 602135 w 4991099"/>
              <a:gd name="connsiteY616" fmla="*/ 554033 h 6857998"/>
              <a:gd name="connsiteX617" fmla="*/ 602135 w 4991099"/>
              <a:gd name="connsiteY617" fmla="*/ 580422 h 6857998"/>
              <a:gd name="connsiteX618" fmla="*/ 602135 w 4991099"/>
              <a:gd name="connsiteY618" fmla="*/ 625870 h 6857998"/>
              <a:gd name="connsiteX619" fmla="*/ 596272 w 4991099"/>
              <a:gd name="connsiteY619" fmla="*/ 634665 h 6857998"/>
              <a:gd name="connsiteX620" fmla="*/ 590408 w 4991099"/>
              <a:gd name="connsiteY620" fmla="*/ 688908 h 6857998"/>
              <a:gd name="connsiteX621" fmla="*/ 577213 w 4991099"/>
              <a:gd name="connsiteY621" fmla="*/ 715297 h 6857998"/>
              <a:gd name="connsiteX622" fmla="*/ 564016 w 4991099"/>
              <a:gd name="connsiteY622" fmla="*/ 661054 h 6857998"/>
              <a:gd name="connsiteX623" fmla="*/ 544958 w 4991099"/>
              <a:gd name="connsiteY623" fmla="*/ 696239 h 6857998"/>
              <a:gd name="connsiteX624" fmla="*/ 558152 w 4991099"/>
              <a:gd name="connsiteY624" fmla="*/ 571624 h 6857998"/>
              <a:gd name="connsiteX625" fmla="*/ 564016 w 4991099"/>
              <a:gd name="connsiteY625" fmla="*/ 499791 h 6857998"/>
              <a:gd name="connsiteX626" fmla="*/ 564016 w 4991099"/>
              <a:gd name="connsiteY626" fmla="*/ 482197 h 6857998"/>
              <a:gd name="connsiteX627" fmla="*/ 569883 w 4991099"/>
              <a:gd name="connsiteY627" fmla="*/ 473401 h 6857998"/>
              <a:gd name="connsiteX628" fmla="*/ 564016 w 4991099"/>
              <a:gd name="connsiteY628" fmla="*/ 427954 h 6857998"/>
              <a:gd name="connsiteX629" fmla="*/ 569883 w 4991099"/>
              <a:gd name="connsiteY629" fmla="*/ 401565 h 6857998"/>
              <a:gd name="connsiteX630" fmla="*/ 569883 w 4991099"/>
              <a:gd name="connsiteY630" fmla="*/ 329729 h 6857998"/>
              <a:gd name="connsiteX631" fmla="*/ 575746 w 4991099"/>
              <a:gd name="connsiteY631" fmla="*/ 284284 h 6857998"/>
              <a:gd name="connsiteX632" fmla="*/ 581610 w 4991099"/>
              <a:gd name="connsiteY632" fmla="*/ 275486 h 6857998"/>
              <a:gd name="connsiteX633" fmla="*/ 575746 w 4991099"/>
              <a:gd name="connsiteY633" fmla="*/ 230039 h 6857998"/>
              <a:gd name="connsiteX634" fmla="*/ 581610 w 4991099"/>
              <a:gd name="connsiteY634" fmla="*/ 212448 h 6857998"/>
              <a:gd name="connsiteX635" fmla="*/ 568415 w 4991099"/>
              <a:gd name="connsiteY635" fmla="*/ 167001 h 6857998"/>
              <a:gd name="connsiteX636" fmla="*/ 555221 w 4991099"/>
              <a:gd name="connsiteY636" fmla="*/ 140612 h 6857998"/>
              <a:gd name="connsiteX637" fmla="*/ 549357 w 4991099"/>
              <a:gd name="connsiteY637" fmla="*/ 175796 h 6857998"/>
              <a:gd name="connsiteX638" fmla="*/ 543493 w 4991099"/>
              <a:gd name="connsiteY638" fmla="*/ 184594 h 6857998"/>
              <a:gd name="connsiteX639" fmla="*/ 549357 w 4991099"/>
              <a:gd name="connsiteY639" fmla="*/ 193390 h 6857998"/>
              <a:gd name="connsiteX640" fmla="*/ 543493 w 4991099"/>
              <a:gd name="connsiteY640" fmla="*/ 202185 h 6857998"/>
              <a:gd name="connsiteX641" fmla="*/ 543493 w 4991099"/>
              <a:gd name="connsiteY641" fmla="*/ 228574 h 6857998"/>
              <a:gd name="connsiteX642" fmla="*/ 543493 w 4991099"/>
              <a:gd name="connsiteY642" fmla="*/ 254963 h 6857998"/>
              <a:gd name="connsiteX643" fmla="*/ 524435 w 4991099"/>
              <a:gd name="connsiteY643" fmla="*/ 210981 h 6857998"/>
              <a:gd name="connsiteX644" fmla="*/ 537630 w 4991099"/>
              <a:gd name="connsiteY644" fmla="*/ 175796 h 6857998"/>
              <a:gd name="connsiteX645" fmla="*/ 543493 w 4991099"/>
              <a:gd name="connsiteY645" fmla="*/ 140612 h 6857998"/>
              <a:gd name="connsiteX646" fmla="*/ 537630 w 4991099"/>
              <a:gd name="connsiteY646" fmla="*/ 95164 h 6857998"/>
              <a:gd name="connsiteX647" fmla="*/ 575746 w 4991099"/>
              <a:gd name="connsiteY647" fmla="*/ 86369 h 6857998"/>
              <a:gd name="connsiteX648" fmla="*/ 581610 w 4991099"/>
              <a:gd name="connsiteY648" fmla="*/ 121554 h 6857998"/>
              <a:gd name="connsiteX649" fmla="*/ 581610 w 4991099"/>
              <a:gd name="connsiteY649" fmla="*/ 86369 h 6857998"/>
              <a:gd name="connsiteX650" fmla="*/ 587473 w 4991099"/>
              <a:gd name="connsiteY650" fmla="*/ 59980 h 6857998"/>
              <a:gd name="connsiteX651" fmla="*/ 593337 w 4991099"/>
              <a:gd name="connsiteY651" fmla="*/ 42389 h 6857998"/>
              <a:gd name="connsiteX652" fmla="*/ 574279 w 4991099"/>
              <a:gd name="connsiteY652" fmla="*/ 16000 h 6857998"/>
              <a:gd name="connsiteX653" fmla="*/ 528834 w 4991099"/>
              <a:gd name="connsiteY653" fmla="*/ 70243 h 6857998"/>
              <a:gd name="connsiteX654" fmla="*/ 503910 w 4991099"/>
              <a:gd name="connsiteY654" fmla="*/ 231506 h 6857998"/>
              <a:gd name="connsiteX655" fmla="*/ 490715 w 4991099"/>
              <a:gd name="connsiteY655" fmla="*/ 205117 h 6857998"/>
              <a:gd name="connsiteX656" fmla="*/ 490715 w 4991099"/>
              <a:gd name="connsiteY656" fmla="*/ 169932 h 6857998"/>
              <a:gd name="connsiteX657" fmla="*/ 496582 w 4991099"/>
              <a:gd name="connsiteY657" fmla="*/ 161137 h 6857998"/>
              <a:gd name="connsiteX658" fmla="*/ 490715 w 4991099"/>
              <a:gd name="connsiteY658" fmla="*/ 115690 h 6857998"/>
              <a:gd name="connsiteX659" fmla="*/ 477521 w 4991099"/>
              <a:gd name="connsiteY659" fmla="*/ 70243 h 6857998"/>
              <a:gd name="connsiteX660" fmla="*/ 471657 w 4991099"/>
              <a:gd name="connsiteY660" fmla="*/ 150874 h 6857998"/>
              <a:gd name="connsiteX661" fmla="*/ 465793 w 4991099"/>
              <a:gd name="connsiteY661" fmla="*/ 186059 h 6857998"/>
              <a:gd name="connsiteX662" fmla="*/ 478988 w 4991099"/>
              <a:gd name="connsiteY662" fmla="*/ 231506 h 6857998"/>
              <a:gd name="connsiteX663" fmla="*/ 459930 w 4991099"/>
              <a:gd name="connsiteY663" fmla="*/ 276953 h 6857998"/>
              <a:gd name="connsiteX664" fmla="*/ 465793 w 4991099"/>
              <a:gd name="connsiteY664" fmla="*/ 294547 h 6857998"/>
              <a:gd name="connsiteX665" fmla="*/ 503910 w 4991099"/>
              <a:gd name="connsiteY665" fmla="*/ 294547 h 6857998"/>
              <a:gd name="connsiteX666" fmla="*/ 484852 w 4991099"/>
              <a:gd name="connsiteY666" fmla="*/ 339992 h 6857998"/>
              <a:gd name="connsiteX667" fmla="*/ 490715 w 4991099"/>
              <a:gd name="connsiteY667" fmla="*/ 394237 h 6857998"/>
              <a:gd name="connsiteX668" fmla="*/ 484852 w 4991099"/>
              <a:gd name="connsiteY668" fmla="*/ 411828 h 6857998"/>
              <a:gd name="connsiteX669" fmla="*/ 490715 w 4991099"/>
              <a:gd name="connsiteY669" fmla="*/ 420623 h 6857998"/>
              <a:gd name="connsiteX670" fmla="*/ 486319 w 4991099"/>
              <a:gd name="connsiteY670" fmla="*/ 451595 h 6857998"/>
              <a:gd name="connsiteX671" fmla="*/ 479947 w 4991099"/>
              <a:gd name="connsiteY671" fmla="*/ 468452 h 6857998"/>
              <a:gd name="connsiteX672" fmla="*/ 481920 w 4991099"/>
              <a:gd name="connsiteY672" fmla="*/ 417692 h 6857998"/>
              <a:gd name="connsiteX673" fmla="*/ 462862 w 4991099"/>
              <a:gd name="connsiteY673" fmla="*/ 463139 h 6857998"/>
              <a:gd name="connsiteX674" fmla="*/ 456995 w 4991099"/>
              <a:gd name="connsiteY674" fmla="*/ 471934 h 6857998"/>
              <a:gd name="connsiteX675" fmla="*/ 451132 w 4991099"/>
              <a:gd name="connsiteY675" fmla="*/ 641993 h 6857998"/>
              <a:gd name="connsiteX676" fmla="*/ 464185 w 4991099"/>
              <a:gd name="connsiteY676" fmla="*/ 631699 h 6857998"/>
              <a:gd name="connsiteX677" fmla="*/ 464143 w 4991099"/>
              <a:gd name="connsiteY677" fmla="*/ 636496 h 6857998"/>
              <a:gd name="connsiteX678" fmla="*/ 458463 w 4991099"/>
              <a:gd name="connsiteY678" fmla="*/ 650791 h 6857998"/>
              <a:gd name="connsiteX679" fmla="*/ 439404 w 4991099"/>
              <a:gd name="connsiteY679" fmla="*/ 624402 h 6857998"/>
              <a:gd name="connsiteX680" fmla="*/ 433541 w 4991099"/>
              <a:gd name="connsiteY680" fmla="*/ 659587 h 6857998"/>
              <a:gd name="connsiteX681" fmla="*/ 420346 w 4991099"/>
              <a:gd name="connsiteY681" fmla="*/ 722628 h 6857998"/>
              <a:gd name="connsiteX682" fmla="*/ 414483 w 4991099"/>
              <a:gd name="connsiteY682" fmla="*/ 705034 h 6857998"/>
              <a:gd name="connsiteX683" fmla="*/ 433541 w 4991099"/>
              <a:gd name="connsiteY683" fmla="*/ 759277 h 6857998"/>
              <a:gd name="connsiteX684" fmla="*/ 398356 w 4991099"/>
              <a:gd name="connsiteY684" fmla="*/ 831113 h 6857998"/>
              <a:gd name="connsiteX685" fmla="*/ 429144 w 4991099"/>
              <a:gd name="connsiteY685" fmla="*/ 867765 h 6857998"/>
              <a:gd name="connsiteX686" fmla="*/ 404220 w 4991099"/>
              <a:gd name="connsiteY686" fmla="*/ 858969 h 6857998"/>
              <a:gd name="connsiteX687" fmla="*/ 392493 w 4991099"/>
              <a:gd name="connsiteY687" fmla="*/ 941066 h 6857998"/>
              <a:gd name="connsiteX688" fmla="*/ 386629 w 4991099"/>
              <a:gd name="connsiteY688" fmla="*/ 976250 h 6857998"/>
              <a:gd name="connsiteX689" fmla="*/ 392493 w 4991099"/>
              <a:gd name="connsiteY689" fmla="*/ 1021697 h 6857998"/>
              <a:gd name="connsiteX690" fmla="*/ 405687 w 4991099"/>
              <a:gd name="connsiteY690" fmla="*/ 958659 h 6857998"/>
              <a:gd name="connsiteX691" fmla="*/ 411551 w 4991099"/>
              <a:gd name="connsiteY691" fmla="*/ 878028 h 6857998"/>
              <a:gd name="connsiteX692" fmla="*/ 424745 w 4991099"/>
              <a:gd name="connsiteY692" fmla="*/ 932270 h 6857998"/>
              <a:gd name="connsiteX693" fmla="*/ 418882 w 4991099"/>
              <a:gd name="connsiteY693" fmla="*/ 977718 h 6857998"/>
              <a:gd name="connsiteX694" fmla="*/ 405687 w 4991099"/>
              <a:gd name="connsiteY694" fmla="*/ 1004104 h 6857998"/>
              <a:gd name="connsiteX695" fmla="*/ 418882 w 4991099"/>
              <a:gd name="connsiteY695" fmla="*/ 1021697 h 6857998"/>
              <a:gd name="connsiteX696" fmla="*/ 413015 w 4991099"/>
              <a:gd name="connsiteY696" fmla="*/ 1056882 h 6857998"/>
              <a:gd name="connsiteX697" fmla="*/ 393957 w 4991099"/>
              <a:gd name="connsiteY697" fmla="*/ 1039291 h 6857998"/>
              <a:gd name="connsiteX698" fmla="*/ 399824 w 4991099"/>
              <a:gd name="connsiteY698" fmla="*/ 1065677 h 6857998"/>
              <a:gd name="connsiteX699" fmla="*/ 380763 w 4991099"/>
              <a:gd name="connsiteY699" fmla="*/ 1100865 h 6857998"/>
              <a:gd name="connsiteX700" fmla="*/ 374899 w 4991099"/>
              <a:gd name="connsiteY700" fmla="*/ 1109660 h 6857998"/>
              <a:gd name="connsiteX701" fmla="*/ 379298 w 4991099"/>
              <a:gd name="connsiteY701" fmla="*/ 1138981 h 6857998"/>
              <a:gd name="connsiteX702" fmla="*/ 369035 w 4991099"/>
              <a:gd name="connsiteY702" fmla="*/ 1160971 h 6857998"/>
              <a:gd name="connsiteX703" fmla="*/ 376366 w 4991099"/>
              <a:gd name="connsiteY703" fmla="*/ 1181497 h 6857998"/>
              <a:gd name="connsiteX704" fmla="*/ 360240 w 4991099"/>
              <a:gd name="connsiteY704" fmla="*/ 1188825 h 6857998"/>
              <a:gd name="connsiteX705" fmla="*/ 347045 w 4991099"/>
              <a:gd name="connsiteY705" fmla="*/ 1224009 h 6857998"/>
              <a:gd name="connsiteX706" fmla="*/ 352909 w 4991099"/>
              <a:gd name="connsiteY706" fmla="*/ 1287050 h 6857998"/>
              <a:gd name="connsiteX707" fmla="*/ 366104 w 4991099"/>
              <a:gd name="connsiteY707" fmla="*/ 1322235 h 6857998"/>
              <a:gd name="connsiteX708" fmla="*/ 344114 w 4991099"/>
              <a:gd name="connsiteY708" fmla="*/ 1319303 h 6857998"/>
              <a:gd name="connsiteX709" fmla="*/ 320656 w 4991099"/>
              <a:gd name="connsiteY709" fmla="*/ 1464440 h 6857998"/>
              <a:gd name="connsiteX710" fmla="*/ 332383 w 4991099"/>
              <a:gd name="connsiteY710" fmla="*/ 1256262 h 6857998"/>
              <a:gd name="connsiteX711" fmla="*/ 330919 w 4991099"/>
              <a:gd name="connsiteY711" fmla="*/ 1207883 h 6857998"/>
              <a:gd name="connsiteX712" fmla="*/ 327987 w 4991099"/>
              <a:gd name="connsiteY712" fmla="*/ 1184426 h 6857998"/>
              <a:gd name="connsiteX713" fmla="*/ 333851 w 4991099"/>
              <a:gd name="connsiteY713" fmla="*/ 1163903 h 6857998"/>
              <a:gd name="connsiteX714" fmla="*/ 330919 w 4991099"/>
              <a:gd name="connsiteY714" fmla="*/ 1140446 h 6857998"/>
              <a:gd name="connsiteX715" fmla="*/ 330919 w 4991099"/>
              <a:gd name="connsiteY715" fmla="*/ 1122855 h 6857998"/>
              <a:gd name="connsiteX716" fmla="*/ 336783 w 4991099"/>
              <a:gd name="connsiteY716" fmla="*/ 1077407 h 6857998"/>
              <a:gd name="connsiteX717" fmla="*/ 330919 w 4991099"/>
              <a:gd name="connsiteY717" fmla="*/ 1068609 h 6857998"/>
              <a:gd name="connsiteX718" fmla="*/ 336783 w 4991099"/>
              <a:gd name="connsiteY718" fmla="*/ 1059814 h 6857998"/>
              <a:gd name="connsiteX719" fmla="*/ 323588 w 4991099"/>
              <a:gd name="connsiteY719" fmla="*/ 1024629 h 6857998"/>
              <a:gd name="connsiteX720" fmla="*/ 355841 w 4991099"/>
              <a:gd name="connsiteY720" fmla="*/ 1015834 h 6857998"/>
              <a:gd name="connsiteX721" fmla="*/ 349244 w 4991099"/>
              <a:gd name="connsiteY721" fmla="*/ 942350 h 6857998"/>
              <a:gd name="connsiteX722" fmla="*/ 349410 w 4991099"/>
              <a:gd name="connsiteY722" fmla="*/ 940795 h 6857998"/>
              <a:gd name="connsiteX723" fmla="*/ 353253 w 4991099"/>
              <a:gd name="connsiteY723" fmla="*/ 927092 h 6857998"/>
              <a:gd name="connsiteX724" fmla="*/ 351069 w 4991099"/>
              <a:gd name="connsiteY724" fmla="*/ 925354 h 6857998"/>
              <a:gd name="connsiteX725" fmla="*/ 354052 w 4991099"/>
              <a:gd name="connsiteY725" fmla="*/ 897616 h 6857998"/>
              <a:gd name="connsiteX726" fmla="*/ 355522 w 4991099"/>
              <a:gd name="connsiteY726" fmla="*/ 896214 h 6857998"/>
              <a:gd name="connsiteX727" fmla="*/ 354452 w 4991099"/>
              <a:gd name="connsiteY727" fmla="*/ 893889 h 6857998"/>
              <a:gd name="connsiteX728" fmla="*/ 355841 w 4991099"/>
              <a:gd name="connsiteY728" fmla="*/ 880959 h 6857998"/>
              <a:gd name="connsiteX729" fmla="*/ 349977 w 4991099"/>
              <a:gd name="connsiteY729" fmla="*/ 845772 h 6857998"/>
              <a:gd name="connsiteX730" fmla="*/ 363172 w 4991099"/>
              <a:gd name="connsiteY730" fmla="*/ 810588 h 6857998"/>
              <a:gd name="connsiteX731" fmla="*/ 330919 w 4991099"/>
              <a:gd name="connsiteY731" fmla="*/ 810588 h 6857998"/>
              <a:gd name="connsiteX732" fmla="*/ 344114 w 4991099"/>
              <a:gd name="connsiteY732" fmla="*/ 747550 h 6857998"/>
              <a:gd name="connsiteX733" fmla="*/ 363172 w 4991099"/>
              <a:gd name="connsiteY733" fmla="*/ 747550 h 6857998"/>
              <a:gd name="connsiteX734" fmla="*/ 344114 w 4991099"/>
              <a:gd name="connsiteY734" fmla="*/ 721160 h 6857998"/>
              <a:gd name="connsiteX735" fmla="*/ 348905 w 4991099"/>
              <a:gd name="connsiteY735" fmla="*/ 648071 h 6857998"/>
              <a:gd name="connsiteX736" fmla="*/ 362255 w 4991099"/>
              <a:gd name="connsiteY736" fmla="*/ 655191 h 6857998"/>
              <a:gd name="connsiteX737" fmla="*/ 374899 w 4991099"/>
              <a:gd name="connsiteY737" fmla="*/ 666918 h 6857998"/>
              <a:gd name="connsiteX738" fmla="*/ 380763 w 4991099"/>
              <a:gd name="connsiteY738" fmla="*/ 702102 h 6857998"/>
              <a:gd name="connsiteX739" fmla="*/ 380763 w 4991099"/>
              <a:gd name="connsiteY739" fmla="*/ 639064 h 6857998"/>
              <a:gd name="connsiteX740" fmla="*/ 386626 w 4991099"/>
              <a:gd name="connsiteY740" fmla="*/ 621471 h 6857998"/>
              <a:gd name="connsiteX741" fmla="*/ 373432 w 4991099"/>
              <a:gd name="connsiteY741" fmla="*/ 612675 h 6857998"/>
              <a:gd name="connsiteX742" fmla="*/ 366470 w 4991099"/>
              <a:gd name="connsiteY742" fmla="*/ 639612 h 6857998"/>
              <a:gd name="connsiteX743" fmla="*/ 348933 w 4991099"/>
              <a:gd name="connsiteY743" fmla="*/ 647665 h 6857998"/>
              <a:gd name="connsiteX744" fmla="*/ 349977 w 4991099"/>
              <a:gd name="connsiteY744" fmla="*/ 631733 h 6857998"/>
              <a:gd name="connsiteX745" fmla="*/ 317724 w 4991099"/>
              <a:gd name="connsiteY745" fmla="*/ 631733 h 6857998"/>
              <a:gd name="connsiteX746" fmla="*/ 317724 w 4991099"/>
              <a:gd name="connsiteY746" fmla="*/ 577490 h 6857998"/>
              <a:gd name="connsiteX747" fmla="*/ 323588 w 4991099"/>
              <a:gd name="connsiteY747" fmla="*/ 568692 h 6857998"/>
              <a:gd name="connsiteX748" fmla="*/ 323588 w 4991099"/>
              <a:gd name="connsiteY748" fmla="*/ 533508 h 6857998"/>
              <a:gd name="connsiteX749" fmla="*/ 342646 w 4991099"/>
              <a:gd name="connsiteY749" fmla="*/ 533508 h 6857998"/>
              <a:gd name="connsiteX750" fmla="*/ 336783 w 4991099"/>
              <a:gd name="connsiteY750" fmla="*/ 524712 h 6857998"/>
              <a:gd name="connsiteX751" fmla="*/ 330919 w 4991099"/>
              <a:gd name="connsiteY751" fmla="*/ 515917 h 6857998"/>
              <a:gd name="connsiteX752" fmla="*/ 336783 w 4991099"/>
              <a:gd name="connsiteY752" fmla="*/ 452876 h 6857998"/>
              <a:gd name="connsiteX753" fmla="*/ 349977 w 4991099"/>
              <a:gd name="connsiteY753" fmla="*/ 372244 h 6857998"/>
              <a:gd name="connsiteX754" fmla="*/ 355841 w 4991099"/>
              <a:gd name="connsiteY754" fmla="*/ 435285 h 6857998"/>
              <a:gd name="connsiteX755" fmla="*/ 342646 w 4991099"/>
              <a:gd name="connsiteY755" fmla="*/ 444081 h 6857998"/>
              <a:gd name="connsiteX756" fmla="*/ 374899 w 4991099"/>
              <a:gd name="connsiteY756" fmla="*/ 452876 h 6857998"/>
              <a:gd name="connsiteX757" fmla="*/ 388093 w 4991099"/>
              <a:gd name="connsiteY757" fmla="*/ 461674 h 6857998"/>
              <a:gd name="connsiteX758" fmla="*/ 393957 w 4991099"/>
              <a:gd name="connsiteY758" fmla="*/ 435285 h 6857998"/>
              <a:gd name="connsiteX759" fmla="*/ 374899 w 4991099"/>
              <a:gd name="connsiteY759" fmla="*/ 444081 h 6857998"/>
              <a:gd name="connsiteX760" fmla="*/ 361704 w 4991099"/>
              <a:gd name="connsiteY760" fmla="*/ 417692 h 6857998"/>
              <a:gd name="connsiteX761" fmla="*/ 361704 w 4991099"/>
              <a:gd name="connsiteY761" fmla="*/ 382507 h 6857998"/>
              <a:gd name="connsiteX762" fmla="*/ 388093 w 4991099"/>
              <a:gd name="connsiteY762" fmla="*/ 337060 h 6857998"/>
              <a:gd name="connsiteX763" fmla="*/ 382230 w 4991099"/>
              <a:gd name="connsiteY763" fmla="*/ 363449 h 6857998"/>
              <a:gd name="connsiteX764" fmla="*/ 379848 w 4991099"/>
              <a:gd name="connsiteY764" fmla="*/ 323682 h 6857998"/>
              <a:gd name="connsiteX765" fmla="*/ 378847 w 4991099"/>
              <a:gd name="connsiteY765" fmla="*/ 311035 h 6857998"/>
              <a:gd name="connsiteX766" fmla="*/ 380763 w 4991099"/>
              <a:gd name="connsiteY766" fmla="*/ 316537 h 6857998"/>
              <a:gd name="connsiteX767" fmla="*/ 399821 w 4991099"/>
              <a:gd name="connsiteY767" fmla="*/ 316537 h 6857998"/>
              <a:gd name="connsiteX768" fmla="*/ 386626 w 4991099"/>
              <a:gd name="connsiteY768" fmla="*/ 253496 h 6857998"/>
              <a:gd name="connsiteX769" fmla="*/ 378747 w 4991099"/>
              <a:gd name="connsiteY769" fmla="*/ 288864 h 6857998"/>
              <a:gd name="connsiteX770" fmla="*/ 376231 w 4991099"/>
              <a:gd name="connsiteY770" fmla="*/ 302538 h 6857998"/>
              <a:gd name="connsiteX771" fmla="*/ 363172 w 4991099"/>
              <a:gd name="connsiteY771" fmla="*/ 291613 h 6857998"/>
              <a:gd name="connsiteX772" fmla="*/ 344114 w 4991099"/>
              <a:gd name="connsiteY772" fmla="*/ 337060 h 6857998"/>
              <a:gd name="connsiteX773" fmla="*/ 338250 w 4991099"/>
              <a:gd name="connsiteY773" fmla="*/ 319469 h 6857998"/>
              <a:gd name="connsiteX774" fmla="*/ 344114 w 4991099"/>
              <a:gd name="connsiteY774" fmla="*/ 310671 h 6857998"/>
              <a:gd name="connsiteX775" fmla="*/ 363172 w 4991099"/>
              <a:gd name="connsiteY775" fmla="*/ 238837 h 6857998"/>
              <a:gd name="connsiteX776" fmla="*/ 363172 w 4991099"/>
              <a:gd name="connsiteY776" fmla="*/ 193390 h 6857998"/>
              <a:gd name="connsiteX777" fmla="*/ 357308 w 4991099"/>
              <a:gd name="connsiteY777" fmla="*/ 184594 h 6857998"/>
              <a:gd name="connsiteX778" fmla="*/ 363172 w 4991099"/>
              <a:gd name="connsiteY778" fmla="*/ 86369 h 6857998"/>
              <a:gd name="connsiteX779" fmla="*/ 382230 w 4991099"/>
              <a:gd name="connsiteY779" fmla="*/ 68775 h 6857998"/>
              <a:gd name="connsiteX780" fmla="*/ 382230 w 4991099"/>
              <a:gd name="connsiteY780" fmla="*/ 33591 h 6857998"/>
              <a:gd name="connsiteX781" fmla="*/ 381680 w 4991099"/>
              <a:gd name="connsiteY781" fmla="*/ 7020 h 6857998"/>
              <a:gd name="connsiteX782" fmla="*/ 381819 w 4991099"/>
              <a:gd name="connsiteY782" fmla="*/ 1 h 6857998"/>
              <a:gd name="connsiteX783" fmla="*/ 0 w 4991099"/>
              <a:gd name="connsiteY783"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Lst>
            <a:rect l="l" t="t" r="r" b="b"/>
            <a:pathLst>
              <a:path w="4991099" h="6857998">
                <a:moveTo>
                  <a:pt x="572814" y="4535775"/>
                </a:moveTo>
                <a:cubicBezTo>
                  <a:pt x="586009" y="4537243"/>
                  <a:pt x="574279" y="4575359"/>
                  <a:pt x="591872" y="4570960"/>
                </a:cubicBezTo>
                <a:cubicBezTo>
                  <a:pt x="590408" y="4584154"/>
                  <a:pt x="575746" y="4578291"/>
                  <a:pt x="566951" y="4581225"/>
                </a:cubicBezTo>
                <a:cubicBezTo>
                  <a:pt x="564016" y="4559233"/>
                  <a:pt x="578678" y="4560700"/>
                  <a:pt x="572814" y="4535775"/>
                </a:cubicBezTo>
                <a:close/>
                <a:moveTo>
                  <a:pt x="394050" y="3806517"/>
                </a:moveTo>
                <a:cubicBezTo>
                  <a:pt x="397074" y="3807066"/>
                  <a:pt x="399457" y="3808256"/>
                  <a:pt x="399824" y="3810089"/>
                </a:cubicBezTo>
                <a:cubicBezTo>
                  <a:pt x="399824" y="3815953"/>
                  <a:pt x="391025" y="3821820"/>
                  <a:pt x="386629" y="3818888"/>
                </a:cubicBezTo>
                <a:cubicBezTo>
                  <a:pt x="375633" y="3812290"/>
                  <a:pt x="378564" y="3808258"/>
                  <a:pt x="384428" y="3806794"/>
                </a:cubicBezTo>
                <a:cubicBezTo>
                  <a:pt x="387360" y="3806060"/>
                  <a:pt x="391026" y="3805967"/>
                  <a:pt x="394050" y="3806517"/>
                </a:cubicBezTo>
                <a:close/>
                <a:moveTo>
                  <a:pt x="559620" y="3766110"/>
                </a:moveTo>
                <a:cubicBezTo>
                  <a:pt x="568415" y="3769041"/>
                  <a:pt x="572814" y="3776372"/>
                  <a:pt x="572814" y="3792499"/>
                </a:cubicBezTo>
                <a:cubicBezTo>
                  <a:pt x="559620" y="3796898"/>
                  <a:pt x="561087" y="3779304"/>
                  <a:pt x="559620" y="3766110"/>
                </a:cubicBezTo>
                <a:close/>
                <a:moveTo>
                  <a:pt x="561705" y="3721303"/>
                </a:moveTo>
                <a:cubicBezTo>
                  <a:pt x="565668" y="3722127"/>
                  <a:pt x="569516" y="3724693"/>
                  <a:pt x="572814" y="3729458"/>
                </a:cubicBezTo>
                <a:cubicBezTo>
                  <a:pt x="578678" y="3764642"/>
                  <a:pt x="544958" y="3744120"/>
                  <a:pt x="553756" y="3783703"/>
                </a:cubicBezTo>
                <a:cubicBezTo>
                  <a:pt x="521503" y="3788099"/>
                  <a:pt x="550824" y="3757314"/>
                  <a:pt x="534698" y="3748519"/>
                </a:cubicBezTo>
                <a:cubicBezTo>
                  <a:pt x="536162" y="3737522"/>
                  <a:pt x="542393" y="3727993"/>
                  <a:pt x="549907" y="3723594"/>
                </a:cubicBezTo>
                <a:cubicBezTo>
                  <a:pt x="553665" y="3721394"/>
                  <a:pt x="557742" y="3720478"/>
                  <a:pt x="561705" y="3721303"/>
                </a:cubicBezTo>
                <a:close/>
                <a:moveTo>
                  <a:pt x="354376" y="3613644"/>
                </a:moveTo>
                <a:lnTo>
                  <a:pt x="367571" y="3613644"/>
                </a:lnTo>
                <a:lnTo>
                  <a:pt x="367571" y="3631235"/>
                </a:lnTo>
                <a:lnTo>
                  <a:pt x="354376" y="3631235"/>
                </a:lnTo>
                <a:close/>
                <a:moveTo>
                  <a:pt x="569515" y="3550969"/>
                </a:moveTo>
                <a:cubicBezTo>
                  <a:pt x="575563" y="3555643"/>
                  <a:pt x="571714" y="3575160"/>
                  <a:pt x="572814" y="3587255"/>
                </a:cubicBezTo>
                <a:cubicBezTo>
                  <a:pt x="561087" y="3584323"/>
                  <a:pt x="558152" y="3571129"/>
                  <a:pt x="559620" y="3552068"/>
                </a:cubicBezTo>
                <a:cubicBezTo>
                  <a:pt x="564384" y="3549503"/>
                  <a:pt x="567500" y="3549411"/>
                  <a:pt x="569515" y="3550969"/>
                </a:cubicBezTo>
                <a:close/>
                <a:moveTo>
                  <a:pt x="335318" y="3550603"/>
                </a:moveTo>
                <a:lnTo>
                  <a:pt x="354376" y="3550603"/>
                </a:lnTo>
                <a:lnTo>
                  <a:pt x="354376" y="3576992"/>
                </a:lnTo>
                <a:cubicBezTo>
                  <a:pt x="344114" y="3579924"/>
                  <a:pt x="344114" y="3569661"/>
                  <a:pt x="335318" y="3568194"/>
                </a:cubicBezTo>
                <a:close/>
                <a:moveTo>
                  <a:pt x="561087" y="3184096"/>
                </a:moveTo>
                <a:cubicBezTo>
                  <a:pt x="590408" y="3182629"/>
                  <a:pt x="558152" y="3209018"/>
                  <a:pt x="574279" y="3219281"/>
                </a:cubicBezTo>
                <a:cubicBezTo>
                  <a:pt x="583077" y="3217814"/>
                  <a:pt x="578678" y="3197291"/>
                  <a:pt x="580145" y="3184096"/>
                </a:cubicBezTo>
                <a:cubicBezTo>
                  <a:pt x="597736" y="3185561"/>
                  <a:pt x="609466" y="3195824"/>
                  <a:pt x="605067" y="3229541"/>
                </a:cubicBezTo>
                <a:cubicBezTo>
                  <a:pt x="593337" y="3244203"/>
                  <a:pt x="558152" y="3223677"/>
                  <a:pt x="559620" y="3255930"/>
                </a:cubicBezTo>
                <a:cubicBezTo>
                  <a:pt x="544958" y="3238336"/>
                  <a:pt x="544958" y="3201687"/>
                  <a:pt x="561087" y="3184096"/>
                </a:cubicBezTo>
                <a:close/>
                <a:moveTo>
                  <a:pt x="552800" y="3051568"/>
                </a:moveTo>
                <a:cubicBezTo>
                  <a:pt x="562941" y="3045234"/>
                  <a:pt x="564383" y="3095584"/>
                  <a:pt x="566951" y="3112260"/>
                </a:cubicBezTo>
                <a:cubicBezTo>
                  <a:pt x="555221" y="3113724"/>
                  <a:pt x="552289" y="3100533"/>
                  <a:pt x="542026" y="3103465"/>
                </a:cubicBezTo>
                <a:cubicBezTo>
                  <a:pt x="534698" y="3080007"/>
                  <a:pt x="568415" y="3071212"/>
                  <a:pt x="547893" y="3058017"/>
                </a:cubicBezTo>
                <a:cubicBezTo>
                  <a:pt x="549725" y="3054535"/>
                  <a:pt x="551351" y="3052473"/>
                  <a:pt x="552800" y="3051568"/>
                </a:cubicBezTo>
                <a:close/>
                <a:moveTo>
                  <a:pt x="610931" y="3015502"/>
                </a:moveTo>
                <a:cubicBezTo>
                  <a:pt x="628524" y="3008171"/>
                  <a:pt x="606532" y="3056550"/>
                  <a:pt x="624125" y="3050686"/>
                </a:cubicBezTo>
                <a:cubicBezTo>
                  <a:pt x="621193" y="3062414"/>
                  <a:pt x="612398" y="3063881"/>
                  <a:pt x="610931" y="3077073"/>
                </a:cubicBezTo>
                <a:cubicBezTo>
                  <a:pt x="599203" y="3075608"/>
                  <a:pt x="606532" y="3046287"/>
                  <a:pt x="591872" y="3050686"/>
                </a:cubicBezTo>
                <a:cubicBezTo>
                  <a:pt x="594804" y="3034560"/>
                  <a:pt x="616794" y="3044823"/>
                  <a:pt x="610931" y="3015502"/>
                </a:cubicBezTo>
                <a:close/>
                <a:moveTo>
                  <a:pt x="546425" y="2789733"/>
                </a:moveTo>
                <a:cubicBezTo>
                  <a:pt x="555221" y="2792665"/>
                  <a:pt x="559620" y="2801460"/>
                  <a:pt x="559620" y="2816122"/>
                </a:cubicBezTo>
                <a:cubicBezTo>
                  <a:pt x="546425" y="2820518"/>
                  <a:pt x="547893" y="2804392"/>
                  <a:pt x="546425" y="2789733"/>
                </a:cubicBezTo>
                <a:close/>
                <a:moveTo>
                  <a:pt x="553756" y="2754548"/>
                </a:moveTo>
                <a:cubicBezTo>
                  <a:pt x="571347" y="2757480"/>
                  <a:pt x="553756" y="2782402"/>
                  <a:pt x="540562" y="2772139"/>
                </a:cubicBezTo>
                <a:cubicBezTo>
                  <a:pt x="542026" y="2763344"/>
                  <a:pt x="553756" y="2766275"/>
                  <a:pt x="553756" y="2754548"/>
                </a:cubicBezTo>
                <a:close/>
                <a:moveTo>
                  <a:pt x="521503" y="2754548"/>
                </a:moveTo>
                <a:cubicBezTo>
                  <a:pt x="539094" y="2753081"/>
                  <a:pt x="520036" y="2820518"/>
                  <a:pt x="521503" y="2772139"/>
                </a:cubicBezTo>
                <a:close/>
                <a:moveTo>
                  <a:pt x="281073" y="2744286"/>
                </a:moveTo>
                <a:cubicBezTo>
                  <a:pt x="295734" y="2750149"/>
                  <a:pt x="285472" y="2833713"/>
                  <a:pt x="281073" y="2861569"/>
                </a:cubicBezTo>
                <a:lnTo>
                  <a:pt x="279400" y="2856794"/>
                </a:lnTo>
                <a:lnTo>
                  <a:pt x="279400" y="2756251"/>
                </a:lnTo>
                <a:lnTo>
                  <a:pt x="279676" y="2754273"/>
                </a:lnTo>
                <a:cubicBezTo>
                  <a:pt x="280249" y="2749784"/>
                  <a:pt x="280707" y="2746118"/>
                  <a:pt x="281073" y="2744286"/>
                </a:cubicBezTo>
                <a:close/>
                <a:moveTo>
                  <a:pt x="525123" y="2708276"/>
                </a:moveTo>
                <a:cubicBezTo>
                  <a:pt x="527460" y="2706077"/>
                  <a:pt x="530667" y="2705802"/>
                  <a:pt x="534698" y="2709101"/>
                </a:cubicBezTo>
                <a:lnTo>
                  <a:pt x="534698" y="2726692"/>
                </a:lnTo>
                <a:cubicBezTo>
                  <a:pt x="528834" y="2725228"/>
                  <a:pt x="528834" y="2731091"/>
                  <a:pt x="528834" y="2735490"/>
                </a:cubicBezTo>
                <a:cubicBezTo>
                  <a:pt x="518938" y="2738787"/>
                  <a:pt x="518114" y="2714873"/>
                  <a:pt x="525123" y="2708276"/>
                </a:cubicBezTo>
                <a:close/>
                <a:moveTo>
                  <a:pt x="584748" y="2693982"/>
                </a:moveTo>
                <a:cubicBezTo>
                  <a:pt x="590589" y="2697830"/>
                  <a:pt x="596637" y="2725594"/>
                  <a:pt x="610931" y="2717896"/>
                </a:cubicBezTo>
                <a:cubicBezTo>
                  <a:pt x="609466" y="2729624"/>
                  <a:pt x="596272" y="2725228"/>
                  <a:pt x="586009" y="2726692"/>
                </a:cubicBezTo>
                <a:cubicBezTo>
                  <a:pt x="586009" y="2714965"/>
                  <a:pt x="587473" y="2701770"/>
                  <a:pt x="578678" y="2700306"/>
                </a:cubicBezTo>
                <a:cubicBezTo>
                  <a:pt x="580877" y="2694075"/>
                  <a:pt x="582801" y="2692700"/>
                  <a:pt x="584748" y="2693982"/>
                </a:cubicBezTo>
                <a:close/>
                <a:moveTo>
                  <a:pt x="547893" y="2673917"/>
                </a:moveTo>
                <a:cubicBezTo>
                  <a:pt x="558152" y="2670985"/>
                  <a:pt x="558152" y="2723760"/>
                  <a:pt x="542026" y="2709101"/>
                </a:cubicBezTo>
                <a:cubicBezTo>
                  <a:pt x="540562" y="2692975"/>
                  <a:pt x="549357" y="2691508"/>
                  <a:pt x="547893" y="2673917"/>
                </a:cubicBezTo>
                <a:close/>
                <a:moveTo>
                  <a:pt x="474933" y="2609983"/>
                </a:moveTo>
                <a:cubicBezTo>
                  <a:pt x="476925" y="2608723"/>
                  <a:pt x="479629" y="2609136"/>
                  <a:pt x="482470" y="2610328"/>
                </a:cubicBezTo>
                <a:cubicBezTo>
                  <a:pt x="488150" y="2612710"/>
                  <a:pt x="494381" y="2618207"/>
                  <a:pt x="496582" y="2619674"/>
                </a:cubicBezTo>
                <a:cubicBezTo>
                  <a:pt x="495114" y="2641664"/>
                  <a:pt x="474589" y="2622606"/>
                  <a:pt x="471657" y="2619674"/>
                </a:cubicBezTo>
                <a:cubicBezTo>
                  <a:pt x="471657" y="2614176"/>
                  <a:pt x="472940" y="2611243"/>
                  <a:pt x="474933" y="2609983"/>
                </a:cubicBezTo>
                <a:close/>
                <a:moveTo>
                  <a:pt x="548303" y="2600087"/>
                </a:moveTo>
                <a:cubicBezTo>
                  <a:pt x="550915" y="2599148"/>
                  <a:pt x="554488" y="2599515"/>
                  <a:pt x="559620" y="2602080"/>
                </a:cubicBezTo>
                <a:cubicBezTo>
                  <a:pt x="555221" y="2609411"/>
                  <a:pt x="553756" y="2621139"/>
                  <a:pt x="553756" y="2637265"/>
                </a:cubicBezTo>
                <a:lnTo>
                  <a:pt x="521503" y="2637265"/>
                </a:lnTo>
                <a:lnTo>
                  <a:pt x="521503" y="2602080"/>
                </a:lnTo>
                <a:cubicBezTo>
                  <a:pt x="533231" y="2599149"/>
                  <a:pt x="533231" y="2609411"/>
                  <a:pt x="534698" y="2619674"/>
                </a:cubicBezTo>
                <a:cubicBezTo>
                  <a:pt x="541295" y="2617473"/>
                  <a:pt x="540469" y="2602904"/>
                  <a:pt x="548303" y="2600087"/>
                </a:cubicBezTo>
                <a:close/>
                <a:moveTo>
                  <a:pt x="289871" y="2597681"/>
                </a:moveTo>
                <a:cubicBezTo>
                  <a:pt x="292069" y="2614541"/>
                  <a:pt x="290602" y="2620039"/>
                  <a:pt x="286754" y="2622239"/>
                </a:cubicBezTo>
                <a:lnTo>
                  <a:pt x="279400" y="2624251"/>
                </a:lnTo>
                <a:lnTo>
                  <a:pt x="279400" y="2606611"/>
                </a:lnTo>
                <a:lnTo>
                  <a:pt x="279447" y="2606593"/>
                </a:lnTo>
                <a:cubicBezTo>
                  <a:pt x="281807" y="2605287"/>
                  <a:pt x="285106" y="2602813"/>
                  <a:pt x="289871" y="2597681"/>
                </a:cubicBezTo>
                <a:close/>
                <a:moveTo>
                  <a:pt x="553756" y="2495060"/>
                </a:moveTo>
                <a:cubicBezTo>
                  <a:pt x="556688" y="2527312"/>
                  <a:pt x="537630" y="2531711"/>
                  <a:pt x="521503" y="2540507"/>
                </a:cubicBezTo>
                <a:cubicBezTo>
                  <a:pt x="520036" y="2506787"/>
                  <a:pt x="537630" y="2502390"/>
                  <a:pt x="553756" y="2495060"/>
                </a:cubicBezTo>
                <a:close/>
                <a:moveTo>
                  <a:pt x="584542" y="2476001"/>
                </a:moveTo>
                <a:cubicBezTo>
                  <a:pt x="594804" y="2483332"/>
                  <a:pt x="591872" y="2524380"/>
                  <a:pt x="590408" y="2539042"/>
                </a:cubicBezTo>
                <a:cubicBezTo>
                  <a:pt x="590408" y="2537575"/>
                  <a:pt x="580145" y="2543438"/>
                  <a:pt x="584542" y="2547838"/>
                </a:cubicBezTo>
                <a:cubicBezTo>
                  <a:pt x="593337" y="2556633"/>
                  <a:pt x="587473" y="2553701"/>
                  <a:pt x="578678" y="2556633"/>
                </a:cubicBezTo>
                <a:cubicBezTo>
                  <a:pt x="569883" y="2530244"/>
                  <a:pt x="569883" y="2492128"/>
                  <a:pt x="584542" y="2476001"/>
                </a:cubicBezTo>
                <a:close/>
                <a:moveTo>
                  <a:pt x="624125" y="2298611"/>
                </a:moveTo>
                <a:cubicBezTo>
                  <a:pt x="629989" y="2310341"/>
                  <a:pt x="629989" y="2330864"/>
                  <a:pt x="643183" y="2333796"/>
                </a:cubicBezTo>
                <a:cubicBezTo>
                  <a:pt x="638787" y="2341127"/>
                  <a:pt x="631456" y="2346990"/>
                  <a:pt x="624125" y="2351390"/>
                </a:cubicBezTo>
                <a:cubicBezTo>
                  <a:pt x="622658" y="2374844"/>
                  <a:pt x="649047" y="2357253"/>
                  <a:pt x="643183" y="2386574"/>
                </a:cubicBezTo>
                <a:cubicBezTo>
                  <a:pt x="631456" y="2383642"/>
                  <a:pt x="629989" y="2393902"/>
                  <a:pt x="629989" y="2404165"/>
                </a:cubicBezTo>
                <a:cubicBezTo>
                  <a:pt x="618262" y="2402701"/>
                  <a:pt x="618262" y="2380710"/>
                  <a:pt x="605067" y="2377779"/>
                </a:cubicBezTo>
                <a:cubicBezTo>
                  <a:pt x="609466" y="2367516"/>
                  <a:pt x="612398" y="2354321"/>
                  <a:pt x="610931" y="2333796"/>
                </a:cubicBezTo>
                <a:lnTo>
                  <a:pt x="624125" y="2333796"/>
                </a:lnTo>
                <a:cubicBezTo>
                  <a:pt x="628524" y="2319137"/>
                  <a:pt x="610931" y="2294212"/>
                  <a:pt x="610931" y="2316205"/>
                </a:cubicBezTo>
                <a:cubicBezTo>
                  <a:pt x="596272" y="2316205"/>
                  <a:pt x="613862" y="2292748"/>
                  <a:pt x="624125" y="2298611"/>
                </a:cubicBezTo>
                <a:close/>
                <a:moveTo>
                  <a:pt x="586009" y="2279553"/>
                </a:moveTo>
                <a:cubicBezTo>
                  <a:pt x="593337" y="2281021"/>
                  <a:pt x="590408" y="2297147"/>
                  <a:pt x="599203" y="2297147"/>
                </a:cubicBezTo>
                <a:cubicBezTo>
                  <a:pt x="597736" y="2307407"/>
                  <a:pt x="587473" y="2304475"/>
                  <a:pt x="580145" y="2305942"/>
                </a:cubicBezTo>
                <a:cubicBezTo>
                  <a:pt x="583077" y="2298611"/>
                  <a:pt x="586009" y="2291280"/>
                  <a:pt x="586009" y="2279553"/>
                </a:cubicBezTo>
                <a:close/>
                <a:moveTo>
                  <a:pt x="367571" y="2216515"/>
                </a:moveTo>
                <a:cubicBezTo>
                  <a:pt x="388093" y="2238505"/>
                  <a:pt x="345578" y="2253164"/>
                  <a:pt x="367571" y="2216515"/>
                </a:cubicBezTo>
                <a:close/>
                <a:moveTo>
                  <a:pt x="662242" y="2173322"/>
                </a:moveTo>
                <a:lnTo>
                  <a:pt x="674378" y="2190126"/>
                </a:lnTo>
                <a:lnTo>
                  <a:pt x="662242" y="2190126"/>
                </a:lnTo>
                <a:close/>
                <a:moveTo>
                  <a:pt x="656378" y="2165201"/>
                </a:moveTo>
                <a:lnTo>
                  <a:pt x="662242" y="2167452"/>
                </a:lnTo>
                <a:lnTo>
                  <a:pt x="662242" y="2173322"/>
                </a:lnTo>
                <a:close/>
                <a:moveTo>
                  <a:pt x="662242" y="2163737"/>
                </a:moveTo>
                <a:lnTo>
                  <a:pt x="675436" y="2163737"/>
                </a:lnTo>
                <a:lnTo>
                  <a:pt x="675436" y="2169803"/>
                </a:lnTo>
                <a:lnTo>
                  <a:pt x="672138" y="2171250"/>
                </a:lnTo>
                <a:lnTo>
                  <a:pt x="662242" y="2167452"/>
                </a:lnTo>
                <a:close/>
                <a:moveTo>
                  <a:pt x="374899" y="2163737"/>
                </a:moveTo>
                <a:cubicBezTo>
                  <a:pt x="382230" y="2165201"/>
                  <a:pt x="377831" y="2172532"/>
                  <a:pt x="374899" y="2174000"/>
                </a:cubicBezTo>
                <a:cubicBezTo>
                  <a:pt x="382230" y="2184259"/>
                  <a:pt x="379298" y="2210649"/>
                  <a:pt x="361704" y="2209184"/>
                </a:cubicBezTo>
                <a:cubicBezTo>
                  <a:pt x="369035" y="2187194"/>
                  <a:pt x="360240" y="2184259"/>
                  <a:pt x="374899" y="2163737"/>
                </a:cubicBezTo>
                <a:close/>
                <a:moveTo>
                  <a:pt x="316257" y="2153474"/>
                </a:moveTo>
                <a:cubicBezTo>
                  <a:pt x="326520" y="2171068"/>
                  <a:pt x="311861" y="2289816"/>
                  <a:pt x="316257" y="2338195"/>
                </a:cubicBezTo>
                <a:cubicBezTo>
                  <a:pt x="307462" y="2354321"/>
                  <a:pt x="314793" y="2338195"/>
                  <a:pt x="291335" y="2351390"/>
                </a:cubicBezTo>
                <a:cubicBezTo>
                  <a:pt x="288404" y="2374844"/>
                  <a:pt x="300131" y="2380710"/>
                  <a:pt x="316257" y="2377779"/>
                </a:cubicBezTo>
                <a:cubicBezTo>
                  <a:pt x="314793" y="2402701"/>
                  <a:pt x="303063" y="2404165"/>
                  <a:pt x="291335" y="2401233"/>
                </a:cubicBezTo>
                <a:cubicBezTo>
                  <a:pt x="286939" y="2399769"/>
                  <a:pt x="292803" y="2476001"/>
                  <a:pt x="284004" y="2474534"/>
                </a:cubicBezTo>
                <a:cubicBezTo>
                  <a:pt x="278141" y="2470138"/>
                  <a:pt x="279608" y="2407097"/>
                  <a:pt x="282540" y="2380710"/>
                </a:cubicBezTo>
                <a:cubicBezTo>
                  <a:pt x="284004" y="2364581"/>
                  <a:pt x="285472" y="2335263"/>
                  <a:pt x="284004" y="2314738"/>
                </a:cubicBezTo>
                <a:cubicBezTo>
                  <a:pt x="289871" y="2310341"/>
                  <a:pt x="295734" y="2332331"/>
                  <a:pt x="297199" y="2332331"/>
                </a:cubicBezTo>
                <a:cubicBezTo>
                  <a:pt x="307462" y="2332331"/>
                  <a:pt x="298666" y="2269291"/>
                  <a:pt x="303063" y="2264891"/>
                </a:cubicBezTo>
                <a:cubicBezTo>
                  <a:pt x="314793" y="2254631"/>
                  <a:pt x="308929" y="2181328"/>
                  <a:pt x="316257" y="2153474"/>
                </a:cubicBezTo>
                <a:close/>
                <a:moveTo>
                  <a:pt x="629989" y="2137348"/>
                </a:moveTo>
                <a:lnTo>
                  <a:pt x="643183" y="2137348"/>
                </a:lnTo>
                <a:lnTo>
                  <a:pt x="643183" y="2154942"/>
                </a:lnTo>
                <a:lnTo>
                  <a:pt x="629989" y="2154942"/>
                </a:lnTo>
                <a:close/>
                <a:moveTo>
                  <a:pt x="605067" y="2127085"/>
                </a:moveTo>
                <a:cubicBezTo>
                  <a:pt x="637320" y="2125620"/>
                  <a:pt x="616794" y="2169600"/>
                  <a:pt x="610931" y="2190126"/>
                </a:cubicBezTo>
                <a:cubicBezTo>
                  <a:pt x="597736" y="2185727"/>
                  <a:pt x="609466" y="2146143"/>
                  <a:pt x="605067" y="2127085"/>
                </a:cubicBezTo>
                <a:close/>
                <a:moveTo>
                  <a:pt x="553756" y="1983415"/>
                </a:moveTo>
                <a:cubicBezTo>
                  <a:pt x="559620" y="2009804"/>
                  <a:pt x="544958" y="2006872"/>
                  <a:pt x="547893" y="2028862"/>
                </a:cubicBezTo>
                <a:cubicBezTo>
                  <a:pt x="527367" y="2027395"/>
                  <a:pt x="533231" y="1980483"/>
                  <a:pt x="553756" y="1983415"/>
                </a:cubicBezTo>
                <a:close/>
                <a:moveTo>
                  <a:pt x="371097" y="1983141"/>
                </a:moveTo>
                <a:cubicBezTo>
                  <a:pt x="372151" y="1982775"/>
                  <a:pt x="373433" y="1985248"/>
                  <a:pt x="374899" y="1992211"/>
                </a:cubicBezTo>
                <a:lnTo>
                  <a:pt x="374899" y="2037658"/>
                </a:lnTo>
                <a:cubicBezTo>
                  <a:pt x="379298" y="2071375"/>
                  <a:pt x="398356" y="2112426"/>
                  <a:pt x="374899" y="2134416"/>
                </a:cubicBezTo>
                <a:cubicBezTo>
                  <a:pt x="361704" y="2137348"/>
                  <a:pt x="382230" y="2115358"/>
                  <a:pt x="374899" y="2108027"/>
                </a:cubicBezTo>
                <a:cubicBezTo>
                  <a:pt x="370503" y="2103628"/>
                  <a:pt x="367571" y="2094832"/>
                  <a:pt x="369035" y="2081638"/>
                </a:cubicBezTo>
                <a:cubicBezTo>
                  <a:pt x="369035" y="2083105"/>
                  <a:pt x="379298" y="2077241"/>
                  <a:pt x="374899" y="2072842"/>
                </a:cubicBezTo>
                <a:cubicBezTo>
                  <a:pt x="371967" y="2068446"/>
                  <a:pt x="366104" y="2050852"/>
                  <a:pt x="369035" y="2018600"/>
                </a:cubicBezTo>
                <a:cubicBezTo>
                  <a:pt x="367571" y="2013470"/>
                  <a:pt x="367571" y="1999908"/>
                  <a:pt x="368669" y="1991113"/>
                </a:cubicBezTo>
                <a:cubicBezTo>
                  <a:pt x="369219" y="1986715"/>
                  <a:pt x="370044" y="1983508"/>
                  <a:pt x="371097" y="1983141"/>
                </a:cubicBezTo>
                <a:close/>
                <a:moveTo>
                  <a:pt x="304571" y="1970963"/>
                </a:moveTo>
                <a:lnTo>
                  <a:pt x="307096" y="1979566"/>
                </a:lnTo>
                <a:cubicBezTo>
                  <a:pt x="305997" y="1982681"/>
                  <a:pt x="302332" y="1984147"/>
                  <a:pt x="295734" y="1983415"/>
                </a:cubicBezTo>
                <a:close/>
                <a:moveTo>
                  <a:pt x="303063" y="1965821"/>
                </a:moveTo>
                <a:lnTo>
                  <a:pt x="307501" y="1966834"/>
                </a:lnTo>
                <a:lnTo>
                  <a:pt x="304571" y="1970963"/>
                </a:lnTo>
                <a:close/>
                <a:moveTo>
                  <a:pt x="327987" y="1937968"/>
                </a:moveTo>
                <a:cubicBezTo>
                  <a:pt x="339714" y="1955559"/>
                  <a:pt x="323588" y="1955559"/>
                  <a:pt x="327987" y="1983415"/>
                </a:cubicBezTo>
                <a:cubicBezTo>
                  <a:pt x="323588" y="1981951"/>
                  <a:pt x="322490" y="1974986"/>
                  <a:pt x="319923" y="1969670"/>
                </a:cubicBezTo>
                <a:lnTo>
                  <a:pt x="307501" y="1966834"/>
                </a:lnTo>
                <a:close/>
                <a:moveTo>
                  <a:pt x="597736" y="1932104"/>
                </a:moveTo>
                <a:cubicBezTo>
                  <a:pt x="615330" y="1932104"/>
                  <a:pt x="625590" y="1926241"/>
                  <a:pt x="629989" y="1949695"/>
                </a:cubicBezTo>
                <a:cubicBezTo>
                  <a:pt x="631456" y="1954094"/>
                  <a:pt x="628524" y="1964357"/>
                  <a:pt x="629989" y="1967289"/>
                </a:cubicBezTo>
                <a:cubicBezTo>
                  <a:pt x="632921" y="1971685"/>
                  <a:pt x="647582" y="1980483"/>
                  <a:pt x="649047" y="1984880"/>
                </a:cubicBezTo>
                <a:cubicBezTo>
                  <a:pt x="654911" y="2011269"/>
                  <a:pt x="641719" y="2034726"/>
                  <a:pt x="644648" y="2065511"/>
                </a:cubicBezTo>
                <a:cubicBezTo>
                  <a:pt x="632921" y="2068446"/>
                  <a:pt x="631456" y="2058183"/>
                  <a:pt x="631456" y="2047921"/>
                </a:cubicBezTo>
                <a:cubicBezTo>
                  <a:pt x="610931" y="2050852"/>
                  <a:pt x="619726" y="2093368"/>
                  <a:pt x="618262" y="2119757"/>
                </a:cubicBezTo>
                <a:cubicBezTo>
                  <a:pt x="597736" y="2118290"/>
                  <a:pt x="588941" y="2100696"/>
                  <a:pt x="572814" y="2093368"/>
                </a:cubicBezTo>
                <a:lnTo>
                  <a:pt x="572814" y="2012736"/>
                </a:lnTo>
                <a:cubicBezTo>
                  <a:pt x="594804" y="2005405"/>
                  <a:pt x="599203" y="1973152"/>
                  <a:pt x="597736" y="1932104"/>
                </a:cubicBezTo>
                <a:close/>
                <a:moveTo>
                  <a:pt x="588985" y="1857152"/>
                </a:moveTo>
                <a:cubicBezTo>
                  <a:pt x="582525" y="1863200"/>
                  <a:pt x="583075" y="1887389"/>
                  <a:pt x="591872" y="1885190"/>
                </a:cubicBezTo>
                <a:cubicBezTo>
                  <a:pt x="591872" y="1880793"/>
                  <a:pt x="593337" y="1874930"/>
                  <a:pt x="597736" y="1876394"/>
                </a:cubicBezTo>
                <a:lnTo>
                  <a:pt x="597736" y="1858801"/>
                </a:lnTo>
                <a:cubicBezTo>
                  <a:pt x="594071" y="1855136"/>
                  <a:pt x="591138" y="1855136"/>
                  <a:pt x="588985" y="1857152"/>
                </a:cubicBezTo>
                <a:close/>
                <a:moveTo>
                  <a:pt x="307829" y="1801076"/>
                </a:moveTo>
                <a:cubicBezTo>
                  <a:pt x="312592" y="1803093"/>
                  <a:pt x="319189" y="1808223"/>
                  <a:pt x="329452" y="1806025"/>
                </a:cubicBezTo>
                <a:cubicBezTo>
                  <a:pt x="329452" y="1828015"/>
                  <a:pt x="305997" y="1826551"/>
                  <a:pt x="297199" y="1814821"/>
                </a:cubicBezTo>
                <a:cubicBezTo>
                  <a:pt x="300131" y="1800162"/>
                  <a:pt x="303063" y="1799061"/>
                  <a:pt x="307829" y="1801076"/>
                </a:cubicBezTo>
                <a:close/>
                <a:moveTo>
                  <a:pt x="593510" y="1776251"/>
                </a:moveTo>
                <a:cubicBezTo>
                  <a:pt x="575472" y="1779477"/>
                  <a:pt x="592789" y="1832233"/>
                  <a:pt x="578678" y="1841210"/>
                </a:cubicBezTo>
                <a:cubicBezTo>
                  <a:pt x="594804" y="1842677"/>
                  <a:pt x="610931" y="1842677"/>
                  <a:pt x="609466" y="1823619"/>
                </a:cubicBezTo>
                <a:cubicBezTo>
                  <a:pt x="590408" y="1816288"/>
                  <a:pt x="602135" y="1798694"/>
                  <a:pt x="603600" y="1778172"/>
                </a:cubicBezTo>
                <a:cubicBezTo>
                  <a:pt x="599386" y="1776340"/>
                  <a:pt x="596087" y="1775790"/>
                  <a:pt x="593510" y="1776251"/>
                </a:cubicBezTo>
                <a:close/>
                <a:moveTo>
                  <a:pt x="656378" y="1706335"/>
                </a:moveTo>
                <a:cubicBezTo>
                  <a:pt x="668839" y="1704871"/>
                  <a:pt x="671404" y="1718065"/>
                  <a:pt x="672688" y="1733091"/>
                </a:cubicBezTo>
                <a:lnTo>
                  <a:pt x="678616" y="1759077"/>
                </a:lnTo>
                <a:lnTo>
                  <a:pt x="673969" y="1764977"/>
                </a:lnTo>
                <a:lnTo>
                  <a:pt x="681037" y="1769689"/>
                </a:lnTo>
                <a:lnTo>
                  <a:pt x="681300" y="1770841"/>
                </a:lnTo>
                <a:cubicBezTo>
                  <a:pt x="679835" y="1782568"/>
                  <a:pt x="666641" y="1778169"/>
                  <a:pt x="656378" y="1779636"/>
                </a:cubicBezTo>
                <a:cubicBezTo>
                  <a:pt x="653446" y="1795762"/>
                  <a:pt x="676903" y="1817752"/>
                  <a:pt x="650514" y="1814821"/>
                </a:cubicBezTo>
                <a:cubicBezTo>
                  <a:pt x="644648" y="1785500"/>
                  <a:pt x="654911" y="1767909"/>
                  <a:pt x="656378" y="1751783"/>
                </a:cubicBezTo>
                <a:cubicBezTo>
                  <a:pt x="657845" y="1734189"/>
                  <a:pt x="649047" y="1722462"/>
                  <a:pt x="656378" y="1706335"/>
                </a:cubicBezTo>
                <a:close/>
                <a:moveTo>
                  <a:pt x="616794" y="1672615"/>
                </a:moveTo>
                <a:cubicBezTo>
                  <a:pt x="624125" y="1669683"/>
                  <a:pt x="638787" y="1697537"/>
                  <a:pt x="622658" y="1699004"/>
                </a:cubicBezTo>
                <a:cubicBezTo>
                  <a:pt x="625590" y="1716598"/>
                  <a:pt x="637320" y="1722462"/>
                  <a:pt x="635852" y="1744452"/>
                </a:cubicBezTo>
                <a:cubicBezTo>
                  <a:pt x="624125" y="1741520"/>
                  <a:pt x="635852" y="1773772"/>
                  <a:pt x="629989" y="1779636"/>
                </a:cubicBezTo>
                <a:cubicBezTo>
                  <a:pt x="621193" y="1788432"/>
                  <a:pt x="629989" y="1782568"/>
                  <a:pt x="629989" y="1797230"/>
                </a:cubicBezTo>
                <a:cubicBezTo>
                  <a:pt x="629989" y="1810421"/>
                  <a:pt x="624125" y="1813353"/>
                  <a:pt x="624125" y="1823616"/>
                </a:cubicBezTo>
                <a:cubicBezTo>
                  <a:pt x="624125" y="1841210"/>
                  <a:pt x="641719" y="1866131"/>
                  <a:pt x="610931" y="1858801"/>
                </a:cubicBezTo>
                <a:cubicBezTo>
                  <a:pt x="609466" y="1882258"/>
                  <a:pt x="635852" y="1864667"/>
                  <a:pt x="629989" y="1893985"/>
                </a:cubicBezTo>
                <a:cubicBezTo>
                  <a:pt x="621193" y="1892521"/>
                  <a:pt x="594804" y="1907182"/>
                  <a:pt x="610931" y="1911579"/>
                </a:cubicBezTo>
                <a:cubicBezTo>
                  <a:pt x="605067" y="1937968"/>
                  <a:pt x="594804" y="1899852"/>
                  <a:pt x="578678" y="1911579"/>
                </a:cubicBezTo>
                <a:cubicBezTo>
                  <a:pt x="580145" y="1927705"/>
                  <a:pt x="600668" y="1984880"/>
                  <a:pt x="572814" y="1983415"/>
                </a:cubicBezTo>
                <a:cubicBezTo>
                  <a:pt x="565483" y="1973152"/>
                  <a:pt x="581610" y="1930637"/>
                  <a:pt x="572814" y="1920374"/>
                </a:cubicBezTo>
                <a:cubicBezTo>
                  <a:pt x="564016" y="1911579"/>
                  <a:pt x="575746" y="1913046"/>
                  <a:pt x="572814" y="1893985"/>
                </a:cubicBezTo>
                <a:cubicBezTo>
                  <a:pt x="572814" y="1891053"/>
                  <a:pt x="566951" y="1882258"/>
                  <a:pt x="566951" y="1885190"/>
                </a:cubicBezTo>
                <a:cubicBezTo>
                  <a:pt x="566951" y="1877862"/>
                  <a:pt x="574279" y="1876394"/>
                  <a:pt x="572814" y="1867599"/>
                </a:cubicBezTo>
                <a:cubicBezTo>
                  <a:pt x="571347" y="1847073"/>
                  <a:pt x="562552" y="1847073"/>
                  <a:pt x="572814" y="1832414"/>
                </a:cubicBezTo>
                <a:cubicBezTo>
                  <a:pt x="572814" y="1832414"/>
                  <a:pt x="572814" y="1825083"/>
                  <a:pt x="572814" y="1823616"/>
                </a:cubicBezTo>
                <a:cubicBezTo>
                  <a:pt x="571347" y="1795762"/>
                  <a:pt x="561087" y="1759111"/>
                  <a:pt x="572814" y="1726858"/>
                </a:cubicBezTo>
                <a:cubicBezTo>
                  <a:pt x="586009" y="1725393"/>
                  <a:pt x="593337" y="1734189"/>
                  <a:pt x="591872" y="1753247"/>
                </a:cubicBezTo>
                <a:cubicBezTo>
                  <a:pt x="599203" y="1751783"/>
                  <a:pt x="596272" y="1737121"/>
                  <a:pt x="597736" y="1726858"/>
                </a:cubicBezTo>
                <a:cubicBezTo>
                  <a:pt x="606532" y="1737121"/>
                  <a:pt x="607999" y="1729790"/>
                  <a:pt x="616794" y="1726858"/>
                </a:cubicBezTo>
                <a:close/>
                <a:moveTo>
                  <a:pt x="329452" y="1662353"/>
                </a:moveTo>
                <a:cubicBezTo>
                  <a:pt x="319192" y="1679946"/>
                  <a:pt x="329452" y="1672615"/>
                  <a:pt x="329452" y="1697537"/>
                </a:cubicBezTo>
                <a:cubicBezTo>
                  <a:pt x="310394" y="1712199"/>
                  <a:pt x="310394" y="1647693"/>
                  <a:pt x="329452" y="1662353"/>
                </a:cubicBezTo>
                <a:close/>
                <a:moveTo>
                  <a:pt x="663709" y="1634499"/>
                </a:moveTo>
                <a:cubicBezTo>
                  <a:pt x="676903" y="1647693"/>
                  <a:pt x="656378" y="1665287"/>
                  <a:pt x="669572" y="1688742"/>
                </a:cubicBezTo>
                <a:cubicBezTo>
                  <a:pt x="662242" y="1687277"/>
                  <a:pt x="657845" y="1690209"/>
                  <a:pt x="657845" y="1697537"/>
                </a:cubicBezTo>
                <a:cubicBezTo>
                  <a:pt x="644648" y="1690209"/>
                  <a:pt x="660777" y="1650625"/>
                  <a:pt x="663709" y="1634499"/>
                </a:cubicBezTo>
                <a:close/>
                <a:moveTo>
                  <a:pt x="660181" y="1557120"/>
                </a:moveTo>
                <a:cubicBezTo>
                  <a:pt x="664441" y="1554509"/>
                  <a:pt x="669938" y="1563030"/>
                  <a:pt x="675436" y="1564130"/>
                </a:cubicBezTo>
                <a:cubicBezTo>
                  <a:pt x="676903" y="1580256"/>
                  <a:pt x="668105" y="1581721"/>
                  <a:pt x="669572" y="1599314"/>
                </a:cubicBezTo>
                <a:cubicBezTo>
                  <a:pt x="651979" y="1605178"/>
                  <a:pt x="673969" y="1556799"/>
                  <a:pt x="656378" y="1564130"/>
                </a:cubicBezTo>
                <a:cubicBezTo>
                  <a:pt x="657478" y="1560098"/>
                  <a:pt x="658761" y="1557991"/>
                  <a:pt x="660181" y="1557120"/>
                </a:cubicBezTo>
                <a:close/>
                <a:moveTo>
                  <a:pt x="355841" y="1545072"/>
                </a:moveTo>
                <a:cubicBezTo>
                  <a:pt x="369035" y="1553867"/>
                  <a:pt x="377831" y="1567062"/>
                  <a:pt x="374899" y="1599314"/>
                </a:cubicBezTo>
                <a:cubicBezTo>
                  <a:pt x="354376" y="1599314"/>
                  <a:pt x="358773" y="1568526"/>
                  <a:pt x="355841" y="1545072"/>
                </a:cubicBezTo>
                <a:close/>
                <a:moveTo>
                  <a:pt x="572814" y="1446846"/>
                </a:moveTo>
                <a:cubicBezTo>
                  <a:pt x="590408" y="1445382"/>
                  <a:pt x="571347" y="1514284"/>
                  <a:pt x="572814" y="1464440"/>
                </a:cubicBezTo>
                <a:close/>
                <a:moveTo>
                  <a:pt x="626507" y="1446022"/>
                </a:moveTo>
                <a:cubicBezTo>
                  <a:pt x="628248" y="1443823"/>
                  <a:pt x="631455" y="1443548"/>
                  <a:pt x="637320" y="1446846"/>
                </a:cubicBezTo>
                <a:cubicBezTo>
                  <a:pt x="631456" y="1473235"/>
                  <a:pt x="646115" y="1470304"/>
                  <a:pt x="643183" y="1492294"/>
                </a:cubicBezTo>
                <a:lnTo>
                  <a:pt x="629989" y="1492294"/>
                </a:lnTo>
                <a:cubicBezTo>
                  <a:pt x="629989" y="1501089"/>
                  <a:pt x="638787" y="1499624"/>
                  <a:pt x="643183" y="1501089"/>
                </a:cubicBezTo>
                <a:cubicBezTo>
                  <a:pt x="627057" y="1531877"/>
                  <a:pt x="621193" y="1473235"/>
                  <a:pt x="599203" y="1482031"/>
                </a:cubicBezTo>
                <a:cubicBezTo>
                  <a:pt x="602135" y="1474703"/>
                  <a:pt x="605067" y="1467372"/>
                  <a:pt x="605067" y="1455642"/>
                </a:cubicBezTo>
                <a:cubicBezTo>
                  <a:pt x="616794" y="1452710"/>
                  <a:pt x="616794" y="1462973"/>
                  <a:pt x="618262" y="1473235"/>
                </a:cubicBezTo>
                <a:cubicBezTo>
                  <a:pt x="629256" y="1476533"/>
                  <a:pt x="621284" y="1452618"/>
                  <a:pt x="626507" y="1446022"/>
                </a:cubicBezTo>
                <a:close/>
                <a:moveTo>
                  <a:pt x="374899" y="1438051"/>
                </a:moveTo>
                <a:cubicBezTo>
                  <a:pt x="364636" y="1467372"/>
                  <a:pt x="376366" y="1473235"/>
                  <a:pt x="374899" y="1509887"/>
                </a:cubicBezTo>
                <a:cubicBezTo>
                  <a:pt x="363172" y="1506953"/>
                  <a:pt x="348513" y="1435119"/>
                  <a:pt x="374899" y="1438051"/>
                </a:cubicBezTo>
                <a:close/>
                <a:moveTo>
                  <a:pt x="361704" y="1394071"/>
                </a:moveTo>
                <a:lnTo>
                  <a:pt x="374899" y="1394071"/>
                </a:lnTo>
                <a:lnTo>
                  <a:pt x="374899" y="1411662"/>
                </a:lnTo>
                <a:lnTo>
                  <a:pt x="361704" y="1411662"/>
                </a:lnTo>
                <a:close/>
                <a:moveTo>
                  <a:pt x="687163" y="1392604"/>
                </a:moveTo>
                <a:cubicBezTo>
                  <a:pt x="675436" y="1420457"/>
                  <a:pt x="695962" y="1439515"/>
                  <a:pt x="681300" y="1464440"/>
                </a:cubicBezTo>
                <a:cubicBezTo>
                  <a:pt x="651979" y="1476167"/>
                  <a:pt x="671040" y="1420457"/>
                  <a:pt x="654911" y="1410194"/>
                </a:cubicBezTo>
                <a:cubicBezTo>
                  <a:pt x="660777" y="1397000"/>
                  <a:pt x="675436" y="1397000"/>
                  <a:pt x="687163" y="1392604"/>
                </a:cubicBezTo>
                <a:close/>
                <a:moveTo>
                  <a:pt x="618262" y="1310505"/>
                </a:moveTo>
                <a:cubicBezTo>
                  <a:pt x="622658" y="1333962"/>
                  <a:pt x="619726" y="1336894"/>
                  <a:pt x="615330" y="1366215"/>
                </a:cubicBezTo>
                <a:cubicBezTo>
                  <a:pt x="600668" y="1366215"/>
                  <a:pt x="600668" y="1370614"/>
                  <a:pt x="596272" y="1361818"/>
                </a:cubicBezTo>
                <a:cubicBezTo>
                  <a:pt x="596272" y="1338361"/>
                  <a:pt x="600668" y="1350088"/>
                  <a:pt x="600668" y="1326631"/>
                </a:cubicBezTo>
                <a:cubicBezTo>
                  <a:pt x="610931" y="1322235"/>
                  <a:pt x="603600" y="1307573"/>
                  <a:pt x="618262" y="1310505"/>
                </a:cubicBezTo>
                <a:close/>
                <a:moveTo>
                  <a:pt x="578678" y="1169766"/>
                </a:moveTo>
                <a:cubicBezTo>
                  <a:pt x="571347" y="1209350"/>
                  <a:pt x="591872" y="1238671"/>
                  <a:pt x="578678" y="1259194"/>
                </a:cubicBezTo>
                <a:cubicBezTo>
                  <a:pt x="552289" y="1257729"/>
                  <a:pt x="584542" y="1174166"/>
                  <a:pt x="540562" y="1196156"/>
                </a:cubicBezTo>
                <a:cubicBezTo>
                  <a:pt x="543493" y="1175630"/>
                  <a:pt x="564016" y="1177097"/>
                  <a:pt x="578678" y="1169766"/>
                </a:cubicBezTo>
                <a:close/>
                <a:moveTo>
                  <a:pt x="465793" y="1169766"/>
                </a:moveTo>
                <a:cubicBezTo>
                  <a:pt x="478988" y="1169766"/>
                  <a:pt x="465793" y="1188825"/>
                  <a:pt x="465793" y="1187360"/>
                </a:cubicBezTo>
                <a:cubicBezTo>
                  <a:pt x="468725" y="1204951"/>
                  <a:pt x="487783" y="1197620"/>
                  <a:pt x="478988" y="1232807"/>
                </a:cubicBezTo>
                <a:cubicBezTo>
                  <a:pt x="462862" y="1235736"/>
                  <a:pt x="465793" y="1216678"/>
                  <a:pt x="446735" y="1224009"/>
                </a:cubicBezTo>
                <a:cubicBezTo>
                  <a:pt x="452599" y="1204951"/>
                  <a:pt x="456998" y="1182961"/>
                  <a:pt x="465793" y="1169766"/>
                </a:cubicBezTo>
                <a:close/>
                <a:moveTo>
                  <a:pt x="415950" y="1159504"/>
                </a:moveTo>
                <a:cubicBezTo>
                  <a:pt x="442336" y="1165367"/>
                  <a:pt x="424745" y="1200555"/>
                  <a:pt x="435008" y="1213746"/>
                </a:cubicBezTo>
                <a:cubicBezTo>
                  <a:pt x="430609" y="1221077"/>
                  <a:pt x="423278" y="1226941"/>
                  <a:pt x="415950" y="1231340"/>
                </a:cubicBezTo>
                <a:cubicBezTo>
                  <a:pt x="430609" y="1251866"/>
                  <a:pt x="413015" y="1266525"/>
                  <a:pt x="415950" y="1294378"/>
                </a:cubicBezTo>
                <a:cubicBezTo>
                  <a:pt x="402753" y="1300245"/>
                  <a:pt x="393957" y="1235736"/>
                  <a:pt x="402753" y="1222545"/>
                </a:cubicBezTo>
                <a:cubicBezTo>
                  <a:pt x="408619" y="1215214"/>
                  <a:pt x="404220" y="1213746"/>
                  <a:pt x="402753" y="1196156"/>
                </a:cubicBezTo>
                <a:cubicBezTo>
                  <a:pt x="401288" y="1187360"/>
                  <a:pt x="402753" y="1178562"/>
                  <a:pt x="402753" y="1168299"/>
                </a:cubicBezTo>
                <a:cubicBezTo>
                  <a:pt x="410083" y="1169766"/>
                  <a:pt x="414483" y="1166835"/>
                  <a:pt x="415950" y="1159504"/>
                </a:cubicBezTo>
                <a:close/>
                <a:moveTo>
                  <a:pt x="429144" y="1127251"/>
                </a:moveTo>
                <a:lnTo>
                  <a:pt x="448203" y="1127251"/>
                </a:lnTo>
                <a:cubicBezTo>
                  <a:pt x="443803" y="1134582"/>
                  <a:pt x="440872" y="1143377"/>
                  <a:pt x="448203" y="1144845"/>
                </a:cubicBezTo>
                <a:cubicBezTo>
                  <a:pt x="451134" y="1160971"/>
                  <a:pt x="423278" y="1144845"/>
                  <a:pt x="429144" y="1127251"/>
                </a:cubicBezTo>
                <a:close/>
                <a:moveTo>
                  <a:pt x="486319" y="1115524"/>
                </a:moveTo>
                <a:cubicBezTo>
                  <a:pt x="499513" y="1114056"/>
                  <a:pt x="489251" y="1147777"/>
                  <a:pt x="492183" y="1160971"/>
                </a:cubicBezTo>
                <a:cubicBezTo>
                  <a:pt x="480455" y="1152176"/>
                  <a:pt x="474589" y="1130183"/>
                  <a:pt x="486319" y="1115524"/>
                </a:cubicBezTo>
                <a:close/>
                <a:moveTo>
                  <a:pt x="502445" y="936667"/>
                </a:moveTo>
                <a:cubicBezTo>
                  <a:pt x="508309" y="961591"/>
                  <a:pt x="493647" y="960124"/>
                  <a:pt x="496582" y="982114"/>
                </a:cubicBezTo>
                <a:cubicBezTo>
                  <a:pt x="484852" y="983581"/>
                  <a:pt x="483384" y="923472"/>
                  <a:pt x="502445" y="936667"/>
                </a:cubicBezTo>
                <a:close/>
                <a:moveTo>
                  <a:pt x="346862" y="922008"/>
                </a:moveTo>
                <a:lnTo>
                  <a:pt x="351069" y="925354"/>
                </a:lnTo>
                <a:lnTo>
                  <a:pt x="349410" y="940795"/>
                </a:lnTo>
                <a:lnTo>
                  <a:pt x="348513" y="943998"/>
                </a:lnTo>
                <a:cubicBezTo>
                  <a:pt x="336783" y="930072"/>
                  <a:pt x="341549" y="922374"/>
                  <a:pt x="346862" y="922008"/>
                </a:cubicBezTo>
                <a:close/>
                <a:moveTo>
                  <a:pt x="348513" y="880959"/>
                </a:moveTo>
                <a:lnTo>
                  <a:pt x="354452" y="893889"/>
                </a:lnTo>
                <a:lnTo>
                  <a:pt x="354052" y="897616"/>
                </a:lnTo>
                <a:lnTo>
                  <a:pt x="349610" y="901852"/>
                </a:lnTo>
                <a:cubicBezTo>
                  <a:pt x="344114" y="902219"/>
                  <a:pt x="338250" y="895621"/>
                  <a:pt x="348513" y="880959"/>
                </a:cubicBezTo>
                <a:close/>
                <a:moveTo>
                  <a:pt x="470193" y="766608"/>
                </a:moveTo>
                <a:cubicBezTo>
                  <a:pt x="492183" y="772471"/>
                  <a:pt x="474589" y="801792"/>
                  <a:pt x="470193" y="820850"/>
                </a:cubicBezTo>
                <a:cubicBezTo>
                  <a:pt x="455531" y="816454"/>
                  <a:pt x="465793" y="772471"/>
                  <a:pt x="470193" y="766608"/>
                </a:cubicBezTo>
                <a:close/>
                <a:moveTo>
                  <a:pt x="364683" y="584637"/>
                </a:moveTo>
                <a:cubicBezTo>
                  <a:pt x="358223" y="590685"/>
                  <a:pt x="358773" y="614874"/>
                  <a:pt x="367571" y="612675"/>
                </a:cubicBezTo>
                <a:cubicBezTo>
                  <a:pt x="367571" y="606811"/>
                  <a:pt x="367571" y="600948"/>
                  <a:pt x="373434" y="603880"/>
                </a:cubicBezTo>
                <a:lnTo>
                  <a:pt x="373434" y="586286"/>
                </a:lnTo>
                <a:cubicBezTo>
                  <a:pt x="369769" y="582621"/>
                  <a:pt x="366837" y="582621"/>
                  <a:pt x="364683" y="584637"/>
                </a:cubicBezTo>
                <a:close/>
                <a:moveTo>
                  <a:pt x="480382" y="553616"/>
                </a:moveTo>
                <a:lnTo>
                  <a:pt x="483384" y="571624"/>
                </a:lnTo>
                <a:cubicBezTo>
                  <a:pt x="483384" y="568692"/>
                  <a:pt x="477521" y="576023"/>
                  <a:pt x="477521" y="580422"/>
                </a:cubicBezTo>
                <a:cubicBezTo>
                  <a:pt x="476056" y="587753"/>
                  <a:pt x="484852" y="592150"/>
                  <a:pt x="483384" y="598013"/>
                </a:cubicBezTo>
                <a:cubicBezTo>
                  <a:pt x="482651" y="600945"/>
                  <a:pt x="478254" y="603877"/>
                  <a:pt x="473855" y="606809"/>
                </a:cubicBezTo>
                <a:lnTo>
                  <a:pt x="466129" y="613942"/>
                </a:lnTo>
                <a:lnTo>
                  <a:pt x="464876" y="597280"/>
                </a:lnTo>
                <a:cubicBezTo>
                  <a:pt x="463135" y="585552"/>
                  <a:pt x="461533" y="573825"/>
                  <a:pt x="463296" y="565303"/>
                </a:cubicBezTo>
                <a:close/>
                <a:moveTo>
                  <a:pt x="367571" y="532043"/>
                </a:moveTo>
                <a:cubicBezTo>
                  <a:pt x="349977" y="574559"/>
                  <a:pt x="388093" y="552569"/>
                  <a:pt x="367571" y="532043"/>
                </a:cubicBezTo>
                <a:close/>
                <a:moveTo>
                  <a:pt x="637320" y="524712"/>
                </a:moveTo>
                <a:lnTo>
                  <a:pt x="649462" y="556943"/>
                </a:lnTo>
                <a:lnTo>
                  <a:pt x="650483" y="571342"/>
                </a:lnTo>
                <a:lnTo>
                  <a:pt x="637320" y="605344"/>
                </a:lnTo>
                <a:cubicBezTo>
                  <a:pt x="647582" y="590682"/>
                  <a:pt x="631456" y="559897"/>
                  <a:pt x="637320" y="524712"/>
                </a:cubicBezTo>
                <a:close/>
                <a:moveTo>
                  <a:pt x="479471" y="480715"/>
                </a:moveTo>
                <a:lnTo>
                  <a:pt x="483384" y="492460"/>
                </a:lnTo>
                <a:cubicBezTo>
                  <a:pt x="484852" y="502722"/>
                  <a:pt x="483384" y="515917"/>
                  <a:pt x="483384" y="527644"/>
                </a:cubicBezTo>
                <a:lnTo>
                  <a:pt x="481006" y="531214"/>
                </a:lnTo>
                <a:lnTo>
                  <a:pt x="479169" y="488427"/>
                </a:lnTo>
                <a:close/>
                <a:moveTo>
                  <a:pt x="559620" y="398633"/>
                </a:moveTo>
                <a:cubicBezTo>
                  <a:pt x="566951" y="408896"/>
                  <a:pt x="562552" y="439681"/>
                  <a:pt x="553756" y="452876"/>
                </a:cubicBezTo>
                <a:cubicBezTo>
                  <a:pt x="530299" y="454343"/>
                  <a:pt x="552289" y="445548"/>
                  <a:pt x="547893" y="426490"/>
                </a:cubicBezTo>
                <a:cubicBezTo>
                  <a:pt x="536162" y="435285"/>
                  <a:pt x="539094" y="463139"/>
                  <a:pt x="515640" y="452876"/>
                </a:cubicBezTo>
                <a:cubicBezTo>
                  <a:pt x="514173" y="445548"/>
                  <a:pt x="517104" y="444081"/>
                  <a:pt x="521503" y="444081"/>
                </a:cubicBezTo>
                <a:cubicBezTo>
                  <a:pt x="540562" y="438217"/>
                  <a:pt x="537630" y="401565"/>
                  <a:pt x="559620" y="398633"/>
                </a:cubicBezTo>
                <a:close/>
                <a:moveTo>
                  <a:pt x="481920" y="337060"/>
                </a:moveTo>
                <a:cubicBezTo>
                  <a:pt x="459930" y="338527"/>
                  <a:pt x="471657" y="388371"/>
                  <a:pt x="456998" y="400098"/>
                </a:cubicBezTo>
                <a:cubicBezTo>
                  <a:pt x="465793" y="403032"/>
                  <a:pt x="470193" y="413292"/>
                  <a:pt x="481920" y="408896"/>
                </a:cubicBezTo>
                <a:cubicBezTo>
                  <a:pt x="487786" y="373712"/>
                  <a:pt x="467261" y="356118"/>
                  <a:pt x="481920" y="337060"/>
                </a:cubicBezTo>
                <a:close/>
                <a:moveTo>
                  <a:pt x="376231" y="302538"/>
                </a:moveTo>
                <a:lnTo>
                  <a:pt x="378313" y="304280"/>
                </a:lnTo>
                <a:lnTo>
                  <a:pt x="378847" y="311035"/>
                </a:lnTo>
                <a:lnTo>
                  <a:pt x="376112" y="303181"/>
                </a:lnTo>
                <a:close/>
                <a:moveTo>
                  <a:pt x="392490" y="181660"/>
                </a:moveTo>
                <a:cubicBezTo>
                  <a:pt x="398353" y="212445"/>
                  <a:pt x="383694" y="216844"/>
                  <a:pt x="386626" y="244698"/>
                </a:cubicBezTo>
                <a:cubicBezTo>
                  <a:pt x="404220" y="254961"/>
                  <a:pt x="398353" y="222708"/>
                  <a:pt x="398353" y="208049"/>
                </a:cubicBezTo>
                <a:cubicBezTo>
                  <a:pt x="399821" y="196319"/>
                  <a:pt x="407152" y="178728"/>
                  <a:pt x="392490" y="181660"/>
                </a:cubicBezTo>
                <a:close/>
                <a:moveTo>
                  <a:pt x="412296" y="91309"/>
                </a:moveTo>
                <a:cubicBezTo>
                  <a:pt x="408894" y="90378"/>
                  <a:pt x="404771" y="90584"/>
                  <a:pt x="399824" y="92233"/>
                </a:cubicBezTo>
                <a:cubicBezTo>
                  <a:pt x="395424" y="111294"/>
                  <a:pt x="405687" y="120089"/>
                  <a:pt x="407154" y="137680"/>
                </a:cubicBezTo>
                <a:cubicBezTo>
                  <a:pt x="407154" y="138414"/>
                  <a:pt x="403856" y="140613"/>
                  <a:pt x="400557" y="143729"/>
                </a:cubicBezTo>
                <a:lnTo>
                  <a:pt x="394467" y="154386"/>
                </a:lnTo>
                <a:lnTo>
                  <a:pt x="394463" y="154380"/>
                </a:lnTo>
                <a:cubicBezTo>
                  <a:pt x="393868" y="153716"/>
                  <a:pt x="393593" y="153808"/>
                  <a:pt x="393960" y="155274"/>
                </a:cubicBezTo>
                <a:lnTo>
                  <a:pt x="394467" y="154386"/>
                </a:lnTo>
                <a:lnTo>
                  <a:pt x="396891" y="158023"/>
                </a:lnTo>
                <a:cubicBezTo>
                  <a:pt x="398723" y="161138"/>
                  <a:pt x="400556" y="164803"/>
                  <a:pt x="399824" y="164069"/>
                </a:cubicBezTo>
                <a:cubicBezTo>
                  <a:pt x="402755" y="168468"/>
                  <a:pt x="404223" y="175796"/>
                  <a:pt x="413018" y="172864"/>
                </a:cubicBezTo>
                <a:cubicBezTo>
                  <a:pt x="424563" y="160038"/>
                  <a:pt x="436106" y="97824"/>
                  <a:pt x="412296" y="91309"/>
                </a:cubicBezTo>
                <a:close/>
                <a:moveTo>
                  <a:pt x="588305" y="1"/>
                </a:moveTo>
                <a:lnTo>
                  <a:pt x="592787" y="9036"/>
                </a:lnTo>
                <a:cubicBezTo>
                  <a:pt x="595536" y="18199"/>
                  <a:pt x="597735" y="27729"/>
                  <a:pt x="609463" y="23331"/>
                </a:cubicBezTo>
                <a:lnTo>
                  <a:pt x="611718" y="1"/>
                </a:lnTo>
                <a:close/>
                <a:moveTo>
                  <a:pt x="515591" y="1"/>
                </a:moveTo>
                <a:lnTo>
                  <a:pt x="516181" y="2323"/>
                </a:lnTo>
                <a:cubicBezTo>
                  <a:pt x="517517" y="4878"/>
                  <a:pt x="519304" y="6287"/>
                  <a:pt x="521503" y="5737"/>
                </a:cubicBezTo>
                <a:lnTo>
                  <a:pt x="523931" y="1"/>
                </a:lnTo>
                <a:close/>
                <a:moveTo>
                  <a:pt x="412048" y="1"/>
                </a:moveTo>
                <a:lnTo>
                  <a:pt x="413015" y="29194"/>
                </a:lnTo>
                <a:cubicBezTo>
                  <a:pt x="411551" y="46788"/>
                  <a:pt x="396889" y="74642"/>
                  <a:pt x="418882" y="74642"/>
                </a:cubicBezTo>
                <a:cubicBezTo>
                  <a:pt x="429142" y="59983"/>
                  <a:pt x="421814" y="30662"/>
                  <a:pt x="424745" y="11601"/>
                </a:cubicBezTo>
                <a:lnTo>
                  <a:pt x="428196" y="1"/>
                </a:lnTo>
                <a:close/>
                <a:moveTo>
                  <a:pt x="0" y="0"/>
                </a:moveTo>
                <a:lnTo>
                  <a:pt x="4991099" y="0"/>
                </a:lnTo>
                <a:lnTo>
                  <a:pt x="4991099" y="6857998"/>
                </a:lnTo>
                <a:lnTo>
                  <a:pt x="754628" y="6857998"/>
                </a:lnTo>
                <a:lnTo>
                  <a:pt x="751671" y="6842579"/>
                </a:lnTo>
                <a:cubicBezTo>
                  <a:pt x="745807" y="6824987"/>
                  <a:pt x="739210" y="6807395"/>
                  <a:pt x="737010" y="6789069"/>
                </a:cubicBezTo>
                <a:cubicBezTo>
                  <a:pt x="735542" y="6781738"/>
                  <a:pt x="741409" y="6777339"/>
                  <a:pt x="742873" y="6771475"/>
                </a:cubicBezTo>
                <a:cubicBezTo>
                  <a:pt x="748737" y="6739222"/>
                  <a:pt x="737010" y="6736290"/>
                  <a:pt x="737010" y="6717232"/>
                </a:cubicBezTo>
                <a:cubicBezTo>
                  <a:pt x="735542" y="6679116"/>
                  <a:pt x="741409" y="6641000"/>
                  <a:pt x="737010" y="6601416"/>
                </a:cubicBezTo>
                <a:cubicBezTo>
                  <a:pt x="737010" y="6592621"/>
                  <a:pt x="731146" y="6591153"/>
                  <a:pt x="731146" y="6583825"/>
                </a:cubicBezTo>
                <a:cubicBezTo>
                  <a:pt x="729679" y="6567699"/>
                  <a:pt x="741409" y="6572095"/>
                  <a:pt x="731146" y="6557436"/>
                </a:cubicBezTo>
                <a:cubicBezTo>
                  <a:pt x="728214" y="6553037"/>
                  <a:pt x="732611" y="6529580"/>
                  <a:pt x="731146" y="6522249"/>
                </a:cubicBezTo>
                <a:cubicBezTo>
                  <a:pt x="729679" y="6510521"/>
                  <a:pt x="726747" y="6510521"/>
                  <a:pt x="725280" y="6495862"/>
                </a:cubicBezTo>
                <a:cubicBezTo>
                  <a:pt x="723815" y="6460678"/>
                  <a:pt x="734078" y="6460678"/>
                  <a:pt x="725280" y="6450415"/>
                </a:cubicBezTo>
                <a:cubicBezTo>
                  <a:pt x="723815" y="6448948"/>
                  <a:pt x="725280" y="6435756"/>
                  <a:pt x="725280" y="6432821"/>
                </a:cubicBezTo>
                <a:cubicBezTo>
                  <a:pt x="722351" y="6400569"/>
                  <a:pt x="720883" y="6388842"/>
                  <a:pt x="719419" y="6369783"/>
                </a:cubicBezTo>
                <a:cubicBezTo>
                  <a:pt x="717952" y="6338995"/>
                  <a:pt x="723815" y="6305278"/>
                  <a:pt x="719419" y="6271558"/>
                </a:cubicBezTo>
                <a:cubicBezTo>
                  <a:pt x="719419" y="6264227"/>
                  <a:pt x="713552" y="6261298"/>
                  <a:pt x="713552" y="6253967"/>
                </a:cubicBezTo>
                <a:cubicBezTo>
                  <a:pt x="713552" y="6239305"/>
                  <a:pt x="725280" y="6240773"/>
                  <a:pt x="713552" y="6227578"/>
                </a:cubicBezTo>
                <a:cubicBezTo>
                  <a:pt x="710621" y="6223182"/>
                  <a:pt x="713552" y="6189462"/>
                  <a:pt x="713552" y="6182131"/>
                </a:cubicBezTo>
                <a:cubicBezTo>
                  <a:pt x="712088" y="6164540"/>
                  <a:pt x="707689" y="6163073"/>
                  <a:pt x="713552" y="6155742"/>
                </a:cubicBezTo>
                <a:cubicBezTo>
                  <a:pt x="719419" y="6149878"/>
                  <a:pt x="707689" y="6127888"/>
                  <a:pt x="707689" y="6129355"/>
                </a:cubicBezTo>
                <a:cubicBezTo>
                  <a:pt x="706221" y="6123489"/>
                  <a:pt x="713552" y="6119090"/>
                  <a:pt x="713552" y="6120557"/>
                </a:cubicBezTo>
                <a:cubicBezTo>
                  <a:pt x="713552" y="6110294"/>
                  <a:pt x="707689" y="6100034"/>
                  <a:pt x="707689" y="6094168"/>
                </a:cubicBezTo>
                <a:cubicBezTo>
                  <a:pt x="707689" y="6082441"/>
                  <a:pt x="713552" y="6082441"/>
                  <a:pt x="713552" y="6067779"/>
                </a:cubicBezTo>
                <a:cubicBezTo>
                  <a:pt x="713552" y="6053120"/>
                  <a:pt x="703290" y="6053120"/>
                  <a:pt x="713552" y="6041393"/>
                </a:cubicBezTo>
                <a:cubicBezTo>
                  <a:pt x="722351" y="6031130"/>
                  <a:pt x="707689" y="6003276"/>
                  <a:pt x="707689" y="5995945"/>
                </a:cubicBezTo>
                <a:cubicBezTo>
                  <a:pt x="707689" y="5998877"/>
                  <a:pt x="713552" y="5990082"/>
                  <a:pt x="713552" y="5987147"/>
                </a:cubicBezTo>
                <a:cubicBezTo>
                  <a:pt x="720883" y="5953430"/>
                  <a:pt x="701825" y="5940235"/>
                  <a:pt x="700358" y="5924109"/>
                </a:cubicBezTo>
                <a:cubicBezTo>
                  <a:pt x="703290" y="5906515"/>
                  <a:pt x="715020" y="5900655"/>
                  <a:pt x="713552" y="5878662"/>
                </a:cubicBezTo>
                <a:cubicBezTo>
                  <a:pt x="691562" y="5880129"/>
                  <a:pt x="706221" y="5858139"/>
                  <a:pt x="707689" y="5843477"/>
                </a:cubicBezTo>
                <a:cubicBezTo>
                  <a:pt x="712088" y="5800962"/>
                  <a:pt x="701825" y="5780436"/>
                  <a:pt x="694494" y="5762846"/>
                </a:cubicBezTo>
                <a:cubicBezTo>
                  <a:pt x="691562" y="5752583"/>
                  <a:pt x="707689" y="5749651"/>
                  <a:pt x="707689" y="5745252"/>
                </a:cubicBezTo>
                <a:cubicBezTo>
                  <a:pt x="709156" y="5734992"/>
                  <a:pt x="704757" y="5733525"/>
                  <a:pt x="701825" y="5727661"/>
                </a:cubicBezTo>
                <a:cubicBezTo>
                  <a:pt x="688631" y="5699805"/>
                  <a:pt x="709156" y="5715931"/>
                  <a:pt x="707689" y="5682214"/>
                </a:cubicBezTo>
                <a:cubicBezTo>
                  <a:pt x="707689" y="5673418"/>
                  <a:pt x="703290" y="5676350"/>
                  <a:pt x="701825" y="5673418"/>
                </a:cubicBezTo>
                <a:cubicBezTo>
                  <a:pt x="698893" y="5667555"/>
                  <a:pt x="707689" y="5654360"/>
                  <a:pt x="707689" y="5655825"/>
                </a:cubicBezTo>
                <a:cubicBezTo>
                  <a:pt x="704757" y="5644097"/>
                  <a:pt x="697426" y="5641166"/>
                  <a:pt x="694494" y="5629438"/>
                </a:cubicBezTo>
                <a:cubicBezTo>
                  <a:pt x="715020" y="5607446"/>
                  <a:pt x="693030" y="5579592"/>
                  <a:pt x="713552" y="5557602"/>
                </a:cubicBezTo>
                <a:cubicBezTo>
                  <a:pt x="707689" y="5548807"/>
                  <a:pt x="690098" y="5554667"/>
                  <a:pt x="694494" y="5531213"/>
                </a:cubicBezTo>
                <a:cubicBezTo>
                  <a:pt x="716484" y="5532677"/>
                  <a:pt x="697426" y="5496028"/>
                  <a:pt x="700358" y="5468175"/>
                </a:cubicBezTo>
                <a:cubicBezTo>
                  <a:pt x="700358" y="5465240"/>
                  <a:pt x="700358" y="5462308"/>
                  <a:pt x="700358" y="5459377"/>
                </a:cubicBezTo>
                <a:cubicBezTo>
                  <a:pt x="700358" y="5454980"/>
                  <a:pt x="706221" y="5447649"/>
                  <a:pt x="706221" y="5450581"/>
                </a:cubicBezTo>
                <a:cubicBezTo>
                  <a:pt x="706221" y="5430056"/>
                  <a:pt x="698893" y="5418329"/>
                  <a:pt x="700358" y="5396339"/>
                </a:cubicBezTo>
                <a:cubicBezTo>
                  <a:pt x="700358" y="5380212"/>
                  <a:pt x="706221" y="5377278"/>
                  <a:pt x="706221" y="5361154"/>
                </a:cubicBezTo>
                <a:cubicBezTo>
                  <a:pt x="706221" y="5350891"/>
                  <a:pt x="701825" y="5347959"/>
                  <a:pt x="700358" y="5334765"/>
                </a:cubicBezTo>
                <a:cubicBezTo>
                  <a:pt x="694494" y="5284919"/>
                  <a:pt x="704757" y="5243870"/>
                  <a:pt x="687163" y="5227744"/>
                </a:cubicBezTo>
                <a:cubicBezTo>
                  <a:pt x="701825" y="5202819"/>
                  <a:pt x="676903" y="5016634"/>
                  <a:pt x="690098" y="4988781"/>
                </a:cubicBezTo>
                <a:cubicBezTo>
                  <a:pt x="690098" y="4977053"/>
                  <a:pt x="678368" y="4981450"/>
                  <a:pt x="676903" y="4971190"/>
                </a:cubicBezTo>
                <a:cubicBezTo>
                  <a:pt x="700358" y="4963859"/>
                  <a:pt x="690098" y="4900818"/>
                  <a:pt x="676903" y="4890558"/>
                </a:cubicBezTo>
                <a:cubicBezTo>
                  <a:pt x="676903" y="4872964"/>
                  <a:pt x="694494" y="4880292"/>
                  <a:pt x="690098" y="4855371"/>
                </a:cubicBezTo>
                <a:cubicBezTo>
                  <a:pt x="669572" y="4855371"/>
                  <a:pt x="682767" y="4824585"/>
                  <a:pt x="676903" y="4809926"/>
                </a:cubicBezTo>
                <a:cubicBezTo>
                  <a:pt x="673969" y="4805527"/>
                  <a:pt x="656378" y="4811391"/>
                  <a:pt x="663709" y="4792333"/>
                </a:cubicBezTo>
                <a:cubicBezTo>
                  <a:pt x="666641" y="4771810"/>
                  <a:pt x="668105" y="4763012"/>
                  <a:pt x="669572" y="4746885"/>
                </a:cubicBezTo>
                <a:cubicBezTo>
                  <a:pt x="671040" y="4730759"/>
                  <a:pt x="663709" y="4720496"/>
                  <a:pt x="663709" y="4711701"/>
                </a:cubicBezTo>
                <a:cubicBezTo>
                  <a:pt x="663709" y="4714633"/>
                  <a:pt x="669572" y="4705837"/>
                  <a:pt x="669572" y="4702903"/>
                </a:cubicBezTo>
                <a:cubicBezTo>
                  <a:pt x="673969" y="4680913"/>
                  <a:pt x="666641" y="4664786"/>
                  <a:pt x="669572" y="4648663"/>
                </a:cubicBezTo>
                <a:cubicBezTo>
                  <a:pt x="641719" y="4609076"/>
                  <a:pt x="654911" y="4551905"/>
                  <a:pt x="675436" y="4513785"/>
                </a:cubicBezTo>
                <a:cubicBezTo>
                  <a:pt x="671040" y="4513785"/>
                  <a:pt x="669572" y="4512321"/>
                  <a:pt x="669572" y="4504990"/>
                </a:cubicBezTo>
                <a:cubicBezTo>
                  <a:pt x="669572" y="4497659"/>
                  <a:pt x="675436" y="4496195"/>
                  <a:pt x="675436" y="4496195"/>
                </a:cubicBezTo>
                <a:cubicBezTo>
                  <a:pt x="679835" y="4458078"/>
                  <a:pt x="669572" y="4440485"/>
                  <a:pt x="669572" y="4415563"/>
                </a:cubicBezTo>
                <a:cubicBezTo>
                  <a:pt x="669572" y="4396502"/>
                  <a:pt x="673969" y="4386242"/>
                  <a:pt x="675436" y="4370116"/>
                </a:cubicBezTo>
                <a:cubicBezTo>
                  <a:pt x="676903" y="4361320"/>
                  <a:pt x="669572" y="4359853"/>
                  <a:pt x="669572" y="4352522"/>
                </a:cubicBezTo>
                <a:cubicBezTo>
                  <a:pt x="668105" y="4342259"/>
                  <a:pt x="678368" y="4340795"/>
                  <a:pt x="675436" y="4326136"/>
                </a:cubicBezTo>
                <a:cubicBezTo>
                  <a:pt x="669572" y="4317337"/>
                  <a:pt x="651979" y="4323201"/>
                  <a:pt x="656378" y="4299744"/>
                </a:cubicBezTo>
                <a:cubicBezTo>
                  <a:pt x="659310" y="4282153"/>
                  <a:pt x="671040" y="4276289"/>
                  <a:pt x="669572" y="4254299"/>
                </a:cubicBezTo>
                <a:cubicBezTo>
                  <a:pt x="653446" y="4229377"/>
                  <a:pt x="643183" y="4170736"/>
                  <a:pt x="656378" y="4129685"/>
                </a:cubicBezTo>
                <a:cubicBezTo>
                  <a:pt x="654911" y="4116490"/>
                  <a:pt x="640252" y="4123821"/>
                  <a:pt x="643183" y="4103296"/>
                </a:cubicBezTo>
                <a:lnTo>
                  <a:pt x="654911" y="4103296"/>
                </a:lnTo>
                <a:cubicBezTo>
                  <a:pt x="650514" y="4075442"/>
                  <a:pt x="649047" y="4044654"/>
                  <a:pt x="641719" y="4022664"/>
                </a:cubicBezTo>
                <a:cubicBezTo>
                  <a:pt x="650514" y="4019732"/>
                  <a:pt x="654911" y="4010937"/>
                  <a:pt x="654911" y="3996278"/>
                </a:cubicBezTo>
                <a:cubicBezTo>
                  <a:pt x="649047" y="3974288"/>
                  <a:pt x="640252" y="3981616"/>
                  <a:pt x="649047" y="3969889"/>
                </a:cubicBezTo>
                <a:cubicBezTo>
                  <a:pt x="657845" y="3956694"/>
                  <a:pt x="643183" y="3925906"/>
                  <a:pt x="643183" y="3924441"/>
                </a:cubicBezTo>
                <a:cubicBezTo>
                  <a:pt x="638787" y="3899519"/>
                  <a:pt x="635852" y="3905383"/>
                  <a:pt x="629989" y="3889257"/>
                </a:cubicBezTo>
                <a:cubicBezTo>
                  <a:pt x="638787" y="3886325"/>
                  <a:pt x="643183" y="3877530"/>
                  <a:pt x="643183" y="3862868"/>
                </a:cubicBezTo>
                <a:cubicBezTo>
                  <a:pt x="635852" y="3861400"/>
                  <a:pt x="625590" y="3864335"/>
                  <a:pt x="624125" y="3854072"/>
                </a:cubicBezTo>
                <a:cubicBezTo>
                  <a:pt x="621193" y="3833547"/>
                  <a:pt x="653446" y="3859936"/>
                  <a:pt x="643183" y="3827683"/>
                </a:cubicBezTo>
                <a:cubicBezTo>
                  <a:pt x="638787" y="3821820"/>
                  <a:pt x="616794" y="3799830"/>
                  <a:pt x="643183" y="3801294"/>
                </a:cubicBezTo>
                <a:cubicBezTo>
                  <a:pt x="640252" y="3773440"/>
                  <a:pt x="624125" y="3761713"/>
                  <a:pt x="624125" y="3729458"/>
                </a:cubicBezTo>
                <a:cubicBezTo>
                  <a:pt x="634388" y="3730925"/>
                  <a:pt x="643183" y="3727993"/>
                  <a:pt x="649047" y="3720662"/>
                </a:cubicBezTo>
                <a:cubicBezTo>
                  <a:pt x="646115" y="3682546"/>
                  <a:pt x="656378" y="3667887"/>
                  <a:pt x="654911" y="3640031"/>
                </a:cubicBezTo>
                <a:cubicBezTo>
                  <a:pt x="653446" y="3626836"/>
                  <a:pt x="637320" y="3628303"/>
                  <a:pt x="635852" y="3604846"/>
                </a:cubicBezTo>
                <a:cubicBezTo>
                  <a:pt x="635852" y="3604846"/>
                  <a:pt x="647582" y="3590184"/>
                  <a:pt x="641719" y="3578457"/>
                </a:cubicBezTo>
                <a:cubicBezTo>
                  <a:pt x="632921" y="3576992"/>
                  <a:pt x="618262" y="3581389"/>
                  <a:pt x="616794" y="3569661"/>
                </a:cubicBezTo>
                <a:lnTo>
                  <a:pt x="616794" y="3524214"/>
                </a:lnTo>
                <a:cubicBezTo>
                  <a:pt x="638787" y="3524214"/>
                  <a:pt x="602135" y="3494893"/>
                  <a:pt x="622658" y="3497825"/>
                </a:cubicBezTo>
                <a:cubicBezTo>
                  <a:pt x="631456" y="3499292"/>
                  <a:pt x="632921" y="3512487"/>
                  <a:pt x="641719" y="3515419"/>
                </a:cubicBezTo>
                <a:cubicBezTo>
                  <a:pt x="651979" y="3452381"/>
                  <a:pt x="624125" y="3440651"/>
                  <a:pt x="616794" y="3399600"/>
                </a:cubicBezTo>
                <a:lnTo>
                  <a:pt x="635852" y="3399600"/>
                </a:lnTo>
                <a:cubicBezTo>
                  <a:pt x="640252" y="3361483"/>
                  <a:pt x="613862" y="3408398"/>
                  <a:pt x="616794" y="3373213"/>
                </a:cubicBezTo>
                <a:cubicBezTo>
                  <a:pt x="616794" y="3377610"/>
                  <a:pt x="629989" y="3355620"/>
                  <a:pt x="629989" y="3355620"/>
                </a:cubicBezTo>
                <a:cubicBezTo>
                  <a:pt x="637320" y="3345360"/>
                  <a:pt x="641719" y="3349756"/>
                  <a:pt x="643183" y="3329233"/>
                </a:cubicBezTo>
                <a:cubicBezTo>
                  <a:pt x="644648" y="3301377"/>
                  <a:pt x="637320" y="3311640"/>
                  <a:pt x="629989" y="3274988"/>
                </a:cubicBezTo>
                <a:cubicBezTo>
                  <a:pt x="638787" y="3273523"/>
                  <a:pt x="653446" y="3277923"/>
                  <a:pt x="654911" y="3266193"/>
                </a:cubicBezTo>
                <a:cubicBezTo>
                  <a:pt x="627057" y="3257397"/>
                  <a:pt x="646115" y="3242735"/>
                  <a:pt x="649047" y="3211950"/>
                </a:cubicBezTo>
                <a:cubicBezTo>
                  <a:pt x="641719" y="3207551"/>
                  <a:pt x="634388" y="3203154"/>
                  <a:pt x="629989" y="3194356"/>
                </a:cubicBezTo>
                <a:cubicBezTo>
                  <a:pt x="615330" y="3163571"/>
                  <a:pt x="638787" y="3165035"/>
                  <a:pt x="635852" y="3148909"/>
                </a:cubicBezTo>
                <a:cubicBezTo>
                  <a:pt x="634388" y="3145977"/>
                  <a:pt x="615330" y="3148909"/>
                  <a:pt x="622658" y="3131318"/>
                </a:cubicBezTo>
                <a:cubicBezTo>
                  <a:pt x="632921" y="3129854"/>
                  <a:pt x="653446" y="3140114"/>
                  <a:pt x="647582" y="3113724"/>
                </a:cubicBezTo>
                <a:cubicBezTo>
                  <a:pt x="653446" y="3084404"/>
                  <a:pt x="624125" y="3099065"/>
                  <a:pt x="622658" y="3078543"/>
                </a:cubicBezTo>
                <a:cubicBezTo>
                  <a:pt x="629989" y="3077073"/>
                  <a:pt x="628524" y="3065345"/>
                  <a:pt x="628524" y="3052151"/>
                </a:cubicBezTo>
                <a:cubicBezTo>
                  <a:pt x="628524" y="3047755"/>
                  <a:pt x="622658" y="3041891"/>
                  <a:pt x="622658" y="3043355"/>
                </a:cubicBezTo>
                <a:cubicBezTo>
                  <a:pt x="622658" y="3034560"/>
                  <a:pt x="628524" y="3033093"/>
                  <a:pt x="628524" y="3025762"/>
                </a:cubicBezTo>
                <a:cubicBezTo>
                  <a:pt x="629989" y="3014035"/>
                  <a:pt x="622658" y="3006706"/>
                  <a:pt x="622658" y="2999375"/>
                </a:cubicBezTo>
                <a:cubicBezTo>
                  <a:pt x="622658" y="2999375"/>
                  <a:pt x="635852" y="2992045"/>
                  <a:pt x="635852" y="2990580"/>
                </a:cubicBezTo>
                <a:cubicBezTo>
                  <a:pt x="640252" y="2978850"/>
                  <a:pt x="627057" y="2958325"/>
                  <a:pt x="635852" y="2955396"/>
                </a:cubicBezTo>
                <a:cubicBezTo>
                  <a:pt x="644648" y="2955396"/>
                  <a:pt x="649047" y="2959792"/>
                  <a:pt x="654911" y="2964191"/>
                </a:cubicBezTo>
                <a:cubicBezTo>
                  <a:pt x="656378" y="2909948"/>
                  <a:pt x="659310" y="2901150"/>
                  <a:pt x="654911" y="2848372"/>
                </a:cubicBezTo>
                <a:cubicBezTo>
                  <a:pt x="629989" y="2852771"/>
                  <a:pt x="650514" y="2827849"/>
                  <a:pt x="649047" y="2821985"/>
                </a:cubicBezTo>
                <a:cubicBezTo>
                  <a:pt x="647582" y="2811723"/>
                  <a:pt x="624125" y="2808791"/>
                  <a:pt x="629989" y="2795597"/>
                </a:cubicBezTo>
                <a:cubicBezTo>
                  <a:pt x="646115" y="2772139"/>
                  <a:pt x="629989" y="2751616"/>
                  <a:pt x="635852" y="2723760"/>
                </a:cubicBezTo>
                <a:cubicBezTo>
                  <a:pt x="643183" y="2695906"/>
                  <a:pt x="660777" y="2704702"/>
                  <a:pt x="649047" y="2688576"/>
                </a:cubicBezTo>
                <a:cubicBezTo>
                  <a:pt x="632921" y="2665118"/>
                  <a:pt x="653446" y="2663654"/>
                  <a:pt x="649047" y="2643129"/>
                </a:cubicBezTo>
                <a:cubicBezTo>
                  <a:pt x="646115" y="2629934"/>
                  <a:pt x="634388" y="2635797"/>
                  <a:pt x="635852" y="2616739"/>
                </a:cubicBezTo>
                <a:cubicBezTo>
                  <a:pt x="646115" y="2616739"/>
                  <a:pt x="657845" y="2618207"/>
                  <a:pt x="654911" y="2599149"/>
                </a:cubicBezTo>
                <a:cubicBezTo>
                  <a:pt x="651979" y="2583022"/>
                  <a:pt x="625590" y="2599149"/>
                  <a:pt x="635852" y="2563964"/>
                </a:cubicBezTo>
                <a:cubicBezTo>
                  <a:pt x="635852" y="2549302"/>
                  <a:pt x="653446" y="2559565"/>
                  <a:pt x="654911" y="2546370"/>
                </a:cubicBezTo>
                <a:cubicBezTo>
                  <a:pt x="663709" y="2544906"/>
                  <a:pt x="662242" y="2527312"/>
                  <a:pt x="668105" y="2519981"/>
                </a:cubicBezTo>
                <a:cubicBezTo>
                  <a:pt x="659310" y="2511186"/>
                  <a:pt x="649047" y="2514118"/>
                  <a:pt x="643183" y="2502390"/>
                </a:cubicBezTo>
                <a:cubicBezTo>
                  <a:pt x="640252" y="2495060"/>
                  <a:pt x="644648" y="2480400"/>
                  <a:pt x="637320" y="2476001"/>
                </a:cubicBezTo>
                <a:cubicBezTo>
                  <a:pt x="624125" y="2464274"/>
                  <a:pt x="613862" y="2499458"/>
                  <a:pt x="612398" y="2476001"/>
                </a:cubicBezTo>
                <a:cubicBezTo>
                  <a:pt x="612398" y="2462807"/>
                  <a:pt x="609466" y="2443749"/>
                  <a:pt x="618262" y="2440817"/>
                </a:cubicBezTo>
                <a:cubicBezTo>
                  <a:pt x="631456" y="2445213"/>
                  <a:pt x="609466" y="2454011"/>
                  <a:pt x="624125" y="2467206"/>
                </a:cubicBezTo>
                <a:cubicBezTo>
                  <a:pt x="638787" y="2445213"/>
                  <a:pt x="660777" y="2486264"/>
                  <a:pt x="662242" y="2449612"/>
                </a:cubicBezTo>
                <a:cubicBezTo>
                  <a:pt x="659310" y="2418827"/>
                  <a:pt x="637320" y="2471605"/>
                  <a:pt x="635852" y="2440817"/>
                </a:cubicBezTo>
                <a:cubicBezTo>
                  <a:pt x="656378" y="2426155"/>
                  <a:pt x="676903" y="2412963"/>
                  <a:pt x="681300" y="2377779"/>
                </a:cubicBezTo>
                <a:cubicBezTo>
                  <a:pt x="681300" y="2361652"/>
                  <a:pt x="660777" y="2371912"/>
                  <a:pt x="662242" y="2351390"/>
                </a:cubicBezTo>
                <a:cubicBezTo>
                  <a:pt x="663709" y="2339660"/>
                  <a:pt x="659310" y="2332331"/>
                  <a:pt x="656378" y="2325000"/>
                </a:cubicBezTo>
                <a:cubicBezTo>
                  <a:pt x="662242" y="2304475"/>
                  <a:pt x="654911" y="2304475"/>
                  <a:pt x="662242" y="2289816"/>
                </a:cubicBezTo>
                <a:cubicBezTo>
                  <a:pt x="672504" y="2267826"/>
                  <a:pt x="663709" y="2266359"/>
                  <a:pt x="662242" y="2244369"/>
                </a:cubicBezTo>
                <a:cubicBezTo>
                  <a:pt x="672504" y="2244369"/>
                  <a:pt x="684231" y="2245833"/>
                  <a:pt x="681300" y="2226775"/>
                </a:cubicBezTo>
                <a:cubicBezTo>
                  <a:pt x="673969" y="2225311"/>
                  <a:pt x="663709" y="2228242"/>
                  <a:pt x="662242" y="2217979"/>
                </a:cubicBezTo>
                <a:cubicBezTo>
                  <a:pt x="671040" y="2215048"/>
                  <a:pt x="675436" y="2206252"/>
                  <a:pt x="675436" y="2191591"/>
                </a:cubicBezTo>
                <a:lnTo>
                  <a:pt x="674378" y="2190126"/>
                </a:lnTo>
                <a:lnTo>
                  <a:pt x="675436" y="2190126"/>
                </a:lnTo>
                <a:lnTo>
                  <a:pt x="675436" y="2169803"/>
                </a:lnTo>
                <a:lnTo>
                  <a:pt x="676994" y="2169120"/>
                </a:lnTo>
                <a:cubicBezTo>
                  <a:pt x="678460" y="2166943"/>
                  <a:pt x="679834" y="2163003"/>
                  <a:pt x="681300" y="2156406"/>
                </a:cubicBezTo>
                <a:cubicBezTo>
                  <a:pt x="662242" y="2157873"/>
                  <a:pt x="685699" y="2100696"/>
                  <a:pt x="668105" y="2102163"/>
                </a:cubicBezTo>
                <a:cubicBezTo>
                  <a:pt x="668105" y="2110959"/>
                  <a:pt x="656378" y="2113890"/>
                  <a:pt x="654911" y="2102163"/>
                </a:cubicBezTo>
                <a:cubicBezTo>
                  <a:pt x="651979" y="2081638"/>
                  <a:pt x="684231" y="2108027"/>
                  <a:pt x="673969" y="2075774"/>
                </a:cubicBezTo>
                <a:cubicBezTo>
                  <a:pt x="675436" y="2061115"/>
                  <a:pt x="672504" y="2047921"/>
                  <a:pt x="668105" y="2040590"/>
                </a:cubicBezTo>
                <a:cubicBezTo>
                  <a:pt x="666641" y="2027395"/>
                  <a:pt x="651979" y="2034726"/>
                  <a:pt x="654911" y="2014200"/>
                </a:cubicBezTo>
                <a:cubicBezTo>
                  <a:pt x="675436" y="2021531"/>
                  <a:pt x="668105" y="2021531"/>
                  <a:pt x="679835" y="2005405"/>
                </a:cubicBezTo>
                <a:cubicBezTo>
                  <a:pt x="685699" y="1977551"/>
                  <a:pt x="663709" y="1987814"/>
                  <a:pt x="660777" y="1970221"/>
                </a:cubicBezTo>
                <a:cubicBezTo>
                  <a:pt x="665173" y="1939432"/>
                  <a:pt x="653446" y="1932104"/>
                  <a:pt x="647582" y="1915978"/>
                </a:cubicBezTo>
                <a:cubicBezTo>
                  <a:pt x="665173" y="1923306"/>
                  <a:pt x="643183" y="1874927"/>
                  <a:pt x="660777" y="1880791"/>
                </a:cubicBezTo>
                <a:cubicBezTo>
                  <a:pt x="662242" y="1891053"/>
                  <a:pt x="663709" y="1901316"/>
                  <a:pt x="673969" y="1898384"/>
                </a:cubicBezTo>
                <a:cubicBezTo>
                  <a:pt x="675436" y="1891053"/>
                  <a:pt x="679835" y="1888121"/>
                  <a:pt x="687163" y="1889589"/>
                </a:cubicBezTo>
                <a:cubicBezTo>
                  <a:pt x="690098" y="1879326"/>
                  <a:pt x="694494" y="1869063"/>
                  <a:pt x="700358" y="1863200"/>
                </a:cubicBezTo>
                <a:lnTo>
                  <a:pt x="700358" y="1808957"/>
                </a:lnTo>
                <a:cubicBezTo>
                  <a:pt x="687163" y="1804558"/>
                  <a:pt x="693030" y="1785500"/>
                  <a:pt x="687163" y="1773772"/>
                </a:cubicBezTo>
                <a:lnTo>
                  <a:pt x="681037" y="1769689"/>
                </a:lnTo>
                <a:lnTo>
                  <a:pt x="678616" y="1759077"/>
                </a:lnTo>
                <a:lnTo>
                  <a:pt x="685515" y="1750318"/>
                </a:lnTo>
                <a:cubicBezTo>
                  <a:pt x="685242" y="1729976"/>
                  <a:pt x="658576" y="1696439"/>
                  <a:pt x="687163" y="1684345"/>
                </a:cubicBezTo>
                <a:cubicBezTo>
                  <a:pt x="688631" y="1699004"/>
                  <a:pt x="681300" y="1728325"/>
                  <a:pt x="700358" y="1719527"/>
                </a:cubicBezTo>
                <a:cubicBezTo>
                  <a:pt x="695962" y="1678479"/>
                  <a:pt x="701825" y="1671151"/>
                  <a:pt x="681300" y="1647693"/>
                </a:cubicBezTo>
                <a:cubicBezTo>
                  <a:pt x="690098" y="1647693"/>
                  <a:pt x="694494" y="1643294"/>
                  <a:pt x="700358" y="1638895"/>
                </a:cubicBezTo>
                <a:cubicBezTo>
                  <a:pt x="700358" y="1627168"/>
                  <a:pt x="700358" y="1615441"/>
                  <a:pt x="700358" y="1603714"/>
                </a:cubicBezTo>
                <a:cubicBezTo>
                  <a:pt x="700358" y="1599314"/>
                  <a:pt x="706221" y="1593451"/>
                  <a:pt x="706221" y="1594915"/>
                </a:cubicBezTo>
                <a:cubicBezTo>
                  <a:pt x="707689" y="1574393"/>
                  <a:pt x="698893" y="1559731"/>
                  <a:pt x="700358" y="1540673"/>
                </a:cubicBezTo>
                <a:cubicBezTo>
                  <a:pt x="700358" y="1524546"/>
                  <a:pt x="706221" y="1521614"/>
                  <a:pt x="706221" y="1505488"/>
                </a:cubicBezTo>
                <a:cubicBezTo>
                  <a:pt x="707689" y="1484963"/>
                  <a:pt x="700358" y="1464440"/>
                  <a:pt x="700358" y="1442450"/>
                </a:cubicBezTo>
                <a:cubicBezTo>
                  <a:pt x="700358" y="1432187"/>
                  <a:pt x="704757" y="1429255"/>
                  <a:pt x="706221" y="1416061"/>
                </a:cubicBezTo>
                <a:cubicBezTo>
                  <a:pt x="707689" y="1395535"/>
                  <a:pt x="706221" y="1360351"/>
                  <a:pt x="706221" y="1353020"/>
                </a:cubicBezTo>
                <a:cubicBezTo>
                  <a:pt x="706221" y="1348624"/>
                  <a:pt x="712088" y="1341293"/>
                  <a:pt x="712088" y="1344225"/>
                </a:cubicBezTo>
                <a:cubicBezTo>
                  <a:pt x="712088" y="1325166"/>
                  <a:pt x="706221" y="1307573"/>
                  <a:pt x="706221" y="1289982"/>
                </a:cubicBezTo>
                <a:cubicBezTo>
                  <a:pt x="706221" y="1273856"/>
                  <a:pt x="712088" y="1270924"/>
                  <a:pt x="712088" y="1254797"/>
                </a:cubicBezTo>
                <a:cubicBezTo>
                  <a:pt x="712088" y="1238671"/>
                  <a:pt x="707689" y="1235736"/>
                  <a:pt x="706221" y="1219613"/>
                </a:cubicBezTo>
                <a:cubicBezTo>
                  <a:pt x="706221" y="1204951"/>
                  <a:pt x="720883" y="1163903"/>
                  <a:pt x="700358" y="1165367"/>
                </a:cubicBezTo>
                <a:cubicBezTo>
                  <a:pt x="690098" y="1181497"/>
                  <a:pt x="706221" y="1194688"/>
                  <a:pt x="694494" y="1210815"/>
                </a:cubicBezTo>
                <a:cubicBezTo>
                  <a:pt x="675436" y="1238671"/>
                  <a:pt x="700358" y="1284118"/>
                  <a:pt x="694494" y="1326631"/>
                </a:cubicBezTo>
                <a:cubicBezTo>
                  <a:pt x="685699" y="1328098"/>
                  <a:pt x="684231" y="1341293"/>
                  <a:pt x="675436" y="1344225"/>
                </a:cubicBezTo>
                <a:cubicBezTo>
                  <a:pt x="685699" y="1313439"/>
                  <a:pt x="653446" y="1339825"/>
                  <a:pt x="656378" y="1317835"/>
                </a:cubicBezTo>
                <a:cubicBezTo>
                  <a:pt x="653446" y="1309040"/>
                  <a:pt x="659310" y="1311972"/>
                  <a:pt x="662242" y="1309040"/>
                </a:cubicBezTo>
                <a:cubicBezTo>
                  <a:pt x="676903" y="1291446"/>
                  <a:pt x="663709" y="1240136"/>
                  <a:pt x="668105" y="1210815"/>
                </a:cubicBezTo>
                <a:cubicBezTo>
                  <a:pt x="659310" y="1199087"/>
                  <a:pt x="640252" y="1202019"/>
                  <a:pt x="622658" y="1202019"/>
                </a:cubicBezTo>
                <a:cubicBezTo>
                  <a:pt x="612398" y="1190292"/>
                  <a:pt x="622658" y="1147777"/>
                  <a:pt x="603600" y="1147777"/>
                </a:cubicBezTo>
                <a:cubicBezTo>
                  <a:pt x="591872" y="1168299"/>
                  <a:pt x="597736" y="1207883"/>
                  <a:pt x="590408" y="1210815"/>
                </a:cubicBezTo>
                <a:cubicBezTo>
                  <a:pt x="580145" y="1206418"/>
                  <a:pt x="584542" y="1140446"/>
                  <a:pt x="584542" y="1138981"/>
                </a:cubicBezTo>
                <a:cubicBezTo>
                  <a:pt x="594804" y="1122855"/>
                  <a:pt x="580145" y="1108193"/>
                  <a:pt x="590408" y="1103794"/>
                </a:cubicBezTo>
                <a:cubicBezTo>
                  <a:pt x="619726" y="1093534"/>
                  <a:pt x="612398" y="1103794"/>
                  <a:pt x="635852" y="1112592"/>
                </a:cubicBezTo>
                <a:cubicBezTo>
                  <a:pt x="631456" y="1067145"/>
                  <a:pt x="638787" y="1018766"/>
                  <a:pt x="641719" y="996776"/>
                </a:cubicBezTo>
                <a:cubicBezTo>
                  <a:pt x="646115" y="960124"/>
                  <a:pt x="635852" y="943998"/>
                  <a:pt x="635852" y="924939"/>
                </a:cubicBezTo>
                <a:cubicBezTo>
                  <a:pt x="635852" y="902949"/>
                  <a:pt x="644648" y="889755"/>
                  <a:pt x="641719" y="870697"/>
                </a:cubicBezTo>
                <a:cubicBezTo>
                  <a:pt x="641719" y="869229"/>
                  <a:pt x="635852" y="857502"/>
                  <a:pt x="635852" y="861898"/>
                </a:cubicBezTo>
                <a:cubicBezTo>
                  <a:pt x="635852" y="850171"/>
                  <a:pt x="643183" y="850171"/>
                  <a:pt x="641719" y="835512"/>
                </a:cubicBezTo>
                <a:cubicBezTo>
                  <a:pt x="641719" y="826714"/>
                  <a:pt x="638787" y="814987"/>
                  <a:pt x="635852" y="800328"/>
                </a:cubicBezTo>
                <a:cubicBezTo>
                  <a:pt x="632921" y="787133"/>
                  <a:pt x="637320" y="769539"/>
                  <a:pt x="622658" y="773939"/>
                </a:cubicBezTo>
                <a:cubicBezTo>
                  <a:pt x="609466" y="775403"/>
                  <a:pt x="621193" y="813519"/>
                  <a:pt x="603600" y="809123"/>
                </a:cubicBezTo>
                <a:cubicBezTo>
                  <a:pt x="602135" y="794461"/>
                  <a:pt x="609466" y="765140"/>
                  <a:pt x="590408" y="773939"/>
                </a:cubicBezTo>
                <a:cubicBezTo>
                  <a:pt x="580145" y="787133"/>
                  <a:pt x="583077" y="819386"/>
                  <a:pt x="571347" y="828181"/>
                </a:cubicBezTo>
                <a:cubicBezTo>
                  <a:pt x="594804" y="832578"/>
                  <a:pt x="603600" y="889755"/>
                  <a:pt x="590408" y="917608"/>
                </a:cubicBezTo>
                <a:cubicBezTo>
                  <a:pt x="600668" y="930803"/>
                  <a:pt x="619726" y="929338"/>
                  <a:pt x="628524" y="943998"/>
                </a:cubicBezTo>
                <a:cubicBezTo>
                  <a:pt x="607999" y="946929"/>
                  <a:pt x="622658" y="1001172"/>
                  <a:pt x="603600" y="1007036"/>
                </a:cubicBezTo>
                <a:cubicBezTo>
                  <a:pt x="593337" y="999708"/>
                  <a:pt x="593337" y="974783"/>
                  <a:pt x="578678" y="971851"/>
                </a:cubicBezTo>
                <a:cubicBezTo>
                  <a:pt x="561087" y="1012902"/>
                  <a:pt x="571347" y="1055415"/>
                  <a:pt x="572814" y="1124319"/>
                </a:cubicBezTo>
                <a:cubicBezTo>
                  <a:pt x="562552" y="1112592"/>
                  <a:pt x="547893" y="1105261"/>
                  <a:pt x="547893" y="1078872"/>
                </a:cubicBezTo>
                <a:cubicBezTo>
                  <a:pt x="552289" y="1058349"/>
                  <a:pt x="547893" y="1040756"/>
                  <a:pt x="553756" y="1033425"/>
                </a:cubicBezTo>
                <a:cubicBezTo>
                  <a:pt x="559620" y="1027561"/>
                  <a:pt x="555221" y="952793"/>
                  <a:pt x="553756" y="943998"/>
                </a:cubicBezTo>
                <a:cubicBezTo>
                  <a:pt x="552289" y="933735"/>
                  <a:pt x="546425" y="932270"/>
                  <a:pt x="547893" y="917608"/>
                </a:cubicBezTo>
                <a:cubicBezTo>
                  <a:pt x="547893" y="908813"/>
                  <a:pt x="552289" y="907346"/>
                  <a:pt x="553756" y="900018"/>
                </a:cubicBezTo>
                <a:cubicBezTo>
                  <a:pt x="559620" y="869229"/>
                  <a:pt x="550824" y="842840"/>
                  <a:pt x="566951" y="836977"/>
                </a:cubicBezTo>
                <a:cubicBezTo>
                  <a:pt x="568415" y="817919"/>
                  <a:pt x="555221" y="803259"/>
                  <a:pt x="553756" y="801792"/>
                </a:cubicBezTo>
                <a:cubicBezTo>
                  <a:pt x="549357" y="797396"/>
                  <a:pt x="562552" y="785666"/>
                  <a:pt x="559620" y="775403"/>
                </a:cubicBezTo>
                <a:cubicBezTo>
                  <a:pt x="558152" y="771007"/>
                  <a:pt x="543493" y="776870"/>
                  <a:pt x="546425" y="766608"/>
                </a:cubicBezTo>
                <a:cubicBezTo>
                  <a:pt x="553756" y="702102"/>
                  <a:pt x="610931" y="743150"/>
                  <a:pt x="635852" y="757812"/>
                </a:cubicBezTo>
                <a:cubicBezTo>
                  <a:pt x="640252" y="735822"/>
                  <a:pt x="653446" y="725560"/>
                  <a:pt x="662242" y="712365"/>
                </a:cubicBezTo>
                <a:cubicBezTo>
                  <a:pt x="656378" y="672781"/>
                  <a:pt x="659310" y="652256"/>
                  <a:pt x="662242" y="596549"/>
                </a:cubicBezTo>
                <a:cubicBezTo>
                  <a:pt x="660043" y="589218"/>
                  <a:pt x="654547" y="581887"/>
                  <a:pt x="650698" y="574372"/>
                </a:cubicBezTo>
                <a:lnTo>
                  <a:pt x="650483" y="571342"/>
                </a:lnTo>
                <a:lnTo>
                  <a:pt x="652712" y="565577"/>
                </a:lnTo>
                <a:lnTo>
                  <a:pt x="649462" y="556943"/>
                </a:lnTo>
                <a:lnTo>
                  <a:pt x="649047" y="551101"/>
                </a:lnTo>
                <a:cubicBezTo>
                  <a:pt x="651979" y="545238"/>
                  <a:pt x="671040" y="556965"/>
                  <a:pt x="668105" y="542306"/>
                </a:cubicBezTo>
                <a:cubicBezTo>
                  <a:pt x="660777" y="540839"/>
                  <a:pt x="650514" y="543771"/>
                  <a:pt x="649047" y="533508"/>
                </a:cubicBezTo>
                <a:cubicBezTo>
                  <a:pt x="650514" y="518849"/>
                  <a:pt x="671040" y="545238"/>
                  <a:pt x="668105" y="507121"/>
                </a:cubicBezTo>
                <a:cubicBezTo>
                  <a:pt x="668105" y="495391"/>
                  <a:pt x="656378" y="499791"/>
                  <a:pt x="654911" y="489528"/>
                </a:cubicBezTo>
                <a:cubicBezTo>
                  <a:pt x="656378" y="471934"/>
                  <a:pt x="672504" y="471934"/>
                  <a:pt x="673969" y="454343"/>
                </a:cubicBezTo>
                <a:cubicBezTo>
                  <a:pt x="654911" y="425022"/>
                  <a:pt x="676903" y="386906"/>
                  <a:pt x="679835" y="356118"/>
                </a:cubicBezTo>
                <a:cubicBezTo>
                  <a:pt x="681300" y="345858"/>
                  <a:pt x="672504" y="344391"/>
                  <a:pt x="673969" y="329729"/>
                </a:cubicBezTo>
                <a:cubicBezTo>
                  <a:pt x="675436" y="309206"/>
                  <a:pt x="698893" y="266691"/>
                  <a:pt x="673969" y="266691"/>
                </a:cubicBezTo>
                <a:cubicBezTo>
                  <a:pt x="654911" y="279885"/>
                  <a:pt x="676903" y="347322"/>
                  <a:pt x="641719" y="338527"/>
                </a:cubicBezTo>
                <a:cubicBezTo>
                  <a:pt x="649047" y="287216"/>
                  <a:pt x="653446" y="269623"/>
                  <a:pt x="647582" y="213915"/>
                </a:cubicBezTo>
                <a:cubicBezTo>
                  <a:pt x="657845" y="215380"/>
                  <a:pt x="666641" y="212448"/>
                  <a:pt x="672504" y="205117"/>
                </a:cubicBezTo>
                <a:cubicBezTo>
                  <a:pt x="678368" y="177264"/>
                  <a:pt x="656378" y="187523"/>
                  <a:pt x="653446" y="169932"/>
                </a:cubicBezTo>
                <a:cubicBezTo>
                  <a:pt x="666641" y="153806"/>
                  <a:pt x="647582" y="150874"/>
                  <a:pt x="647582" y="134748"/>
                </a:cubicBezTo>
                <a:cubicBezTo>
                  <a:pt x="646115" y="124485"/>
                  <a:pt x="656378" y="123021"/>
                  <a:pt x="653446" y="108359"/>
                </a:cubicBezTo>
                <a:cubicBezTo>
                  <a:pt x="624125" y="103963"/>
                  <a:pt x="638787" y="152342"/>
                  <a:pt x="634388" y="180195"/>
                </a:cubicBezTo>
                <a:cubicBezTo>
                  <a:pt x="631456" y="203653"/>
                  <a:pt x="621193" y="238837"/>
                  <a:pt x="621193" y="243233"/>
                </a:cubicBezTo>
                <a:cubicBezTo>
                  <a:pt x="621193" y="246165"/>
                  <a:pt x="629989" y="241769"/>
                  <a:pt x="627057" y="252032"/>
                </a:cubicBezTo>
                <a:cubicBezTo>
                  <a:pt x="625590" y="254963"/>
                  <a:pt x="613862" y="256428"/>
                  <a:pt x="613862" y="260827"/>
                </a:cubicBezTo>
                <a:cubicBezTo>
                  <a:pt x="613862" y="250564"/>
                  <a:pt x="606532" y="253496"/>
                  <a:pt x="607999" y="269623"/>
                </a:cubicBezTo>
                <a:lnTo>
                  <a:pt x="607999" y="287216"/>
                </a:lnTo>
                <a:cubicBezTo>
                  <a:pt x="609466" y="301875"/>
                  <a:pt x="629989" y="275486"/>
                  <a:pt x="627057" y="313605"/>
                </a:cubicBezTo>
                <a:cubicBezTo>
                  <a:pt x="618262" y="310671"/>
                  <a:pt x="616794" y="303343"/>
                  <a:pt x="607999" y="313605"/>
                </a:cubicBezTo>
                <a:cubicBezTo>
                  <a:pt x="615330" y="345858"/>
                  <a:pt x="602135" y="375179"/>
                  <a:pt x="602135" y="403032"/>
                </a:cubicBezTo>
                <a:cubicBezTo>
                  <a:pt x="602135" y="400101"/>
                  <a:pt x="607999" y="408896"/>
                  <a:pt x="607999" y="411828"/>
                </a:cubicBezTo>
                <a:cubicBezTo>
                  <a:pt x="613862" y="448480"/>
                  <a:pt x="610931" y="507121"/>
                  <a:pt x="607999" y="536442"/>
                </a:cubicBezTo>
                <a:cubicBezTo>
                  <a:pt x="607999" y="543771"/>
                  <a:pt x="602135" y="546702"/>
                  <a:pt x="602135" y="554033"/>
                </a:cubicBezTo>
                <a:cubicBezTo>
                  <a:pt x="602135" y="567228"/>
                  <a:pt x="610931" y="567228"/>
                  <a:pt x="602135" y="580422"/>
                </a:cubicBezTo>
                <a:cubicBezTo>
                  <a:pt x="588941" y="600945"/>
                  <a:pt x="602135" y="605344"/>
                  <a:pt x="602135" y="625870"/>
                </a:cubicBezTo>
                <a:cubicBezTo>
                  <a:pt x="602135" y="622938"/>
                  <a:pt x="596272" y="630266"/>
                  <a:pt x="596272" y="634665"/>
                </a:cubicBezTo>
                <a:cubicBezTo>
                  <a:pt x="591872" y="663986"/>
                  <a:pt x="602135" y="672781"/>
                  <a:pt x="590408" y="688908"/>
                </a:cubicBezTo>
                <a:cubicBezTo>
                  <a:pt x="584542" y="696239"/>
                  <a:pt x="588941" y="716764"/>
                  <a:pt x="577213" y="715297"/>
                </a:cubicBezTo>
                <a:cubicBezTo>
                  <a:pt x="571347" y="699170"/>
                  <a:pt x="574279" y="669849"/>
                  <a:pt x="564016" y="661054"/>
                </a:cubicBezTo>
                <a:cubicBezTo>
                  <a:pt x="565483" y="684509"/>
                  <a:pt x="566951" y="705034"/>
                  <a:pt x="544958" y="696239"/>
                </a:cubicBezTo>
                <a:cubicBezTo>
                  <a:pt x="552289" y="655191"/>
                  <a:pt x="555221" y="596549"/>
                  <a:pt x="558152" y="571624"/>
                </a:cubicBezTo>
                <a:cubicBezTo>
                  <a:pt x="561087" y="536442"/>
                  <a:pt x="561087" y="520313"/>
                  <a:pt x="564016" y="499791"/>
                </a:cubicBezTo>
                <a:cubicBezTo>
                  <a:pt x="565483" y="493927"/>
                  <a:pt x="562552" y="488061"/>
                  <a:pt x="564016" y="482197"/>
                </a:cubicBezTo>
                <a:cubicBezTo>
                  <a:pt x="564016" y="479265"/>
                  <a:pt x="569883" y="470470"/>
                  <a:pt x="569883" y="473401"/>
                </a:cubicBezTo>
                <a:cubicBezTo>
                  <a:pt x="571347" y="458740"/>
                  <a:pt x="562552" y="442613"/>
                  <a:pt x="564016" y="427954"/>
                </a:cubicBezTo>
                <a:cubicBezTo>
                  <a:pt x="564016" y="417692"/>
                  <a:pt x="568415" y="414760"/>
                  <a:pt x="569883" y="401565"/>
                </a:cubicBezTo>
                <a:cubicBezTo>
                  <a:pt x="574279" y="363449"/>
                  <a:pt x="571347" y="338527"/>
                  <a:pt x="569883" y="329729"/>
                </a:cubicBezTo>
                <a:cubicBezTo>
                  <a:pt x="564016" y="303343"/>
                  <a:pt x="575746" y="293080"/>
                  <a:pt x="575746" y="284284"/>
                </a:cubicBezTo>
                <a:cubicBezTo>
                  <a:pt x="575746" y="278418"/>
                  <a:pt x="581610" y="275486"/>
                  <a:pt x="581610" y="275486"/>
                </a:cubicBezTo>
                <a:cubicBezTo>
                  <a:pt x="583077" y="265226"/>
                  <a:pt x="575746" y="247633"/>
                  <a:pt x="575746" y="230039"/>
                </a:cubicBezTo>
                <a:cubicBezTo>
                  <a:pt x="575746" y="221243"/>
                  <a:pt x="580145" y="219779"/>
                  <a:pt x="581610" y="212448"/>
                </a:cubicBezTo>
                <a:cubicBezTo>
                  <a:pt x="586009" y="177264"/>
                  <a:pt x="572814" y="177264"/>
                  <a:pt x="568415" y="167001"/>
                </a:cubicBezTo>
                <a:cubicBezTo>
                  <a:pt x="564016" y="156738"/>
                  <a:pt x="571347" y="133283"/>
                  <a:pt x="555221" y="140612"/>
                </a:cubicBezTo>
                <a:cubicBezTo>
                  <a:pt x="537630" y="136212"/>
                  <a:pt x="549357" y="169932"/>
                  <a:pt x="549357" y="175796"/>
                </a:cubicBezTo>
                <a:cubicBezTo>
                  <a:pt x="549357" y="183127"/>
                  <a:pt x="543493" y="183127"/>
                  <a:pt x="543493" y="184594"/>
                </a:cubicBezTo>
                <a:cubicBezTo>
                  <a:pt x="542026" y="193390"/>
                  <a:pt x="549357" y="191922"/>
                  <a:pt x="549357" y="193390"/>
                </a:cubicBezTo>
                <a:cubicBezTo>
                  <a:pt x="550824" y="200718"/>
                  <a:pt x="543493" y="202185"/>
                  <a:pt x="543493" y="202185"/>
                </a:cubicBezTo>
                <a:cubicBezTo>
                  <a:pt x="543493" y="216844"/>
                  <a:pt x="550824" y="224175"/>
                  <a:pt x="543493" y="228574"/>
                </a:cubicBezTo>
                <a:cubicBezTo>
                  <a:pt x="540562" y="243233"/>
                  <a:pt x="552289" y="250564"/>
                  <a:pt x="543493" y="254963"/>
                </a:cubicBezTo>
                <a:cubicBezTo>
                  <a:pt x="520036" y="263759"/>
                  <a:pt x="537630" y="216844"/>
                  <a:pt x="524435" y="210981"/>
                </a:cubicBezTo>
                <a:cubicBezTo>
                  <a:pt x="524435" y="193390"/>
                  <a:pt x="542026" y="200718"/>
                  <a:pt x="537630" y="175796"/>
                </a:cubicBezTo>
                <a:cubicBezTo>
                  <a:pt x="536162" y="161137"/>
                  <a:pt x="539094" y="147943"/>
                  <a:pt x="543493" y="140612"/>
                </a:cubicBezTo>
                <a:cubicBezTo>
                  <a:pt x="522968" y="131816"/>
                  <a:pt x="540562" y="123021"/>
                  <a:pt x="537630" y="95164"/>
                </a:cubicBezTo>
                <a:cubicBezTo>
                  <a:pt x="559620" y="111291"/>
                  <a:pt x="553756" y="89301"/>
                  <a:pt x="575746" y="86369"/>
                </a:cubicBezTo>
                <a:cubicBezTo>
                  <a:pt x="578678" y="102495"/>
                  <a:pt x="555221" y="124485"/>
                  <a:pt x="581610" y="121554"/>
                </a:cubicBezTo>
                <a:cubicBezTo>
                  <a:pt x="600668" y="115690"/>
                  <a:pt x="575746" y="102495"/>
                  <a:pt x="581610" y="86369"/>
                </a:cubicBezTo>
                <a:cubicBezTo>
                  <a:pt x="607999" y="95164"/>
                  <a:pt x="586009" y="54116"/>
                  <a:pt x="587473" y="59980"/>
                </a:cubicBezTo>
                <a:cubicBezTo>
                  <a:pt x="584542" y="52652"/>
                  <a:pt x="593337" y="40922"/>
                  <a:pt x="593337" y="42389"/>
                </a:cubicBezTo>
                <a:cubicBezTo>
                  <a:pt x="590408" y="21864"/>
                  <a:pt x="587473" y="11601"/>
                  <a:pt x="574279" y="16000"/>
                </a:cubicBezTo>
                <a:cubicBezTo>
                  <a:pt x="583077" y="83437"/>
                  <a:pt x="550824" y="62912"/>
                  <a:pt x="528834" y="70243"/>
                </a:cubicBezTo>
                <a:cubicBezTo>
                  <a:pt x="508309" y="117154"/>
                  <a:pt x="534698" y="188991"/>
                  <a:pt x="503910" y="231506"/>
                </a:cubicBezTo>
                <a:cubicBezTo>
                  <a:pt x="495114" y="228574"/>
                  <a:pt x="490715" y="219779"/>
                  <a:pt x="490715" y="205117"/>
                </a:cubicBezTo>
                <a:cubicBezTo>
                  <a:pt x="490715" y="193390"/>
                  <a:pt x="490715" y="181660"/>
                  <a:pt x="490715" y="169932"/>
                </a:cubicBezTo>
                <a:cubicBezTo>
                  <a:pt x="490715" y="164069"/>
                  <a:pt x="496582" y="161137"/>
                  <a:pt x="496582" y="161137"/>
                </a:cubicBezTo>
                <a:cubicBezTo>
                  <a:pt x="498046" y="147943"/>
                  <a:pt x="490715" y="125953"/>
                  <a:pt x="490715" y="115690"/>
                </a:cubicBezTo>
                <a:cubicBezTo>
                  <a:pt x="489251" y="95164"/>
                  <a:pt x="503910" y="59980"/>
                  <a:pt x="477521" y="70243"/>
                </a:cubicBezTo>
                <a:cubicBezTo>
                  <a:pt x="481920" y="108359"/>
                  <a:pt x="474589" y="131816"/>
                  <a:pt x="471657" y="150874"/>
                </a:cubicBezTo>
                <a:cubicBezTo>
                  <a:pt x="470193" y="164069"/>
                  <a:pt x="474589" y="183127"/>
                  <a:pt x="465793" y="186059"/>
                </a:cubicBezTo>
                <a:cubicBezTo>
                  <a:pt x="461394" y="213915"/>
                  <a:pt x="483384" y="203653"/>
                  <a:pt x="478988" y="231506"/>
                </a:cubicBezTo>
                <a:cubicBezTo>
                  <a:pt x="467261" y="240302"/>
                  <a:pt x="456998" y="249097"/>
                  <a:pt x="459930" y="276953"/>
                </a:cubicBezTo>
                <a:cubicBezTo>
                  <a:pt x="464326" y="278418"/>
                  <a:pt x="467261" y="284284"/>
                  <a:pt x="465793" y="294547"/>
                </a:cubicBezTo>
                <a:cubicBezTo>
                  <a:pt x="489251" y="296012"/>
                  <a:pt x="483384" y="304807"/>
                  <a:pt x="503910" y="294547"/>
                </a:cubicBezTo>
                <a:cubicBezTo>
                  <a:pt x="502445" y="316537"/>
                  <a:pt x="481920" y="312138"/>
                  <a:pt x="484852" y="339992"/>
                </a:cubicBezTo>
                <a:cubicBezTo>
                  <a:pt x="478988" y="359050"/>
                  <a:pt x="489251" y="375179"/>
                  <a:pt x="490715" y="394237"/>
                </a:cubicBezTo>
                <a:cubicBezTo>
                  <a:pt x="492183" y="403032"/>
                  <a:pt x="484852" y="404497"/>
                  <a:pt x="484852" y="411828"/>
                </a:cubicBezTo>
                <a:cubicBezTo>
                  <a:pt x="484852" y="408896"/>
                  <a:pt x="490715" y="417692"/>
                  <a:pt x="490715" y="420623"/>
                </a:cubicBezTo>
                <a:cubicBezTo>
                  <a:pt x="492916" y="435282"/>
                  <a:pt x="489984" y="444081"/>
                  <a:pt x="486319" y="451595"/>
                </a:cubicBezTo>
                <a:lnTo>
                  <a:pt x="479947" y="468452"/>
                </a:lnTo>
                <a:lnTo>
                  <a:pt x="481920" y="417692"/>
                </a:lnTo>
                <a:cubicBezTo>
                  <a:pt x="458463" y="408896"/>
                  <a:pt x="467258" y="447012"/>
                  <a:pt x="462862" y="463139"/>
                </a:cubicBezTo>
                <a:cubicBezTo>
                  <a:pt x="462862" y="466071"/>
                  <a:pt x="458463" y="464603"/>
                  <a:pt x="456995" y="471934"/>
                </a:cubicBezTo>
                <a:cubicBezTo>
                  <a:pt x="448200" y="523245"/>
                  <a:pt x="451132" y="581887"/>
                  <a:pt x="451132" y="641993"/>
                </a:cubicBezTo>
                <a:lnTo>
                  <a:pt x="464185" y="631699"/>
                </a:lnTo>
                <a:lnTo>
                  <a:pt x="464143" y="636496"/>
                </a:lnTo>
                <a:cubicBezTo>
                  <a:pt x="464326" y="643827"/>
                  <a:pt x="463595" y="650058"/>
                  <a:pt x="458463" y="650791"/>
                </a:cubicBezTo>
                <a:cubicBezTo>
                  <a:pt x="436473" y="665450"/>
                  <a:pt x="454066" y="621471"/>
                  <a:pt x="439404" y="624402"/>
                </a:cubicBezTo>
                <a:cubicBezTo>
                  <a:pt x="440872" y="640529"/>
                  <a:pt x="432073" y="643460"/>
                  <a:pt x="433541" y="659587"/>
                </a:cubicBezTo>
                <a:cubicBezTo>
                  <a:pt x="421814" y="671314"/>
                  <a:pt x="440872" y="707966"/>
                  <a:pt x="420346" y="722628"/>
                </a:cubicBezTo>
                <a:cubicBezTo>
                  <a:pt x="418882" y="715297"/>
                  <a:pt x="420346" y="705034"/>
                  <a:pt x="414483" y="705034"/>
                </a:cubicBezTo>
                <a:cubicBezTo>
                  <a:pt x="405687" y="744618"/>
                  <a:pt x="439404" y="724092"/>
                  <a:pt x="433541" y="759277"/>
                </a:cubicBezTo>
                <a:cubicBezTo>
                  <a:pt x="423278" y="787133"/>
                  <a:pt x="401288" y="794461"/>
                  <a:pt x="398356" y="831113"/>
                </a:cubicBezTo>
                <a:cubicBezTo>
                  <a:pt x="407152" y="848707"/>
                  <a:pt x="429144" y="836977"/>
                  <a:pt x="429144" y="867765"/>
                </a:cubicBezTo>
                <a:cubicBezTo>
                  <a:pt x="417414" y="869229"/>
                  <a:pt x="415950" y="857502"/>
                  <a:pt x="404220" y="858969"/>
                </a:cubicBezTo>
                <a:cubicBezTo>
                  <a:pt x="404220" y="902949"/>
                  <a:pt x="386629" y="904414"/>
                  <a:pt x="392493" y="941066"/>
                </a:cubicBezTo>
                <a:cubicBezTo>
                  <a:pt x="380763" y="961591"/>
                  <a:pt x="383694" y="960124"/>
                  <a:pt x="386629" y="976250"/>
                </a:cubicBezTo>
                <a:cubicBezTo>
                  <a:pt x="389561" y="995308"/>
                  <a:pt x="379298" y="1023162"/>
                  <a:pt x="392493" y="1021697"/>
                </a:cubicBezTo>
                <a:cubicBezTo>
                  <a:pt x="398356" y="1004104"/>
                  <a:pt x="402753" y="985046"/>
                  <a:pt x="405687" y="958659"/>
                </a:cubicBezTo>
                <a:cubicBezTo>
                  <a:pt x="407152" y="930803"/>
                  <a:pt x="398356" y="895618"/>
                  <a:pt x="411551" y="878028"/>
                </a:cubicBezTo>
                <a:cubicBezTo>
                  <a:pt x="426210" y="882424"/>
                  <a:pt x="411551" y="926404"/>
                  <a:pt x="424745" y="932270"/>
                </a:cubicBezTo>
                <a:cubicBezTo>
                  <a:pt x="401288" y="938134"/>
                  <a:pt x="421814" y="960124"/>
                  <a:pt x="418882" y="977718"/>
                </a:cubicBezTo>
                <a:cubicBezTo>
                  <a:pt x="415950" y="989445"/>
                  <a:pt x="408619" y="992377"/>
                  <a:pt x="405687" y="1004104"/>
                </a:cubicBezTo>
                <a:cubicBezTo>
                  <a:pt x="414483" y="1004104"/>
                  <a:pt x="421814" y="1007036"/>
                  <a:pt x="418882" y="1021697"/>
                </a:cubicBezTo>
                <a:cubicBezTo>
                  <a:pt x="418882" y="1034892"/>
                  <a:pt x="421814" y="1053950"/>
                  <a:pt x="413015" y="1056882"/>
                </a:cubicBezTo>
                <a:cubicBezTo>
                  <a:pt x="404220" y="1055415"/>
                  <a:pt x="402753" y="1042223"/>
                  <a:pt x="393957" y="1039291"/>
                </a:cubicBezTo>
                <a:cubicBezTo>
                  <a:pt x="392493" y="1051018"/>
                  <a:pt x="396889" y="1058349"/>
                  <a:pt x="399824" y="1065677"/>
                </a:cubicBezTo>
                <a:cubicBezTo>
                  <a:pt x="383694" y="1070077"/>
                  <a:pt x="371967" y="1090602"/>
                  <a:pt x="380763" y="1100865"/>
                </a:cubicBezTo>
                <a:cubicBezTo>
                  <a:pt x="386629" y="1105261"/>
                  <a:pt x="374899" y="1109660"/>
                  <a:pt x="374899" y="1109660"/>
                </a:cubicBezTo>
                <a:cubicBezTo>
                  <a:pt x="369035" y="1124319"/>
                  <a:pt x="376366" y="1124319"/>
                  <a:pt x="379298" y="1138981"/>
                </a:cubicBezTo>
                <a:cubicBezTo>
                  <a:pt x="380763" y="1152176"/>
                  <a:pt x="369035" y="1153640"/>
                  <a:pt x="369035" y="1160971"/>
                </a:cubicBezTo>
                <a:cubicBezTo>
                  <a:pt x="367571" y="1169766"/>
                  <a:pt x="376366" y="1174166"/>
                  <a:pt x="376366" y="1181497"/>
                </a:cubicBezTo>
                <a:cubicBezTo>
                  <a:pt x="367571" y="1184426"/>
                  <a:pt x="373434" y="1193224"/>
                  <a:pt x="360240" y="1188825"/>
                </a:cubicBezTo>
                <a:cubicBezTo>
                  <a:pt x="358773" y="1203487"/>
                  <a:pt x="366104" y="1232807"/>
                  <a:pt x="347045" y="1224009"/>
                </a:cubicBezTo>
                <a:cubicBezTo>
                  <a:pt x="354376" y="1243067"/>
                  <a:pt x="348513" y="1266525"/>
                  <a:pt x="352909" y="1287050"/>
                </a:cubicBezTo>
                <a:cubicBezTo>
                  <a:pt x="355841" y="1300245"/>
                  <a:pt x="370503" y="1306108"/>
                  <a:pt x="366104" y="1322235"/>
                </a:cubicBezTo>
                <a:cubicBezTo>
                  <a:pt x="349977" y="1326631"/>
                  <a:pt x="351442" y="1309040"/>
                  <a:pt x="344114" y="1319303"/>
                </a:cubicBezTo>
                <a:cubicBezTo>
                  <a:pt x="319192" y="1354487"/>
                  <a:pt x="333851" y="1468836"/>
                  <a:pt x="320656" y="1464440"/>
                </a:cubicBezTo>
                <a:cubicBezTo>
                  <a:pt x="310394" y="1464440"/>
                  <a:pt x="330919" y="1260661"/>
                  <a:pt x="332383" y="1256262"/>
                </a:cubicBezTo>
                <a:cubicBezTo>
                  <a:pt x="335318" y="1247466"/>
                  <a:pt x="332383" y="1222545"/>
                  <a:pt x="330919" y="1207883"/>
                </a:cubicBezTo>
                <a:cubicBezTo>
                  <a:pt x="329452" y="1204951"/>
                  <a:pt x="327987" y="1187360"/>
                  <a:pt x="327987" y="1184426"/>
                </a:cubicBezTo>
                <a:cubicBezTo>
                  <a:pt x="325055" y="1152176"/>
                  <a:pt x="333851" y="1178562"/>
                  <a:pt x="333851" y="1163903"/>
                </a:cubicBezTo>
                <a:cubicBezTo>
                  <a:pt x="335318" y="1146309"/>
                  <a:pt x="323588" y="1149241"/>
                  <a:pt x="330919" y="1140446"/>
                </a:cubicBezTo>
                <a:cubicBezTo>
                  <a:pt x="332383" y="1138981"/>
                  <a:pt x="330919" y="1125787"/>
                  <a:pt x="330919" y="1122855"/>
                </a:cubicBezTo>
                <a:cubicBezTo>
                  <a:pt x="332383" y="1096466"/>
                  <a:pt x="336783" y="1086203"/>
                  <a:pt x="336783" y="1077407"/>
                </a:cubicBezTo>
                <a:cubicBezTo>
                  <a:pt x="336783" y="1078872"/>
                  <a:pt x="330919" y="1075940"/>
                  <a:pt x="330919" y="1068609"/>
                </a:cubicBezTo>
                <a:cubicBezTo>
                  <a:pt x="330919" y="1064213"/>
                  <a:pt x="336783" y="1056882"/>
                  <a:pt x="336783" y="1059814"/>
                </a:cubicBezTo>
                <a:cubicBezTo>
                  <a:pt x="335318" y="1042223"/>
                  <a:pt x="327987" y="1036357"/>
                  <a:pt x="323588" y="1024629"/>
                </a:cubicBezTo>
                <a:cubicBezTo>
                  <a:pt x="338250" y="1027561"/>
                  <a:pt x="348513" y="1023162"/>
                  <a:pt x="355841" y="1015834"/>
                </a:cubicBezTo>
                <a:cubicBezTo>
                  <a:pt x="347779" y="994578"/>
                  <a:pt x="347412" y="967455"/>
                  <a:pt x="349244" y="942350"/>
                </a:cubicBezTo>
                <a:lnTo>
                  <a:pt x="349410" y="940795"/>
                </a:lnTo>
                <a:lnTo>
                  <a:pt x="353253" y="927092"/>
                </a:lnTo>
                <a:lnTo>
                  <a:pt x="351069" y="925354"/>
                </a:lnTo>
                <a:lnTo>
                  <a:pt x="354052" y="897616"/>
                </a:lnTo>
                <a:lnTo>
                  <a:pt x="355522" y="896214"/>
                </a:lnTo>
                <a:lnTo>
                  <a:pt x="354452" y="893889"/>
                </a:lnTo>
                <a:lnTo>
                  <a:pt x="355841" y="880959"/>
                </a:lnTo>
                <a:cubicBezTo>
                  <a:pt x="357308" y="864833"/>
                  <a:pt x="348513" y="860434"/>
                  <a:pt x="349977" y="845772"/>
                </a:cubicBezTo>
                <a:cubicBezTo>
                  <a:pt x="352909" y="831113"/>
                  <a:pt x="369035" y="825249"/>
                  <a:pt x="363172" y="810588"/>
                </a:cubicBezTo>
                <a:cubicBezTo>
                  <a:pt x="347045" y="798860"/>
                  <a:pt x="336783" y="836977"/>
                  <a:pt x="330919" y="810588"/>
                </a:cubicBezTo>
                <a:cubicBezTo>
                  <a:pt x="338250" y="776870"/>
                  <a:pt x="339714" y="769539"/>
                  <a:pt x="344114" y="747550"/>
                </a:cubicBezTo>
                <a:lnTo>
                  <a:pt x="363172" y="747550"/>
                </a:lnTo>
                <a:cubicBezTo>
                  <a:pt x="373434" y="716764"/>
                  <a:pt x="341182" y="743150"/>
                  <a:pt x="344114" y="721160"/>
                </a:cubicBezTo>
                <a:lnTo>
                  <a:pt x="348905" y="648071"/>
                </a:lnTo>
                <a:lnTo>
                  <a:pt x="362255" y="655191"/>
                </a:lnTo>
                <a:cubicBezTo>
                  <a:pt x="368302" y="656291"/>
                  <a:pt x="374165" y="658122"/>
                  <a:pt x="374899" y="666918"/>
                </a:cubicBezTo>
                <a:cubicBezTo>
                  <a:pt x="374899" y="680112"/>
                  <a:pt x="371967" y="699170"/>
                  <a:pt x="380763" y="702102"/>
                </a:cubicBezTo>
                <a:cubicBezTo>
                  <a:pt x="395422" y="683044"/>
                  <a:pt x="383694" y="658122"/>
                  <a:pt x="380763" y="639064"/>
                </a:cubicBezTo>
                <a:cubicBezTo>
                  <a:pt x="379295" y="637597"/>
                  <a:pt x="389558" y="633200"/>
                  <a:pt x="386626" y="621471"/>
                </a:cubicBezTo>
                <a:cubicBezTo>
                  <a:pt x="385162" y="618539"/>
                  <a:pt x="373432" y="617074"/>
                  <a:pt x="373432" y="612675"/>
                </a:cubicBezTo>
                <a:cubicBezTo>
                  <a:pt x="377097" y="646392"/>
                  <a:pt x="372701" y="644561"/>
                  <a:pt x="366470" y="639612"/>
                </a:cubicBezTo>
                <a:lnTo>
                  <a:pt x="348933" y="647665"/>
                </a:lnTo>
                <a:lnTo>
                  <a:pt x="349977" y="631733"/>
                </a:lnTo>
                <a:cubicBezTo>
                  <a:pt x="333851" y="620003"/>
                  <a:pt x="319192" y="652256"/>
                  <a:pt x="317724" y="631733"/>
                </a:cubicBezTo>
                <a:cubicBezTo>
                  <a:pt x="319192" y="609743"/>
                  <a:pt x="316257" y="587753"/>
                  <a:pt x="317724" y="577490"/>
                </a:cubicBezTo>
                <a:cubicBezTo>
                  <a:pt x="317724" y="574559"/>
                  <a:pt x="323588" y="565760"/>
                  <a:pt x="323588" y="568692"/>
                </a:cubicBezTo>
                <a:cubicBezTo>
                  <a:pt x="323588" y="559897"/>
                  <a:pt x="310394" y="534975"/>
                  <a:pt x="323588" y="533508"/>
                </a:cubicBezTo>
                <a:cubicBezTo>
                  <a:pt x="330919" y="534975"/>
                  <a:pt x="338250" y="549634"/>
                  <a:pt x="342646" y="533508"/>
                </a:cubicBezTo>
                <a:cubicBezTo>
                  <a:pt x="335318" y="530576"/>
                  <a:pt x="329452" y="533508"/>
                  <a:pt x="336783" y="524712"/>
                </a:cubicBezTo>
                <a:cubicBezTo>
                  <a:pt x="341182" y="520313"/>
                  <a:pt x="330919" y="514450"/>
                  <a:pt x="330919" y="515917"/>
                </a:cubicBezTo>
                <a:cubicBezTo>
                  <a:pt x="326520" y="482197"/>
                  <a:pt x="335318" y="473401"/>
                  <a:pt x="336783" y="452876"/>
                </a:cubicBezTo>
                <a:cubicBezTo>
                  <a:pt x="339714" y="422091"/>
                  <a:pt x="329452" y="373712"/>
                  <a:pt x="349977" y="372244"/>
                </a:cubicBezTo>
                <a:cubicBezTo>
                  <a:pt x="354376" y="394237"/>
                  <a:pt x="352909" y="395702"/>
                  <a:pt x="355841" y="435285"/>
                </a:cubicBezTo>
                <a:cubicBezTo>
                  <a:pt x="347045" y="433818"/>
                  <a:pt x="342646" y="420623"/>
                  <a:pt x="342646" y="444081"/>
                </a:cubicBezTo>
                <a:cubicBezTo>
                  <a:pt x="342646" y="460207"/>
                  <a:pt x="367571" y="452876"/>
                  <a:pt x="374899" y="452876"/>
                </a:cubicBezTo>
                <a:cubicBezTo>
                  <a:pt x="380763" y="452876"/>
                  <a:pt x="385162" y="463139"/>
                  <a:pt x="388093" y="461674"/>
                </a:cubicBezTo>
                <a:cubicBezTo>
                  <a:pt x="389561" y="461674"/>
                  <a:pt x="393957" y="441149"/>
                  <a:pt x="393957" y="435285"/>
                </a:cubicBezTo>
                <a:cubicBezTo>
                  <a:pt x="379298" y="417692"/>
                  <a:pt x="386629" y="436750"/>
                  <a:pt x="374899" y="444081"/>
                </a:cubicBezTo>
                <a:cubicBezTo>
                  <a:pt x="373434" y="432353"/>
                  <a:pt x="364636" y="429419"/>
                  <a:pt x="361704" y="417692"/>
                </a:cubicBezTo>
                <a:cubicBezTo>
                  <a:pt x="361704" y="394237"/>
                  <a:pt x="371967" y="400101"/>
                  <a:pt x="361704" y="382507"/>
                </a:cubicBezTo>
                <a:cubicBezTo>
                  <a:pt x="379298" y="383974"/>
                  <a:pt x="410083" y="360517"/>
                  <a:pt x="388093" y="337060"/>
                </a:cubicBezTo>
                <a:cubicBezTo>
                  <a:pt x="388093" y="347322"/>
                  <a:pt x="389561" y="361982"/>
                  <a:pt x="382230" y="363449"/>
                </a:cubicBezTo>
                <a:cubicBezTo>
                  <a:pt x="374901" y="353186"/>
                  <a:pt x="378565" y="337793"/>
                  <a:pt x="379848" y="323682"/>
                </a:cubicBezTo>
                <a:lnTo>
                  <a:pt x="378847" y="311035"/>
                </a:lnTo>
                <a:lnTo>
                  <a:pt x="380763" y="316537"/>
                </a:lnTo>
                <a:lnTo>
                  <a:pt x="399821" y="316537"/>
                </a:lnTo>
                <a:cubicBezTo>
                  <a:pt x="391025" y="300411"/>
                  <a:pt x="398353" y="263759"/>
                  <a:pt x="386626" y="253496"/>
                </a:cubicBezTo>
                <a:cubicBezTo>
                  <a:pt x="386626" y="267423"/>
                  <a:pt x="381862" y="278785"/>
                  <a:pt x="378747" y="288864"/>
                </a:cubicBezTo>
                <a:lnTo>
                  <a:pt x="376231" y="302538"/>
                </a:lnTo>
                <a:lnTo>
                  <a:pt x="363172" y="291613"/>
                </a:lnTo>
                <a:cubicBezTo>
                  <a:pt x="364636" y="318002"/>
                  <a:pt x="364636" y="341459"/>
                  <a:pt x="344114" y="337060"/>
                </a:cubicBezTo>
                <a:cubicBezTo>
                  <a:pt x="344114" y="328264"/>
                  <a:pt x="339714" y="326797"/>
                  <a:pt x="338250" y="319469"/>
                </a:cubicBezTo>
                <a:cubicBezTo>
                  <a:pt x="335318" y="310671"/>
                  <a:pt x="341182" y="313605"/>
                  <a:pt x="344114" y="310671"/>
                </a:cubicBezTo>
                <a:cubicBezTo>
                  <a:pt x="357308" y="294547"/>
                  <a:pt x="351442" y="253496"/>
                  <a:pt x="363172" y="238837"/>
                </a:cubicBezTo>
                <a:cubicBezTo>
                  <a:pt x="344114" y="237370"/>
                  <a:pt x="364636" y="183127"/>
                  <a:pt x="363172" y="193390"/>
                </a:cubicBezTo>
                <a:cubicBezTo>
                  <a:pt x="364636" y="187523"/>
                  <a:pt x="357308" y="181660"/>
                  <a:pt x="357308" y="184594"/>
                </a:cubicBezTo>
                <a:cubicBezTo>
                  <a:pt x="361704" y="150874"/>
                  <a:pt x="370503" y="121554"/>
                  <a:pt x="363172" y="86369"/>
                </a:cubicBezTo>
                <a:cubicBezTo>
                  <a:pt x="373434" y="87833"/>
                  <a:pt x="379298" y="79038"/>
                  <a:pt x="382230" y="68775"/>
                </a:cubicBezTo>
                <a:cubicBezTo>
                  <a:pt x="369035" y="64379"/>
                  <a:pt x="382230" y="45321"/>
                  <a:pt x="382230" y="33591"/>
                </a:cubicBezTo>
                <a:cubicBezTo>
                  <a:pt x="382962" y="25528"/>
                  <a:pt x="382229" y="16366"/>
                  <a:pt x="381680" y="7020"/>
                </a:cubicBezTo>
                <a:lnTo>
                  <a:pt x="381819" y="1"/>
                </a:lnTo>
                <a:lnTo>
                  <a:pt x="0" y="1"/>
                </a:ln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a:xfrm>
            <a:off x="515938" y="512763"/>
            <a:ext cx="6824662" cy="1296243"/>
          </a:xfrm>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a:xfrm>
            <a:off x="515937" y="2060575"/>
            <a:ext cx="6824663" cy="4284661"/>
          </a:xfrm>
        </p:spPr>
        <p:txBody>
          <a:bodyPr numCol="1"/>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GB"/>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lvl1pPr>
              <a:defRPr>
                <a:solidFill>
                  <a:schemeClr val="bg1"/>
                </a:solidFill>
              </a:defRPr>
            </a:lvl1pPr>
          </a:lstStyle>
          <a:p>
            <a:fld id="{A8B7E462-AA7B-4427-9DF0-5AABDADAA92F}" type="slidenum">
              <a:rPr lang="en-GB" smtClean="0"/>
              <a:pPr/>
              <a:t>‹#›</a:t>
            </a:fld>
            <a:endParaRPr lang="en-GB"/>
          </a:p>
        </p:txBody>
      </p:sp>
    </p:spTree>
    <p:extLst>
      <p:ext uri="{BB962C8B-B14F-4D97-AF65-F5344CB8AC3E}">
        <p14:creationId xmlns:p14="http://schemas.microsoft.com/office/powerpoint/2010/main" val="3726894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 Image + Cap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235046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4BCEB9A5-BCE2-4BD2-9907-D5B3B431A96B}"/>
              </a:ext>
            </a:extLst>
          </p:cNvPr>
          <p:cNvSpPr>
            <a:spLocks noGrp="1"/>
          </p:cNvSpPr>
          <p:nvPr>
            <p:ph type="pic" sz="quarter" idx="15"/>
          </p:nvPr>
        </p:nvSpPr>
        <p:spPr>
          <a:xfrm>
            <a:off x="7837551" y="0"/>
            <a:ext cx="4354450" cy="4517685"/>
          </a:xfrm>
          <a:custGeom>
            <a:avLst/>
            <a:gdLst>
              <a:gd name="connsiteX0" fmla="*/ 1934622 w 4354450"/>
              <a:gd name="connsiteY0" fmla="*/ 4493537 h 4517685"/>
              <a:gd name="connsiteX1" fmla="*/ 1934622 w 4354450"/>
              <a:gd name="connsiteY1" fmla="*/ 4517685 h 4517685"/>
              <a:gd name="connsiteX2" fmla="*/ 1934622 w 4354450"/>
              <a:gd name="connsiteY2" fmla="*/ 4493537 h 4517685"/>
              <a:gd name="connsiteX3" fmla="*/ 2048169 w 4354450"/>
              <a:gd name="connsiteY3" fmla="*/ 4461800 h 4517685"/>
              <a:gd name="connsiteX4" fmla="*/ 2055358 w 4354450"/>
              <a:gd name="connsiteY4" fmla="*/ 4469390 h 4517685"/>
              <a:gd name="connsiteX5" fmla="*/ 2041153 w 4354450"/>
              <a:gd name="connsiteY5" fmla="*/ 4469390 h 4517685"/>
              <a:gd name="connsiteX6" fmla="*/ 2048169 w 4354450"/>
              <a:gd name="connsiteY6" fmla="*/ 4461800 h 4517685"/>
              <a:gd name="connsiteX7" fmla="*/ 2005643 w 4354450"/>
              <a:gd name="connsiteY7" fmla="*/ 4456607 h 4517685"/>
              <a:gd name="connsiteX8" fmla="*/ 2019848 w 4354450"/>
              <a:gd name="connsiteY8" fmla="*/ 4456607 h 4517685"/>
              <a:gd name="connsiteX9" fmla="*/ 2026949 w 4354450"/>
              <a:gd name="connsiteY9" fmla="*/ 4462288 h 4517685"/>
              <a:gd name="connsiteX10" fmla="*/ 2005643 w 4354450"/>
              <a:gd name="connsiteY10" fmla="*/ 4456607 h 4517685"/>
              <a:gd name="connsiteX11" fmla="*/ 1836613 w 4354450"/>
              <a:gd name="connsiteY11" fmla="*/ 4438141 h 4517685"/>
              <a:gd name="connsiteX12" fmla="*/ 1872123 w 4354450"/>
              <a:gd name="connsiteY12" fmla="*/ 4469390 h 4517685"/>
              <a:gd name="connsiteX13" fmla="*/ 1836613 w 4354450"/>
              <a:gd name="connsiteY13" fmla="*/ 4438141 h 4517685"/>
              <a:gd name="connsiteX14" fmla="*/ 1822409 w 4354450"/>
              <a:gd name="connsiteY14" fmla="*/ 4438141 h 4517685"/>
              <a:gd name="connsiteX15" fmla="*/ 1822409 w 4354450"/>
              <a:gd name="connsiteY15" fmla="*/ 4456607 h 4517685"/>
              <a:gd name="connsiteX16" fmla="*/ 1822409 w 4354450"/>
              <a:gd name="connsiteY16" fmla="*/ 4438141 h 4517685"/>
              <a:gd name="connsiteX17" fmla="*/ 1444753 w 4354450"/>
              <a:gd name="connsiteY17" fmla="*/ 4437031 h 4517685"/>
              <a:gd name="connsiteX18" fmla="*/ 1468722 w 4354450"/>
              <a:gd name="connsiteY18" fmla="*/ 4443823 h 4517685"/>
              <a:gd name="connsiteX19" fmla="*/ 1433212 w 4354450"/>
              <a:gd name="connsiteY19" fmla="*/ 4438141 h 4517685"/>
              <a:gd name="connsiteX20" fmla="*/ 1444753 w 4354450"/>
              <a:gd name="connsiteY20" fmla="*/ 4437031 h 4517685"/>
              <a:gd name="connsiteX21" fmla="*/ 1994635 w 4354450"/>
              <a:gd name="connsiteY21" fmla="*/ 4436011 h 4517685"/>
              <a:gd name="connsiteX22" fmla="*/ 2005643 w 4354450"/>
              <a:gd name="connsiteY22" fmla="*/ 4449504 h 4517685"/>
              <a:gd name="connsiteX23" fmla="*/ 1977235 w 4354450"/>
              <a:gd name="connsiteY23" fmla="*/ 4443823 h 4517685"/>
              <a:gd name="connsiteX24" fmla="*/ 1994635 w 4354450"/>
              <a:gd name="connsiteY24" fmla="*/ 4436011 h 4517685"/>
              <a:gd name="connsiteX25" fmla="*/ 1920418 w 4354450"/>
              <a:gd name="connsiteY25" fmla="*/ 4432459 h 4517685"/>
              <a:gd name="connsiteX26" fmla="*/ 1948827 w 4354450"/>
              <a:gd name="connsiteY26" fmla="*/ 4438141 h 4517685"/>
              <a:gd name="connsiteX27" fmla="*/ 1948827 w 4354450"/>
              <a:gd name="connsiteY27" fmla="*/ 4469390 h 4517685"/>
              <a:gd name="connsiteX28" fmla="*/ 1920418 w 4354450"/>
              <a:gd name="connsiteY28" fmla="*/ 4469390 h 4517685"/>
              <a:gd name="connsiteX29" fmla="*/ 1934622 w 4354450"/>
              <a:gd name="connsiteY29" fmla="*/ 4456607 h 4517685"/>
              <a:gd name="connsiteX30" fmla="*/ 1920418 w 4354450"/>
              <a:gd name="connsiteY30" fmla="*/ 4432459 h 4517685"/>
              <a:gd name="connsiteX31" fmla="*/ 2089449 w 4354450"/>
              <a:gd name="connsiteY31" fmla="*/ 4431038 h 4517685"/>
              <a:gd name="connsiteX32" fmla="*/ 2068142 w 4354450"/>
              <a:gd name="connsiteY32" fmla="*/ 4443823 h 4517685"/>
              <a:gd name="connsiteX33" fmla="*/ 2089449 w 4354450"/>
              <a:gd name="connsiteY33" fmla="*/ 4431038 h 4517685"/>
              <a:gd name="connsiteX34" fmla="*/ 2045571 w 4354450"/>
              <a:gd name="connsiteY34" fmla="*/ 4430950 h 4517685"/>
              <a:gd name="connsiteX35" fmla="*/ 2055358 w 4354450"/>
              <a:gd name="connsiteY35" fmla="*/ 4450924 h 4517685"/>
              <a:gd name="connsiteX36" fmla="*/ 2041153 w 4354450"/>
              <a:gd name="connsiteY36" fmla="*/ 4438141 h 4517685"/>
              <a:gd name="connsiteX37" fmla="*/ 2045571 w 4354450"/>
              <a:gd name="connsiteY37" fmla="*/ 4430950 h 4517685"/>
              <a:gd name="connsiteX38" fmla="*/ 421222 w 4354450"/>
              <a:gd name="connsiteY38" fmla="*/ 4428434 h 4517685"/>
              <a:gd name="connsiteX39" fmla="*/ 437137 w 4354450"/>
              <a:gd name="connsiteY39" fmla="*/ 4428909 h 4517685"/>
              <a:gd name="connsiteX40" fmla="*/ 441754 w 4354450"/>
              <a:gd name="connsiteY40" fmla="*/ 4446664 h 4517685"/>
              <a:gd name="connsiteX41" fmla="*/ 422901 w 4354450"/>
              <a:gd name="connsiteY41" fmla="*/ 4443836 h 4517685"/>
              <a:gd name="connsiteX42" fmla="*/ 422755 w 4354450"/>
              <a:gd name="connsiteY42" fmla="*/ 4442935 h 4517685"/>
              <a:gd name="connsiteX43" fmla="*/ 2322400 w 4354450"/>
              <a:gd name="connsiteY43" fmla="*/ 4425356 h 4517685"/>
              <a:gd name="connsiteX44" fmla="*/ 2315297 w 4354450"/>
              <a:gd name="connsiteY44" fmla="*/ 4449504 h 4517685"/>
              <a:gd name="connsiteX45" fmla="*/ 2279787 w 4354450"/>
              <a:gd name="connsiteY45" fmla="*/ 4443823 h 4517685"/>
              <a:gd name="connsiteX46" fmla="*/ 2322400 w 4354450"/>
              <a:gd name="connsiteY46" fmla="*/ 4425356 h 4517685"/>
              <a:gd name="connsiteX47" fmla="*/ 2857900 w 4354450"/>
              <a:gd name="connsiteY47" fmla="*/ 4419675 h 4517685"/>
              <a:gd name="connsiteX48" fmla="*/ 2836595 w 4354450"/>
              <a:gd name="connsiteY48" fmla="*/ 4432459 h 4517685"/>
              <a:gd name="connsiteX49" fmla="*/ 2857900 w 4354450"/>
              <a:gd name="connsiteY49" fmla="*/ 4419675 h 4517685"/>
              <a:gd name="connsiteX50" fmla="*/ 2809605 w 4354450"/>
              <a:gd name="connsiteY50" fmla="*/ 4419675 h 4517685"/>
              <a:gd name="connsiteX51" fmla="*/ 2852219 w 4354450"/>
              <a:gd name="connsiteY51" fmla="*/ 4438141 h 4517685"/>
              <a:gd name="connsiteX52" fmla="*/ 2823810 w 4354450"/>
              <a:gd name="connsiteY52" fmla="*/ 4456607 h 4517685"/>
              <a:gd name="connsiteX53" fmla="*/ 2809605 w 4354450"/>
              <a:gd name="connsiteY53" fmla="*/ 4419675 h 4517685"/>
              <a:gd name="connsiteX54" fmla="*/ 2695971 w 4354450"/>
              <a:gd name="connsiteY54" fmla="*/ 4419675 h 4517685"/>
              <a:gd name="connsiteX55" fmla="*/ 2667563 w 4354450"/>
              <a:gd name="connsiteY55" fmla="*/ 4432459 h 4517685"/>
              <a:gd name="connsiteX56" fmla="*/ 2695971 w 4354450"/>
              <a:gd name="connsiteY56" fmla="*/ 4419675 h 4517685"/>
              <a:gd name="connsiteX57" fmla="*/ 1018359 w 4354450"/>
              <a:gd name="connsiteY57" fmla="*/ 4412086 h 4517685"/>
              <a:gd name="connsiteX58" fmla="*/ 1025549 w 4354450"/>
              <a:gd name="connsiteY58" fmla="*/ 4419675 h 4517685"/>
              <a:gd name="connsiteX59" fmla="*/ 1011344 w 4354450"/>
              <a:gd name="connsiteY59" fmla="*/ 4419675 h 4517685"/>
              <a:gd name="connsiteX60" fmla="*/ 1018359 w 4354450"/>
              <a:gd name="connsiteY60" fmla="*/ 4412086 h 4517685"/>
              <a:gd name="connsiteX61" fmla="*/ 850325 w 4354450"/>
              <a:gd name="connsiteY61" fmla="*/ 4408180 h 4517685"/>
              <a:gd name="connsiteX62" fmla="*/ 863620 w 4354450"/>
              <a:gd name="connsiteY62" fmla="*/ 4412573 h 4517685"/>
              <a:gd name="connsiteX63" fmla="*/ 813905 w 4354450"/>
              <a:gd name="connsiteY63" fmla="*/ 4449504 h 4517685"/>
              <a:gd name="connsiteX64" fmla="*/ 792599 w 4354450"/>
              <a:gd name="connsiteY64" fmla="*/ 4412573 h 4517685"/>
              <a:gd name="connsiteX65" fmla="*/ 850325 w 4354450"/>
              <a:gd name="connsiteY65" fmla="*/ 4408180 h 4517685"/>
              <a:gd name="connsiteX66" fmla="*/ 3471525 w 4354450"/>
              <a:gd name="connsiteY66" fmla="*/ 4399790 h 4517685"/>
              <a:gd name="connsiteX67" fmla="*/ 3478627 w 4354450"/>
              <a:gd name="connsiteY67" fmla="*/ 4423937 h 4517685"/>
              <a:gd name="connsiteX68" fmla="*/ 3443117 w 4354450"/>
              <a:gd name="connsiteY68" fmla="*/ 4418255 h 4517685"/>
              <a:gd name="connsiteX69" fmla="*/ 3471525 w 4354450"/>
              <a:gd name="connsiteY69" fmla="*/ 4399790 h 4517685"/>
              <a:gd name="connsiteX70" fmla="*/ 1843715 w 4354450"/>
              <a:gd name="connsiteY70" fmla="*/ 4399790 h 4517685"/>
              <a:gd name="connsiteX71" fmla="*/ 1870702 w 4354450"/>
              <a:gd name="connsiteY71" fmla="*/ 4401210 h 4517685"/>
              <a:gd name="connsiteX72" fmla="*/ 1877805 w 4354450"/>
              <a:gd name="connsiteY72" fmla="*/ 4406892 h 4517685"/>
              <a:gd name="connsiteX73" fmla="*/ 1884907 w 4354450"/>
              <a:gd name="connsiteY73" fmla="*/ 4412573 h 4517685"/>
              <a:gd name="connsiteX74" fmla="*/ 1820988 w 4354450"/>
              <a:gd name="connsiteY74" fmla="*/ 4406892 h 4517685"/>
              <a:gd name="connsiteX75" fmla="*/ 1843715 w 4354450"/>
              <a:gd name="connsiteY75" fmla="*/ 4399790 h 4517685"/>
              <a:gd name="connsiteX76" fmla="*/ 424759 w 4354450"/>
              <a:gd name="connsiteY76" fmla="*/ 4399532 h 4517685"/>
              <a:gd name="connsiteX77" fmla="*/ 434651 w 4354450"/>
              <a:gd name="connsiteY77" fmla="*/ 4402630 h 4517685"/>
              <a:gd name="connsiteX78" fmla="*/ 455958 w 4354450"/>
              <a:gd name="connsiteY78" fmla="*/ 4415414 h 4517685"/>
              <a:gd name="connsiteX79" fmla="*/ 432521 w 4354450"/>
              <a:gd name="connsiteY79" fmla="*/ 4420209 h 4517685"/>
              <a:gd name="connsiteX80" fmla="*/ 420867 w 4354450"/>
              <a:gd name="connsiteY80" fmla="*/ 4425066 h 4517685"/>
              <a:gd name="connsiteX81" fmla="*/ 420447 w 4354450"/>
              <a:gd name="connsiteY81" fmla="*/ 4421096 h 4517685"/>
              <a:gd name="connsiteX82" fmla="*/ 423287 w 4354450"/>
              <a:gd name="connsiteY82" fmla="*/ 4406892 h 4517685"/>
              <a:gd name="connsiteX83" fmla="*/ 1680366 w 4354450"/>
              <a:gd name="connsiteY83" fmla="*/ 4394107 h 4517685"/>
              <a:gd name="connsiteX84" fmla="*/ 1687468 w 4354450"/>
              <a:gd name="connsiteY84" fmla="*/ 4412573 h 4517685"/>
              <a:gd name="connsiteX85" fmla="*/ 1666162 w 4354450"/>
              <a:gd name="connsiteY85" fmla="*/ 4406892 h 4517685"/>
              <a:gd name="connsiteX86" fmla="*/ 1680366 w 4354450"/>
              <a:gd name="connsiteY86" fmla="*/ 4394107 h 4517685"/>
              <a:gd name="connsiteX87" fmla="*/ 1335200 w 4354450"/>
              <a:gd name="connsiteY87" fmla="*/ 4394107 h 4517685"/>
              <a:gd name="connsiteX88" fmla="*/ 1356507 w 4354450"/>
              <a:gd name="connsiteY88" fmla="*/ 4399789 h 4517685"/>
              <a:gd name="connsiteX89" fmla="*/ 1349405 w 4354450"/>
              <a:gd name="connsiteY89" fmla="*/ 4394107 h 4517685"/>
              <a:gd name="connsiteX90" fmla="*/ 2414727 w 4354450"/>
              <a:gd name="connsiteY90" fmla="*/ 4387006 h 4517685"/>
              <a:gd name="connsiteX91" fmla="*/ 2436034 w 4354450"/>
              <a:gd name="connsiteY91" fmla="*/ 4431038 h 4517685"/>
              <a:gd name="connsiteX92" fmla="*/ 2379217 w 4354450"/>
              <a:gd name="connsiteY92" fmla="*/ 4429618 h 4517685"/>
              <a:gd name="connsiteX93" fmla="*/ 2407625 w 4354450"/>
              <a:gd name="connsiteY93" fmla="*/ 4416834 h 4517685"/>
              <a:gd name="connsiteX94" fmla="*/ 2379217 w 4354450"/>
              <a:gd name="connsiteY94" fmla="*/ 4411152 h 4517685"/>
              <a:gd name="connsiteX95" fmla="*/ 2414727 w 4354450"/>
              <a:gd name="connsiteY95" fmla="*/ 4387006 h 4517685"/>
              <a:gd name="connsiteX96" fmla="*/ 2012745 w 4354450"/>
              <a:gd name="connsiteY96" fmla="*/ 4382744 h 4517685"/>
              <a:gd name="connsiteX97" fmla="*/ 2019848 w 4354450"/>
              <a:gd name="connsiteY97" fmla="*/ 4406892 h 4517685"/>
              <a:gd name="connsiteX98" fmla="*/ 1998541 w 4354450"/>
              <a:gd name="connsiteY98" fmla="*/ 4413994 h 4517685"/>
              <a:gd name="connsiteX99" fmla="*/ 2012745 w 4354450"/>
              <a:gd name="connsiteY99" fmla="*/ 4382744 h 4517685"/>
              <a:gd name="connsiteX100" fmla="*/ 1306792 w 4354450"/>
              <a:gd name="connsiteY100" fmla="*/ 4382744 h 4517685"/>
              <a:gd name="connsiteX101" fmla="*/ 1271282 w 4354450"/>
              <a:gd name="connsiteY101" fmla="*/ 4388425 h 4517685"/>
              <a:gd name="connsiteX102" fmla="*/ 1320996 w 4354450"/>
              <a:gd name="connsiteY102" fmla="*/ 4412573 h 4517685"/>
              <a:gd name="connsiteX103" fmla="*/ 1306792 w 4354450"/>
              <a:gd name="connsiteY103" fmla="*/ 4382744 h 4517685"/>
              <a:gd name="connsiteX104" fmla="*/ 923811 w 4354450"/>
              <a:gd name="connsiteY104" fmla="*/ 4373868 h 4517685"/>
              <a:gd name="connsiteX105" fmla="*/ 947424 w 4354450"/>
              <a:gd name="connsiteY105" fmla="*/ 4378483 h 4517685"/>
              <a:gd name="connsiteX106" fmla="*/ 943164 w 4354450"/>
              <a:gd name="connsiteY106" fmla="*/ 4396948 h 4517685"/>
              <a:gd name="connsiteX107" fmla="*/ 916175 w 4354450"/>
              <a:gd name="connsiteY107" fmla="*/ 4392687 h 4517685"/>
              <a:gd name="connsiteX108" fmla="*/ 903392 w 4354450"/>
              <a:gd name="connsiteY108" fmla="*/ 4375642 h 4517685"/>
              <a:gd name="connsiteX109" fmla="*/ 923811 w 4354450"/>
              <a:gd name="connsiteY109" fmla="*/ 4373868 h 4517685"/>
              <a:gd name="connsiteX110" fmla="*/ 1565313 w 4354450"/>
              <a:gd name="connsiteY110" fmla="*/ 4371737 h 4517685"/>
              <a:gd name="connsiteX111" fmla="*/ 1596561 w 4354450"/>
              <a:gd name="connsiteY111" fmla="*/ 4382744 h 4517685"/>
              <a:gd name="connsiteX112" fmla="*/ 1546846 w 4354450"/>
              <a:gd name="connsiteY112" fmla="*/ 4388425 h 4517685"/>
              <a:gd name="connsiteX113" fmla="*/ 1565313 w 4354450"/>
              <a:gd name="connsiteY113" fmla="*/ 4371737 h 4517685"/>
              <a:gd name="connsiteX114" fmla="*/ 2272684 w 4354450"/>
              <a:gd name="connsiteY114" fmla="*/ 4368539 h 4517685"/>
              <a:gd name="connsiteX115" fmla="*/ 2293991 w 4354450"/>
              <a:gd name="connsiteY115" fmla="*/ 4381324 h 4517685"/>
              <a:gd name="connsiteX116" fmla="*/ 2272684 w 4354450"/>
              <a:gd name="connsiteY116" fmla="*/ 4399790 h 4517685"/>
              <a:gd name="connsiteX117" fmla="*/ 2244275 w 4354450"/>
              <a:gd name="connsiteY117" fmla="*/ 4381324 h 4517685"/>
              <a:gd name="connsiteX118" fmla="*/ 2272684 w 4354450"/>
              <a:gd name="connsiteY118" fmla="*/ 4368539 h 4517685"/>
              <a:gd name="connsiteX119" fmla="*/ 1095150 w 4354450"/>
              <a:gd name="connsiteY119" fmla="*/ 4362858 h 4517685"/>
              <a:gd name="connsiteX120" fmla="*/ 1102251 w 4354450"/>
              <a:gd name="connsiteY120" fmla="*/ 4387006 h 4517685"/>
              <a:gd name="connsiteX121" fmla="*/ 1095150 w 4354450"/>
              <a:gd name="connsiteY121" fmla="*/ 4362858 h 4517685"/>
              <a:gd name="connsiteX122" fmla="*/ 1242873 w 4354450"/>
              <a:gd name="connsiteY122" fmla="*/ 4358597 h 4517685"/>
              <a:gd name="connsiteX123" fmla="*/ 1271282 w 4354450"/>
              <a:gd name="connsiteY123" fmla="*/ 4364279 h 4517685"/>
              <a:gd name="connsiteX124" fmla="*/ 1285486 w 4354450"/>
              <a:gd name="connsiteY124" fmla="*/ 4364279 h 4517685"/>
              <a:gd name="connsiteX125" fmla="*/ 1306793 w 4354450"/>
              <a:gd name="connsiteY125" fmla="*/ 4369960 h 4517685"/>
              <a:gd name="connsiteX126" fmla="*/ 1335202 w 4354450"/>
              <a:gd name="connsiteY126" fmla="*/ 4382744 h 4517685"/>
              <a:gd name="connsiteX127" fmla="*/ 1363610 w 4354450"/>
              <a:gd name="connsiteY127" fmla="*/ 4364279 h 4517685"/>
              <a:gd name="connsiteX128" fmla="*/ 1377815 w 4354450"/>
              <a:gd name="connsiteY128" fmla="*/ 4382744 h 4517685"/>
              <a:gd name="connsiteX129" fmla="*/ 1377815 w 4354450"/>
              <a:gd name="connsiteY129" fmla="*/ 4413994 h 4517685"/>
              <a:gd name="connsiteX130" fmla="*/ 1434632 w 4354450"/>
              <a:gd name="connsiteY130" fmla="*/ 4419675 h 4517685"/>
              <a:gd name="connsiteX131" fmla="*/ 1384916 w 4354450"/>
              <a:gd name="connsiteY131" fmla="*/ 4419675 h 4517685"/>
              <a:gd name="connsiteX132" fmla="*/ 1363610 w 4354450"/>
              <a:gd name="connsiteY132" fmla="*/ 4419675 h 4517685"/>
              <a:gd name="connsiteX133" fmla="*/ 1356507 w 4354450"/>
              <a:gd name="connsiteY133" fmla="*/ 4425356 h 4517685"/>
              <a:gd name="connsiteX134" fmla="*/ 1342303 w 4354450"/>
              <a:gd name="connsiteY134" fmla="*/ 4419675 h 4517685"/>
              <a:gd name="connsiteX135" fmla="*/ 1313895 w 4354450"/>
              <a:gd name="connsiteY135" fmla="*/ 4419675 h 4517685"/>
              <a:gd name="connsiteX136" fmla="*/ 1306793 w 4354450"/>
              <a:gd name="connsiteY136" fmla="*/ 4419675 h 4517685"/>
              <a:gd name="connsiteX137" fmla="*/ 1228669 w 4354450"/>
              <a:gd name="connsiteY137" fmla="*/ 4419675 h 4517685"/>
              <a:gd name="connsiteX138" fmla="*/ 1249976 w 4354450"/>
              <a:gd name="connsiteY138" fmla="*/ 4401210 h 4517685"/>
              <a:gd name="connsiteX139" fmla="*/ 1228669 w 4354450"/>
              <a:gd name="connsiteY139" fmla="*/ 4395528 h 4517685"/>
              <a:gd name="connsiteX140" fmla="*/ 1228669 w 4354450"/>
              <a:gd name="connsiteY140" fmla="*/ 4377062 h 4517685"/>
              <a:gd name="connsiteX141" fmla="*/ 1186056 w 4354450"/>
              <a:gd name="connsiteY141" fmla="*/ 4377062 h 4517685"/>
              <a:gd name="connsiteX142" fmla="*/ 1207363 w 4354450"/>
              <a:gd name="connsiteY142" fmla="*/ 4371382 h 4517685"/>
              <a:gd name="connsiteX143" fmla="*/ 1216761 w 4354450"/>
              <a:gd name="connsiteY143" fmla="*/ 4366882 h 4517685"/>
              <a:gd name="connsiteX144" fmla="*/ 1217305 w 4354450"/>
              <a:gd name="connsiteY144" fmla="*/ 4367118 h 4517685"/>
              <a:gd name="connsiteX145" fmla="*/ 1217180 w 4354450"/>
              <a:gd name="connsiteY145" fmla="*/ 4366683 h 4517685"/>
              <a:gd name="connsiteX146" fmla="*/ 1224053 w 4354450"/>
              <a:gd name="connsiteY146" fmla="*/ 4363391 h 4517685"/>
              <a:gd name="connsiteX147" fmla="*/ 1242873 w 4354450"/>
              <a:gd name="connsiteY147" fmla="*/ 4358597 h 4517685"/>
              <a:gd name="connsiteX148" fmla="*/ 1159069 w 4354450"/>
              <a:gd name="connsiteY148" fmla="*/ 4357177 h 4517685"/>
              <a:gd name="connsiteX149" fmla="*/ 1173273 w 4354450"/>
              <a:gd name="connsiteY149" fmla="*/ 4394107 h 4517685"/>
              <a:gd name="connsiteX150" fmla="*/ 1159069 w 4354450"/>
              <a:gd name="connsiteY150" fmla="*/ 4357177 h 4517685"/>
              <a:gd name="connsiteX151" fmla="*/ 1708775 w 4354450"/>
              <a:gd name="connsiteY151" fmla="*/ 4351494 h 4517685"/>
              <a:gd name="connsiteX152" fmla="*/ 1722979 w 4354450"/>
              <a:gd name="connsiteY152" fmla="*/ 4369960 h 4517685"/>
              <a:gd name="connsiteX153" fmla="*/ 1751388 w 4354450"/>
              <a:gd name="connsiteY153" fmla="*/ 4351494 h 4517685"/>
              <a:gd name="connsiteX154" fmla="*/ 1765592 w 4354450"/>
              <a:gd name="connsiteY154" fmla="*/ 4364279 h 4517685"/>
              <a:gd name="connsiteX155" fmla="*/ 1744285 w 4354450"/>
              <a:gd name="connsiteY155" fmla="*/ 4388425 h 4517685"/>
              <a:gd name="connsiteX156" fmla="*/ 1708775 w 4354450"/>
              <a:gd name="connsiteY156" fmla="*/ 4382744 h 4517685"/>
              <a:gd name="connsiteX157" fmla="*/ 1708775 w 4354450"/>
              <a:gd name="connsiteY157" fmla="*/ 4369960 h 4517685"/>
              <a:gd name="connsiteX158" fmla="*/ 1694571 w 4354450"/>
              <a:gd name="connsiteY158" fmla="*/ 4382744 h 4517685"/>
              <a:gd name="connsiteX159" fmla="*/ 1680366 w 4354450"/>
              <a:gd name="connsiteY159" fmla="*/ 4369960 h 4517685"/>
              <a:gd name="connsiteX160" fmla="*/ 1708775 w 4354450"/>
              <a:gd name="connsiteY160" fmla="*/ 4351494 h 4517685"/>
              <a:gd name="connsiteX161" fmla="*/ 1553947 w 4354450"/>
              <a:gd name="connsiteY161" fmla="*/ 4350074 h 4517685"/>
              <a:gd name="connsiteX162" fmla="*/ 1568152 w 4354450"/>
              <a:gd name="connsiteY162" fmla="*/ 4350074 h 4517685"/>
              <a:gd name="connsiteX163" fmla="*/ 1568152 w 4354450"/>
              <a:gd name="connsiteY163" fmla="*/ 4362858 h 4517685"/>
              <a:gd name="connsiteX164" fmla="*/ 1553947 w 4354450"/>
              <a:gd name="connsiteY164" fmla="*/ 4362858 h 4517685"/>
              <a:gd name="connsiteX165" fmla="*/ 1046854 w 4354450"/>
              <a:gd name="connsiteY165" fmla="*/ 4350074 h 4517685"/>
              <a:gd name="connsiteX166" fmla="*/ 1046854 w 4354450"/>
              <a:gd name="connsiteY166" fmla="*/ 4362858 h 4517685"/>
              <a:gd name="connsiteX167" fmla="*/ 1053957 w 4354450"/>
              <a:gd name="connsiteY167" fmla="*/ 4350074 h 4517685"/>
              <a:gd name="connsiteX168" fmla="*/ 1039753 w 4354450"/>
              <a:gd name="connsiteY168" fmla="*/ 4392687 h 4517685"/>
              <a:gd name="connsiteX169" fmla="*/ 1018445 w 4354450"/>
              <a:gd name="connsiteY169" fmla="*/ 4387006 h 4517685"/>
              <a:gd name="connsiteX170" fmla="*/ 1032650 w 4354450"/>
              <a:gd name="connsiteY170" fmla="*/ 4374221 h 4517685"/>
              <a:gd name="connsiteX171" fmla="*/ 1011344 w 4354450"/>
              <a:gd name="connsiteY171" fmla="*/ 4355756 h 4517685"/>
              <a:gd name="connsiteX172" fmla="*/ 1046854 w 4354450"/>
              <a:gd name="connsiteY172" fmla="*/ 4350074 h 4517685"/>
              <a:gd name="connsiteX173" fmla="*/ 1434632 w 4354450"/>
              <a:gd name="connsiteY173" fmla="*/ 4344393 h 4517685"/>
              <a:gd name="connsiteX174" fmla="*/ 1498550 w 4354450"/>
              <a:gd name="connsiteY174" fmla="*/ 4348653 h 4517685"/>
              <a:gd name="connsiteX175" fmla="*/ 1484346 w 4354450"/>
              <a:gd name="connsiteY175" fmla="*/ 4361438 h 4517685"/>
              <a:gd name="connsiteX176" fmla="*/ 1541163 w 4354450"/>
              <a:gd name="connsiteY176" fmla="*/ 4374221 h 4517685"/>
              <a:gd name="connsiteX177" fmla="*/ 1519857 w 4354450"/>
              <a:gd name="connsiteY177" fmla="*/ 4418255 h 4517685"/>
              <a:gd name="connsiteX178" fmla="*/ 1455937 w 4354450"/>
              <a:gd name="connsiteY178" fmla="*/ 4418255 h 4517685"/>
              <a:gd name="connsiteX179" fmla="*/ 1392019 w 4354450"/>
              <a:gd name="connsiteY179" fmla="*/ 4394107 h 4517685"/>
              <a:gd name="connsiteX180" fmla="*/ 1406223 w 4354450"/>
              <a:gd name="connsiteY180" fmla="*/ 4362858 h 4517685"/>
              <a:gd name="connsiteX181" fmla="*/ 1420427 w 4354450"/>
              <a:gd name="connsiteY181" fmla="*/ 4362858 h 4517685"/>
              <a:gd name="connsiteX182" fmla="*/ 1434632 w 4354450"/>
              <a:gd name="connsiteY182" fmla="*/ 4344393 h 4517685"/>
              <a:gd name="connsiteX183" fmla="*/ 2286888 w 4354450"/>
              <a:gd name="connsiteY183" fmla="*/ 4325926 h 4517685"/>
              <a:gd name="connsiteX184" fmla="*/ 2279785 w 4354450"/>
              <a:gd name="connsiteY184" fmla="*/ 4331608 h 4517685"/>
              <a:gd name="connsiteX185" fmla="*/ 2279785 w 4354450"/>
              <a:gd name="connsiteY185" fmla="*/ 4344391 h 4517685"/>
              <a:gd name="connsiteX186" fmla="*/ 2286888 w 4354450"/>
              <a:gd name="connsiteY186" fmla="*/ 4350074 h 4517685"/>
              <a:gd name="connsiteX187" fmla="*/ 2301093 w 4354450"/>
              <a:gd name="connsiteY187" fmla="*/ 4350074 h 4517685"/>
              <a:gd name="connsiteX188" fmla="*/ 2308194 w 4354450"/>
              <a:gd name="connsiteY188" fmla="*/ 4344391 h 4517685"/>
              <a:gd name="connsiteX189" fmla="*/ 2308194 w 4354450"/>
              <a:gd name="connsiteY189" fmla="*/ 4331608 h 4517685"/>
              <a:gd name="connsiteX190" fmla="*/ 2301093 w 4354450"/>
              <a:gd name="connsiteY190" fmla="*/ 4325926 h 4517685"/>
              <a:gd name="connsiteX191" fmla="*/ 1201681 w 4354450"/>
              <a:gd name="connsiteY191" fmla="*/ 4325926 h 4517685"/>
              <a:gd name="connsiteX192" fmla="*/ 1208785 w 4354450"/>
              <a:gd name="connsiteY192" fmla="*/ 4337290 h 4517685"/>
              <a:gd name="connsiteX193" fmla="*/ 1159069 w 4354450"/>
              <a:gd name="connsiteY193" fmla="*/ 4331608 h 4517685"/>
              <a:gd name="connsiteX194" fmla="*/ 1201681 w 4354450"/>
              <a:gd name="connsiteY194" fmla="*/ 4325926 h 4517685"/>
              <a:gd name="connsiteX195" fmla="*/ 1575255 w 4354450"/>
              <a:gd name="connsiteY195" fmla="*/ 4320935 h 4517685"/>
              <a:gd name="connsiteX196" fmla="*/ 1586618 w 4354450"/>
              <a:gd name="connsiteY196" fmla="*/ 4321488 h 4517685"/>
              <a:gd name="connsiteX197" fmla="*/ 1596561 w 4354450"/>
              <a:gd name="connsiteY197" fmla="*/ 4321797 h 4517685"/>
              <a:gd name="connsiteX198" fmla="*/ 1596561 w 4354450"/>
              <a:gd name="connsiteY198" fmla="*/ 4333029 h 4517685"/>
              <a:gd name="connsiteX199" fmla="*/ 1575255 w 4354450"/>
              <a:gd name="connsiteY199" fmla="*/ 4333029 h 4517685"/>
              <a:gd name="connsiteX200" fmla="*/ 1102251 w 4354450"/>
              <a:gd name="connsiteY200" fmla="*/ 4320245 h 4517685"/>
              <a:gd name="connsiteX201" fmla="*/ 1130660 w 4354450"/>
              <a:gd name="connsiteY201" fmla="*/ 4325926 h 4517685"/>
              <a:gd name="connsiteX202" fmla="*/ 1102251 w 4354450"/>
              <a:gd name="connsiteY202" fmla="*/ 4338711 h 4517685"/>
              <a:gd name="connsiteX203" fmla="*/ 1102251 w 4354450"/>
              <a:gd name="connsiteY203" fmla="*/ 4320245 h 4517685"/>
              <a:gd name="connsiteX204" fmla="*/ 1266587 w 4354450"/>
              <a:gd name="connsiteY204" fmla="*/ 4315860 h 4517685"/>
              <a:gd name="connsiteX205" fmla="*/ 1272348 w 4354450"/>
              <a:gd name="connsiteY205" fmla="*/ 4323442 h 4517685"/>
              <a:gd name="connsiteX206" fmla="*/ 1272703 w 4354450"/>
              <a:gd name="connsiteY206" fmla="*/ 4338711 h 4517685"/>
              <a:gd name="connsiteX207" fmla="*/ 1301111 w 4354450"/>
              <a:gd name="connsiteY207" fmla="*/ 4344393 h 4517685"/>
              <a:gd name="connsiteX208" fmla="*/ 1251397 w 4354450"/>
              <a:gd name="connsiteY208" fmla="*/ 4338711 h 4517685"/>
              <a:gd name="connsiteX209" fmla="*/ 1215886 w 4354450"/>
              <a:gd name="connsiteY209" fmla="*/ 4338711 h 4517685"/>
              <a:gd name="connsiteX210" fmla="*/ 1236482 w 4354450"/>
              <a:gd name="connsiteY210" fmla="*/ 4322377 h 4517685"/>
              <a:gd name="connsiteX211" fmla="*/ 1245532 w 4354450"/>
              <a:gd name="connsiteY211" fmla="*/ 4321521 h 4517685"/>
              <a:gd name="connsiteX212" fmla="*/ 1245693 w 4354450"/>
              <a:gd name="connsiteY212" fmla="*/ 4321666 h 4517685"/>
              <a:gd name="connsiteX213" fmla="*/ 1246582 w 4354450"/>
              <a:gd name="connsiteY213" fmla="*/ 4321421 h 4517685"/>
              <a:gd name="connsiteX214" fmla="*/ 1253839 w 4354450"/>
              <a:gd name="connsiteY214" fmla="*/ 4320735 h 4517685"/>
              <a:gd name="connsiteX215" fmla="*/ 1259080 w 4354450"/>
              <a:gd name="connsiteY215" fmla="*/ 4317985 h 4517685"/>
              <a:gd name="connsiteX216" fmla="*/ 1265069 w 4354450"/>
              <a:gd name="connsiteY216" fmla="*/ 4316339 h 4517685"/>
              <a:gd name="connsiteX217" fmla="*/ 968731 w 4354450"/>
              <a:gd name="connsiteY217" fmla="*/ 4307462 h 4517685"/>
              <a:gd name="connsiteX218" fmla="*/ 1025549 w 4354450"/>
              <a:gd name="connsiteY218" fmla="*/ 4313143 h 4517685"/>
              <a:gd name="connsiteX219" fmla="*/ 982936 w 4354450"/>
              <a:gd name="connsiteY219" fmla="*/ 4338711 h 4517685"/>
              <a:gd name="connsiteX220" fmla="*/ 968731 w 4354450"/>
              <a:gd name="connsiteY220" fmla="*/ 4307462 h 4517685"/>
              <a:gd name="connsiteX221" fmla="*/ 694590 w 4354450"/>
              <a:gd name="connsiteY221" fmla="*/ 4259167 h 4517685"/>
              <a:gd name="connsiteX222" fmla="*/ 687487 w 4354450"/>
              <a:gd name="connsiteY222" fmla="*/ 4264849 h 4517685"/>
              <a:gd name="connsiteX223" fmla="*/ 616465 w 4354450"/>
              <a:gd name="connsiteY223" fmla="*/ 4270531 h 4517685"/>
              <a:gd name="connsiteX224" fmla="*/ 659078 w 4354450"/>
              <a:gd name="connsiteY224" fmla="*/ 4276212 h 4517685"/>
              <a:gd name="connsiteX225" fmla="*/ 680385 w 4354450"/>
              <a:gd name="connsiteY225" fmla="*/ 4288995 h 4517685"/>
              <a:gd name="connsiteX226" fmla="*/ 680385 w 4354450"/>
              <a:gd name="connsiteY226" fmla="*/ 4325926 h 4517685"/>
              <a:gd name="connsiteX227" fmla="*/ 829529 w 4354450"/>
              <a:gd name="connsiteY227" fmla="*/ 4327348 h 4517685"/>
              <a:gd name="connsiteX228" fmla="*/ 794019 w 4354450"/>
              <a:gd name="connsiteY228" fmla="*/ 4321666 h 4517685"/>
              <a:gd name="connsiteX229" fmla="*/ 758508 w 4354450"/>
              <a:gd name="connsiteY229" fmla="*/ 4308881 h 4517685"/>
              <a:gd name="connsiteX230" fmla="*/ 744304 w 4354450"/>
              <a:gd name="connsiteY230" fmla="*/ 4314563 h 4517685"/>
              <a:gd name="connsiteX231" fmla="*/ 758508 w 4354450"/>
              <a:gd name="connsiteY231" fmla="*/ 4296098 h 4517685"/>
              <a:gd name="connsiteX232" fmla="*/ 808224 w 4354450"/>
              <a:gd name="connsiteY232" fmla="*/ 4296098 h 4517685"/>
              <a:gd name="connsiteX233" fmla="*/ 779815 w 4354450"/>
              <a:gd name="connsiteY233" fmla="*/ 4283314 h 4517685"/>
              <a:gd name="connsiteX234" fmla="*/ 779815 w 4354450"/>
              <a:gd name="connsiteY234" fmla="*/ 4264849 h 4517685"/>
              <a:gd name="connsiteX235" fmla="*/ 758508 w 4354450"/>
              <a:gd name="connsiteY235" fmla="*/ 4259167 h 4517685"/>
              <a:gd name="connsiteX236" fmla="*/ 715895 w 4354450"/>
              <a:gd name="connsiteY236" fmla="*/ 4264849 h 4517685"/>
              <a:gd name="connsiteX237" fmla="*/ 694590 w 4354450"/>
              <a:gd name="connsiteY237" fmla="*/ 4259167 h 4517685"/>
              <a:gd name="connsiteX238" fmla="*/ 294028 w 4354450"/>
              <a:gd name="connsiteY238" fmla="*/ 3669689 h 4517685"/>
              <a:gd name="connsiteX239" fmla="*/ 312494 w 4354450"/>
              <a:gd name="connsiteY239" fmla="*/ 3698097 h 4517685"/>
              <a:gd name="connsiteX240" fmla="*/ 288346 w 4354450"/>
              <a:gd name="connsiteY240" fmla="*/ 3705200 h 4517685"/>
              <a:gd name="connsiteX241" fmla="*/ 294028 w 4354450"/>
              <a:gd name="connsiteY241" fmla="*/ 3669689 h 4517685"/>
              <a:gd name="connsiteX242" fmla="*/ 120825 w 4354450"/>
              <a:gd name="connsiteY242" fmla="*/ 3095793 h 4517685"/>
              <a:gd name="connsiteX243" fmla="*/ 126417 w 4354450"/>
              <a:gd name="connsiteY243" fmla="*/ 3098678 h 4517685"/>
              <a:gd name="connsiteX244" fmla="*/ 113634 w 4354450"/>
              <a:gd name="connsiteY244" fmla="*/ 3105780 h 4517685"/>
              <a:gd name="connsiteX245" fmla="*/ 120825 w 4354450"/>
              <a:gd name="connsiteY245" fmla="*/ 3095793 h 4517685"/>
              <a:gd name="connsiteX246" fmla="*/ 281245 w 4354450"/>
              <a:gd name="connsiteY246" fmla="*/ 3063167 h 4517685"/>
              <a:gd name="connsiteX247" fmla="*/ 294028 w 4354450"/>
              <a:gd name="connsiteY247" fmla="*/ 3084474 h 4517685"/>
              <a:gd name="connsiteX248" fmla="*/ 281245 w 4354450"/>
              <a:gd name="connsiteY248" fmla="*/ 3063167 h 4517685"/>
              <a:gd name="connsiteX249" fmla="*/ 283264 w 4354450"/>
              <a:gd name="connsiteY249" fmla="*/ 3027989 h 4517685"/>
              <a:gd name="connsiteX250" fmla="*/ 294028 w 4354450"/>
              <a:gd name="connsiteY250" fmla="*/ 3034758 h 4517685"/>
              <a:gd name="connsiteX251" fmla="*/ 275563 w 4354450"/>
              <a:gd name="connsiteY251" fmla="*/ 3077371 h 4517685"/>
              <a:gd name="connsiteX252" fmla="*/ 257097 w 4354450"/>
              <a:gd name="connsiteY252" fmla="*/ 3048962 h 4517685"/>
              <a:gd name="connsiteX253" fmla="*/ 271835 w 4354450"/>
              <a:gd name="connsiteY253" fmla="*/ 3029609 h 4517685"/>
              <a:gd name="connsiteX254" fmla="*/ 283264 w 4354450"/>
              <a:gd name="connsiteY254" fmla="*/ 3027989 h 4517685"/>
              <a:gd name="connsiteX255" fmla="*/ 82385 w 4354450"/>
              <a:gd name="connsiteY255" fmla="*/ 2942431 h 4517685"/>
              <a:gd name="connsiteX256" fmla="*/ 95168 w 4354450"/>
              <a:gd name="connsiteY256" fmla="*/ 2942431 h 4517685"/>
              <a:gd name="connsiteX257" fmla="*/ 95168 w 4354450"/>
              <a:gd name="connsiteY257" fmla="*/ 2956636 h 4517685"/>
              <a:gd name="connsiteX258" fmla="*/ 82385 w 4354450"/>
              <a:gd name="connsiteY258" fmla="*/ 2956636 h 4517685"/>
              <a:gd name="connsiteX259" fmla="*/ 65340 w 4354450"/>
              <a:gd name="connsiteY259" fmla="*/ 2894137 h 4517685"/>
              <a:gd name="connsiteX260" fmla="*/ 83804 w 4354450"/>
              <a:gd name="connsiteY260" fmla="*/ 2894137 h 4517685"/>
              <a:gd name="connsiteX261" fmla="*/ 83804 w 4354450"/>
              <a:gd name="connsiteY261" fmla="*/ 2915442 h 4517685"/>
              <a:gd name="connsiteX262" fmla="*/ 65340 w 4354450"/>
              <a:gd name="connsiteY262" fmla="*/ 2908341 h 4517685"/>
              <a:gd name="connsiteX263" fmla="*/ 290832 w 4354450"/>
              <a:gd name="connsiteY263" fmla="*/ 2893781 h 4517685"/>
              <a:gd name="connsiteX264" fmla="*/ 294028 w 4354450"/>
              <a:gd name="connsiteY264" fmla="*/ 2922545 h 4517685"/>
              <a:gd name="connsiteX265" fmla="*/ 281245 w 4354450"/>
              <a:gd name="connsiteY265" fmla="*/ 2894137 h 4517685"/>
              <a:gd name="connsiteX266" fmla="*/ 290832 w 4354450"/>
              <a:gd name="connsiteY266" fmla="*/ 2893781 h 4517685"/>
              <a:gd name="connsiteX267" fmla="*/ 282664 w 4354450"/>
              <a:gd name="connsiteY267" fmla="*/ 2604370 h 4517685"/>
              <a:gd name="connsiteX268" fmla="*/ 295449 w 4354450"/>
              <a:gd name="connsiteY268" fmla="*/ 2632778 h 4517685"/>
              <a:gd name="connsiteX269" fmla="*/ 301131 w 4354450"/>
              <a:gd name="connsiteY269" fmla="*/ 2604370 h 4517685"/>
              <a:gd name="connsiteX270" fmla="*/ 325277 w 4354450"/>
              <a:gd name="connsiteY270" fmla="*/ 2639880 h 4517685"/>
              <a:gd name="connsiteX271" fmla="*/ 281245 w 4354450"/>
              <a:gd name="connsiteY271" fmla="*/ 2661186 h 4517685"/>
              <a:gd name="connsiteX272" fmla="*/ 282664 w 4354450"/>
              <a:gd name="connsiteY272" fmla="*/ 2604370 h 4517685"/>
              <a:gd name="connsiteX273" fmla="*/ 278359 w 4354450"/>
              <a:gd name="connsiteY273" fmla="*/ 2500612 h 4517685"/>
              <a:gd name="connsiteX274" fmla="*/ 288346 w 4354450"/>
              <a:gd name="connsiteY274" fmla="*/ 2547552 h 4517685"/>
              <a:gd name="connsiteX275" fmla="*/ 264200 w 4354450"/>
              <a:gd name="connsiteY275" fmla="*/ 2540449 h 4517685"/>
              <a:gd name="connsiteX276" fmla="*/ 269881 w 4354450"/>
              <a:gd name="connsiteY276" fmla="*/ 2504939 h 4517685"/>
              <a:gd name="connsiteX277" fmla="*/ 278359 w 4354450"/>
              <a:gd name="connsiteY277" fmla="*/ 2500612 h 4517685"/>
              <a:gd name="connsiteX278" fmla="*/ 330959 w 4354450"/>
              <a:gd name="connsiteY278" fmla="*/ 2470849 h 4517685"/>
              <a:gd name="connsiteX279" fmla="*/ 343743 w 4354450"/>
              <a:gd name="connsiteY279" fmla="*/ 2499258 h 4517685"/>
              <a:gd name="connsiteX280" fmla="*/ 330959 w 4354450"/>
              <a:gd name="connsiteY280" fmla="*/ 2520563 h 4517685"/>
              <a:gd name="connsiteX281" fmla="*/ 312494 w 4354450"/>
              <a:gd name="connsiteY281" fmla="*/ 2499258 h 4517685"/>
              <a:gd name="connsiteX282" fmla="*/ 330959 w 4354450"/>
              <a:gd name="connsiteY282" fmla="*/ 2470849 h 4517685"/>
              <a:gd name="connsiteX283" fmla="*/ 268460 w 4354450"/>
              <a:gd name="connsiteY283" fmla="*/ 2294715 h 4517685"/>
              <a:gd name="connsiteX284" fmla="*/ 281245 w 4354450"/>
              <a:gd name="connsiteY284" fmla="*/ 2316022 h 4517685"/>
              <a:gd name="connsiteX285" fmla="*/ 268460 w 4354450"/>
              <a:gd name="connsiteY285" fmla="*/ 2294715 h 4517685"/>
              <a:gd name="connsiteX286" fmla="*/ 275563 w 4354450"/>
              <a:gd name="connsiteY286" fmla="*/ 2266306 h 4517685"/>
              <a:gd name="connsiteX287" fmla="*/ 262778 w 4354450"/>
              <a:gd name="connsiteY287" fmla="*/ 2280510 h 4517685"/>
              <a:gd name="connsiteX288" fmla="*/ 275563 w 4354450"/>
              <a:gd name="connsiteY288" fmla="*/ 2266306 h 4517685"/>
              <a:gd name="connsiteX289" fmla="*/ 244314 w 4354450"/>
              <a:gd name="connsiteY289" fmla="*/ 2266306 h 4517685"/>
              <a:gd name="connsiteX290" fmla="*/ 244314 w 4354450"/>
              <a:gd name="connsiteY290" fmla="*/ 2280510 h 4517685"/>
              <a:gd name="connsiteX291" fmla="*/ 11363 w 4354450"/>
              <a:gd name="connsiteY291" fmla="*/ 2257783 h 4517685"/>
              <a:gd name="connsiteX292" fmla="*/ 11363 w 4354450"/>
              <a:gd name="connsiteY292" fmla="*/ 2350112 h 4517685"/>
              <a:gd name="connsiteX293" fmla="*/ 1420 w 4354450"/>
              <a:gd name="connsiteY293" fmla="*/ 2293295 h 4517685"/>
              <a:gd name="connsiteX294" fmla="*/ 11363 w 4354450"/>
              <a:gd name="connsiteY294" fmla="*/ 2257783 h 4517685"/>
              <a:gd name="connsiteX295" fmla="*/ 247821 w 4354450"/>
              <a:gd name="connsiteY295" fmla="*/ 2229732 h 4517685"/>
              <a:gd name="connsiteX296" fmla="*/ 257097 w 4354450"/>
              <a:gd name="connsiteY296" fmla="*/ 2230796 h 4517685"/>
              <a:gd name="connsiteX297" fmla="*/ 257097 w 4354450"/>
              <a:gd name="connsiteY297" fmla="*/ 2245001 h 4517685"/>
              <a:gd name="connsiteX298" fmla="*/ 251415 w 4354450"/>
              <a:gd name="connsiteY298" fmla="*/ 2252102 h 4517685"/>
              <a:gd name="connsiteX299" fmla="*/ 247821 w 4354450"/>
              <a:gd name="connsiteY299" fmla="*/ 2229732 h 4517685"/>
              <a:gd name="connsiteX300" fmla="*/ 305591 w 4354450"/>
              <a:gd name="connsiteY300" fmla="*/ 2218723 h 4517685"/>
              <a:gd name="connsiteX301" fmla="*/ 330959 w 4354450"/>
              <a:gd name="connsiteY301" fmla="*/ 2237897 h 4517685"/>
              <a:gd name="connsiteX302" fmla="*/ 306812 w 4354450"/>
              <a:gd name="connsiteY302" fmla="*/ 2245001 h 4517685"/>
              <a:gd name="connsiteX303" fmla="*/ 299709 w 4354450"/>
              <a:gd name="connsiteY303" fmla="*/ 2223693 h 4517685"/>
              <a:gd name="connsiteX304" fmla="*/ 305591 w 4354450"/>
              <a:gd name="connsiteY304" fmla="*/ 2218723 h 4517685"/>
              <a:gd name="connsiteX305" fmla="*/ 269881 w 4354450"/>
              <a:gd name="connsiteY305" fmla="*/ 2202388 h 4517685"/>
              <a:gd name="connsiteX306" fmla="*/ 264200 w 4354450"/>
              <a:gd name="connsiteY306" fmla="*/ 2230796 h 4517685"/>
              <a:gd name="connsiteX307" fmla="*/ 269881 w 4354450"/>
              <a:gd name="connsiteY307" fmla="*/ 2202388 h 4517685"/>
              <a:gd name="connsiteX308" fmla="*/ 199194 w 4354450"/>
              <a:gd name="connsiteY308" fmla="*/ 2152384 h 4517685"/>
              <a:gd name="connsiteX309" fmla="*/ 206495 w 4354450"/>
              <a:gd name="connsiteY309" fmla="*/ 2152851 h 4517685"/>
              <a:gd name="connsiteX310" fmla="*/ 220166 w 4354450"/>
              <a:gd name="connsiteY310" fmla="*/ 2159775 h 4517685"/>
              <a:gd name="connsiteX311" fmla="*/ 196019 w 4354450"/>
              <a:gd name="connsiteY311" fmla="*/ 2159775 h 4517685"/>
              <a:gd name="connsiteX312" fmla="*/ 199194 w 4354450"/>
              <a:gd name="connsiteY312" fmla="*/ 2152384 h 4517685"/>
              <a:gd name="connsiteX313" fmla="*/ 270281 w 4354450"/>
              <a:gd name="connsiteY313" fmla="*/ 2143795 h 4517685"/>
              <a:gd name="connsiteX314" fmla="*/ 281245 w 4354450"/>
              <a:gd name="connsiteY314" fmla="*/ 2145570 h 4517685"/>
              <a:gd name="connsiteX315" fmla="*/ 275563 w 4354450"/>
              <a:gd name="connsiteY315" fmla="*/ 2173979 h 4517685"/>
              <a:gd name="connsiteX316" fmla="*/ 244314 w 4354450"/>
              <a:gd name="connsiteY316" fmla="*/ 2173979 h 4517685"/>
              <a:gd name="connsiteX317" fmla="*/ 244314 w 4354450"/>
              <a:gd name="connsiteY317" fmla="*/ 2145570 h 4517685"/>
              <a:gd name="connsiteX318" fmla="*/ 257097 w 4354450"/>
              <a:gd name="connsiteY318" fmla="*/ 2159775 h 4517685"/>
              <a:gd name="connsiteX319" fmla="*/ 270281 w 4354450"/>
              <a:gd name="connsiteY319" fmla="*/ 2143795 h 4517685"/>
              <a:gd name="connsiteX320" fmla="*/ 19886 w 4354450"/>
              <a:gd name="connsiteY320" fmla="*/ 2142730 h 4517685"/>
              <a:gd name="connsiteX321" fmla="*/ 0 w 4354450"/>
              <a:gd name="connsiteY321" fmla="*/ 2165457 h 4517685"/>
              <a:gd name="connsiteX322" fmla="*/ 19886 w 4354450"/>
              <a:gd name="connsiteY322" fmla="*/ 2142730 h 4517685"/>
              <a:gd name="connsiteX323" fmla="*/ 275563 w 4354450"/>
              <a:gd name="connsiteY323" fmla="*/ 2061766 h 4517685"/>
              <a:gd name="connsiteX324" fmla="*/ 244314 w 4354450"/>
              <a:gd name="connsiteY324" fmla="*/ 2097276 h 4517685"/>
              <a:gd name="connsiteX325" fmla="*/ 275563 w 4354450"/>
              <a:gd name="connsiteY325" fmla="*/ 2061766 h 4517685"/>
              <a:gd name="connsiteX326" fmla="*/ 305391 w 4354450"/>
              <a:gd name="connsiteY326" fmla="*/ 2047562 h 4517685"/>
              <a:gd name="connsiteX327" fmla="*/ 311073 w 4354450"/>
              <a:gd name="connsiteY327" fmla="*/ 2097276 h 4517685"/>
              <a:gd name="connsiteX328" fmla="*/ 305391 w 4354450"/>
              <a:gd name="connsiteY328" fmla="*/ 2104379 h 4517685"/>
              <a:gd name="connsiteX329" fmla="*/ 299709 w 4354450"/>
              <a:gd name="connsiteY329" fmla="*/ 2111480 h 4517685"/>
              <a:gd name="connsiteX330" fmla="*/ 305391 w 4354450"/>
              <a:gd name="connsiteY330" fmla="*/ 2047562 h 4517685"/>
              <a:gd name="connsiteX331" fmla="*/ 335553 w 4354450"/>
              <a:gd name="connsiteY331" fmla="*/ 1906761 h 4517685"/>
              <a:gd name="connsiteX332" fmla="*/ 343743 w 4354450"/>
              <a:gd name="connsiteY332" fmla="*/ 1906938 h 4517685"/>
              <a:gd name="connsiteX333" fmla="*/ 362208 w 4354450"/>
              <a:gd name="connsiteY333" fmla="*/ 1935347 h 4517685"/>
              <a:gd name="connsiteX334" fmla="*/ 343743 w 4354450"/>
              <a:gd name="connsiteY334" fmla="*/ 1949551 h 4517685"/>
              <a:gd name="connsiteX335" fmla="*/ 362208 w 4354450"/>
              <a:gd name="connsiteY335" fmla="*/ 1977960 h 4517685"/>
              <a:gd name="connsiteX336" fmla="*/ 349425 w 4354450"/>
              <a:gd name="connsiteY336" fmla="*/ 1992164 h 4517685"/>
              <a:gd name="connsiteX337" fmla="*/ 325277 w 4354450"/>
              <a:gd name="connsiteY337" fmla="*/ 1970857 h 4517685"/>
              <a:gd name="connsiteX338" fmla="*/ 330959 w 4354450"/>
              <a:gd name="connsiteY338" fmla="*/ 1935347 h 4517685"/>
              <a:gd name="connsiteX339" fmla="*/ 343743 w 4354450"/>
              <a:gd name="connsiteY339" fmla="*/ 1935347 h 4517685"/>
              <a:gd name="connsiteX340" fmla="*/ 330959 w 4354450"/>
              <a:gd name="connsiteY340" fmla="*/ 1921143 h 4517685"/>
              <a:gd name="connsiteX341" fmla="*/ 335553 w 4354450"/>
              <a:gd name="connsiteY341" fmla="*/ 1906761 h 4517685"/>
              <a:gd name="connsiteX342" fmla="*/ 306812 w 4354450"/>
              <a:gd name="connsiteY342" fmla="*/ 1892734 h 4517685"/>
              <a:gd name="connsiteX343" fmla="*/ 319595 w 4354450"/>
              <a:gd name="connsiteY343" fmla="*/ 1906938 h 4517685"/>
              <a:gd name="connsiteX344" fmla="*/ 301131 w 4354450"/>
              <a:gd name="connsiteY344" fmla="*/ 1914040 h 4517685"/>
              <a:gd name="connsiteX345" fmla="*/ 306812 w 4354450"/>
              <a:gd name="connsiteY345" fmla="*/ 1892734 h 4517685"/>
              <a:gd name="connsiteX346" fmla="*/ 95168 w 4354450"/>
              <a:gd name="connsiteY346" fmla="*/ 1843018 h 4517685"/>
              <a:gd name="connsiteX347" fmla="*/ 95168 w 4354450"/>
              <a:gd name="connsiteY347" fmla="*/ 1843018 h 4517685"/>
              <a:gd name="connsiteX348" fmla="*/ 380675 w 4354450"/>
              <a:gd name="connsiteY348" fmla="*/ 1800406 h 4517685"/>
              <a:gd name="connsiteX349" fmla="*/ 385193 w 4354450"/>
              <a:gd name="connsiteY349" fmla="*/ 1800406 h 4517685"/>
              <a:gd name="connsiteX350" fmla="*/ 390439 w 4354450"/>
              <a:gd name="connsiteY350" fmla="*/ 1804845 h 4517685"/>
              <a:gd name="connsiteX351" fmla="*/ 393458 w 4354450"/>
              <a:gd name="connsiteY351" fmla="*/ 1801827 h 4517685"/>
              <a:gd name="connsiteX352" fmla="*/ 393458 w 4354450"/>
              <a:gd name="connsiteY352" fmla="*/ 1821713 h 4517685"/>
              <a:gd name="connsiteX353" fmla="*/ 380675 w 4354450"/>
              <a:gd name="connsiteY353" fmla="*/ 1821713 h 4517685"/>
              <a:gd name="connsiteX354" fmla="*/ 102271 w 4354450"/>
              <a:gd name="connsiteY354" fmla="*/ 1800406 h 4517685"/>
              <a:gd name="connsiteX355" fmla="*/ 102271 w 4354450"/>
              <a:gd name="connsiteY355" fmla="*/ 1807509 h 4517685"/>
              <a:gd name="connsiteX356" fmla="*/ 89486 w 4354450"/>
              <a:gd name="connsiteY356" fmla="*/ 1835917 h 4517685"/>
              <a:gd name="connsiteX357" fmla="*/ 102271 w 4354450"/>
              <a:gd name="connsiteY357" fmla="*/ 1800406 h 4517685"/>
              <a:gd name="connsiteX358" fmla="*/ 45454 w 4354450"/>
              <a:gd name="connsiteY358" fmla="*/ 1793304 h 4517685"/>
              <a:gd name="connsiteX359" fmla="*/ 45454 w 4354450"/>
              <a:gd name="connsiteY359" fmla="*/ 1938188 h 4517685"/>
              <a:gd name="connsiteX360" fmla="*/ 21306 w 4354450"/>
              <a:gd name="connsiteY360" fmla="*/ 1948132 h 4517685"/>
              <a:gd name="connsiteX361" fmla="*/ 45454 w 4354450"/>
              <a:gd name="connsiteY361" fmla="*/ 1969437 h 4517685"/>
              <a:gd name="connsiteX362" fmla="*/ 21306 w 4354450"/>
              <a:gd name="connsiteY362" fmla="*/ 1986482 h 4517685"/>
              <a:gd name="connsiteX363" fmla="*/ 14204 w 4354450"/>
              <a:gd name="connsiteY363" fmla="*/ 2044719 h 4517685"/>
              <a:gd name="connsiteX364" fmla="*/ 12783 w 4354450"/>
              <a:gd name="connsiteY364" fmla="*/ 1970857 h 4517685"/>
              <a:gd name="connsiteX365" fmla="*/ 14204 w 4354450"/>
              <a:gd name="connsiteY365" fmla="*/ 1919723 h 4517685"/>
              <a:gd name="connsiteX366" fmla="*/ 26987 w 4354450"/>
              <a:gd name="connsiteY366" fmla="*/ 1933927 h 4517685"/>
              <a:gd name="connsiteX367" fmla="*/ 32669 w 4354450"/>
              <a:gd name="connsiteY367" fmla="*/ 1881371 h 4517685"/>
              <a:gd name="connsiteX368" fmla="*/ 45454 w 4354450"/>
              <a:gd name="connsiteY368" fmla="*/ 1793304 h 4517685"/>
              <a:gd name="connsiteX369" fmla="*/ 349425 w 4354450"/>
              <a:gd name="connsiteY369" fmla="*/ 1779100 h 4517685"/>
              <a:gd name="connsiteX370" fmla="*/ 362208 w 4354450"/>
              <a:gd name="connsiteY370" fmla="*/ 1779100 h 4517685"/>
              <a:gd name="connsiteX371" fmla="*/ 362208 w 4354450"/>
              <a:gd name="connsiteY371" fmla="*/ 1793304 h 4517685"/>
              <a:gd name="connsiteX372" fmla="*/ 349425 w 4354450"/>
              <a:gd name="connsiteY372" fmla="*/ 1793304 h 4517685"/>
              <a:gd name="connsiteX373" fmla="*/ 325277 w 4354450"/>
              <a:gd name="connsiteY373" fmla="*/ 1771997 h 4517685"/>
              <a:gd name="connsiteX374" fmla="*/ 330959 w 4354450"/>
              <a:gd name="connsiteY374" fmla="*/ 1821713 h 4517685"/>
              <a:gd name="connsiteX375" fmla="*/ 325277 w 4354450"/>
              <a:gd name="connsiteY375" fmla="*/ 1771997 h 4517685"/>
              <a:gd name="connsiteX376" fmla="*/ 275563 w 4354450"/>
              <a:gd name="connsiteY376" fmla="*/ 1659784 h 4517685"/>
              <a:gd name="connsiteX377" fmla="*/ 269881 w 4354450"/>
              <a:gd name="connsiteY377" fmla="*/ 1695295 h 4517685"/>
              <a:gd name="connsiteX378" fmla="*/ 275563 w 4354450"/>
              <a:gd name="connsiteY378" fmla="*/ 1659784 h 4517685"/>
              <a:gd name="connsiteX379" fmla="*/ 98587 w 4354450"/>
              <a:gd name="connsiteY379" fmla="*/ 1659429 h 4517685"/>
              <a:gd name="connsiteX380" fmla="*/ 102271 w 4354450"/>
              <a:gd name="connsiteY380" fmla="*/ 1666887 h 4517685"/>
              <a:gd name="connsiteX381" fmla="*/ 102271 w 4354450"/>
              <a:gd name="connsiteY381" fmla="*/ 1702397 h 4517685"/>
              <a:gd name="connsiteX382" fmla="*/ 102271 w 4354450"/>
              <a:gd name="connsiteY382" fmla="*/ 1780521 h 4517685"/>
              <a:gd name="connsiteX383" fmla="*/ 102271 w 4354450"/>
              <a:gd name="connsiteY383" fmla="*/ 1759214 h 4517685"/>
              <a:gd name="connsiteX384" fmla="*/ 96589 w 4354450"/>
              <a:gd name="connsiteY384" fmla="*/ 1737908 h 4517685"/>
              <a:gd name="connsiteX385" fmla="*/ 102271 w 4354450"/>
              <a:gd name="connsiteY385" fmla="*/ 1730805 h 4517685"/>
              <a:gd name="connsiteX386" fmla="*/ 96589 w 4354450"/>
              <a:gd name="connsiteY386" fmla="*/ 1688193 h 4517685"/>
              <a:gd name="connsiteX387" fmla="*/ 96234 w 4354450"/>
              <a:gd name="connsiteY387" fmla="*/ 1665821 h 4517685"/>
              <a:gd name="connsiteX388" fmla="*/ 98587 w 4354450"/>
              <a:gd name="connsiteY388" fmla="*/ 1659429 h 4517685"/>
              <a:gd name="connsiteX389" fmla="*/ 58237 w 4354450"/>
              <a:gd name="connsiteY389" fmla="*/ 1624274 h 4517685"/>
              <a:gd name="connsiteX390" fmla="*/ 58237 w 4354450"/>
              <a:gd name="connsiteY390" fmla="*/ 1659784 h 4517685"/>
              <a:gd name="connsiteX391" fmla="*/ 34090 w 4354450"/>
              <a:gd name="connsiteY391" fmla="*/ 1645580 h 4517685"/>
              <a:gd name="connsiteX392" fmla="*/ 26987 w 4354450"/>
              <a:gd name="connsiteY392" fmla="*/ 1659784 h 4517685"/>
              <a:gd name="connsiteX393" fmla="*/ 58237 w 4354450"/>
              <a:gd name="connsiteY393" fmla="*/ 1624274 h 4517685"/>
              <a:gd name="connsiteX394" fmla="*/ 319595 w 4354450"/>
              <a:gd name="connsiteY394" fmla="*/ 1617171 h 4517685"/>
              <a:gd name="connsiteX395" fmla="*/ 350845 w 4354450"/>
              <a:gd name="connsiteY395" fmla="*/ 1631375 h 4517685"/>
              <a:gd name="connsiteX396" fmla="*/ 350845 w 4354450"/>
              <a:gd name="connsiteY396" fmla="*/ 1645580 h 4517685"/>
              <a:gd name="connsiteX397" fmla="*/ 369311 w 4354450"/>
              <a:gd name="connsiteY397" fmla="*/ 1659784 h 4517685"/>
              <a:gd name="connsiteX398" fmla="*/ 365049 w 4354450"/>
              <a:gd name="connsiteY398" fmla="*/ 1723704 h 4517685"/>
              <a:gd name="connsiteX399" fmla="*/ 352266 w 4354450"/>
              <a:gd name="connsiteY399" fmla="*/ 1709500 h 4517685"/>
              <a:gd name="connsiteX400" fmla="*/ 339481 w 4354450"/>
              <a:gd name="connsiteY400" fmla="*/ 1766317 h 4517685"/>
              <a:gd name="connsiteX401" fmla="*/ 295449 w 4354450"/>
              <a:gd name="connsiteY401" fmla="*/ 1745010 h 4517685"/>
              <a:gd name="connsiteX402" fmla="*/ 295449 w 4354450"/>
              <a:gd name="connsiteY402" fmla="*/ 1681091 h 4517685"/>
              <a:gd name="connsiteX403" fmla="*/ 319595 w 4354450"/>
              <a:gd name="connsiteY403" fmla="*/ 1617171 h 4517685"/>
              <a:gd name="connsiteX404" fmla="*/ 37286 w 4354450"/>
              <a:gd name="connsiteY404" fmla="*/ 1515255 h 4517685"/>
              <a:gd name="connsiteX405" fmla="*/ 58237 w 4354450"/>
              <a:gd name="connsiteY405" fmla="*/ 1519161 h 4517685"/>
              <a:gd name="connsiteX406" fmla="*/ 26987 w 4354450"/>
              <a:gd name="connsiteY406" fmla="*/ 1526264 h 4517685"/>
              <a:gd name="connsiteX407" fmla="*/ 37286 w 4354450"/>
              <a:gd name="connsiteY407" fmla="*/ 1515255 h 4517685"/>
              <a:gd name="connsiteX408" fmla="*/ 374993 w 4354450"/>
              <a:gd name="connsiteY408" fmla="*/ 1441038 h 4517685"/>
              <a:gd name="connsiteX409" fmla="*/ 399139 w 4354450"/>
              <a:gd name="connsiteY409" fmla="*/ 1490752 h 4517685"/>
              <a:gd name="connsiteX410" fmla="*/ 374993 w 4354450"/>
              <a:gd name="connsiteY410" fmla="*/ 1497855 h 4517685"/>
              <a:gd name="connsiteX411" fmla="*/ 369311 w 4354450"/>
              <a:gd name="connsiteY411" fmla="*/ 1526264 h 4517685"/>
              <a:gd name="connsiteX412" fmla="*/ 374993 w 4354450"/>
              <a:gd name="connsiteY412" fmla="*/ 1476548 h 4517685"/>
              <a:gd name="connsiteX413" fmla="*/ 374993 w 4354450"/>
              <a:gd name="connsiteY413" fmla="*/ 1441038 h 4517685"/>
              <a:gd name="connsiteX414" fmla="*/ 336641 w 4354450"/>
              <a:gd name="connsiteY414" fmla="*/ 1412630 h 4517685"/>
              <a:gd name="connsiteX415" fmla="*/ 342322 w 4354450"/>
              <a:gd name="connsiteY415" fmla="*/ 1433935 h 4517685"/>
              <a:gd name="connsiteX416" fmla="*/ 355107 w 4354450"/>
              <a:gd name="connsiteY416" fmla="*/ 1469447 h 4517685"/>
              <a:gd name="connsiteX417" fmla="*/ 349425 w 4354450"/>
              <a:gd name="connsiteY417" fmla="*/ 1497855 h 4517685"/>
              <a:gd name="connsiteX418" fmla="*/ 349425 w 4354450"/>
              <a:gd name="connsiteY418" fmla="*/ 1512060 h 4517685"/>
              <a:gd name="connsiteX419" fmla="*/ 343743 w 4354450"/>
              <a:gd name="connsiteY419" fmla="*/ 1533365 h 4517685"/>
              <a:gd name="connsiteX420" fmla="*/ 330959 w 4354450"/>
              <a:gd name="connsiteY420" fmla="*/ 1561774 h 4517685"/>
              <a:gd name="connsiteX421" fmla="*/ 349425 w 4354450"/>
              <a:gd name="connsiteY421" fmla="*/ 1590182 h 4517685"/>
              <a:gd name="connsiteX422" fmla="*/ 330959 w 4354450"/>
              <a:gd name="connsiteY422" fmla="*/ 1604387 h 4517685"/>
              <a:gd name="connsiteX423" fmla="*/ 299709 w 4354450"/>
              <a:gd name="connsiteY423" fmla="*/ 1604387 h 4517685"/>
              <a:gd name="connsiteX424" fmla="*/ 294028 w 4354450"/>
              <a:gd name="connsiteY424" fmla="*/ 1661204 h 4517685"/>
              <a:gd name="connsiteX425" fmla="*/ 294028 w 4354450"/>
              <a:gd name="connsiteY425" fmla="*/ 1611490 h 4517685"/>
              <a:gd name="connsiteX426" fmla="*/ 294028 w 4354450"/>
              <a:gd name="connsiteY426" fmla="*/ 1590182 h 4517685"/>
              <a:gd name="connsiteX427" fmla="*/ 288346 w 4354450"/>
              <a:gd name="connsiteY427" fmla="*/ 1583081 h 4517685"/>
              <a:gd name="connsiteX428" fmla="*/ 294028 w 4354450"/>
              <a:gd name="connsiteY428" fmla="*/ 1568877 h 4517685"/>
              <a:gd name="connsiteX429" fmla="*/ 294028 w 4354450"/>
              <a:gd name="connsiteY429" fmla="*/ 1540468 h 4517685"/>
              <a:gd name="connsiteX430" fmla="*/ 294028 w 4354450"/>
              <a:gd name="connsiteY430" fmla="*/ 1533365 h 4517685"/>
              <a:gd name="connsiteX431" fmla="*/ 294028 w 4354450"/>
              <a:gd name="connsiteY431" fmla="*/ 1455242 h 4517685"/>
              <a:gd name="connsiteX432" fmla="*/ 312494 w 4354450"/>
              <a:gd name="connsiteY432" fmla="*/ 1476548 h 4517685"/>
              <a:gd name="connsiteX433" fmla="*/ 318176 w 4354450"/>
              <a:gd name="connsiteY433" fmla="*/ 1455242 h 4517685"/>
              <a:gd name="connsiteX434" fmla="*/ 336641 w 4354450"/>
              <a:gd name="connsiteY434" fmla="*/ 1455242 h 4517685"/>
              <a:gd name="connsiteX435" fmla="*/ 58237 w 4354450"/>
              <a:gd name="connsiteY435" fmla="*/ 1405527 h 4517685"/>
              <a:gd name="connsiteX436" fmla="*/ 58237 w 4354450"/>
              <a:gd name="connsiteY436" fmla="*/ 1433935 h 4517685"/>
              <a:gd name="connsiteX437" fmla="*/ 58237 w 4354450"/>
              <a:gd name="connsiteY437" fmla="*/ 1405527 h 4517685"/>
              <a:gd name="connsiteX438" fmla="*/ 382094 w 4354450"/>
              <a:gd name="connsiteY438" fmla="*/ 1384221 h 4517685"/>
              <a:gd name="connsiteX439" fmla="*/ 387776 w 4354450"/>
              <a:gd name="connsiteY439" fmla="*/ 1426834 h 4517685"/>
              <a:gd name="connsiteX440" fmla="*/ 376413 w 4354450"/>
              <a:gd name="connsiteY440" fmla="*/ 1433935 h 4517685"/>
              <a:gd name="connsiteX441" fmla="*/ 382094 w 4354450"/>
              <a:gd name="connsiteY441" fmla="*/ 1384221 h 4517685"/>
              <a:gd name="connsiteX442" fmla="*/ 347761 w 4354450"/>
              <a:gd name="connsiteY442" fmla="*/ 1380248 h 4517685"/>
              <a:gd name="connsiteX443" fmla="*/ 356527 w 4354450"/>
              <a:gd name="connsiteY443" fmla="*/ 1384221 h 4517685"/>
              <a:gd name="connsiteX444" fmla="*/ 319595 w 4354450"/>
              <a:gd name="connsiteY444" fmla="*/ 1398425 h 4517685"/>
              <a:gd name="connsiteX445" fmla="*/ 337529 w 4354450"/>
              <a:gd name="connsiteY445" fmla="*/ 1383334 h 4517685"/>
              <a:gd name="connsiteX446" fmla="*/ 347761 w 4354450"/>
              <a:gd name="connsiteY446" fmla="*/ 1380248 h 4517685"/>
              <a:gd name="connsiteX447" fmla="*/ 378678 w 4354450"/>
              <a:gd name="connsiteY447" fmla="*/ 1323231 h 4517685"/>
              <a:gd name="connsiteX448" fmla="*/ 383161 w 4354450"/>
              <a:gd name="connsiteY448" fmla="*/ 1323498 h 4517685"/>
              <a:gd name="connsiteX449" fmla="*/ 393458 w 4354450"/>
              <a:gd name="connsiteY449" fmla="*/ 1328824 h 4517685"/>
              <a:gd name="connsiteX450" fmla="*/ 387776 w 4354450"/>
              <a:gd name="connsiteY450" fmla="*/ 1357232 h 4517685"/>
              <a:gd name="connsiteX451" fmla="*/ 374993 w 4354450"/>
              <a:gd name="connsiteY451" fmla="*/ 1328824 h 4517685"/>
              <a:gd name="connsiteX452" fmla="*/ 378678 w 4354450"/>
              <a:gd name="connsiteY452" fmla="*/ 1323231 h 4517685"/>
              <a:gd name="connsiteX453" fmla="*/ 336286 w 4354450"/>
              <a:gd name="connsiteY453" fmla="*/ 1317817 h 4517685"/>
              <a:gd name="connsiteX454" fmla="*/ 349425 w 4354450"/>
              <a:gd name="connsiteY454" fmla="*/ 1321722 h 4517685"/>
              <a:gd name="connsiteX455" fmla="*/ 325277 w 4354450"/>
              <a:gd name="connsiteY455" fmla="*/ 1328824 h 4517685"/>
              <a:gd name="connsiteX456" fmla="*/ 336286 w 4354450"/>
              <a:gd name="connsiteY456" fmla="*/ 1317817 h 4517685"/>
              <a:gd name="connsiteX457" fmla="*/ 83804 w 4354450"/>
              <a:gd name="connsiteY457" fmla="*/ 1314619 h 4517685"/>
              <a:gd name="connsiteX458" fmla="*/ 102271 w 4354450"/>
              <a:gd name="connsiteY458" fmla="*/ 1357232 h 4517685"/>
              <a:gd name="connsiteX459" fmla="*/ 83804 w 4354450"/>
              <a:gd name="connsiteY459" fmla="*/ 1314619 h 4517685"/>
              <a:gd name="connsiteX460" fmla="*/ 294028 w 4354450"/>
              <a:gd name="connsiteY460" fmla="*/ 1236497 h 4517685"/>
              <a:gd name="connsiteX461" fmla="*/ 294028 w 4354450"/>
              <a:gd name="connsiteY461" fmla="*/ 1250701 h 4517685"/>
              <a:gd name="connsiteX462" fmla="*/ 346052 w 4354450"/>
              <a:gd name="connsiteY462" fmla="*/ 1235432 h 4517685"/>
              <a:gd name="connsiteX463" fmla="*/ 356527 w 4354450"/>
              <a:gd name="connsiteY463" fmla="*/ 1236497 h 4517685"/>
              <a:gd name="connsiteX464" fmla="*/ 362208 w 4354450"/>
              <a:gd name="connsiteY464" fmla="*/ 1272007 h 4517685"/>
              <a:gd name="connsiteX465" fmla="*/ 349425 w 4354450"/>
              <a:gd name="connsiteY465" fmla="*/ 1272007 h 4517685"/>
              <a:gd name="connsiteX466" fmla="*/ 362208 w 4354450"/>
              <a:gd name="connsiteY466" fmla="*/ 1279109 h 4517685"/>
              <a:gd name="connsiteX467" fmla="*/ 319595 w 4354450"/>
              <a:gd name="connsiteY467" fmla="*/ 1264905 h 4517685"/>
              <a:gd name="connsiteX468" fmla="*/ 325277 w 4354450"/>
              <a:gd name="connsiteY468" fmla="*/ 1243598 h 4517685"/>
              <a:gd name="connsiteX469" fmla="*/ 338062 w 4354450"/>
              <a:gd name="connsiteY469" fmla="*/ 1257802 h 4517685"/>
              <a:gd name="connsiteX470" fmla="*/ 346052 w 4354450"/>
              <a:gd name="connsiteY470" fmla="*/ 1235432 h 4517685"/>
              <a:gd name="connsiteX471" fmla="*/ 102271 w 4354450"/>
              <a:gd name="connsiteY471" fmla="*/ 1229394 h 4517685"/>
              <a:gd name="connsiteX472" fmla="*/ 102271 w 4354450"/>
              <a:gd name="connsiteY472" fmla="*/ 1286211 h 4517685"/>
              <a:gd name="connsiteX473" fmla="*/ 102271 w 4354450"/>
              <a:gd name="connsiteY473" fmla="*/ 1229394 h 4517685"/>
              <a:gd name="connsiteX474" fmla="*/ 403483 w 4354450"/>
              <a:gd name="connsiteY474" fmla="*/ 1194260 h 4517685"/>
              <a:gd name="connsiteX475" fmla="*/ 403401 w 4354450"/>
              <a:gd name="connsiteY475" fmla="*/ 1195305 h 4517685"/>
              <a:gd name="connsiteX476" fmla="*/ 404723 w 4354450"/>
              <a:gd name="connsiteY476" fmla="*/ 1194289 h 4517685"/>
              <a:gd name="connsiteX477" fmla="*/ 401138 w 4354450"/>
              <a:gd name="connsiteY477" fmla="*/ 1208953 h 4517685"/>
              <a:gd name="connsiteX478" fmla="*/ 399139 w 4354450"/>
              <a:gd name="connsiteY478" fmla="*/ 1250701 h 4517685"/>
              <a:gd name="connsiteX479" fmla="*/ 373572 w 4354450"/>
              <a:gd name="connsiteY479" fmla="*/ 1208088 h 4517685"/>
              <a:gd name="connsiteX480" fmla="*/ 387066 w 4354450"/>
              <a:gd name="connsiteY480" fmla="*/ 1198856 h 4517685"/>
              <a:gd name="connsiteX481" fmla="*/ 89486 w 4354450"/>
              <a:gd name="connsiteY481" fmla="*/ 1193884 h 4517685"/>
              <a:gd name="connsiteX482" fmla="*/ 102271 w 4354450"/>
              <a:gd name="connsiteY482" fmla="*/ 1193884 h 4517685"/>
              <a:gd name="connsiteX483" fmla="*/ 102271 w 4354450"/>
              <a:gd name="connsiteY483" fmla="*/ 1208088 h 4517685"/>
              <a:gd name="connsiteX484" fmla="*/ 89486 w 4354450"/>
              <a:gd name="connsiteY484" fmla="*/ 1208088 h 4517685"/>
              <a:gd name="connsiteX485" fmla="*/ 338062 w 4354450"/>
              <a:gd name="connsiteY485" fmla="*/ 1129964 h 4517685"/>
              <a:gd name="connsiteX486" fmla="*/ 335221 w 4354450"/>
              <a:gd name="connsiteY486" fmla="*/ 1173998 h 4517685"/>
              <a:gd name="connsiteX487" fmla="*/ 316755 w 4354450"/>
              <a:gd name="connsiteY487" fmla="*/ 1169737 h 4517685"/>
              <a:gd name="connsiteX488" fmla="*/ 321017 w 4354450"/>
              <a:gd name="connsiteY488" fmla="*/ 1142748 h 4517685"/>
              <a:gd name="connsiteX489" fmla="*/ 338062 w 4354450"/>
              <a:gd name="connsiteY489" fmla="*/ 1129964 h 4517685"/>
              <a:gd name="connsiteX490" fmla="*/ 299709 w 4354450"/>
              <a:gd name="connsiteY490" fmla="*/ 1017751 h 4517685"/>
              <a:gd name="connsiteX491" fmla="*/ 299709 w 4354450"/>
              <a:gd name="connsiteY491" fmla="*/ 1088772 h 4517685"/>
              <a:gd name="connsiteX492" fmla="*/ 262778 w 4354450"/>
              <a:gd name="connsiteY492" fmla="*/ 1039058 h 4517685"/>
              <a:gd name="connsiteX493" fmla="*/ 299709 w 4354450"/>
              <a:gd name="connsiteY493" fmla="*/ 1017751 h 4517685"/>
              <a:gd name="connsiteX494" fmla="*/ 190337 w 4354450"/>
              <a:gd name="connsiteY494" fmla="*/ 1017751 h 4517685"/>
              <a:gd name="connsiteX495" fmla="*/ 190337 w 4354450"/>
              <a:gd name="connsiteY495" fmla="*/ 1031955 h 4517685"/>
              <a:gd name="connsiteX496" fmla="*/ 203120 w 4354450"/>
              <a:gd name="connsiteY496" fmla="*/ 1067466 h 4517685"/>
              <a:gd name="connsiteX497" fmla="*/ 171871 w 4354450"/>
              <a:gd name="connsiteY497" fmla="*/ 1060364 h 4517685"/>
              <a:gd name="connsiteX498" fmla="*/ 190337 w 4354450"/>
              <a:gd name="connsiteY498" fmla="*/ 1017751 h 4517685"/>
              <a:gd name="connsiteX499" fmla="*/ 142043 w 4354450"/>
              <a:gd name="connsiteY499" fmla="*/ 1010649 h 4517685"/>
              <a:gd name="connsiteX500" fmla="*/ 160508 w 4354450"/>
              <a:gd name="connsiteY500" fmla="*/ 1053262 h 4517685"/>
              <a:gd name="connsiteX501" fmla="*/ 142043 w 4354450"/>
              <a:gd name="connsiteY501" fmla="*/ 1067466 h 4517685"/>
              <a:gd name="connsiteX502" fmla="*/ 142043 w 4354450"/>
              <a:gd name="connsiteY502" fmla="*/ 1117181 h 4517685"/>
              <a:gd name="connsiteX503" fmla="*/ 129258 w 4354450"/>
              <a:gd name="connsiteY503" fmla="*/ 1060364 h 4517685"/>
              <a:gd name="connsiteX504" fmla="*/ 129258 w 4354450"/>
              <a:gd name="connsiteY504" fmla="*/ 1039058 h 4517685"/>
              <a:gd name="connsiteX505" fmla="*/ 129258 w 4354450"/>
              <a:gd name="connsiteY505" fmla="*/ 1017751 h 4517685"/>
              <a:gd name="connsiteX506" fmla="*/ 142043 w 4354450"/>
              <a:gd name="connsiteY506" fmla="*/ 1010649 h 4517685"/>
              <a:gd name="connsiteX507" fmla="*/ 154826 w 4354450"/>
              <a:gd name="connsiteY507" fmla="*/ 983660 h 4517685"/>
              <a:gd name="connsiteX508" fmla="*/ 173292 w 4354450"/>
              <a:gd name="connsiteY508" fmla="*/ 983660 h 4517685"/>
              <a:gd name="connsiteX509" fmla="*/ 173292 w 4354450"/>
              <a:gd name="connsiteY509" fmla="*/ 997865 h 4517685"/>
              <a:gd name="connsiteX510" fmla="*/ 154826 w 4354450"/>
              <a:gd name="connsiteY510" fmla="*/ 983660 h 4517685"/>
              <a:gd name="connsiteX511" fmla="*/ 210223 w 4354450"/>
              <a:gd name="connsiteY511" fmla="*/ 975138 h 4517685"/>
              <a:gd name="connsiteX512" fmla="*/ 215905 w 4354450"/>
              <a:gd name="connsiteY512" fmla="*/ 1010649 h 4517685"/>
              <a:gd name="connsiteX513" fmla="*/ 210223 w 4354450"/>
              <a:gd name="connsiteY513" fmla="*/ 975138 h 4517685"/>
              <a:gd name="connsiteX514" fmla="*/ 443172 w 4354450"/>
              <a:gd name="connsiteY514" fmla="*/ 841616 h 4517685"/>
              <a:gd name="connsiteX515" fmla="*/ 437490 w 4354450"/>
              <a:gd name="connsiteY515" fmla="*/ 884229 h 4517685"/>
              <a:gd name="connsiteX516" fmla="*/ 424707 w 4354450"/>
              <a:gd name="connsiteY516" fmla="*/ 905536 h 4517685"/>
              <a:gd name="connsiteX517" fmla="*/ 387776 w 4354450"/>
              <a:gd name="connsiteY517" fmla="*/ 905536 h 4517685"/>
              <a:gd name="connsiteX518" fmla="*/ 386355 w 4354450"/>
              <a:gd name="connsiteY518" fmla="*/ 1054680 h 4517685"/>
              <a:gd name="connsiteX519" fmla="*/ 392036 w 4354450"/>
              <a:gd name="connsiteY519" fmla="*/ 1019170 h 4517685"/>
              <a:gd name="connsiteX520" fmla="*/ 404821 w 4354450"/>
              <a:gd name="connsiteY520" fmla="*/ 983659 h 4517685"/>
              <a:gd name="connsiteX521" fmla="*/ 399139 w 4354450"/>
              <a:gd name="connsiteY521" fmla="*/ 969455 h 4517685"/>
              <a:gd name="connsiteX522" fmla="*/ 417604 w 4354450"/>
              <a:gd name="connsiteY522" fmla="*/ 983659 h 4517685"/>
              <a:gd name="connsiteX523" fmla="*/ 417604 w 4354450"/>
              <a:gd name="connsiteY523" fmla="*/ 1033375 h 4517685"/>
              <a:gd name="connsiteX524" fmla="*/ 430389 w 4354450"/>
              <a:gd name="connsiteY524" fmla="*/ 1004966 h 4517685"/>
              <a:gd name="connsiteX525" fmla="*/ 448854 w 4354450"/>
              <a:gd name="connsiteY525" fmla="*/ 1004966 h 4517685"/>
              <a:gd name="connsiteX526" fmla="*/ 454535 w 4354450"/>
              <a:gd name="connsiteY526" fmla="*/ 983659 h 4517685"/>
              <a:gd name="connsiteX527" fmla="*/ 448854 w 4354450"/>
              <a:gd name="connsiteY527" fmla="*/ 941046 h 4517685"/>
              <a:gd name="connsiteX528" fmla="*/ 454535 w 4354450"/>
              <a:gd name="connsiteY528" fmla="*/ 919740 h 4517685"/>
              <a:gd name="connsiteX529" fmla="*/ 448854 w 4354450"/>
              <a:gd name="connsiteY529" fmla="*/ 912638 h 4517685"/>
              <a:gd name="connsiteX530" fmla="*/ 443172 w 4354450"/>
              <a:gd name="connsiteY530" fmla="*/ 841616 h 4517685"/>
              <a:gd name="connsiteX531" fmla="*/ 225847 w 4354450"/>
              <a:gd name="connsiteY531" fmla="*/ 834515 h 4517685"/>
              <a:gd name="connsiteX532" fmla="*/ 220166 w 4354450"/>
              <a:gd name="connsiteY532" fmla="*/ 870026 h 4517685"/>
              <a:gd name="connsiteX533" fmla="*/ 225847 w 4354450"/>
              <a:gd name="connsiteY533" fmla="*/ 834515 h 4517685"/>
              <a:gd name="connsiteX534" fmla="*/ 75106 w 4354450"/>
              <a:gd name="connsiteY534" fmla="*/ 823151 h 4517685"/>
              <a:gd name="connsiteX535" fmla="*/ 76703 w 4354450"/>
              <a:gd name="connsiteY535" fmla="*/ 840196 h 4517685"/>
              <a:gd name="connsiteX536" fmla="*/ 75106 w 4354450"/>
              <a:gd name="connsiteY536" fmla="*/ 823151 h 4517685"/>
              <a:gd name="connsiteX537" fmla="*/ 76703 w 4354450"/>
              <a:gd name="connsiteY537" fmla="*/ 790482 h 4517685"/>
              <a:gd name="connsiteX538" fmla="*/ 76703 w 4354450"/>
              <a:gd name="connsiteY538" fmla="*/ 790482 h 4517685"/>
              <a:gd name="connsiteX539" fmla="*/ 194598 w 4354450"/>
              <a:gd name="connsiteY539" fmla="*/ 700994 h 4517685"/>
              <a:gd name="connsiteX540" fmla="*/ 194598 w 4354450"/>
              <a:gd name="connsiteY540" fmla="*/ 743607 h 4517685"/>
              <a:gd name="connsiteX541" fmla="*/ 194598 w 4354450"/>
              <a:gd name="connsiteY541" fmla="*/ 700994 h 4517685"/>
              <a:gd name="connsiteX542" fmla="*/ 100850 w 4354450"/>
              <a:gd name="connsiteY542" fmla="*/ 578838 h 4517685"/>
              <a:gd name="connsiteX543" fmla="*/ 76702 w 4354450"/>
              <a:gd name="connsiteY543" fmla="*/ 607246 h 4517685"/>
              <a:gd name="connsiteX544" fmla="*/ 102269 w 4354450"/>
              <a:gd name="connsiteY544" fmla="*/ 621451 h 4517685"/>
              <a:gd name="connsiteX545" fmla="*/ 107951 w 4354450"/>
              <a:gd name="connsiteY545" fmla="*/ 649859 h 4517685"/>
              <a:gd name="connsiteX546" fmla="*/ 107951 w 4354450"/>
              <a:gd name="connsiteY546" fmla="*/ 600145 h 4517685"/>
              <a:gd name="connsiteX547" fmla="*/ 113633 w 4354450"/>
              <a:gd name="connsiteY547" fmla="*/ 585941 h 4517685"/>
              <a:gd name="connsiteX548" fmla="*/ 100850 w 4354450"/>
              <a:gd name="connsiteY548" fmla="*/ 578838 h 4517685"/>
              <a:gd name="connsiteX549" fmla="*/ 92372 w 4354450"/>
              <a:gd name="connsiteY549" fmla="*/ 556467 h 4517685"/>
              <a:gd name="connsiteX550" fmla="*/ 95168 w 4354450"/>
              <a:gd name="connsiteY550" fmla="*/ 578838 h 4517685"/>
              <a:gd name="connsiteX551" fmla="*/ 100850 w 4354450"/>
              <a:gd name="connsiteY551" fmla="*/ 571736 h 4517685"/>
              <a:gd name="connsiteX552" fmla="*/ 100850 w 4354450"/>
              <a:gd name="connsiteY552" fmla="*/ 557532 h 4517685"/>
              <a:gd name="connsiteX553" fmla="*/ 92372 w 4354450"/>
              <a:gd name="connsiteY553" fmla="*/ 556467 h 4517685"/>
              <a:gd name="connsiteX554" fmla="*/ 455956 w 4354450"/>
              <a:gd name="connsiteY554" fmla="*/ 546170 h 4517685"/>
              <a:gd name="connsiteX555" fmla="*/ 455956 w 4354450"/>
              <a:gd name="connsiteY555" fmla="*/ 638496 h 4517685"/>
              <a:gd name="connsiteX556" fmla="*/ 468741 w 4354450"/>
              <a:gd name="connsiteY556" fmla="*/ 602986 h 4517685"/>
              <a:gd name="connsiteX557" fmla="*/ 474423 w 4354450"/>
              <a:gd name="connsiteY557" fmla="*/ 567476 h 4517685"/>
              <a:gd name="connsiteX558" fmla="*/ 455956 w 4354450"/>
              <a:gd name="connsiteY558" fmla="*/ 546170 h 4517685"/>
              <a:gd name="connsiteX559" fmla="*/ 419025 w 4354450"/>
              <a:gd name="connsiteY559" fmla="*/ 526284 h 4517685"/>
              <a:gd name="connsiteX560" fmla="*/ 406242 w 4354450"/>
              <a:gd name="connsiteY560" fmla="*/ 631394 h 4517685"/>
              <a:gd name="connsiteX561" fmla="*/ 400561 w 4354450"/>
              <a:gd name="connsiteY561" fmla="*/ 688211 h 4517685"/>
              <a:gd name="connsiteX562" fmla="*/ 406242 w 4354450"/>
              <a:gd name="connsiteY562" fmla="*/ 737927 h 4517685"/>
              <a:gd name="connsiteX563" fmla="*/ 400561 w 4354450"/>
              <a:gd name="connsiteY563" fmla="*/ 759233 h 4517685"/>
              <a:gd name="connsiteX564" fmla="*/ 394879 w 4354450"/>
              <a:gd name="connsiteY564" fmla="*/ 787641 h 4517685"/>
              <a:gd name="connsiteX565" fmla="*/ 413345 w 4354450"/>
              <a:gd name="connsiteY565" fmla="*/ 837357 h 4517685"/>
              <a:gd name="connsiteX566" fmla="*/ 413345 w 4354450"/>
              <a:gd name="connsiteY566" fmla="*/ 801846 h 4517685"/>
              <a:gd name="connsiteX567" fmla="*/ 431810 w 4354450"/>
              <a:gd name="connsiteY567" fmla="*/ 787641 h 4517685"/>
              <a:gd name="connsiteX568" fmla="*/ 444595 w 4354450"/>
              <a:gd name="connsiteY568" fmla="*/ 808948 h 4517685"/>
              <a:gd name="connsiteX569" fmla="*/ 463059 w 4354450"/>
              <a:gd name="connsiteY569" fmla="*/ 780540 h 4517685"/>
              <a:gd name="connsiteX570" fmla="*/ 475842 w 4354450"/>
              <a:gd name="connsiteY570" fmla="*/ 780540 h 4517685"/>
              <a:gd name="connsiteX571" fmla="*/ 444595 w 4354450"/>
              <a:gd name="connsiteY571" fmla="*/ 766336 h 4517685"/>
              <a:gd name="connsiteX572" fmla="*/ 413345 w 4354450"/>
              <a:gd name="connsiteY572" fmla="*/ 773437 h 4517685"/>
              <a:gd name="connsiteX573" fmla="*/ 419025 w 4354450"/>
              <a:gd name="connsiteY573" fmla="*/ 709519 h 4517685"/>
              <a:gd name="connsiteX574" fmla="*/ 468741 w 4354450"/>
              <a:gd name="connsiteY574" fmla="*/ 702416 h 4517685"/>
              <a:gd name="connsiteX575" fmla="*/ 455958 w 4354450"/>
              <a:gd name="connsiteY575" fmla="*/ 666906 h 4517685"/>
              <a:gd name="connsiteX576" fmla="*/ 468741 w 4354450"/>
              <a:gd name="connsiteY576" fmla="*/ 652702 h 4517685"/>
              <a:gd name="connsiteX577" fmla="*/ 444595 w 4354450"/>
              <a:gd name="connsiteY577" fmla="*/ 645599 h 4517685"/>
              <a:gd name="connsiteX578" fmla="*/ 419025 w 4354450"/>
              <a:gd name="connsiteY578" fmla="*/ 688211 h 4517685"/>
              <a:gd name="connsiteX579" fmla="*/ 419025 w 4354450"/>
              <a:gd name="connsiteY579" fmla="*/ 638497 h 4517685"/>
              <a:gd name="connsiteX580" fmla="*/ 437492 w 4354450"/>
              <a:gd name="connsiteY580" fmla="*/ 631394 h 4517685"/>
              <a:gd name="connsiteX581" fmla="*/ 437492 w 4354450"/>
              <a:gd name="connsiteY581" fmla="*/ 581680 h 4517685"/>
              <a:gd name="connsiteX582" fmla="*/ 419025 w 4354450"/>
              <a:gd name="connsiteY582" fmla="*/ 574577 h 4517685"/>
              <a:gd name="connsiteX583" fmla="*/ 437492 w 4354450"/>
              <a:gd name="connsiteY583" fmla="*/ 567477 h 4517685"/>
              <a:gd name="connsiteX584" fmla="*/ 419025 w 4354450"/>
              <a:gd name="connsiteY584" fmla="*/ 526284 h 4517685"/>
              <a:gd name="connsiteX585" fmla="*/ 95168 w 4354450"/>
              <a:gd name="connsiteY585" fmla="*/ 514919 h 4517685"/>
              <a:gd name="connsiteX586" fmla="*/ 95168 w 4354450"/>
              <a:gd name="connsiteY586" fmla="*/ 514919 h 4517685"/>
              <a:gd name="connsiteX587" fmla="*/ 356527 w 4354450"/>
              <a:gd name="connsiteY587" fmla="*/ 510657 h 4517685"/>
              <a:gd name="connsiteX588" fmla="*/ 356527 w 4354450"/>
              <a:gd name="connsiteY588" fmla="*/ 574577 h 4517685"/>
              <a:gd name="connsiteX589" fmla="*/ 356527 w 4354450"/>
              <a:gd name="connsiteY589" fmla="*/ 510657 h 4517685"/>
              <a:gd name="connsiteX590" fmla="*/ 419025 w 4354450"/>
              <a:gd name="connsiteY590" fmla="*/ 496454 h 4517685"/>
              <a:gd name="connsiteX591" fmla="*/ 437490 w 4354450"/>
              <a:gd name="connsiteY591" fmla="*/ 531966 h 4517685"/>
              <a:gd name="connsiteX592" fmla="*/ 419025 w 4354450"/>
              <a:gd name="connsiteY592" fmla="*/ 496454 h 4517685"/>
              <a:gd name="connsiteX593" fmla="*/ 474421 w 4354450"/>
              <a:gd name="connsiteY593" fmla="*/ 468046 h 4517685"/>
              <a:gd name="connsiteX594" fmla="*/ 468740 w 4354450"/>
              <a:gd name="connsiteY594" fmla="*/ 531966 h 4517685"/>
              <a:gd name="connsiteX595" fmla="*/ 474421 w 4354450"/>
              <a:gd name="connsiteY595" fmla="*/ 468046 h 4517685"/>
              <a:gd name="connsiteX596" fmla="*/ 205961 w 4354450"/>
              <a:gd name="connsiteY596" fmla="*/ 425433 h 4517685"/>
              <a:gd name="connsiteX597" fmla="*/ 187496 w 4354450"/>
              <a:gd name="connsiteY597" fmla="*/ 460946 h 4517685"/>
              <a:gd name="connsiteX598" fmla="*/ 181815 w 4354450"/>
              <a:gd name="connsiteY598" fmla="*/ 468047 h 4517685"/>
              <a:gd name="connsiteX599" fmla="*/ 176133 w 4354450"/>
              <a:gd name="connsiteY599" fmla="*/ 601565 h 4517685"/>
              <a:gd name="connsiteX600" fmla="*/ 205961 w 4354450"/>
              <a:gd name="connsiteY600" fmla="*/ 530545 h 4517685"/>
              <a:gd name="connsiteX601" fmla="*/ 205961 w 4354450"/>
              <a:gd name="connsiteY601" fmla="*/ 425433 h 4517685"/>
              <a:gd name="connsiteX602" fmla="*/ 281245 w 4354450"/>
              <a:gd name="connsiteY602" fmla="*/ 411229 h 4517685"/>
              <a:gd name="connsiteX603" fmla="*/ 275563 w 4354450"/>
              <a:gd name="connsiteY603" fmla="*/ 453840 h 4517685"/>
              <a:gd name="connsiteX604" fmla="*/ 269881 w 4354450"/>
              <a:gd name="connsiteY604" fmla="*/ 432536 h 4517685"/>
              <a:gd name="connsiteX605" fmla="*/ 238632 w 4354450"/>
              <a:gd name="connsiteY605" fmla="*/ 453840 h 4517685"/>
              <a:gd name="connsiteX606" fmla="*/ 244314 w 4354450"/>
              <a:gd name="connsiteY606" fmla="*/ 446740 h 4517685"/>
              <a:gd name="connsiteX607" fmla="*/ 281245 w 4354450"/>
              <a:gd name="connsiteY607" fmla="*/ 411229 h 4517685"/>
              <a:gd name="connsiteX608" fmla="*/ 205961 w 4354450"/>
              <a:gd name="connsiteY608" fmla="*/ 361514 h 4517685"/>
              <a:gd name="connsiteX609" fmla="*/ 181815 w 4354450"/>
              <a:gd name="connsiteY609" fmla="*/ 411232 h 4517685"/>
              <a:gd name="connsiteX610" fmla="*/ 205961 w 4354450"/>
              <a:gd name="connsiteY610" fmla="*/ 418333 h 4517685"/>
              <a:gd name="connsiteX611" fmla="*/ 205961 w 4354450"/>
              <a:gd name="connsiteY611" fmla="*/ 361514 h 4517685"/>
              <a:gd name="connsiteX612" fmla="*/ 113633 w 4354450"/>
              <a:gd name="connsiteY612" fmla="*/ 297596 h 4517685"/>
              <a:gd name="connsiteX613" fmla="*/ 107951 w 4354450"/>
              <a:gd name="connsiteY613" fmla="*/ 347312 h 4517685"/>
              <a:gd name="connsiteX614" fmla="*/ 126417 w 4354450"/>
              <a:gd name="connsiteY614" fmla="*/ 347312 h 4517685"/>
              <a:gd name="connsiteX615" fmla="*/ 113633 w 4354450"/>
              <a:gd name="connsiteY615" fmla="*/ 297596 h 4517685"/>
              <a:gd name="connsiteX616" fmla="*/ 478683 w 4354450"/>
              <a:gd name="connsiteY616" fmla="*/ 270609 h 4517685"/>
              <a:gd name="connsiteX617" fmla="*/ 434649 w 4354450"/>
              <a:gd name="connsiteY617" fmla="*/ 284813 h 4517685"/>
              <a:gd name="connsiteX618" fmla="*/ 460217 w 4354450"/>
              <a:gd name="connsiteY618" fmla="*/ 299017 h 4517685"/>
              <a:gd name="connsiteX619" fmla="*/ 454535 w 4354450"/>
              <a:gd name="connsiteY619" fmla="*/ 334527 h 4517685"/>
              <a:gd name="connsiteX620" fmla="*/ 454535 w 4354450"/>
              <a:gd name="connsiteY620" fmla="*/ 362934 h 4517685"/>
              <a:gd name="connsiteX621" fmla="*/ 448854 w 4354450"/>
              <a:gd name="connsiteY621" fmla="*/ 370037 h 4517685"/>
              <a:gd name="connsiteX622" fmla="*/ 443172 w 4354450"/>
              <a:gd name="connsiteY622" fmla="*/ 391343 h 4517685"/>
              <a:gd name="connsiteX623" fmla="*/ 443172 w 4354450"/>
              <a:gd name="connsiteY623" fmla="*/ 341628 h 4517685"/>
              <a:gd name="connsiteX624" fmla="*/ 421866 w 4354450"/>
              <a:gd name="connsiteY624" fmla="*/ 384241 h 4517685"/>
              <a:gd name="connsiteX625" fmla="*/ 434649 w 4354450"/>
              <a:gd name="connsiteY625" fmla="*/ 441060 h 4517685"/>
              <a:gd name="connsiteX626" fmla="*/ 447434 w 4354450"/>
              <a:gd name="connsiteY626" fmla="*/ 412650 h 4517685"/>
              <a:gd name="connsiteX627" fmla="*/ 460217 w 4354450"/>
              <a:gd name="connsiteY627" fmla="*/ 462366 h 4517685"/>
              <a:gd name="connsiteX628" fmla="*/ 473002 w 4354450"/>
              <a:gd name="connsiteY628" fmla="*/ 419754 h 4517685"/>
              <a:gd name="connsiteX629" fmla="*/ 478683 w 4354450"/>
              <a:gd name="connsiteY629" fmla="*/ 398446 h 4517685"/>
              <a:gd name="connsiteX630" fmla="*/ 473002 w 4354450"/>
              <a:gd name="connsiteY630" fmla="*/ 377140 h 4517685"/>
              <a:gd name="connsiteX631" fmla="*/ 473002 w 4354450"/>
              <a:gd name="connsiteY631" fmla="*/ 355833 h 4517685"/>
              <a:gd name="connsiteX632" fmla="*/ 473002 w 4354450"/>
              <a:gd name="connsiteY632" fmla="*/ 327424 h 4517685"/>
              <a:gd name="connsiteX633" fmla="*/ 473002 w 4354450"/>
              <a:gd name="connsiteY633" fmla="*/ 313220 h 4517685"/>
              <a:gd name="connsiteX634" fmla="*/ 473002 w 4354450"/>
              <a:gd name="connsiteY634" fmla="*/ 291914 h 4517685"/>
              <a:gd name="connsiteX635" fmla="*/ 478683 w 4354450"/>
              <a:gd name="connsiteY635" fmla="*/ 270609 h 4517685"/>
              <a:gd name="connsiteX636" fmla="*/ 119316 w 4354450"/>
              <a:gd name="connsiteY636" fmla="*/ 240782 h 4517685"/>
              <a:gd name="connsiteX637" fmla="*/ 113634 w 4354450"/>
              <a:gd name="connsiteY637" fmla="*/ 290495 h 4517685"/>
              <a:gd name="connsiteX638" fmla="*/ 124998 w 4354450"/>
              <a:gd name="connsiteY638" fmla="*/ 262088 h 4517685"/>
              <a:gd name="connsiteX639" fmla="*/ 119316 w 4354450"/>
              <a:gd name="connsiteY639" fmla="*/ 240782 h 4517685"/>
              <a:gd name="connsiteX640" fmla="*/ 126417 w 4354450"/>
              <a:gd name="connsiteY640" fmla="*/ 169758 h 4517685"/>
              <a:gd name="connsiteX641" fmla="*/ 133519 w 4354450"/>
              <a:gd name="connsiteY641" fmla="*/ 205266 h 4517685"/>
              <a:gd name="connsiteX642" fmla="*/ 120736 w 4354450"/>
              <a:gd name="connsiteY642" fmla="*/ 219470 h 4517685"/>
              <a:gd name="connsiteX643" fmla="*/ 126417 w 4354450"/>
              <a:gd name="connsiteY643" fmla="*/ 226575 h 4517685"/>
              <a:gd name="connsiteX644" fmla="*/ 139200 w 4354450"/>
              <a:gd name="connsiteY644" fmla="*/ 233674 h 4517685"/>
              <a:gd name="connsiteX645" fmla="*/ 126417 w 4354450"/>
              <a:gd name="connsiteY645" fmla="*/ 169758 h 4517685"/>
              <a:gd name="connsiteX646" fmla="*/ 393458 w 4354450"/>
              <a:gd name="connsiteY646" fmla="*/ 165495 h 4517685"/>
              <a:gd name="connsiteX647" fmla="*/ 369310 w 4354450"/>
              <a:gd name="connsiteY647" fmla="*/ 193904 h 4517685"/>
              <a:gd name="connsiteX648" fmla="*/ 393458 w 4354450"/>
              <a:gd name="connsiteY648" fmla="*/ 193904 h 4517685"/>
              <a:gd name="connsiteX649" fmla="*/ 249995 w 4354450"/>
              <a:gd name="connsiteY649" fmla="*/ 73167 h 4517685"/>
              <a:gd name="connsiteX650" fmla="*/ 244314 w 4354450"/>
              <a:gd name="connsiteY650" fmla="*/ 101579 h 4517685"/>
              <a:gd name="connsiteX651" fmla="*/ 249995 w 4354450"/>
              <a:gd name="connsiteY651" fmla="*/ 73167 h 4517685"/>
              <a:gd name="connsiteX652" fmla="*/ 486806 w 4354450"/>
              <a:gd name="connsiteY652" fmla="*/ 49996 h 4517685"/>
              <a:gd name="connsiteX653" fmla="*/ 474421 w 4354450"/>
              <a:gd name="connsiteY653" fmla="*/ 51860 h 4517685"/>
              <a:gd name="connsiteX654" fmla="*/ 461638 w 4354450"/>
              <a:gd name="connsiteY654" fmla="*/ 94473 h 4517685"/>
              <a:gd name="connsiteX655" fmla="*/ 494307 w 4354450"/>
              <a:gd name="connsiteY655" fmla="*/ 115780 h 4517685"/>
              <a:gd name="connsiteX656" fmla="*/ 481524 w 4354450"/>
              <a:gd name="connsiteY656" fmla="*/ 87371 h 4517685"/>
              <a:gd name="connsiteX657" fmla="*/ 499989 w 4354450"/>
              <a:gd name="connsiteY657" fmla="*/ 73165 h 4517685"/>
              <a:gd name="connsiteX658" fmla="*/ 486806 w 4354450"/>
              <a:gd name="connsiteY658" fmla="*/ 49996 h 4517685"/>
              <a:gd name="connsiteX659" fmla="*/ 163347 w 4354450"/>
              <a:gd name="connsiteY659" fmla="*/ 36236 h 4517685"/>
              <a:gd name="connsiteX660" fmla="*/ 144882 w 4354450"/>
              <a:gd name="connsiteY660" fmla="*/ 64644 h 4517685"/>
              <a:gd name="connsiteX661" fmla="*/ 139200 w 4354450"/>
              <a:gd name="connsiteY661" fmla="*/ 71746 h 4517685"/>
              <a:gd name="connsiteX662" fmla="*/ 139200 w 4354450"/>
              <a:gd name="connsiteY662" fmla="*/ 121465 h 4517685"/>
              <a:gd name="connsiteX663" fmla="*/ 144882 w 4354450"/>
              <a:gd name="connsiteY663" fmla="*/ 156973 h 4517685"/>
              <a:gd name="connsiteX664" fmla="*/ 150564 w 4354450"/>
              <a:gd name="connsiteY664" fmla="*/ 107257 h 4517685"/>
              <a:gd name="connsiteX665" fmla="*/ 163347 w 4354450"/>
              <a:gd name="connsiteY665" fmla="*/ 71746 h 4517685"/>
              <a:gd name="connsiteX666" fmla="*/ 157667 w 4354450"/>
              <a:gd name="connsiteY666" fmla="*/ 57541 h 4517685"/>
              <a:gd name="connsiteX667" fmla="*/ 163347 w 4354450"/>
              <a:gd name="connsiteY667" fmla="*/ 36236 h 4517685"/>
              <a:gd name="connsiteX668" fmla="*/ 142319 w 4354450"/>
              <a:gd name="connsiteY668" fmla="*/ 0 h 4517685"/>
              <a:gd name="connsiteX669" fmla="*/ 251415 w 4354450"/>
              <a:gd name="connsiteY669" fmla="*/ 0 h 4517685"/>
              <a:gd name="connsiteX670" fmla="*/ 251415 w 4354450"/>
              <a:gd name="connsiteY670" fmla="*/ 9250 h 4517685"/>
              <a:gd name="connsiteX671" fmla="*/ 258207 w 4354450"/>
              <a:gd name="connsiteY671" fmla="*/ 2856 h 4517685"/>
              <a:gd name="connsiteX672" fmla="*/ 255724 w 4354450"/>
              <a:gd name="connsiteY672" fmla="*/ 0 h 4517685"/>
              <a:gd name="connsiteX673" fmla="*/ 293654 w 4354450"/>
              <a:gd name="connsiteY673" fmla="*/ 0 h 4517685"/>
              <a:gd name="connsiteX674" fmla="*/ 293895 w 4354450"/>
              <a:gd name="connsiteY674" fmla="*/ 2769 h 4517685"/>
              <a:gd name="connsiteX675" fmla="*/ 323856 w 4354450"/>
              <a:gd name="connsiteY675" fmla="*/ 16351 h 4517685"/>
              <a:gd name="connsiteX676" fmla="*/ 318174 w 4354450"/>
              <a:gd name="connsiteY676" fmla="*/ 30554 h 4517685"/>
              <a:gd name="connsiteX677" fmla="*/ 318174 w 4354450"/>
              <a:gd name="connsiteY677" fmla="*/ 73167 h 4517685"/>
              <a:gd name="connsiteX678" fmla="*/ 294028 w 4354450"/>
              <a:gd name="connsiteY678" fmla="*/ 94473 h 4517685"/>
              <a:gd name="connsiteX679" fmla="*/ 329538 w 4354450"/>
              <a:gd name="connsiteY679" fmla="*/ 114359 h 4517685"/>
              <a:gd name="connsiteX680" fmla="*/ 337528 w 4354450"/>
              <a:gd name="connsiteY680" fmla="*/ 4499 h 4517685"/>
              <a:gd name="connsiteX681" fmla="*/ 337190 w 4354450"/>
              <a:gd name="connsiteY681" fmla="*/ 0 h 4517685"/>
              <a:gd name="connsiteX682" fmla="*/ 396763 w 4354450"/>
              <a:gd name="connsiteY682" fmla="*/ 0 h 4517685"/>
              <a:gd name="connsiteX683" fmla="*/ 399139 w 4354450"/>
              <a:gd name="connsiteY683" fmla="*/ 3565 h 4517685"/>
              <a:gd name="connsiteX684" fmla="*/ 407622 w 4354450"/>
              <a:gd name="connsiteY684" fmla="*/ 3304 h 4517685"/>
              <a:gd name="connsiteX685" fmla="*/ 408743 w 4354450"/>
              <a:gd name="connsiteY685" fmla="*/ 0 h 4517685"/>
              <a:gd name="connsiteX686" fmla="*/ 481660 w 4354450"/>
              <a:gd name="connsiteY686" fmla="*/ 0 h 4517685"/>
              <a:gd name="connsiteX687" fmla="*/ 478862 w 4354450"/>
              <a:gd name="connsiteY687" fmla="*/ 12621 h 4517685"/>
              <a:gd name="connsiteX688" fmla="*/ 487206 w 4354450"/>
              <a:gd name="connsiteY688" fmla="*/ 37656 h 4517685"/>
              <a:gd name="connsiteX689" fmla="*/ 492999 w 4354450"/>
              <a:gd name="connsiteY689" fmla="*/ 8294 h 4517685"/>
              <a:gd name="connsiteX690" fmla="*/ 492930 w 4354450"/>
              <a:gd name="connsiteY690" fmla="*/ 0 h 4517685"/>
              <a:gd name="connsiteX691" fmla="*/ 4354450 w 4354450"/>
              <a:gd name="connsiteY691" fmla="*/ 0 h 4517685"/>
              <a:gd name="connsiteX692" fmla="*/ 4354450 w 4354450"/>
              <a:gd name="connsiteY692" fmla="*/ 4300201 h 4517685"/>
              <a:gd name="connsiteX693" fmla="*/ 4343668 w 4354450"/>
              <a:gd name="connsiteY693" fmla="*/ 4299649 h 4517685"/>
              <a:gd name="connsiteX694" fmla="*/ 4315259 w 4354450"/>
              <a:gd name="connsiteY694" fmla="*/ 4290417 h 4517685"/>
              <a:gd name="connsiteX695" fmla="*/ 4293953 w 4354450"/>
              <a:gd name="connsiteY695" fmla="*/ 4308881 h 4517685"/>
              <a:gd name="connsiteX696" fmla="*/ 4244237 w 4354450"/>
              <a:gd name="connsiteY696" fmla="*/ 4303200 h 4517685"/>
              <a:gd name="connsiteX697" fmla="*/ 4237136 w 4354450"/>
              <a:gd name="connsiteY697" fmla="*/ 4303200 h 4517685"/>
              <a:gd name="connsiteX698" fmla="*/ 4230033 w 4354450"/>
              <a:gd name="connsiteY698" fmla="*/ 4297518 h 4517685"/>
              <a:gd name="connsiteX699" fmla="*/ 4187421 w 4354450"/>
              <a:gd name="connsiteY699" fmla="*/ 4303200 h 4517685"/>
              <a:gd name="connsiteX700" fmla="*/ 4159012 w 4354450"/>
              <a:gd name="connsiteY700" fmla="*/ 4297518 h 4517685"/>
              <a:gd name="connsiteX701" fmla="*/ 4137706 w 4354450"/>
              <a:gd name="connsiteY701" fmla="*/ 4303200 h 4517685"/>
              <a:gd name="connsiteX702" fmla="*/ 4052481 w 4354450"/>
              <a:gd name="connsiteY702" fmla="*/ 4315984 h 4517685"/>
              <a:gd name="connsiteX703" fmla="*/ 3864983 w 4354450"/>
              <a:gd name="connsiteY703" fmla="*/ 4313143 h 4517685"/>
              <a:gd name="connsiteX704" fmla="*/ 3850778 w 4354450"/>
              <a:gd name="connsiteY704" fmla="*/ 4325926 h 4517685"/>
              <a:gd name="connsiteX705" fmla="*/ 3786859 w 4354450"/>
              <a:gd name="connsiteY705" fmla="*/ 4325926 h 4517685"/>
              <a:gd name="connsiteX706" fmla="*/ 3758451 w 4354450"/>
              <a:gd name="connsiteY706" fmla="*/ 4313143 h 4517685"/>
              <a:gd name="connsiteX707" fmla="*/ 3722940 w 4354450"/>
              <a:gd name="connsiteY707" fmla="*/ 4325926 h 4517685"/>
              <a:gd name="connsiteX708" fmla="*/ 3708735 w 4354450"/>
              <a:gd name="connsiteY708" fmla="*/ 4338711 h 4517685"/>
              <a:gd name="connsiteX709" fmla="*/ 3673225 w 4354450"/>
              <a:gd name="connsiteY709" fmla="*/ 4333029 h 4517685"/>
              <a:gd name="connsiteX710" fmla="*/ 3644817 w 4354450"/>
              <a:gd name="connsiteY710" fmla="*/ 4338711 h 4517685"/>
              <a:gd name="connsiteX711" fmla="*/ 3637714 w 4354450"/>
              <a:gd name="connsiteY711" fmla="*/ 4333029 h 4517685"/>
              <a:gd name="connsiteX712" fmla="*/ 3595101 w 4354450"/>
              <a:gd name="connsiteY712" fmla="*/ 4333029 h 4517685"/>
              <a:gd name="connsiteX713" fmla="*/ 3489991 w 4354450"/>
              <a:gd name="connsiteY713" fmla="*/ 4327348 h 4517685"/>
              <a:gd name="connsiteX714" fmla="*/ 3482888 w 4354450"/>
              <a:gd name="connsiteY714" fmla="*/ 4333029 h 4517685"/>
              <a:gd name="connsiteX715" fmla="*/ 3475787 w 4354450"/>
              <a:gd name="connsiteY715" fmla="*/ 4327348 h 4517685"/>
              <a:gd name="connsiteX716" fmla="*/ 3411867 w 4354450"/>
              <a:gd name="connsiteY716" fmla="*/ 4333029 h 4517685"/>
              <a:gd name="connsiteX717" fmla="*/ 3376357 w 4354450"/>
              <a:gd name="connsiteY717" fmla="*/ 4327348 h 4517685"/>
              <a:gd name="connsiteX718" fmla="*/ 3362153 w 4354450"/>
              <a:gd name="connsiteY718" fmla="*/ 4333029 h 4517685"/>
              <a:gd name="connsiteX719" fmla="*/ 3340845 w 4354450"/>
              <a:gd name="connsiteY719" fmla="*/ 4327348 h 4517685"/>
              <a:gd name="connsiteX720" fmla="*/ 3319540 w 4354450"/>
              <a:gd name="connsiteY720" fmla="*/ 4345812 h 4517685"/>
              <a:gd name="connsiteX721" fmla="*/ 3284029 w 4354450"/>
              <a:gd name="connsiteY721" fmla="*/ 4333029 h 4517685"/>
              <a:gd name="connsiteX722" fmla="*/ 3184599 w 4354450"/>
              <a:gd name="connsiteY722" fmla="*/ 4345812 h 4517685"/>
              <a:gd name="connsiteX723" fmla="*/ 3163293 w 4354450"/>
              <a:gd name="connsiteY723" fmla="*/ 4358597 h 4517685"/>
              <a:gd name="connsiteX724" fmla="*/ 3163293 w 4354450"/>
              <a:gd name="connsiteY724" fmla="*/ 4340131 h 4517685"/>
              <a:gd name="connsiteX725" fmla="*/ 3099373 w 4354450"/>
              <a:gd name="connsiteY725" fmla="*/ 4352915 h 4517685"/>
              <a:gd name="connsiteX726" fmla="*/ 3078067 w 4354450"/>
              <a:gd name="connsiteY726" fmla="*/ 4340131 h 4517685"/>
              <a:gd name="connsiteX727" fmla="*/ 3056760 w 4354450"/>
              <a:gd name="connsiteY727" fmla="*/ 4345812 h 4517685"/>
              <a:gd name="connsiteX728" fmla="*/ 3021250 w 4354450"/>
              <a:gd name="connsiteY728" fmla="*/ 4351494 h 4517685"/>
              <a:gd name="connsiteX729" fmla="*/ 2992841 w 4354450"/>
              <a:gd name="connsiteY729" fmla="*/ 4364279 h 4517685"/>
              <a:gd name="connsiteX730" fmla="*/ 2971535 w 4354450"/>
              <a:gd name="connsiteY730" fmla="*/ 4351494 h 4517685"/>
              <a:gd name="connsiteX731" fmla="*/ 2964433 w 4354450"/>
              <a:gd name="connsiteY731" fmla="*/ 4369960 h 4517685"/>
              <a:gd name="connsiteX732" fmla="*/ 2943126 w 4354450"/>
              <a:gd name="connsiteY732" fmla="*/ 4351494 h 4517685"/>
              <a:gd name="connsiteX733" fmla="*/ 2921820 w 4354450"/>
              <a:gd name="connsiteY733" fmla="*/ 4351494 h 4517685"/>
              <a:gd name="connsiteX734" fmla="*/ 2865003 w 4354450"/>
              <a:gd name="connsiteY734" fmla="*/ 4369960 h 4517685"/>
              <a:gd name="connsiteX735" fmla="*/ 2857900 w 4354450"/>
              <a:gd name="connsiteY735" fmla="*/ 4345812 h 4517685"/>
              <a:gd name="connsiteX736" fmla="*/ 2793981 w 4354450"/>
              <a:gd name="connsiteY736" fmla="*/ 4340131 h 4517685"/>
              <a:gd name="connsiteX737" fmla="*/ 2765573 w 4354450"/>
              <a:gd name="connsiteY737" fmla="*/ 4358597 h 4517685"/>
              <a:gd name="connsiteX738" fmla="*/ 2744266 w 4354450"/>
              <a:gd name="connsiteY738" fmla="*/ 4352915 h 4517685"/>
              <a:gd name="connsiteX739" fmla="*/ 2737165 w 4354450"/>
              <a:gd name="connsiteY739" fmla="*/ 4377062 h 4517685"/>
              <a:gd name="connsiteX740" fmla="*/ 2701653 w 4354450"/>
              <a:gd name="connsiteY740" fmla="*/ 4377062 h 4517685"/>
              <a:gd name="connsiteX741" fmla="*/ 2680347 w 4354450"/>
              <a:gd name="connsiteY741" fmla="*/ 4371382 h 4517685"/>
              <a:gd name="connsiteX742" fmla="*/ 2694552 w 4354450"/>
              <a:gd name="connsiteY742" fmla="*/ 4352915 h 4517685"/>
              <a:gd name="connsiteX743" fmla="*/ 2602223 w 4354450"/>
              <a:gd name="connsiteY743" fmla="*/ 4377062 h 4517685"/>
              <a:gd name="connsiteX744" fmla="*/ 2602223 w 4354450"/>
              <a:gd name="connsiteY744" fmla="*/ 4358597 h 4517685"/>
              <a:gd name="connsiteX745" fmla="*/ 2580917 w 4354450"/>
              <a:gd name="connsiteY745" fmla="*/ 4377062 h 4517685"/>
              <a:gd name="connsiteX746" fmla="*/ 2566713 w 4354450"/>
              <a:gd name="connsiteY746" fmla="*/ 4364279 h 4517685"/>
              <a:gd name="connsiteX747" fmla="*/ 2545406 w 4354450"/>
              <a:gd name="connsiteY747" fmla="*/ 4351494 h 4517685"/>
              <a:gd name="connsiteX748" fmla="*/ 2502793 w 4354450"/>
              <a:gd name="connsiteY748" fmla="*/ 4364279 h 4517685"/>
              <a:gd name="connsiteX749" fmla="*/ 2495692 w 4354450"/>
              <a:gd name="connsiteY749" fmla="*/ 4340131 h 4517685"/>
              <a:gd name="connsiteX750" fmla="*/ 2453079 w 4354450"/>
              <a:gd name="connsiteY750" fmla="*/ 4345812 h 4517685"/>
              <a:gd name="connsiteX751" fmla="*/ 2438875 w 4354450"/>
              <a:gd name="connsiteY751" fmla="*/ 4364279 h 4517685"/>
              <a:gd name="connsiteX752" fmla="*/ 2403363 w 4354450"/>
              <a:gd name="connsiteY752" fmla="*/ 4358597 h 4517685"/>
              <a:gd name="connsiteX753" fmla="*/ 2389159 w 4354450"/>
              <a:gd name="connsiteY753" fmla="*/ 4371382 h 4517685"/>
              <a:gd name="connsiteX754" fmla="*/ 2374955 w 4354450"/>
              <a:gd name="connsiteY754" fmla="*/ 4347234 h 4517685"/>
              <a:gd name="connsiteX755" fmla="*/ 2346546 w 4354450"/>
              <a:gd name="connsiteY755" fmla="*/ 4371382 h 4517685"/>
              <a:gd name="connsiteX756" fmla="*/ 2325241 w 4354450"/>
              <a:gd name="connsiteY756" fmla="*/ 4365698 h 4517685"/>
              <a:gd name="connsiteX757" fmla="*/ 2318137 w 4354450"/>
              <a:gd name="connsiteY757" fmla="*/ 4371382 h 4517685"/>
              <a:gd name="connsiteX758" fmla="*/ 2303933 w 4354450"/>
              <a:gd name="connsiteY758" fmla="*/ 4365698 h 4517685"/>
              <a:gd name="connsiteX759" fmla="*/ 2282628 w 4354450"/>
              <a:gd name="connsiteY759" fmla="*/ 4371382 h 4517685"/>
              <a:gd name="connsiteX760" fmla="*/ 2275525 w 4354450"/>
              <a:gd name="connsiteY760" fmla="*/ 4358597 h 4517685"/>
              <a:gd name="connsiteX761" fmla="*/ 2247116 w 4354450"/>
              <a:gd name="connsiteY761" fmla="*/ 4358597 h 4517685"/>
              <a:gd name="connsiteX762" fmla="*/ 2254219 w 4354450"/>
              <a:gd name="connsiteY762" fmla="*/ 4340131 h 4517685"/>
              <a:gd name="connsiteX763" fmla="*/ 2161891 w 4354450"/>
              <a:gd name="connsiteY763" fmla="*/ 4340131 h 4517685"/>
              <a:gd name="connsiteX764" fmla="*/ 2140583 w 4354450"/>
              <a:gd name="connsiteY764" fmla="*/ 4345812 h 4517685"/>
              <a:gd name="connsiteX765" fmla="*/ 2119278 w 4354450"/>
              <a:gd name="connsiteY765" fmla="*/ 4364279 h 4517685"/>
              <a:gd name="connsiteX766" fmla="*/ 2062461 w 4354450"/>
              <a:gd name="connsiteY766" fmla="*/ 4358597 h 4517685"/>
              <a:gd name="connsiteX767" fmla="*/ 2034052 w 4354450"/>
              <a:gd name="connsiteY767" fmla="*/ 4345812 h 4517685"/>
              <a:gd name="connsiteX768" fmla="*/ 1998541 w 4354450"/>
              <a:gd name="connsiteY768" fmla="*/ 4345812 h 4517685"/>
              <a:gd name="connsiteX769" fmla="*/ 1977235 w 4354450"/>
              <a:gd name="connsiteY769" fmla="*/ 4358597 h 4517685"/>
              <a:gd name="connsiteX770" fmla="*/ 1963031 w 4354450"/>
              <a:gd name="connsiteY770" fmla="*/ 4340131 h 4517685"/>
              <a:gd name="connsiteX771" fmla="*/ 1934622 w 4354450"/>
              <a:gd name="connsiteY771" fmla="*/ 4358597 h 4517685"/>
              <a:gd name="connsiteX772" fmla="*/ 1920418 w 4354450"/>
              <a:gd name="connsiteY772" fmla="*/ 4340131 h 4517685"/>
              <a:gd name="connsiteX773" fmla="*/ 1899111 w 4354450"/>
              <a:gd name="connsiteY773" fmla="*/ 4327348 h 4517685"/>
              <a:gd name="connsiteX774" fmla="*/ 1884907 w 4354450"/>
              <a:gd name="connsiteY774" fmla="*/ 4351494 h 4517685"/>
              <a:gd name="connsiteX775" fmla="*/ 1863601 w 4354450"/>
              <a:gd name="connsiteY775" fmla="*/ 4357177 h 4517685"/>
              <a:gd name="connsiteX776" fmla="*/ 1863601 w 4354450"/>
              <a:gd name="connsiteY776" fmla="*/ 4381324 h 4517685"/>
              <a:gd name="connsiteX777" fmla="*/ 1835192 w 4354450"/>
              <a:gd name="connsiteY777" fmla="*/ 4375642 h 4517685"/>
              <a:gd name="connsiteX778" fmla="*/ 1856498 w 4354450"/>
              <a:gd name="connsiteY778" fmla="*/ 4369960 h 4517685"/>
              <a:gd name="connsiteX779" fmla="*/ 1842294 w 4354450"/>
              <a:gd name="connsiteY779" fmla="*/ 4333029 h 4517685"/>
              <a:gd name="connsiteX780" fmla="*/ 1835192 w 4354450"/>
              <a:gd name="connsiteY780" fmla="*/ 4358597 h 4517685"/>
              <a:gd name="connsiteX781" fmla="*/ 1785477 w 4354450"/>
              <a:gd name="connsiteY781" fmla="*/ 4314565 h 4517685"/>
              <a:gd name="connsiteX782" fmla="*/ 1764171 w 4354450"/>
              <a:gd name="connsiteY782" fmla="*/ 4333029 h 4517685"/>
              <a:gd name="connsiteX783" fmla="*/ 1742864 w 4354450"/>
              <a:gd name="connsiteY783" fmla="*/ 4338711 h 4517685"/>
              <a:gd name="connsiteX784" fmla="*/ 1714455 w 4354450"/>
              <a:gd name="connsiteY784" fmla="*/ 4333029 h 4517685"/>
              <a:gd name="connsiteX785" fmla="*/ 1678945 w 4354450"/>
              <a:gd name="connsiteY785" fmla="*/ 4333029 h 4517685"/>
              <a:gd name="connsiteX786" fmla="*/ 1664741 w 4354450"/>
              <a:gd name="connsiteY786" fmla="*/ 4314565 h 4517685"/>
              <a:gd name="connsiteX787" fmla="*/ 1657638 w 4354450"/>
              <a:gd name="connsiteY787" fmla="*/ 4333029 h 4517685"/>
              <a:gd name="connsiteX788" fmla="*/ 1636332 w 4354450"/>
              <a:gd name="connsiteY788" fmla="*/ 4320245 h 4517685"/>
              <a:gd name="connsiteX789" fmla="*/ 1615025 w 4354450"/>
              <a:gd name="connsiteY789" fmla="*/ 4338711 h 4517685"/>
              <a:gd name="connsiteX790" fmla="*/ 1607924 w 4354450"/>
              <a:gd name="connsiteY790" fmla="*/ 4314565 h 4517685"/>
              <a:gd name="connsiteX791" fmla="*/ 1601667 w 4354450"/>
              <a:gd name="connsiteY791" fmla="*/ 4321955 h 4517685"/>
              <a:gd name="connsiteX792" fmla="*/ 1596561 w 4354450"/>
              <a:gd name="connsiteY792" fmla="*/ 4321797 h 4517685"/>
              <a:gd name="connsiteX793" fmla="*/ 1596561 w 4354450"/>
              <a:gd name="connsiteY793" fmla="*/ 4320245 h 4517685"/>
              <a:gd name="connsiteX794" fmla="*/ 1575255 w 4354450"/>
              <a:gd name="connsiteY794" fmla="*/ 4320245 h 4517685"/>
              <a:gd name="connsiteX795" fmla="*/ 1575255 w 4354450"/>
              <a:gd name="connsiteY795" fmla="*/ 4320935 h 4517685"/>
              <a:gd name="connsiteX796" fmla="*/ 1571571 w 4354450"/>
              <a:gd name="connsiteY796" fmla="*/ 4320756 h 4517685"/>
              <a:gd name="connsiteX797" fmla="*/ 1565311 w 4354450"/>
              <a:gd name="connsiteY797" fmla="*/ 4327348 h 4517685"/>
              <a:gd name="connsiteX798" fmla="*/ 1565311 w 4354450"/>
              <a:gd name="connsiteY798" fmla="*/ 4340131 h 4517685"/>
              <a:gd name="connsiteX799" fmla="*/ 1544004 w 4354450"/>
              <a:gd name="connsiteY799" fmla="*/ 4321666 h 4517685"/>
              <a:gd name="connsiteX800" fmla="*/ 1515595 w 4354450"/>
              <a:gd name="connsiteY800" fmla="*/ 4327348 h 4517685"/>
              <a:gd name="connsiteX801" fmla="*/ 1494289 w 4354450"/>
              <a:gd name="connsiteY801" fmla="*/ 4340131 h 4517685"/>
              <a:gd name="connsiteX802" fmla="*/ 1487187 w 4354450"/>
              <a:gd name="connsiteY802" fmla="*/ 4315984 h 4517685"/>
              <a:gd name="connsiteX803" fmla="*/ 1458778 w 4354450"/>
              <a:gd name="connsiteY803" fmla="*/ 4334449 h 4517685"/>
              <a:gd name="connsiteX804" fmla="*/ 1416165 w 4354450"/>
              <a:gd name="connsiteY804" fmla="*/ 4347234 h 4517685"/>
              <a:gd name="connsiteX805" fmla="*/ 1387757 w 4354450"/>
              <a:gd name="connsiteY805" fmla="*/ 4334449 h 4517685"/>
              <a:gd name="connsiteX806" fmla="*/ 1401961 w 4354450"/>
              <a:gd name="connsiteY806" fmla="*/ 4321666 h 4517685"/>
              <a:gd name="connsiteX807" fmla="*/ 1394860 w 4354450"/>
              <a:gd name="connsiteY807" fmla="*/ 4308881 h 4517685"/>
              <a:gd name="connsiteX808" fmla="*/ 1373553 w 4354450"/>
              <a:gd name="connsiteY808" fmla="*/ 4296098 h 4517685"/>
              <a:gd name="connsiteX809" fmla="*/ 1330940 w 4354450"/>
              <a:gd name="connsiteY809" fmla="*/ 4296098 h 4517685"/>
              <a:gd name="connsiteX810" fmla="*/ 1302531 w 4354450"/>
              <a:gd name="connsiteY810" fmla="*/ 4308881 h 4517685"/>
              <a:gd name="connsiteX811" fmla="*/ 1295430 w 4354450"/>
              <a:gd name="connsiteY811" fmla="*/ 4321666 h 4517685"/>
              <a:gd name="connsiteX812" fmla="*/ 1283646 w 4354450"/>
              <a:gd name="connsiteY812" fmla="*/ 4310480 h 4517685"/>
              <a:gd name="connsiteX813" fmla="*/ 1266587 w 4354450"/>
              <a:gd name="connsiteY813" fmla="*/ 4315860 h 4517685"/>
              <a:gd name="connsiteX814" fmla="*/ 1265601 w 4354450"/>
              <a:gd name="connsiteY814" fmla="*/ 4314565 h 4517685"/>
              <a:gd name="connsiteX815" fmla="*/ 1259080 w 4354450"/>
              <a:gd name="connsiteY815" fmla="*/ 4317985 h 4517685"/>
              <a:gd name="connsiteX816" fmla="*/ 1246582 w 4354450"/>
              <a:gd name="connsiteY816" fmla="*/ 4321421 h 4517685"/>
              <a:gd name="connsiteX817" fmla="*/ 1245532 w 4354450"/>
              <a:gd name="connsiteY817" fmla="*/ 4321521 h 4517685"/>
              <a:gd name="connsiteX818" fmla="*/ 1231510 w 4354450"/>
              <a:gd name="connsiteY818" fmla="*/ 4308881 h 4517685"/>
              <a:gd name="connsiteX819" fmla="*/ 1259918 w 4354450"/>
              <a:gd name="connsiteY819" fmla="*/ 4296098 h 4517685"/>
              <a:gd name="connsiteX820" fmla="*/ 1203101 w 4354450"/>
              <a:gd name="connsiteY820" fmla="*/ 4314565 h 4517685"/>
              <a:gd name="connsiteX821" fmla="*/ 1196000 w 4354450"/>
              <a:gd name="connsiteY821" fmla="*/ 4296098 h 4517685"/>
              <a:gd name="connsiteX822" fmla="*/ 1167591 w 4354450"/>
              <a:gd name="connsiteY822" fmla="*/ 4296098 h 4517685"/>
              <a:gd name="connsiteX823" fmla="*/ 1160489 w 4354450"/>
              <a:gd name="connsiteY823" fmla="*/ 4290417 h 4517685"/>
              <a:gd name="connsiteX824" fmla="*/ 1117875 w 4354450"/>
              <a:gd name="connsiteY824" fmla="*/ 4296098 h 4517685"/>
              <a:gd name="connsiteX825" fmla="*/ 1089467 w 4354450"/>
              <a:gd name="connsiteY825" fmla="*/ 4290417 h 4517685"/>
              <a:gd name="connsiteX826" fmla="*/ 1039753 w 4354450"/>
              <a:gd name="connsiteY826" fmla="*/ 4296098 h 4517685"/>
              <a:gd name="connsiteX827" fmla="*/ 1018445 w 4354450"/>
              <a:gd name="connsiteY827" fmla="*/ 4290417 h 4517685"/>
              <a:gd name="connsiteX828" fmla="*/ 968731 w 4354450"/>
              <a:gd name="connsiteY828" fmla="*/ 4290417 h 4517685"/>
              <a:gd name="connsiteX829" fmla="*/ 961629 w 4354450"/>
              <a:gd name="connsiteY829" fmla="*/ 4284735 h 4517685"/>
              <a:gd name="connsiteX830" fmla="*/ 919016 w 4354450"/>
              <a:gd name="connsiteY830" fmla="*/ 4290417 h 4517685"/>
              <a:gd name="connsiteX831" fmla="*/ 890607 w 4354450"/>
              <a:gd name="connsiteY831" fmla="*/ 4284735 h 4517685"/>
              <a:gd name="connsiteX832" fmla="*/ 862199 w 4354450"/>
              <a:gd name="connsiteY832" fmla="*/ 4290417 h 4517685"/>
              <a:gd name="connsiteX833" fmla="*/ 819586 w 4354450"/>
              <a:gd name="connsiteY833" fmla="*/ 4296098 h 4517685"/>
              <a:gd name="connsiteX834" fmla="*/ 855097 w 4354450"/>
              <a:gd name="connsiteY834" fmla="*/ 4301780 h 4517685"/>
              <a:gd name="connsiteX835" fmla="*/ 947424 w 4354450"/>
              <a:gd name="connsiteY835" fmla="*/ 4301780 h 4517685"/>
              <a:gd name="connsiteX836" fmla="*/ 961629 w 4354450"/>
              <a:gd name="connsiteY836" fmla="*/ 4320245 h 4517685"/>
              <a:gd name="connsiteX837" fmla="*/ 940323 w 4354450"/>
              <a:gd name="connsiteY837" fmla="*/ 4338711 h 4517685"/>
              <a:gd name="connsiteX838" fmla="*/ 933220 w 4354450"/>
              <a:gd name="connsiteY838" fmla="*/ 4333029 h 4517685"/>
              <a:gd name="connsiteX839" fmla="*/ 855097 w 4354450"/>
              <a:gd name="connsiteY839" fmla="*/ 4327348 h 4517685"/>
              <a:gd name="connsiteX840" fmla="*/ 847994 w 4354450"/>
              <a:gd name="connsiteY840" fmla="*/ 4371382 h 4517685"/>
              <a:gd name="connsiteX841" fmla="*/ 805381 w 4354450"/>
              <a:gd name="connsiteY841" fmla="*/ 4389846 h 4517685"/>
              <a:gd name="connsiteX842" fmla="*/ 855097 w 4354450"/>
              <a:gd name="connsiteY842" fmla="*/ 4402630 h 4517685"/>
              <a:gd name="connsiteX843" fmla="*/ 798280 w 4354450"/>
              <a:gd name="connsiteY843" fmla="*/ 4408311 h 4517685"/>
              <a:gd name="connsiteX844" fmla="*/ 769871 w 4354450"/>
              <a:gd name="connsiteY844" fmla="*/ 4402630 h 4517685"/>
              <a:gd name="connsiteX845" fmla="*/ 776973 w 4354450"/>
              <a:gd name="connsiteY845" fmla="*/ 4358597 h 4517685"/>
              <a:gd name="connsiteX846" fmla="*/ 686067 w 4354450"/>
              <a:gd name="connsiteY846" fmla="*/ 4352915 h 4517685"/>
              <a:gd name="connsiteX847" fmla="*/ 629250 w 4354450"/>
              <a:gd name="connsiteY847" fmla="*/ 4358597 h 4517685"/>
              <a:gd name="connsiteX848" fmla="*/ 586636 w 4354450"/>
              <a:gd name="connsiteY848" fmla="*/ 4352915 h 4517685"/>
              <a:gd name="connsiteX849" fmla="*/ 579534 w 4354450"/>
              <a:gd name="connsiteY849" fmla="*/ 4358597 h 4517685"/>
              <a:gd name="connsiteX850" fmla="*/ 558227 w 4354450"/>
              <a:gd name="connsiteY850" fmla="*/ 4352915 h 4517685"/>
              <a:gd name="connsiteX851" fmla="*/ 529819 w 4354450"/>
              <a:gd name="connsiteY851" fmla="*/ 4358597 h 4517685"/>
              <a:gd name="connsiteX852" fmla="*/ 508513 w 4354450"/>
              <a:gd name="connsiteY852" fmla="*/ 4371382 h 4517685"/>
              <a:gd name="connsiteX853" fmla="*/ 536922 w 4354450"/>
              <a:gd name="connsiteY853" fmla="*/ 4389846 h 4517685"/>
              <a:gd name="connsiteX854" fmla="*/ 508513 w 4354450"/>
              <a:gd name="connsiteY854" fmla="*/ 4402630 h 4517685"/>
              <a:gd name="connsiteX855" fmla="*/ 551126 w 4354450"/>
              <a:gd name="connsiteY855" fmla="*/ 4421096 h 4517685"/>
              <a:gd name="connsiteX856" fmla="*/ 622147 w 4354450"/>
              <a:gd name="connsiteY856" fmla="*/ 4402630 h 4517685"/>
              <a:gd name="connsiteX857" fmla="*/ 643454 w 4354450"/>
              <a:gd name="connsiteY857" fmla="*/ 4365698 h 4517685"/>
              <a:gd name="connsiteX858" fmla="*/ 693169 w 4354450"/>
              <a:gd name="connsiteY858" fmla="*/ 4389846 h 4517685"/>
              <a:gd name="connsiteX859" fmla="*/ 664760 w 4354450"/>
              <a:gd name="connsiteY859" fmla="*/ 4413994 h 4517685"/>
              <a:gd name="connsiteX860" fmla="*/ 784076 w 4354450"/>
              <a:gd name="connsiteY860" fmla="*/ 4419675 h 4517685"/>
              <a:gd name="connsiteX861" fmla="*/ 748565 w 4354450"/>
              <a:gd name="connsiteY861" fmla="*/ 4443823 h 4517685"/>
              <a:gd name="connsiteX862" fmla="*/ 713054 w 4354450"/>
              <a:gd name="connsiteY862" fmla="*/ 4438141 h 4517685"/>
              <a:gd name="connsiteX863" fmla="*/ 642033 w 4354450"/>
              <a:gd name="connsiteY863" fmla="*/ 4438141 h 4517685"/>
              <a:gd name="connsiteX864" fmla="*/ 620726 w 4354450"/>
              <a:gd name="connsiteY864" fmla="*/ 4443823 h 4517685"/>
              <a:gd name="connsiteX865" fmla="*/ 606522 w 4354450"/>
              <a:gd name="connsiteY865" fmla="*/ 4438141 h 4517685"/>
              <a:gd name="connsiteX866" fmla="*/ 556807 w 4354450"/>
              <a:gd name="connsiteY866" fmla="*/ 4425356 h 4517685"/>
              <a:gd name="connsiteX867" fmla="*/ 528399 w 4354450"/>
              <a:gd name="connsiteY867" fmla="*/ 4438141 h 4517685"/>
              <a:gd name="connsiteX868" fmla="*/ 507092 w 4354450"/>
              <a:gd name="connsiteY868" fmla="*/ 4432459 h 4517685"/>
              <a:gd name="connsiteX869" fmla="*/ 499990 w 4354450"/>
              <a:gd name="connsiteY869" fmla="*/ 4445242 h 4517685"/>
              <a:gd name="connsiteX870" fmla="*/ 492888 w 4354450"/>
              <a:gd name="connsiteY870" fmla="*/ 4358597 h 4517685"/>
              <a:gd name="connsiteX871" fmla="*/ 457378 w 4354450"/>
              <a:gd name="connsiteY871" fmla="*/ 4333029 h 4517685"/>
              <a:gd name="connsiteX872" fmla="*/ 419030 w 4354450"/>
              <a:gd name="connsiteY872" fmla="*/ 4335955 h 4517685"/>
              <a:gd name="connsiteX873" fmla="*/ 418316 w 4354450"/>
              <a:gd name="connsiteY873" fmla="*/ 4318115 h 4517685"/>
              <a:gd name="connsiteX874" fmla="*/ 415114 w 4354450"/>
              <a:gd name="connsiteY874" fmla="*/ 4308507 h 4517685"/>
              <a:gd name="connsiteX875" fmla="*/ 438024 w 4354450"/>
              <a:gd name="connsiteY875" fmla="*/ 4310835 h 4517685"/>
              <a:gd name="connsiteX876" fmla="*/ 461638 w 4354450"/>
              <a:gd name="connsiteY876" fmla="*/ 4313143 h 4517685"/>
              <a:gd name="connsiteX877" fmla="*/ 511352 w 4354450"/>
              <a:gd name="connsiteY877" fmla="*/ 4307462 h 4517685"/>
              <a:gd name="connsiteX878" fmla="*/ 532660 w 4354450"/>
              <a:gd name="connsiteY878" fmla="*/ 4313143 h 4517685"/>
              <a:gd name="connsiteX879" fmla="*/ 561068 w 4354450"/>
              <a:gd name="connsiteY879" fmla="*/ 4318825 h 4517685"/>
              <a:gd name="connsiteX880" fmla="*/ 610782 w 4354450"/>
              <a:gd name="connsiteY880" fmla="*/ 4300359 h 4517685"/>
              <a:gd name="connsiteX881" fmla="*/ 575272 w 4354450"/>
              <a:gd name="connsiteY881" fmla="*/ 4300359 h 4517685"/>
              <a:gd name="connsiteX882" fmla="*/ 561068 w 4354450"/>
              <a:gd name="connsiteY882" fmla="*/ 4281894 h 4517685"/>
              <a:gd name="connsiteX883" fmla="*/ 582374 w 4354450"/>
              <a:gd name="connsiteY883" fmla="*/ 4269109 h 4517685"/>
              <a:gd name="connsiteX884" fmla="*/ 553965 w 4354450"/>
              <a:gd name="connsiteY884" fmla="*/ 4250645 h 4517685"/>
              <a:gd name="connsiteX885" fmla="*/ 553965 w 4354450"/>
              <a:gd name="connsiteY885" fmla="*/ 4237860 h 4517685"/>
              <a:gd name="connsiteX886" fmla="*/ 539761 w 4354450"/>
              <a:gd name="connsiteY886" fmla="*/ 4269109 h 4517685"/>
              <a:gd name="connsiteX887" fmla="*/ 546864 w 4354450"/>
              <a:gd name="connsiteY887" fmla="*/ 4300359 h 4517685"/>
              <a:gd name="connsiteX888" fmla="*/ 482944 w 4354450"/>
              <a:gd name="connsiteY888" fmla="*/ 4294677 h 4517685"/>
              <a:gd name="connsiteX889" fmla="*/ 475842 w 4354450"/>
              <a:gd name="connsiteY889" fmla="*/ 4244963 h 4517685"/>
              <a:gd name="connsiteX890" fmla="*/ 440331 w 4354450"/>
              <a:gd name="connsiteY890" fmla="*/ 4257746 h 4517685"/>
              <a:gd name="connsiteX891" fmla="*/ 426127 w 4354450"/>
              <a:gd name="connsiteY891" fmla="*/ 4244963 h 4517685"/>
              <a:gd name="connsiteX892" fmla="*/ 419025 w 4354450"/>
              <a:gd name="connsiteY892" fmla="*/ 4269109 h 4517685"/>
              <a:gd name="connsiteX893" fmla="*/ 461638 w 4354450"/>
              <a:gd name="connsiteY893" fmla="*/ 4294677 h 4517685"/>
              <a:gd name="connsiteX894" fmla="*/ 411922 w 4354450"/>
              <a:gd name="connsiteY894" fmla="*/ 4294677 h 4517685"/>
              <a:gd name="connsiteX895" fmla="*/ 407915 w 4354450"/>
              <a:gd name="connsiteY895" fmla="*/ 4284259 h 4517685"/>
              <a:gd name="connsiteX896" fmla="*/ 411460 w 4354450"/>
              <a:gd name="connsiteY896" fmla="*/ 4257759 h 4517685"/>
              <a:gd name="connsiteX897" fmla="*/ 411922 w 4354450"/>
              <a:gd name="connsiteY897" fmla="*/ 4257746 h 4517685"/>
              <a:gd name="connsiteX898" fmla="*/ 411606 w 4354450"/>
              <a:gd name="connsiteY898" fmla="*/ 4256662 h 4517685"/>
              <a:gd name="connsiteX899" fmla="*/ 412301 w 4354450"/>
              <a:gd name="connsiteY899" fmla="*/ 4251466 h 4517685"/>
              <a:gd name="connsiteX900" fmla="*/ 410503 w 4354450"/>
              <a:gd name="connsiteY900" fmla="*/ 4098659 h 4517685"/>
              <a:gd name="connsiteX901" fmla="*/ 397720 w 4354450"/>
              <a:gd name="connsiteY901" fmla="*/ 4084455 h 4517685"/>
              <a:gd name="connsiteX902" fmla="*/ 397720 w 4354450"/>
              <a:gd name="connsiteY902" fmla="*/ 4020535 h 4517685"/>
              <a:gd name="connsiteX903" fmla="*/ 410503 w 4354450"/>
              <a:gd name="connsiteY903" fmla="*/ 3992127 h 4517685"/>
              <a:gd name="connsiteX904" fmla="*/ 397720 w 4354450"/>
              <a:gd name="connsiteY904" fmla="*/ 3956617 h 4517685"/>
              <a:gd name="connsiteX905" fmla="*/ 384935 w 4354450"/>
              <a:gd name="connsiteY905" fmla="*/ 3942412 h 4517685"/>
              <a:gd name="connsiteX906" fmla="*/ 390617 w 4354450"/>
              <a:gd name="connsiteY906" fmla="*/ 3906901 h 4517685"/>
              <a:gd name="connsiteX907" fmla="*/ 384935 w 4354450"/>
              <a:gd name="connsiteY907" fmla="*/ 3878492 h 4517685"/>
              <a:gd name="connsiteX908" fmla="*/ 390617 w 4354450"/>
              <a:gd name="connsiteY908" fmla="*/ 3871391 h 4517685"/>
              <a:gd name="connsiteX909" fmla="*/ 390617 w 4354450"/>
              <a:gd name="connsiteY909" fmla="*/ 3828778 h 4517685"/>
              <a:gd name="connsiteX910" fmla="*/ 396299 w 4354450"/>
              <a:gd name="connsiteY910" fmla="*/ 3723667 h 4517685"/>
              <a:gd name="connsiteX911" fmla="*/ 390617 w 4354450"/>
              <a:gd name="connsiteY911" fmla="*/ 3716564 h 4517685"/>
              <a:gd name="connsiteX912" fmla="*/ 396299 w 4354450"/>
              <a:gd name="connsiteY912" fmla="*/ 3709462 h 4517685"/>
              <a:gd name="connsiteX913" fmla="*/ 390617 w 4354450"/>
              <a:gd name="connsiteY913" fmla="*/ 3645542 h 4517685"/>
              <a:gd name="connsiteX914" fmla="*/ 396299 w 4354450"/>
              <a:gd name="connsiteY914" fmla="*/ 3610032 h 4517685"/>
              <a:gd name="connsiteX915" fmla="*/ 390617 w 4354450"/>
              <a:gd name="connsiteY915" fmla="*/ 3595828 h 4517685"/>
              <a:gd name="connsiteX916" fmla="*/ 396299 w 4354450"/>
              <a:gd name="connsiteY916" fmla="*/ 3574521 h 4517685"/>
              <a:gd name="connsiteX917" fmla="*/ 377834 w 4354450"/>
              <a:gd name="connsiteY917" fmla="*/ 3553215 h 4517685"/>
              <a:gd name="connsiteX918" fmla="*/ 390617 w 4354450"/>
              <a:gd name="connsiteY918" fmla="*/ 3517704 h 4517685"/>
              <a:gd name="connsiteX919" fmla="*/ 377834 w 4354450"/>
              <a:gd name="connsiteY919" fmla="*/ 3418274 h 4517685"/>
              <a:gd name="connsiteX920" fmla="*/ 365049 w 4354450"/>
              <a:gd name="connsiteY920" fmla="*/ 3396968 h 4517685"/>
              <a:gd name="connsiteX921" fmla="*/ 383515 w 4354450"/>
              <a:gd name="connsiteY921" fmla="*/ 3396968 h 4517685"/>
              <a:gd name="connsiteX922" fmla="*/ 370731 w 4354450"/>
              <a:gd name="connsiteY922" fmla="*/ 3333048 h 4517685"/>
              <a:gd name="connsiteX923" fmla="*/ 383515 w 4354450"/>
              <a:gd name="connsiteY923" fmla="*/ 3311742 h 4517685"/>
              <a:gd name="connsiteX924" fmla="*/ 377834 w 4354450"/>
              <a:gd name="connsiteY924" fmla="*/ 3290435 h 4517685"/>
              <a:gd name="connsiteX925" fmla="*/ 372152 w 4354450"/>
              <a:gd name="connsiteY925" fmla="*/ 3254925 h 4517685"/>
              <a:gd name="connsiteX926" fmla="*/ 359367 w 4354450"/>
              <a:gd name="connsiteY926" fmla="*/ 3226517 h 4517685"/>
              <a:gd name="connsiteX927" fmla="*/ 372152 w 4354450"/>
              <a:gd name="connsiteY927" fmla="*/ 3205210 h 4517685"/>
              <a:gd name="connsiteX928" fmla="*/ 353686 w 4354450"/>
              <a:gd name="connsiteY928" fmla="*/ 3198108 h 4517685"/>
              <a:gd name="connsiteX929" fmla="*/ 372152 w 4354450"/>
              <a:gd name="connsiteY929" fmla="*/ 3176801 h 4517685"/>
              <a:gd name="connsiteX930" fmla="*/ 372152 w 4354450"/>
              <a:gd name="connsiteY930" fmla="*/ 3155495 h 4517685"/>
              <a:gd name="connsiteX931" fmla="*/ 353686 w 4354450"/>
              <a:gd name="connsiteY931" fmla="*/ 3098678 h 4517685"/>
              <a:gd name="connsiteX932" fmla="*/ 377834 w 4354450"/>
              <a:gd name="connsiteY932" fmla="*/ 3091575 h 4517685"/>
              <a:gd name="connsiteX933" fmla="*/ 383515 w 4354450"/>
              <a:gd name="connsiteY933" fmla="*/ 3027657 h 4517685"/>
              <a:gd name="connsiteX934" fmla="*/ 365049 w 4354450"/>
              <a:gd name="connsiteY934" fmla="*/ 2999248 h 4517685"/>
              <a:gd name="connsiteX935" fmla="*/ 370731 w 4354450"/>
              <a:gd name="connsiteY935" fmla="*/ 2977941 h 4517685"/>
              <a:gd name="connsiteX936" fmla="*/ 346584 w 4354450"/>
              <a:gd name="connsiteY936" fmla="*/ 2970840 h 4517685"/>
              <a:gd name="connsiteX937" fmla="*/ 346584 w 4354450"/>
              <a:gd name="connsiteY937" fmla="*/ 2935328 h 4517685"/>
              <a:gd name="connsiteX938" fmla="*/ 352266 w 4354450"/>
              <a:gd name="connsiteY938" fmla="*/ 2914023 h 4517685"/>
              <a:gd name="connsiteX939" fmla="*/ 370731 w 4354450"/>
              <a:gd name="connsiteY939" fmla="*/ 2928227 h 4517685"/>
              <a:gd name="connsiteX940" fmla="*/ 346584 w 4354450"/>
              <a:gd name="connsiteY940" fmla="*/ 2835898 h 4517685"/>
              <a:gd name="connsiteX941" fmla="*/ 365049 w 4354450"/>
              <a:gd name="connsiteY941" fmla="*/ 2835898 h 4517685"/>
              <a:gd name="connsiteX942" fmla="*/ 346584 w 4354450"/>
              <a:gd name="connsiteY942" fmla="*/ 2814593 h 4517685"/>
              <a:gd name="connsiteX943" fmla="*/ 359367 w 4354450"/>
              <a:gd name="connsiteY943" fmla="*/ 2800389 h 4517685"/>
              <a:gd name="connsiteX944" fmla="*/ 372152 w 4354450"/>
              <a:gd name="connsiteY944" fmla="*/ 2779081 h 4517685"/>
              <a:gd name="connsiteX945" fmla="*/ 359367 w 4354450"/>
              <a:gd name="connsiteY945" fmla="*/ 2736469 h 4517685"/>
              <a:gd name="connsiteX946" fmla="*/ 383515 w 4354450"/>
              <a:gd name="connsiteY946" fmla="*/ 2729367 h 4517685"/>
              <a:gd name="connsiteX947" fmla="*/ 377834 w 4354450"/>
              <a:gd name="connsiteY947" fmla="*/ 2686754 h 4517685"/>
              <a:gd name="connsiteX948" fmla="*/ 359367 w 4354450"/>
              <a:gd name="connsiteY948" fmla="*/ 2672550 h 4517685"/>
              <a:gd name="connsiteX949" fmla="*/ 365049 w 4354450"/>
              <a:gd name="connsiteY949" fmla="*/ 2637038 h 4517685"/>
              <a:gd name="connsiteX950" fmla="*/ 352266 w 4354450"/>
              <a:gd name="connsiteY950" fmla="*/ 2622834 h 4517685"/>
              <a:gd name="connsiteX951" fmla="*/ 376413 w 4354450"/>
              <a:gd name="connsiteY951" fmla="*/ 2608630 h 4517685"/>
              <a:gd name="connsiteX952" fmla="*/ 352266 w 4354450"/>
              <a:gd name="connsiteY952" fmla="*/ 2580221 h 4517685"/>
              <a:gd name="connsiteX953" fmla="*/ 357948 w 4354450"/>
              <a:gd name="connsiteY953" fmla="*/ 2558916 h 4517685"/>
              <a:gd name="connsiteX954" fmla="*/ 352266 w 4354450"/>
              <a:gd name="connsiteY954" fmla="*/ 2551813 h 4517685"/>
              <a:gd name="connsiteX955" fmla="*/ 357948 w 4354450"/>
              <a:gd name="connsiteY955" fmla="*/ 2537608 h 4517685"/>
              <a:gd name="connsiteX956" fmla="*/ 352266 w 4354450"/>
              <a:gd name="connsiteY956" fmla="*/ 2516303 h 4517685"/>
              <a:gd name="connsiteX957" fmla="*/ 365049 w 4354450"/>
              <a:gd name="connsiteY957" fmla="*/ 2509200 h 4517685"/>
              <a:gd name="connsiteX958" fmla="*/ 365049 w 4354450"/>
              <a:gd name="connsiteY958" fmla="*/ 2480792 h 4517685"/>
              <a:gd name="connsiteX959" fmla="*/ 383515 w 4354450"/>
              <a:gd name="connsiteY959" fmla="*/ 2487894 h 4517685"/>
              <a:gd name="connsiteX960" fmla="*/ 383515 w 4354450"/>
              <a:gd name="connsiteY960" fmla="*/ 2395566 h 4517685"/>
              <a:gd name="connsiteX961" fmla="*/ 377834 w 4354450"/>
              <a:gd name="connsiteY961" fmla="*/ 2374260 h 4517685"/>
              <a:gd name="connsiteX962" fmla="*/ 359367 w 4354450"/>
              <a:gd name="connsiteY962" fmla="*/ 2352953 h 4517685"/>
              <a:gd name="connsiteX963" fmla="*/ 365049 w 4354450"/>
              <a:gd name="connsiteY963" fmla="*/ 2296136 h 4517685"/>
              <a:gd name="connsiteX964" fmla="*/ 377834 w 4354450"/>
              <a:gd name="connsiteY964" fmla="*/ 2267727 h 4517685"/>
              <a:gd name="connsiteX965" fmla="*/ 377834 w 4354450"/>
              <a:gd name="connsiteY965" fmla="*/ 2232217 h 4517685"/>
              <a:gd name="connsiteX966" fmla="*/ 365049 w 4354450"/>
              <a:gd name="connsiteY966" fmla="*/ 2210910 h 4517685"/>
              <a:gd name="connsiteX967" fmla="*/ 383515 w 4354450"/>
              <a:gd name="connsiteY967" fmla="*/ 2196706 h 4517685"/>
              <a:gd name="connsiteX968" fmla="*/ 365049 w 4354450"/>
              <a:gd name="connsiteY968" fmla="*/ 2168297 h 4517685"/>
              <a:gd name="connsiteX969" fmla="*/ 383515 w 4354450"/>
              <a:gd name="connsiteY969" fmla="*/ 2154093 h 4517685"/>
              <a:gd name="connsiteX970" fmla="*/ 396299 w 4354450"/>
              <a:gd name="connsiteY970" fmla="*/ 2132787 h 4517685"/>
              <a:gd name="connsiteX971" fmla="*/ 372152 w 4354450"/>
              <a:gd name="connsiteY971" fmla="*/ 2118583 h 4517685"/>
              <a:gd name="connsiteX972" fmla="*/ 366470 w 4354450"/>
              <a:gd name="connsiteY972" fmla="*/ 2097276 h 4517685"/>
              <a:gd name="connsiteX973" fmla="*/ 342322 w 4354450"/>
              <a:gd name="connsiteY973" fmla="*/ 2097276 h 4517685"/>
              <a:gd name="connsiteX974" fmla="*/ 348004 w 4354450"/>
              <a:gd name="connsiteY974" fmla="*/ 2068867 h 4517685"/>
              <a:gd name="connsiteX975" fmla="*/ 353686 w 4354450"/>
              <a:gd name="connsiteY975" fmla="*/ 2090174 h 4517685"/>
              <a:gd name="connsiteX976" fmla="*/ 390617 w 4354450"/>
              <a:gd name="connsiteY976" fmla="*/ 2075970 h 4517685"/>
              <a:gd name="connsiteX977" fmla="*/ 365049 w 4354450"/>
              <a:gd name="connsiteY977" fmla="*/ 2068867 h 4517685"/>
              <a:gd name="connsiteX978" fmla="*/ 409083 w 4354450"/>
              <a:gd name="connsiteY978" fmla="*/ 2019153 h 4517685"/>
              <a:gd name="connsiteX979" fmla="*/ 390617 w 4354450"/>
              <a:gd name="connsiteY979" fmla="*/ 1997846 h 4517685"/>
              <a:gd name="connsiteX980" fmla="*/ 384935 w 4354450"/>
              <a:gd name="connsiteY980" fmla="*/ 1976540 h 4517685"/>
              <a:gd name="connsiteX981" fmla="*/ 390617 w 4354450"/>
              <a:gd name="connsiteY981" fmla="*/ 1948132 h 4517685"/>
              <a:gd name="connsiteX982" fmla="*/ 390617 w 4354450"/>
              <a:gd name="connsiteY982" fmla="*/ 1912620 h 4517685"/>
              <a:gd name="connsiteX983" fmla="*/ 409083 w 4354450"/>
              <a:gd name="connsiteY983" fmla="*/ 1898416 h 4517685"/>
              <a:gd name="connsiteX984" fmla="*/ 390617 w 4354450"/>
              <a:gd name="connsiteY984" fmla="*/ 1891315 h 4517685"/>
              <a:gd name="connsiteX985" fmla="*/ 403401 w 4354450"/>
              <a:gd name="connsiteY985" fmla="*/ 1870007 h 4517685"/>
              <a:gd name="connsiteX986" fmla="*/ 384935 w 4354450"/>
              <a:gd name="connsiteY986" fmla="*/ 1848702 h 4517685"/>
              <a:gd name="connsiteX987" fmla="*/ 409083 w 4354450"/>
              <a:gd name="connsiteY987" fmla="*/ 1841599 h 4517685"/>
              <a:gd name="connsiteX988" fmla="*/ 396299 w 4354450"/>
              <a:gd name="connsiteY988" fmla="*/ 1798986 h 4517685"/>
              <a:gd name="connsiteX989" fmla="*/ 393458 w 4354450"/>
              <a:gd name="connsiteY989" fmla="*/ 1801827 h 4517685"/>
              <a:gd name="connsiteX990" fmla="*/ 393458 w 4354450"/>
              <a:gd name="connsiteY990" fmla="*/ 1800406 h 4517685"/>
              <a:gd name="connsiteX991" fmla="*/ 385193 w 4354450"/>
              <a:gd name="connsiteY991" fmla="*/ 1800406 h 4517685"/>
              <a:gd name="connsiteX992" fmla="*/ 383515 w 4354450"/>
              <a:gd name="connsiteY992" fmla="*/ 1798986 h 4517685"/>
              <a:gd name="connsiteX993" fmla="*/ 401980 w 4354450"/>
              <a:gd name="connsiteY993" fmla="*/ 1777680 h 4517685"/>
              <a:gd name="connsiteX994" fmla="*/ 396299 w 4354450"/>
              <a:gd name="connsiteY994" fmla="*/ 1749272 h 4517685"/>
              <a:gd name="connsiteX995" fmla="*/ 383515 w 4354450"/>
              <a:gd name="connsiteY995" fmla="*/ 1727965 h 4517685"/>
              <a:gd name="connsiteX996" fmla="*/ 407662 w 4354450"/>
              <a:gd name="connsiteY996" fmla="*/ 1720863 h 4517685"/>
              <a:gd name="connsiteX997" fmla="*/ 389197 w 4354450"/>
              <a:gd name="connsiteY997" fmla="*/ 1692455 h 4517685"/>
              <a:gd name="connsiteX998" fmla="*/ 376413 w 4354450"/>
              <a:gd name="connsiteY998" fmla="*/ 1649842 h 4517685"/>
              <a:gd name="connsiteX999" fmla="*/ 389197 w 4354450"/>
              <a:gd name="connsiteY999" fmla="*/ 1621433 h 4517685"/>
              <a:gd name="connsiteX1000" fmla="*/ 401980 w 4354450"/>
              <a:gd name="connsiteY1000" fmla="*/ 1635638 h 4517685"/>
              <a:gd name="connsiteX1001" fmla="*/ 414765 w 4354450"/>
              <a:gd name="connsiteY1001" fmla="*/ 1628535 h 4517685"/>
              <a:gd name="connsiteX1002" fmla="*/ 427548 w 4354450"/>
              <a:gd name="connsiteY1002" fmla="*/ 1607229 h 4517685"/>
              <a:gd name="connsiteX1003" fmla="*/ 427548 w 4354450"/>
              <a:gd name="connsiteY1003" fmla="*/ 1564616 h 4517685"/>
              <a:gd name="connsiteX1004" fmla="*/ 414765 w 4354450"/>
              <a:gd name="connsiteY1004" fmla="*/ 1536208 h 4517685"/>
              <a:gd name="connsiteX1005" fmla="*/ 401980 w 4354450"/>
              <a:gd name="connsiteY1005" fmla="*/ 1529105 h 4517685"/>
              <a:gd name="connsiteX1006" fmla="*/ 414765 w 4354450"/>
              <a:gd name="connsiteY1006" fmla="*/ 1465186 h 4517685"/>
              <a:gd name="connsiteX1007" fmla="*/ 427548 w 4354450"/>
              <a:gd name="connsiteY1007" fmla="*/ 1493595 h 4517685"/>
              <a:gd name="connsiteX1008" fmla="*/ 409083 w 4354450"/>
              <a:gd name="connsiteY1008" fmla="*/ 1436778 h 4517685"/>
              <a:gd name="connsiteX1009" fmla="*/ 427548 w 4354450"/>
              <a:gd name="connsiteY1009" fmla="*/ 1429675 h 4517685"/>
              <a:gd name="connsiteX1010" fmla="*/ 427548 w 4354450"/>
              <a:gd name="connsiteY1010" fmla="*/ 1401266 h 4517685"/>
              <a:gd name="connsiteX1011" fmla="*/ 433230 w 4354450"/>
              <a:gd name="connsiteY1011" fmla="*/ 1394165 h 4517685"/>
              <a:gd name="connsiteX1012" fmla="*/ 427548 w 4354450"/>
              <a:gd name="connsiteY1012" fmla="*/ 1351552 h 4517685"/>
              <a:gd name="connsiteX1013" fmla="*/ 433230 w 4354450"/>
              <a:gd name="connsiteY1013" fmla="*/ 1323143 h 4517685"/>
              <a:gd name="connsiteX1014" fmla="*/ 427548 w 4354450"/>
              <a:gd name="connsiteY1014" fmla="*/ 1273428 h 4517685"/>
              <a:gd name="connsiteX1015" fmla="*/ 433230 w 4354450"/>
              <a:gd name="connsiteY1015" fmla="*/ 1252122 h 4517685"/>
              <a:gd name="connsiteX1016" fmla="*/ 433230 w 4354450"/>
              <a:gd name="connsiteY1016" fmla="*/ 1202406 h 4517685"/>
              <a:gd name="connsiteX1017" fmla="*/ 438911 w 4354450"/>
              <a:gd name="connsiteY1017" fmla="*/ 1195305 h 4517685"/>
              <a:gd name="connsiteX1018" fmla="*/ 433230 w 4354450"/>
              <a:gd name="connsiteY1018" fmla="*/ 1152692 h 4517685"/>
              <a:gd name="connsiteX1019" fmla="*/ 438911 w 4354450"/>
              <a:gd name="connsiteY1019" fmla="*/ 1124284 h 4517685"/>
              <a:gd name="connsiteX1020" fmla="*/ 433230 w 4354450"/>
              <a:gd name="connsiteY1020" fmla="*/ 1095875 h 4517685"/>
              <a:gd name="connsiteX1021" fmla="*/ 427548 w 4354450"/>
              <a:gd name="connsiteY1021" fmla="*/ 1053262 h 4517685"/>
              <a:gd name="connsiteX1022" fmla="*/ 421866 w 4354450"/>
              <a:gd name="connsiteY1022" fmla="*/ 1088772 h 4517685"/>
              <a:gd name="connsiteX1023" fmla="*/ 421866 w 4354450"/>
              <a:gd name="connsiteY1023" fmla="*/ 1181101 h 4517685"/>
              <a:gd name="connsiteX1024" fmla="*/ 404723 w 4354450"/>
              <a:gd name="connsiteY1024" fmla="*/ 1194289 h 4517685"/>
              <a:gd name="connsiteX1025" fmla="*/ 404821 w 4354450"/>
              <a:gd name="connsiteY1025" fmla="*/ 1193884 h 4517685"/>
              <a:gd name="connsiteX1026" fmla="*/ 403483 w 4354450"/>
              <a:gd name="connsiteY1026" fmla="*/ 1194260 h 4517685"/>
              <a:gd name="connsiteX1027" fmla="*/ 404311 w 4354450"/>
              <a:gd name="connsiteY1027" fmla="*/ 1183587 h 4517685"/>
              <a:gd name="connsiteX1028" fmla="*/ 384935 w 4354450"/>
              <a:gd name="connsiteY1028" fmla="*/ 1173998 h 4517685"/>
              <a:gd name="connsiteX1029" fmla="*/ 390617 w 4354450"/>
              <a:gd name="connsiteY1029" fmla="*/ 1166896 h 4517685"/>
              <a:gd name="connsiteX1030" fmla="*/ 396299 w 4354450"/>
              <a:gd name="connsiteY1030" fmla="*/ 1088772 h 4517685"/>
              <a:gd name="connsiteX1031" fmla="*/ 352266 w 4354450"/>
              <a:gd name="connsiteY1031" fmla="*/ 1081671 h 4517685"/>
              <a:gd name="connsiteX1032" fmla="*/ 333800 w 4354450"/>
              <a:gd name="connsiteY1032" fmla="*/ 1039058 h 4517685"/>
              <a:gd name="connsiteX1033" fmla="*/ 321017 w 4354450"/>
              <a:gd name="connsiteY1033" fmla="*/ 1088772 h 4517685"/>
              <a:gd name="connsiteX1034" fmla="*/ 315335 w 4354450"/>
              <a:gd name="connsiteY1034" fmla="*/ 1031955 h 4517685"/>
              <a:gd name="connsiteX1035" fmla="*/ 321017 w 4354450"/>
              <a:gd name="connsiteY1035" fmla="*/ 1003546 h 4517685"/>
              <a:gd name="connsiteX1036" fmla="*/ 365049 w 4354450"/>
              <a:gd name="connsiteY1036" fmla="*/ 1010649 h 4517685"/>
              <a:gd name="connsiteX1037" fmla="*/ 370731 w 4354450"/>
              <a:gd name="connsiteY1037" fmla="*/ 919740 h 4517685"/>
              <a:gd name="connsiteX1038" fmla="*/ 365049 w 4354450"/>
              <a:gd name="connsiteY1038" fmla="*/ 862923 h 4517685"/>
              <a:gd name="connsiteX1039" fmla="*/ 370731 w 4354450"/>
              <a:gd name="connsiteY1039" fmla="*/ 820311 h 4517685"/>
              <a:gd name="connsiteX1040" fmla="*/ 365049 w 4354450"/>
              <a:gd name="connsiteY1040" fmla="*/ 813209 h 4517685"/>
              <a:gd name="connsiteX1041" fmla="*/ 370731 w 4354450"/>
              <a:gd name="connsiteY1041" fmla="*/ 791902 h 4517685"/>
              <a:gd name="connsiteX1042" fmla="*/ 365049 w 4354450"/>
              <a:gd name="connsiteY1042" fmla="*/ 763493 h 4517685"/>
              <a:gd name="connsiteX1043" fmla="*/ 352266 w 4354450"/>
              <a:gd name="connsiteY1043" fmla="*/ 742188 h 4517685"/>
              <a:gd name="connsiteX1044" fmla="*/ 333800 w 4354450"/>
              <a:gd name="connsiteY1044" fmla="*/ 770596 h 4517685"/>
              <a:gd name="connsiteX1045" fmla="*/ 321017 w 4354450"/>
              <a:gd name="connsiteY1045" fmla="*/ 742188 h 4517685"/>
              <a:gd name="connsiteX1046" fmla="*/ 302550 w 4354450"/>
              <a:gd name="connsiteY1046" fmla="*/ 784801 h 4517685"/>
              <a:gd name="connsiteX1047" fmla="*/ 321017 w 4354450"/>
              <a:gd name="connsiteY1047" fmla="*/ 855822 h 4517685"/>
              <a:gd name="connsiteX1048" fmla="*/ 357948 w 4354450"/>
              <a:gd name="connsiteY1048" fmla="*/ 877128 h 4517685"/>
              <a:gd name="connsiteX1049" fmla="*/ 333800 w 4354450"/>
              <a:gd name="connsiteY1049" fmla="*/ 926843 h 4517685"/>
              <a:gd name="connsiteX1050" fmla="*/ 309653 w 4354450"/>
              <a:gd name="connsiteY1050" fmla="*/ 898435 h 4517685"/>
              <a:gd name="connsiteX1051" fmla="*/ 303971 w 4354450"/>
              <a:gd name="connsiteY1051" fmla="*/ 1017751 h 4517685"/>
              <a:gd name="connsiteX1052" fmla="*/ 279823 w 4354450"/>
              <a:gd name="connsiteY1052" fmla="*/ 982241 h 4517685"/>
              <a:gd name="connsiteX1053" fmla="*/ 285505 w 4354450"/>
              <a:gd name="connsiteY1053" fmla="*/ 946729 h 4517685"/>
              <a:gd name="connsiteX1054" fmla="*/ 285505 w 4354450"/>
              <a:gd name="connsiteY1054" fmla="*/ 875708 h 4517685"/>
              <a:gd name="connsiteX1055" fmla="*/ 279823 w 4354450"/>
              <a:gd name="connsiteY1055" fmla="*/ 854402 h 4517685"/>
              <a:gd name="connsiteX1056" fmla="*/ 285505 w 4354450"/>
              <a:gd name="connsiteY1056" fmla="*/ 840196 h 4517685"/>
              <a:gd name="connsiteX1057" fmla="*/ 298290 w 4354450"/>
              <a:gd name="connsiteY1057" fmla="*/ 790482 h 4517685"/>
              <a:gd name="connsiteX1058" fmla="*/ 285505 w 4354450"/>
              <a:gd name="connsiteY1058" fmla="*/ 762074 h 4517685"/>
              <a:gd name="connsiteX1059" fmla="*/ 291187 w 4354450"/>
              <a:gd name="connsiteY1059" fmla="*/ 740767 h 4517685"/>
              <a:gd name="connsiteX1060" fmla="*/ 278404 w 4354450"/>
              <a:gd name="connsiteY1060" fmla="*/ 733665 h 4517685"/>
              <a:gd name="connsiteX1061" fmla="*/ 365049 w 4354450"/>
              <a:gd name="connsiteY1061" fmla="*/ 726562 h 4517685"/>
              <a:gd name="connsiteX1062" fmla="*/ 390617 w 4354450"/>
              <a:gd name="connsiteY1062" fmla="*/ 691052 h 4517685"/>
              <a:gd name="connsiteX1063" fmla="*/ 390617 w 4354450"/>
              <a:gd name="connsiteY1063" fmla="*/ 598724 h 4517685"/>
              <a:gd name="connsiteX1064" fmla="*/ 377834 w 4354450"/>
              <a:gd name="connsiteY1064" fmla="*/ 563215 h 4517685"/>
              <a:gd name="connsiteX1065" fmla="*/ 396299 w 4354450"/>
              <a:gd name="connsiteY1065" fmla="*/ 556112 h 4517685"/>
              <a:gd name="connsiteX1066" fmla="*/ 377834 w 4354450"/>
              <a:gd name="connsiteY1066" fmla="*/ 549010 h 4517685"/>
              <a:gd name="connsiteX1067" fmla="*/ 396299 w 4354450"/>
              <a:gd name="connsiteY1067" fmla="*/ 527702 h 4517685"/>
              <a:gd name="connsiteX1068" fmla="*/ 383515 w 4354450"/>
              <a:gd name="connsiteY1068" fmla="*/ 513498 h 4517685"/>
              <a:gd name="connsiteX1069" fmla="*/ 401980 w 4354450"/>
              <a:gd name="connsiteY1069" fmla="*/ 485091 h 4517685"/>
              <a:gd name="connsiteX1070" fmla="*/ 407662 w 4354450"/>
              <a:gd name="connsiteY1070" fmla="*/ 406967 h 4517685"/>
              <a:gd name="connsiteX1071" fmla="*/ 401980 w 4354450"/>
              <a:gd name="connsiteY1071" fmla="*/ 385661 h 4517685"/>
              <a:gd name="connsiteX1072" fmla="*/ 401980 w 4354450"/>
              <a:gd name="connsiteY1072" fmla="*/ 335945 h 4517685"/>
              <a:gd name="connsiteX1073" fmla="*/ 370731 w 4354450"/>
              <a:gd name="connsiteY1073" fmla="*/ 392764 h 4517685"/>
              <a:gd name="connsiteX1074" fmla="*/ 376413 w 4354450"/>
              <a:gd name="connsiteY1074" fmla="*/ 293334 h 4517685"/>
              <a:gd name="connsiteX1075" fmla="*/ 400561 w 4354450"/>
              <a:gd name="connsiteY1075" fmla="*/ 286231 h 4517685"/>
              <a:gd name="connsiteX1076" fmla="*/ 382094 w 4354450"/>
              <a:gd name="connsiteY1076" fmla="*/ 257823 h 4517685"/>
              <a:gd name="connsiteX1077" fmla="*/ 376413 w 4354450"/>
              <a:gd name="connsiteY1077" fmla="*/ 229414 h 4517685"/>
              <a:gd name="connsiteX1078" fmla="*/ 382094 w 4354450"/>
              <a:gd name="connsiteY1078" fmla="*/ 208108 h 4517685"/>
              <a:gd name="connsiteX1079" fmla="*/ 363629 w 4354450"/>
              <a:gd name="connsiteY1079" fmla="*/ 264925 h 4517685"/>
              <a:gd name="connsiteX1080" fmla="*/ 350845 w 4354450"/>
              <a:gd name="connsiteY1080" fmla="*/ 314640 h 4517685"/>
              <a:gd name="connsiteX1081" fmla="*/ 356527 w 4354450"/>
              <a:gd name="connsiteY1081" fmla="*/ 321741 h 4517685"/>
              <a:gd name="connsiteX1082" fmla="*/ 343743 w 4354450"/>
              <a:gd name="connsiteY1082" fmla="*/ 328844 h 4517685"/>
              <a:gd name="connsiteX1083" fmla="*/ 338062 w 4354450"/>
              <a:gd name="connsiteY1083" fmla="*/ 335945 h 4517685"/>
              <a:gd name="connsiteX1084" fmla="*/ 338062 w 4354450"/>
              <a:gd name="connsiteY1084" fmla="*/ 350151 h 4517685"/>
              <a:gd name="connsiteX1085" fmla="*/ 356527 w 4354450"/>
              <a:gd name="connsiteY1085" fmla="*/ 371457 h 4517685"/>
              <a:gd name="connsiteX1086" fmla="*/ 338062 w 4354450"/>
              <a:gd name="connsiteY1086" fmla="*/ 371457 h 4517685"/>
              <a:gd name="connsiteX1087" fmla="*/ 332380 w 4354450"/>
              <a:gd name="connsiteY1087" fmla="*/ 442478 h 4517685"/>
              <a:gd name="connsiteX1088" fmla="*/ 338062 w 4354450"/>
              <a:gd name="connsiteY1088" fmla="*/ 449581 h 4517685"/>
              <a:gd name="connsiteX1089" fmla="*/ 338062 w 4354450"/>
              <a:gd name="connsiteY1089" fmla="*/ 547590 h 4517685"/>
              <a:gd name="connsiteX1090" fmla="*/ 332380 w 4354450"/>
              <a:gd name="connsiteY1090" fmla="*/ 561793 h 4517685"/>
              <a:gd name="connsiteX1091" fmla="*/ 332380 w 4354450"/>
              <a:gd name="connsiteY1091" fmla="*/ 583100 h 4517685"/>
              <a:gd name="connsiteX1092" fmla="*/ 332380 w 4354450"/>
              <a:gd name="connsiteY1092" fmla="*/ 618610 h 4517685"/>
              <a:gd name="connsiteX1093" fmla="*/ 326698 w 4354450"/>
              <a:gd name="connsiteY1093" fmla="*/ 625713 h 4517685"/>
              <a:gd name="connsiteX1094" fmla="*/ 321017 w 4354450"/>
              <a:gd name="connsiteY1094" fmla="*/ 668325 h 4517685"/>
              <a:gd name="connsiteX1095" fmla="*/ 308232 w 4354450"/>
              <a:gd name="connsiteY1095" fmla="*/ 689631 h 4517685"/>
              <a:gd name="connsiteX1096" fmla="*/ 295449 w 4354450"/>
              <a:gd name="connsiteY1096" fmla="*/ 647018 h 4517685"/>
              <a:gd name="connsiteX1097" fmla="*/ 276983 w 4354450"/>
              <a:gd name="connsiteY1097" fmla="*/ 675427 h 4517685"/>
              <a:gd name="connsiteX1098" fmla="*/ 289767 w 4354450"/>
              <a:gd name="connsiteY1098" fmla="*/ 577420 h 4517685"/>
              <a:gd name="connsiteX1099" fmla="*/ 295449 w 4354450"/>
              <a:gd name="connsiteY1099" fmla="*/ 520602 h 4517685"/>
              <a:gd name="connsiteX1100" fmla="*/ 295449 w 4354450"/>
              <a:gd name="connsiteY1100" fmla="*/ 506398 h 4517685"/>
              <a:gd name="connsiteX1101" fmla="*/ 301131 w 4354450"/>
              <a:gd name="connsiteY1101" fmla="*/ 499295 h 4517685"/>
              <a:gd name="connsiteX1102" fmla="*/ 295449 w 4354450"/>
              <a:gd name="connsiteY1102" fmla="*/ 463785 h 4517685"/>
              <a:gd name="connsiteX1103" fmla="*/ 301131 w 4354450"/>
              <a:gd name="connsiteY1103" fmla="*/ 442478 h 4517685"/>
              <a:gd name="connsiteX1104" fmla="*/ 301131 w 4354450"/>
              <a:gd name="connsiteY1104" fmla="*/ 385661 h 4517685"/>
              <a:gd name="connsiteX1105" fmla="*/ 306812 w 4354450"/>
              <a:gd name="connsiteY1105" fmla="*/ 350151 h 4517685"/>
              <a:gd name="connsiteX1106" fmla="*/ 312494 w 4354450"/>
              <a:gd name="connsiteY1106" fmla="*/ 343047 h 4517685"/>
              <a:gd name="connsiteX1107" fmla="*/ 306812 w 4354450"/>
              <a:gd name="connsiteY1107" fmla="*/ 307538 h 4517685"/>
              <a:gd name="connsiteX1108" fmla="*/ 312494 w 4354450"/>
              <a:gd name="connsiteY1108" fmla="*/ 293334 h 4517685"/>
              <a:gd name="connsiteX1109" fmla="*/ 299709 w 4354450"/>
              <a:gd name="connsiteY1109" fmla="*/ 257823 h 4517685"/>
              <a:gd name="connsiteX1110" fmla="*/ 286926 w 4354450"/>
              <a:gd name="connsiteY1110" fmla="*/ 236517 h 4517685"/>
              <a:gd name="connsiteX1111" fmla="*/ 281245 w 4354450"/>
              <a:gd name="connsiteY1111" fmla="*/ 264925 h 4517685"/>
              <a:gd name="connsiteX1112" fmla="*/ 275563 w 4354450"/>
              <a:gd name="connsiteY1112" fmla="*/ 272025 h 4517685"/>
              <a:gd name="connsiteX1113" fmla="*/ 281245 w 4354450"/>
              <a:gd name="connsiteY1113" fmla="*/ 279128 h 4517685"/>
              <a:gd name="connsiteX1114" fmla="*/ 275563 w 4354450"/>
              <a:gd name="connsiteY1114" fmla="*/ 286231 h 4517685"/>
              <a:gd name="connsiteX1115" fmla="*/ 275563 w 4354450"/>
              <a:gd name="connsiteY1115" fmla="*/ 307538 h 4517685"/>
              <a:gd name="connsiteX1116" fmla="*/ 275563 w 4354450"/>
              <a:gd name="connsiteY1116" fmla="*/ 328844 h 4517685"/>
              <a:gd name="connsiteX1117" fmla="*/ 257097 w 4354450"/>
              <a:gd name="connsiteY1117" fmla="*/ 293334 h 4517685"/>
              <a:gd name="connsiteX1118" fmla="*/ 269881 w 4354450"/>
              <a:gd name="connsiteY1118" fmla="*/ 264925 h 4517685"/>
              <a:gd name="connsiteX1119" fmla="*/ 275563 w 4354450"/>
              <a:gd name="connsiteY1119" fmla="*/ 236517 h 4517685"/>
              <a:gd name="connsiteX1120" fmla="*/ 269881 w 4354450"/>
              <a:gd name="connsiteY1120" fmla="*/ 201005 h 4517685"/>
              <a:gd name="connsiteX1121" fmla="*/ 306812 w 4354450"/>
              <a:gd name="connsiteY1121" fmla="*/ 193904 h 4517685"/>
              <a:gd name="connsiteX1122" fmla="*/ 312494 w 4354450"/>
              <a:gd name="connsiteY1122" fmla="*/ 222313 h 4517685"/>
              <a:gd name="connsiteX1123" fmla="*/ 312494 w 4354450"/>
              <a:gd name="connsiteY1123" fmla="*/ 193904 h 4517685"/>
              <a:gd name="connsiteX1124" fmla="*/ 318176 w 4354450"/>
              <a:gd name="connsiteY1124" fmla="*/ 172597 h 4517685"/>
              <a:gd name="connsiteX1125" fmla="*/ 323857 w 4354450"/>
              <a:gd name="connsiteY1125" fmla="*/ 158391 h 4517685"/>
              <a:gd name="connsiteX1126" fmla="*/ 305391 w 4354450"/>
              <a:gd name="connsiteY1126" fmla="*/ 137087 h 4517685"/>
              <a:gd name="connsiteX1127" fmla="*/ 261359 w 4354450"/>
              <a:gd name="connsiteY1127" fmla="*/ 179700 h 4517685"/>
              <a:gd name="connsiteX1128" fmla="*/ 237211 w 4354450"/>
              <a:gd name="connsiteY1128" fmla="*/ 306116 h 4517685"/>
              <a:gd name="connsiteX1129" fmla="*/ 224428 w 4354450"/>
              <a:gd name="connsiteY1129" fmla="*/ 284811 h 4517685"/>
              <a:gd name="connsiteX1130" fmla="*/ 224428 w 4354450"/>
              <a:gd name="connsiteY1130" fmla="*/ 256403 h 4517685"/>
              <a:gd name="connsiteX1131" fmla="*/ 230109 w 4354450"/>
              <a:gd name="connsiteY1131" fmla="*/ 249300 h 4517685"/>
              <a:gd name="connsiteX1132" fmla="*/ 224428 w 4354450"/>
              <a:gd name="connsiteY1132" fmla="*/ 213790 h 4517685"/>
              <a:gd name="connsiteX1133" fmla="*/ 211643 w 4354450"/>
              <a:gd name="connsiteY1133" fmla="*/ 178279 h 4517685"/>
              <a:gd name="connsiteX1134" fmla="*/ 205961 w 4354450"/>
              <a:gd name="connsiteY1134" fmla="*/ 242197 h 4517685"/>
              <a:gd name="connsiteX1135" fmla="*/ 200280 w 4354450"/>
              <a:gd name="connsiteY1135" fmla="*/ 270607 h 4517685"/>
              <a:gd name="connsiteX1136" fmla="*/ 213064 w 4354450"/>
              <a:gd name="connsiteY1136" fmla="*/ 306116 h 4517685"/>
              <a:gd name="connsiteX1137" fmla="*/ 194598 w 4354450"/>
              <a:gd name="connsiteY1137" fmla="*/ 341628 h 4517685"/>
              <a:gd name="connsiteX1138" fmla="*/ 200280 w 4354450"/>
              <a:gd name="connsiteY1138" fmla="*/ 355833 h 4517685"/>
              <a:gd name="connsiteX1139" fmla="*/ 237211 w 4354450"/>
              <a:gd name="connsiteY1139" fmla="*/ 355833 h 4517685"/>
              <a:gd name="connsiteX1140" fmla="*/ 218746 w 4354450"/>
              <a:gd name="connsiteY1140" fmla="*/ 391343 h 4517685"/>
              <a:gd name="connsiteX1141" fmla="*/ 224428 w 4354450"/>
              <a:gd name="connsiteY1141" fmla="*/ 433954 h 4517685"/>
              <a:gd name="connsiteX1142" fmla="*/ 218746 w 4354450"/>
              <a:gd name="connsiteY1142" fmla="*/ 448158 h 4517685"/>
              <a:gd name="connsiteX1143" fmla="*/ 224428 w 4354450"/>
              <a:gd name="connsiteY1143" fmla="*/ 455263 h 4517685"/>
              <a:gd name="connsiteX1144" fmla="*/ 211643 w 4354450"/>
              <a:gd name="connsiteY1144" fmla="*/ 497876 h 4517685"/>
              <a:gd name="connsiteX1145" fmla="*/ 217325 w 4354450"/>
              <a:gd name="connsiteY1145" fmla="*/ 512080 h 4517685"/>
              <a:gd name="connsiteX1146" fmla="*/ 217325 w 4354450"/>
              <a:gd name="connsiteY1146" fmla="*/ 540488 h 4517685"/>
              <a:gd name="connsiteX1147" fmla="*/ 211643 w 4354450"/>
              <a:gd name="connsiteY1147" fmla="*/ 547590 h 4517685"/>
              <a:gd name="connsiteX1148" fmla="*/ 217325 w 4354450"/>
              <a:gd name="connsiteY1148" fmla="*/ 575997 h 4517685"/>
              <a:gd name="connsiteX1149" fmla="*/ 211643 w 4354450"/>
              <a:gd name="connsiteY1149" fmla="*/ 583100 h 4517685"/>
              <a:gd name="connsiteX1150" fmla="*/ 217325 w 4354450"/>
              <a:gd name="connsiteY1150" fmla="*/ 597304 h 4517685"/>
              <a:gd name="connsiteX1151" fmla="*/ 198860 w 4354450"/>
              <a:gd name="connsiteY1151" fmla="*/ 611508 h 4517685"/>
              <a:gd name="connsiteX1152" fmla="*/ 193178 w 4354450"/>
              <a:gd name="connsiteY1152" fmla="*/ 639917 h 4517685"/>
              <a:gd name="connsiteX1153" fmla="*/ 174712 w 4354450"/>
              <a:gd name="connsiteY1153" fmla="*/ 618610 h 4517685"/>
              <a:gd name="connsiteX1154" fmla="*/ 169030 w 4354450"/>
              <a:gd name="connsiteY1154" fmla="*/ 647018 h 4517685"/>
              <a:gd name="connsiteX1155" fmla="*/ 156247 w 4354450"/>
              <a:gd name="connsiteY1155" fmla="*/ 696734 h 4517685"/>
              <a:gd name="connsiteX1156" fmla="*/ 150565 w 4354450"/>
              <a:gd name="connsiteY1156" fmla="*/ 682530 h 4517685"/>
              <a:gd name="connsiteX1157" fmla="*/ 169030 w 4354450"/>
              <a:gd name="connsiteY1157" fmla="*/ 725143 h 4517685"/>
              <a:gd name="connsiteX1158" fmla="*/ 134940 w 4354450"/>
              <a:gd name="connsiteY1158" fmla="*/ 781960 h 4517685"/>
              <a:gd name="connsiteX1159" fmla="*/ 164770 w 4354450"/>
              <a:gd name="connsiteY1159" fmla="*/ 810368 h 4517685"/>
              <a:gd name="connsiteX1160" fmla="*/ 140622 w 4354450"/>
              <a:gd name="connsiteY1160" fmla="*/ 803265 h 4517685"/>
              <a:gd name="connsiteX1161" fmla="*/ 129258 w 4354450"/>
              <a:gd name="connsiteY1161" fmla="*/ 868606 h 4517685"/>
              <a:gd name="connsiteX1162" fmla="*/ 123576 w 4354450"/>
              <a:gd name="connsiteY1162" fmla="*/ 897015 h 4517685"/>
              <a:gd name="connsiteX1163" fmla="*/ 129258 w 4354450"/>
              <a:gd name="connsiteY1163" fmla="*/ 932525 h 4517685"/>
              <a:gd name="connsiteX1164" fmla="*/ 142043 w 4354450"/>
              <a:gd name="connsiteY1164" fmla="*/ 882811 h 4517685"/>
              <a:gd name="connsiteX1165" fmla="*/ 147724 w 4354450"/>
              <a:gd name="connsiteY1165" fmla="*/ 818891 h 4517685"/>
              <a:gd name="connsiteX1166" fmla="*/ 160508 w 4354450"/>
              <a:gd name="connsiteY1166" fmla="*/ 861504 h 4517685"/>
              <a:gd name="connsiteX1167" fmla="*/ 154826 w 4354450"/>
              <a:gd name="connsiteY1167" fmla="*/ 897015 h 4517685"/>
              <a:gd name="connsiteX1168" fmla="*/ 142043 w 4354450"/>
              <a:gd name="connsiteY1168" fmla="*/ 918321 h 4517685"/>
              <a:gd name="connsiteX1169" fmla="*/ 154826 w 4354450"/>
              <a:gd name="connsiteY1169" fmla="*/ 932525 h 4517685"/>
              <a:gd name="connsiteX1170" fmla="*/ 149144 w 4354450"/>
              <a:gd name="connsiteY1170" fmla="*/ 960934 h 4517685"/>
              <a:gd name="connsiteX1171" fmla="*/ 130679 w 4354450"/>
              <a:gd name="connsiteY1171" fmla="*/ 946729 h 4517685"/>
              <a:gd name="connsiteX1172" fmla="*/ 136361 w 4354450"/>
              <a:gd name="connsiteY1172" fmla="*/ 968037 h 4517685"/>
              <a:gd name="connsiteX1173" fmla="*/ 117895 w 4354450"/>
              <a:gd name="connsiteY1173" fmla="*/ 996445 h 4517685"/>
              <a:gd name="connsiteX1174" fmla="*/ 112213 w 4354450"/>
              <a:gd name="connsiteY1174" fmla="*/ 1003546 h 4517685"/>
              <a:gd name="connsiteX1175" fmla="*/ 116475 w 4354450"/>
              <a:gd name="connsiteY1175" fmla="*/ 1026273 h 4517685"/>
              <a:gd name="connsiteX1176" fmla="*/ 106531 w 4354450"/>
              <a:gd name="connsiteY1176" fmla="*/ 1043318 h 4517685"/>
              <a:gd name="connsiteX1177" fmla="*/ 113634 w 4354450"/>
              <a:gd name="connsiteY1177" fmla="*/ 1058942 h 4517685"/>
              <a:gd name="connsiteX1178" fmla="*/ 98009 w 4354450"/>
              <a:gd name="connsiteY1178" fmla="*/ 1064624 h 4517685"/>
              <a:gd name="connsiteX1179" fmla="*/ 85226 w 4354450"/>
              <a:gd name="connsiteY1179" fmla="*/ 1093033 h 4517685"/>
              <a:gd name="connsiteX1180" fmla="*/ 90907 w 4354450"/>
              <a:gd name="connsiteY1180" fmla="*/ 1142748 h 4517685"/>
              <a:gd name="connsiteX1181" fmla="*/ 103690 w 4354450"/>
              <a:gd name="connsiteY1181" fmla="*/ 1171157 h 4517685"/>
              <a:gd name="connsiteX1182" fmla="*/ 82385 w 4354450"/>
              <a:gd name="connsiteY1182" fmla="*/ 1168316 h 4517685"/>
              <a:gd name="connsiteX1183" fmla="*/ 59658 w 4354450"/>
              <a:gd name="connsiteY1183" fmla="*/ 1281950 h 4517685"/>
              <a:gd name="connsiteX1184" fmla="*/ 71021 w 4354450"/>
              <a:gd name="connsiteY1184" fmla="*/ 1118600 h 4517685"/>
              <a:gd name="connsiteX1185" fmla="*/ 69600 w 4354450"/>
              <a:gd name="connsiteY1185" fmla="*/ 1080249 h 4517685"/>
              <a:gd name="connsiteX1186" fmla="*/ 66759 w 4354450"/>
              <a:gd name="connsiteY1186" fmla="*/ 1061783 h 4517685"/>
              <a:gd name="connsiteX1187" fmla="*/ 72441 w 4354450"/>
              <a:gd name="connsiteY1187" fmla="*/ 1046159 h 4517685"/>
              <a:gd name="connsiteX1188" fmla="*/ 69600 w 4354450"/>
              <a:gd name="connsiteY1188" fmla="*/ 1027694 h 4517685"/>
              <a:gd name="connsiteX1189" fmla="*/ 69600 w 4354450"/>
              <a:gd name="connsiteY1189" fmla="*/ 1013490 h 4517685"/>
              <a:gd name="connsiteX1190" fmla="*/ 75282 w 4354450"/>
              <a:gd name="connsiteY1190" fmla="*/ 977979 h 4517685"/>
              <a:gd name="connsiteX1191" fmla="*/ 69600 w 4354450"/>
              <a:gd name="connsiteY1191" fmla="*/ 970877 h 4517685"/>
              <a:gd name="connsiteX1192" fmla="*/ 75282 w 4354450"/>
              <a:gd name="connsiteY1192" fmla="*/ 963774 h 4517685"/>
              <a:gd name="connsiteX1193" fmla="*/ 62499 w 4354450"/>
              <a:gd name="connsiteY1193" fmla="*/ 935366 h 4517685"/>
              <a:gd name="connsiteX1194" fmla="*/ 93748 w 4354450"/>
              <a:gd name="connsiteY1194" fmla="*/ 928265 h 4517685"/>
              <a:gd name="connsiteX1195" fmla="*/ 93748 w 4354450"/>
              <a:gd name="connsiteY1195" fmla="*/ 823151 h 4517685"/>
              <a:gd name="connsiteX1196" fmla="*/ 88066 w 4354450"/>
              <a:gd name="connsiteY1196" fmla="*/ 794743 h 4517685"/>
              <a:gd name="connsiteX1197" fmla="*/ 100850 w 4354450"/>
              <a:gd name="connsiteY1197" fmla="*/ 766334 h 4517685"/>
              <a:gd name="connsiteX1198" fmla="*/ 69600 w 4354450"/>
              <a:gd name="connsiteY1198" fmla="*/ 766334 h 4517685"/>
              <a:gd name="connsiteX1199" fmla="*/ 82385 w 4354450"/>
              <a:gd name="connsiteY1199" fmla="*/ 716620 h 4517685"/>
              <a:gd name="connsiteX1200" fmla="*/ 105112 w 4354450"/>
              <a:gd name="connsiteY1200" fmla="*/ 716620 h 4517685"/>
              <a:gd name="connsiteX1201" fmla="*/ 86645 w 4354450"/>
              <a:gd name="connsiteY1201" fmla="*/ 695313 h 4517685"/>
              <a:gd name="connsiteX1202" fmla="*/ 92327 w 4354450"/>
              <a:gd name="connsiteY1202" fmla="*/ 624291 h 4517685"/>
              <a:gd name="connsiteX1203" fmla="*/ 61078 w 4354450"/>
              <a:gd name="connsiteY1203" fmla="*/ 624291 h 4517685"/>
              <a:gd name="connsiteX1204" fmla="*/ 61078 w 4354450"/>
              <a:gd name="connsiteY1204" fmla="*/ 581679 h 4517685"/>
              <a:gd name="connsiteX1205" fmla="*/ 66759 w 4354450"/>
              <a:gd name="connsiteY1205" fmla="*/ 574577 h 4517685"/>
              <a:gd name="connsiteX1206" fmla="*/ 66759 w 4354450"/>
              <a:gd name="connsiteY1206" fmla="*/ 546170 h 4517685"/>
              <a:gd name="connsiteX1207" fmla="*/ 85226 w 4354450"/>
              <a:gd name="connsiteY1207" fmla="*/ 546170 h 4517685"/>
              <a:gd name="connsiteX1208" fmla="*/ 79544 w 4354450"/>
              <a:gd name="connsiteY1208" fmla="*/ 539067 h 4517685"/>
              <a:gd name="connsiteX1209" fmla="*/ 73862 w 4354450"/>
              <a:gd name="connsiteY1209" fmla="*/ 531966 h 4517685"/>
              <a:gd name="connsiteX1210" fmla="*/ 79544 w 4354450"/>
              <a:gd name="connsiteY1210" fmla="*/ 482250 h 4517685"/>
              <a:gd name="connsiteX1211" fmla="*/ 92327 w 4354450"/>
              <a:gd name="connsiteY1211" fmla="*/ 418332 h 4517685"/>
              <a:gd name="connsiteX1212" fmla="*/ 98009 w 4354450"/>
              <a:gd name="connsiteY1212" fmla="*/ 468046 h 4517685"/>
              <a:gd name="connsiteX1213" fmla="*/ 85226 w 4354450"/>
              <a:gd name="connsiteY1213" fmla="*/ 475149 h 4517685"/>
              <a:gd name="connsiteX1214" fmla="*/ 116475 w 4354450"/>
              <a:gd name="connsiteY1214" fmla="*/ 482250 h 4517685"/>
              <a:gd name="connsiteX1215" fmla="*/ 129258 w 4354450"/>
              <a:gd name="connsiteY1215" fmla="*/ 489353 h 4517685"/>
              <a:gd name="connsiteX1216" fmla="*/ 134940 w 4354450"/>
              <a:gd name="connsiteY1216" fmla="*/ 468046 h 4517685"/>
              <a:gd name="connsiteX1217" fmla="*/ 116475 w 4354450"/>
              <a:gd name="connsiteY1217" fmla="*/ 475149 h 4517685"/>
              <a:gd name="connsiteX1218" fmla="*/ 103690 w 4354450"/>
              <a:gd name="connsiteY1218" fmla="*/ 453840 h 4517685"/>
              <a:gd name="connsiteX1219" fmla="*/ 103690 w 4354450"/>
              <a:gd name="connsiteY1219" fmla="*/ 425433 h 4517685"/>
              <a:gd name="connsiteX1220" fmla="*/ 129258 w 4354450"/>
              <a:gd name="connsiteY1220" fmla="*/ 389922 h 4517685"/>
              <a:gd name="connsiteX1221" fmla="*/ 123576 w 4354450"/>
              <a:gd name="connsiteY1221" fmla="*/ 411229 h 4517685"/>
              <a:gd name="connsiteX1222" fmla="*/ 105112 w 4354450"/>
              <a:gd name="connsiteY1222" fmla="*/ 354412 h 4517685"/>
              <a:gd name="connsiteX1223" fmla="*/ 86645 w 4354450"/>
              <a:gd name="connsiteY1223" fmla="*/ 389922 h 4517685"/>
              <a:gd name="connsiteX1224" fmla="*/ 80964 w 4354450"/>
              <a:gd name="connsiteY1224" fmla="*/ 375719 h 4517685"/>
              <a:gd name="connsiteX1225" fmla="*/ 86645 w 4354450"/>
              <a:gd name="connsiteY1225" fmla="*/ 368614 h 4517685"/>
              <a:gd name="connsiteX1226" fmla="*/ 105112 w 4354450"/>
              <a:gd name="connsiteY1226" fmla="*/ 311797 h 4517685"/>
              <a:gd name="connsiteX1227" fmla="*/ 105112 w 4354450"/>
              <a:gd name="connsiteY1227" fmla="*/ 276289 h 4517685"/>
              <a:gd name="connsiteX1228" fmla="*/ 99430 w 4354450"/>
              <a:gd name="connsiteY1228" fmla="*/ 269184 h 4517685"/>
              <a:gd name="connsiteX1229" fmla="*/ 105112 w 4354450"/>
              <a:gd name="connsiteY1229" fmla="*/ 191063 h 4517685"/>
              <a:gd name="connsiteX1230" fmla="*/ 123576 w 4354450"/>
              <a:gd name="connsiteY1230" fmla="*/ 176859 h 4517685"/>
              <a:gd name="connsiteX1231" fmla="*/ 123576 w 4354450"/>
              <a:gd name="connsiteY1231" fmla="*/ 148450 h 4517685"/>
              <a:gd name="connsiteX1232" fmla="*/ 123576 w 4354450"/>
              <a:gd name="connsiteY1232" fmla="*/ 105837 h 4517685"/>
              <a:gd name="connsiteX1233" fmla="*/ 136361 w 4354450"/>
              <a:gd name="connsiteY1233" fmla="*/ 91632 h 4517685"/>
              <a:gd name="connsiteX1234" fmla="*/ 130679 w 4354450"/>
              <a:gd name="connsiteY1234" fmla="*/ 56120 h 4517685"/>
              <a:gd name="connsiteX1235" fmla="*/ 143462 w 4354450"/>
              <a:gd name="connsiteY1235" fmla="*/ 41917 h 4517685"/>
              <a:gd name="connsiteX1236" fmla="*/ 130679 w 4354450"/>
              <a:gd name="connsiteY1236" fmla="*/ 20610 h 4517685"/>
              <a:gd name="connsiteX1237" fmla="*/ 142220 w 4354450"/>
              <a:gd name="connsiteY1237" fmla="*/ 2323 h 4517685"/>
              <a:gd name="connsiteX1238" fmla="*/ 112992 w 4354450"/>
              <a:gd name="connsiteY1238" fmla="*/ 0 h 4517685"/>
              <a:gd name="connsiteX1239" fmla="*/ 121281 w 4354450"/>
              <a:gd name="connsiteY1239" fmla="*/ 0 h 4517685"/>
              <a:gd name="connsiteX1240" fmla="*/ 119848 w 4354450"/>
              <a:gd name="connsiteY1240" fmla="*/ 10668 h 4517685"/>
              <a:gd name="connsiteX1241" fmla="*/ 99430 w 4354450"/>
              <a:gd name="connsiteY1241" fmla="*/ 34815 h 4517685"/>
              <a:gd name="connsiteX1242" fmla="*/ 108662 w 4354450"/>
              <a:gd name="connsiteY1242" fmla="*/ 13154 h 451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Lst>
            <a:rect l="l" t="t" r="r" b="b"/>
            <a:pathLst>
              <a:path w="4354450" h="4517685">
                <a:moveTo>
                  <a:pt x="1934622" y="4493537"/>
                </a:moveTo>
                <a:cubicBezTo>
                  <a:pt x="1951667" y="4494958"/>
                  <a:pt x="1937463" y="4514844"/>
                  <a:pt x="1934622" y="4517685"/>
                </a:cubicBezTo>
                <a:cubicBezTo>
                  <a:pt x="1917577" y="4517685"/>
                  <a:pt x="1933203" y="4497799"/>
                  <a:pt x="1934622" y="4493537"/>
                </a:cubicBezTo>
                <a:close/>
                <a:moveTo>
                  <a:pt x="2048169" y="4461800"/>
                </a:moveTo>
                <a:cubicBezTo>
                  <a:pt x="2060951" y="4459536"/>
                  <a:pt x="2084123" y="4470457"/>
                  <a:pt x="2055358" y="4469390"/>
                </a:cubicBezTo>
                <a:lnTo>
                  <a:pt x="2041153" y="4469390"/>
                </a:lnTo>
                <a:cubicBezTo>
                  <a:pt x="2040799" y="4464775"/>
                  <a:pt x="2043906" y="4462554"/>
                  <a:pt x="2048169" y="4461800"/>
                </a:cubicBezTo>
                <a:close/>
                <a:moveTo>
                  <a:pt x="2005643" y="4456607"/>
                </a:moveTo>
                <a:lnTo>
                  <a:pt x="2019848" y="4456607"/>
                </a:lnTo>
                <a:cubicBezTo>
                  <a:pt x="2018428" y="4462288"/>
                  <a:pt x="2022689" y="4462288"/>
                  <a:pt x="2026949" y="4462288"/>
                </a:cubicBezTo>
                <a:cubicBezTo>
                  <a:pt x="2029791" y="4475072"/>
                  <a:pt x="1994280" y="4472231"/>
                  <a:pt x="2005643" y="4456607"/>
                </a:cubicBezTo>
                <a:close/>
                <a:moveTo>
                  <a:pt x="1836613" y="4438141"/>
                </a:moveTo>
                <a:cubicBezTo>
                  <a:pt x="1862181" y="4435300"/>
                  <a:pt x="1865022" y="4453765"/>
                  <a:pt x="1872123" y="4469390"/>
                </a:cubicBezTo>
                <a:cubicBezTo>
                  <a:pt x="1845136" y="4470812"/>
                  <a:pt x="1842294" y="4453765"/>
                  <a:pt x="1836613" y="4438141"/>
                </a:cubicBezTo>
                <a:close/>
                <a:moveTo>
                  <a:pt x="1822409" y="4438141"/>
                </a:moveTo>
                <a:cubicBezTo>
                  <a:pt x="1835192" y="4442403"/>
                  <a:pt x="1822409" y="4449504"/>
                  <a:pt x="1822409" y="4456607"/>
                </a:cubicBezTo>
                <a:cubicBezTo>
                  <a:pt x="1809625" y="4452345"/>
                  <a:pt x="1820988" y="4445242"/>
                  <a:pt x="1822409" y="4438141"/>
                </a:cubicBezTo>
                <a:close/>
                <a:moveTo>
                  <a:pt x="1444753" y="4437031"/>
                </a:moveTo>
                <a:cubicBezTo>
                  <a:pt x="1453542" y="4438496"/>
                  <a:pt x="1455938" y="4445954"/>
                  <a:pt x="1468722" y="4443823"/>
                </a:cubicBezTo>
                <a:cubicBezTo>
                  <a:pt x="1468722" y="4462288"/>
                  <a:pt x="1431791" y="4456607"/>
                  <a:pt x="1433212" y="4438141"/>
                </a:cubicBezTo>
                <a:cubicBezTo>
                  <a:pt x="1438184" y="4436721"/>
                  <a:pt x="1441823" y="4436543"/>
                  <a:pt x="1444753" y="4437031"/>
                </a:cubicBezTo>
                <a:close/>
                <a:moveTo>
                  <a:pt x="1994635" y="4436011"/>
                </a:moveTo>
                <a:cubicBezTo>
                  <a:pt x="2003514" y="4436721"/>
                  <a:pt x="2011325" y="4440982"/>
                  <a:pt x="2005643" y="4449504"/>
                </a:cubicBezTo>
                <a:cubicBezTo>
                  <a:pt x="1992861" y="4450924"/>
                  <a:pt x="1990019" y="4442403"/>
                  <a:pt x="1977235" y="4443823"/>
                </a:cubicBezTo>
                <a:cubicBezTo>
                  <a:pt x="1975815" y="4438141"/>
                  <a:pt x="1985757" y="4435300"/>
                  <a:pt x="1994635" y="4436011"/>
                </a:cubicBezTo>
                <a:close/>
                <a:moveTo>
                  <a:pt x="1920418" y="4432459"/>
                </a:moveTo>
                <a:cubicBezTo>
                  <a:pt x="1927519" y="4436720"/>
                  <a:pt x="1936043" y="4438141"/>
                  <a:pt x="1948827" y="4438141"/>
                </a:cubicBezTo>
                <a:lnTo>
                  <a:pt x="1948827" y="4469390"/>
                </a:lnTo>
                <a:lnTo>
                  <a:pt x="1920418" y="4469390"/>
                </a:lnTo>
                <a:cubicBezTo>
                  <a:pt x="1917577" y="4458027"/>
                  <a:pt x="1926099" y="4458027"/>
                  <a:pt x="1934622" y="4456607"/>
                </a:cubicBezTo>
                <a:cubicBezTo>
                  <a:pt x="1931781" y="4448083"/>
                  <a:pt x="1911895" y="4452345"/>
                  <a:pt x="1920418" y="4432459"/>
                </a:cubicBezTo>
                <a:close/>
                <a:moveTo>
                  <a:pt x="2089449" y="4431038"/>
                </a:moveTo>
                <a:cubicBezTo>
                  <a:pt x="2093710" y="4445242"/>
                  <a:pt x="2079506" y="4443823"/>
                  <a:pt x="2068142" y="4443823"/>
                </a:cubicBezTo>
                <a:cubicBezTo>
                  <a:pt x="2070983" y="4435300"/>
                  <a:pt x="2076665" y="4431038"/>
                  <a:pt x="2089449" y="4431038"/>
                </a:cubicBezTo>
                <a:close/>
                <a:moveTo>
                  <a:pt x="2045571" y="4430950"/>
                </a:moveTo>
                <a:cubicBezTo>
                  <a:pt x="2051631" y="4428819"/>
                  <a:pt x="2060686" y="4440272"/>
                  <a:pt x="2055358" y="4450924"/>
                </a:cubicBezTo>
                <a:cubicBezTo>
                  <a:pt x="2048256" y="4449504"/>
                  <a:pt x="2051097" y="4438141"/>
                  <a:pt x="2041153" y="4438141"/>
                </a:cubicBezTo>
                <a:cubicBezTo>
                  <a:pt x="2041865" y="4433880"/>
                  <a:pt x="2043551" y="4431660"/>
                  <a:pt x="2045571" y="4430950"/>
                </a:cubicBezTo>
                <a:close/>
                <a:moveTo>
                  <a:pt x="421222" y="4428434"/>
                </a:moveTo>
                <a:lnTo>
                  <a:pt x="437137" y="4428909"/>
                </a:lnTo>
                <a:cubicBezTo>
                  <a:pt x="442818" y="4431040"/>
                  <a:pt x="445304" y="4436010"/>
                  <a:pt x="441754" y="4446664"/>
                </a:cubicBezTo>
                <a:lnTo>
                  <a:pt x="422901" y="4443836"/>
                </a:lnTo>
                <a:lnTo>
                  <a:pt x="422755" y="4442935"/>
                </a:lnTo>
                <a:close/>
                <a:moveTo>
                  <a:pt x="2322400" y="4425356"/>
                </a:moveTo>
                <a:cubicBezTo>
                  <a:pt x="2323819" y="4436720"/>
                  <a:pt x="2313877" y="4438141"/>
                  <a:pt x="2315297" y="4449504"/>
                </a:cubicBezTo>
                <a:cubicBezTo>
                  <a:pt x="2296832" y="4456607"/>
                  <a:pt x="2289729" y="4423937"/>
                  <a:pt x="2279787" y="4443823"/>
                </a:cubicBezTo>
                <a:cubicBezTo>
                  <a:pt x="2258480" y="4429618"/>
                  <a:pt x="2308195" y="4428199"/>
                  <a:pt x="2322400" y="4425356"/>
                </a:cubicBezTo>
                <a:close/>
                <a:moveTo>
                  <a:pt x="2857900" y="4419675"/>
                </a:moveTo>
                <a:cubicBezTo>
                  <a:pt x="2862162" y="4432459"/>
                  <a:pt x="2847958" y="4431038"/>
                  <a:pt x="2836595" y="4432459"/>
                </a:cubicBezTo>
                <a:cubicBezTo>
                  <a:pt x="2839435" y="4423937"/>
                  <a:pt x="2845117" y="4419675"/>
                  <a:pt x="2857900" y="4419675"/>
                </a:cubicBezTo>
                <a:close/>
                <a:moveTo>
                  <a:pt x="2809605" y="4419675"/>
                </a:moveTo>
                <a:cubicBezTo>
                  <a:pt x="2836595" y="4413994"/>
                  <a:pt x="2820969" y="4446664"/>
                  <a:pt x="2852219" y="4438141"/>
                </a:cubicBezTo>
                <a:cubicBezTo>
                  <a:pt x="2855059" y="4469390"/>
                  <a:pt x="2830913" y="4440982"/>
                  <a:pt x="2823810" y="4456607"/>
                </a:cubicBezTo>
                <a:cubicBezTo>
                  <a:pt x="2806765" y="4452345"/>
                  <a:pt x="2793981" y="4432459"/>
                  <a:pt x="2809605" y="4419675"/>
                </a:cubicBezTo>
                <a:close/>
                <a:moveTo>
                  <a:pt x="2695971" y="4419675"/>
                </a:moveTo>
                <a:cubicBezTo>
                  <a:pt x="2694552" y="4429618"/>
                  <a:pt x="2684608" y="4433879"/>
                  <a:pt x="2667563" y="4432459"/>
                </a:cubicBezTo>
                <a:cubicBezTo>
                  <a:pt x="2660461" y="4413994"/>
                  <a:pt x="2683188" y="4421096"/>
                  <a:pt x="2695971" y="4419675"/>
                </a:cubicBezTo>
                <a:close/>
                <a:moveTo>
                  <a:pt x="1018359" y="4412086"/>
                </a:moveTo>
                <a:cubicBezTo>
                  <a:pt x="1031142" y="4409822"/>
                  <a:pt x="1054313" y="4420741"/>
                  <a:pt x="1025549" y="4419675"/>
                </a:cubicBezTo>
                <a:lnTo>
                  <a:pt x="1011344" y="4419675"/>
                </a:lnTo>
                <a:cubicBezTo>
                  <a:pt x="1010989" y="4415059"/>
                  <a:pt x="1014097" y="4412840"/>
                  <a:pt x="1018359" y="4412086"/>
                </a:cubicBezTo>
                <a:close/>
                <a:moveTo>
                  <a:pt x="850325" y="4408180"/>
                </a:moveTo>
                <a:cubicBezTo>
                  <a:pt x="855275" y="4408223"/>
                  <a:pt x="859714" y="4409378"/>
                  <a:pt x="863620" y="4412573"/>
                </a:cubicBezTo>
                <a:cubicBezTo>
                  <a:pt x="862199" y="4439561"/>
                  <a:pt x="795439" y="4408311"/>
                  <a:pt x="813905" y="4449504"/>
                </a:cubicBezTo>
                <a:cubicBezTo>
                  <a:pt x="796861" y="4446664"/>
                  <a:pt x="798280" y="4426778"/>
                  <a:pt x="792599" y="4412573"/>
                </a:cubicBezTo>
                <a:cubicBezTo>
                  <a:pt x="816037" y="4417900"/>
                  <a:pt x="835478" y="4408046"/>
                  <a:pt x="850325" y="4408180"/>
                </a:cubicBezTo>
                <a:close/>
                <a:moveTo>
                  <a:pt x="3471525" y="4399790"/>
                </a:moveTo>
                <a:cubicBezTo>
                  <a:pt x="3481467" y="4402630"/>
                  <a:pt x="3477207" y="4415414"/>
                  <a:pt x="3478627" y="4423937"/>
                </a:cubicBezTo>
                <a:cubicBezTo>
                  <a:pt x="3461583" y="4426778"/>
                  <a:pt x="3463003" y="4412573"/>
                  <a:pt x="3443117" y="4418255"/>
                </a:cubicBezTo>
                <a:cubicBezTo>
                  <a:pt x="3444537" y="4405470"/>
                  <a:pt x="3474365" y="4416834"/>
                  <a:pt x="3471525" y="4399790"/>
                </a:cubicBezTo>
                <a:close/>
                <a:moveTo>
                  <a:pt x="1843715" y="4399790"/>
                </a:moveTo>
                <a:cubicBezTo>
                  <a:pt x="1854013" y="4399435"/>
                  <a:pt x="1865022" y="4400500"/>
                  <a:pt x="1870702" y="4401210"/>
                </a:cubicBezTo>
                <a:cubicBezTo>
                  <a:pt x="1869283" y="4401210"/>
                  <a:pt x="1873545" y="4411152"/>
                  <a:pt x="1877805" y="4406892"/>
                </a:cubicBezTo>
                <a:cubicBezTo>
                  <a:pt x="1884907" y="4398369"/>
                  <a:pt x="1883487" y="4404051"/>
                  <a:pt x="1884907" y="4412573"/>
                </a:cubicBezTo>
                <a:cubicBezTo>
                  <a:pt x="1865022" y="4421096"/>
                  <a:pt x="1833773" y="4421096"/>
                  <a:pt x="1820988" y="4406892"/>
                </a:cubicBezTo>
                <a:cubicBezTo>
                  <a:pt x="1823829" y="4401920"/>
                  <a:pt x="1833418" y="4400145"/>
                  <a:pt x="1843715" y="4399790"/>
                </a:cubicBezTo>
                <a:close/>
                <a:moveTo>
                  <a:pt x="424759" y="4399532"/>
                </a:moveTo>
                <a:lnTo>
                  <a:pt x="434651" y="4402630"/>
                </a:lnTo>
                <a:cubicBezTo>
                  <a:pt x="440333" y="4408311"/>
                  <a:pt x="457378" y="4404051"/>
                  <a:pt x="455958" y="4415414"/>
                </a:cubicBezTo>
                <a:cubicBezTo>
                  <a:pt x="449566" y="4418255"/>
                  <a:pt x="440689" y="4418965"/>
                  <a:pt x="432521" y="4420209"/>
                </a:cubicBezTo>
                <a:lnTo>
                  <a:pt x="420867" y="4425066"/>
                </a:lnTo>
                <a:lnTo>
                  <a:pt x="420447" y="4421096"/>
                </a:lnTo>
                <a:cubicBezTo>
                  <a:pt x="420447" y="4414704"/>
                  <a:pt x="421868" y="4410797"/>
                  <a:pt x="423287" y="4406892"/>
                </a:cubicBezTo>
                <a:close/>
                <a:moveTo>
                  <a:pt x="1680366" y="4394107"/>
                </a:moveTo>
                <a:cubicBezTo>
                  <a:pt x="1688889" y="4395528"/>
                  <a:pt x="1687468" y="4405470"/>
                  <a:pt x="1687468" y="4412573"/>
                </a:cubicBezTo>
                <a:cubicBezTo>
                  <a:pt x="1681786" y="4409732"/>
                  <a:pt x="1676104" y="4406892"/>
                  <a:pt x="1666162" y="4406892"/>
                </a:cubicBezTo>
                <a:cubicBezTo>
                  <a:pt x="1667582" y="4399790"/>
                  <a:pt x="1680366" y="4402630"/>
                  <a:pt x="1680366" y="4394107"/>
                </a:cubicBezTo>
                <a:close/>
                <a:moveTo>
                  <a:pt x="1335200" y="4394107"/>
                </a:moveTo>
                <a:cubicBezTo>
                  <a:pt x="1323837" y="4408311"/>
                  <a:pt x="1359348" y="4411152"/>
                  <a:pt x="1356507" y="4399789"/>
                </a:cubicBezTo>
                <a:cubicBezTo>
                  <a:pt x="1352245" y="4399789"/>
                  <a:pt x="1347985" y="4399789"/>
                  <a:pt x="1349405" y="4394107"/>
                </a:cubicBezTo>
                <a:close/>
                <a:moveTo>
                  <a:pt x="2414727" y="4387006"/>
                </a:moveTo>
                <a:cubicBezTo>
                  <a:pt x="2426090" y="4398369"/>
                  <a:pt x="2410466" y="4432459"/>
                  <a:pt x="2436034" y="4431038"/>
                </a:cubicBezTo>
                <a:cubicBezTo>
                  <a:pt x="2421829" y="4445242"/>
                  <a:pt x="2392000" y="4445242"/>
                  <a:pt x="2379217" y="4429618"/>
                </a:cubicBezTo>
                <a:cubicBezTo>
                  <a:pt x="2377795" y="4401210"/>
                  <a:pt x="2399103" y="4432459"/>
                  <a:pt x="2407625" y="4416834"/>
                </a:cubicBezTo>
                <a:cubicBezTo>
                  <a:pt x="2404785" y="4408311"/>
                  <a:pt x="2389159" y="4412573"/>
                  <a:pt x="2379217" y="4411152"/>
                </a:cubicBezTo>
                <a:cubicBezTo>
                  <a:pt x="2380637" y="4394107"/>
                  <a:pt x="2387738" y="4382744"/>
                  <a:pt x="2414727" y="4387006"/>
                </a:cubicBezTo>
                <a:close/>
                <a:moveTo>
                  <a:pt x="2012745" y="4382744"/>
                </a:moveTo>
                <a:cubicBezTo>
                  <a:pt x="2022689" y="4384165"/>
                  <a:pt x="2018428" y="4396948"/>
                  <a:pt x="2019848" y="4406892"/>
                </a:cubicBezTo>
                <a:cubicBezTo>
                  <a:pt x="2009904" y="4405470"/>
                  <a:pt x="1999962" y="4405470"/>
                  <a:pt x="1998541" y="4413994"/>
                </a:cubicBezTo>
                <a:cubicBezTo>
                  <a:pt x="1978656" y="4405470"/>
                  <a:pt x="2021269" y="4401210"/>
                  <a:pt x="2012745" y="4382744"/>
                </a:cubicBezTo>
                <a:close/>
                <a:moveTo>
                  <a:pt x="1306792" y="4382744"/>
                </a:moveTo>
                <a:cubicBezTo>
                  <a:pt x="1301110" y="4401208"/>
                  <a:pt x="1288327" y="4389846"/>
                  <a:pt x="1271282" y="4388425"/>
                </a:cubicBezTo>
                <a:cubicBezTo>
                  <a:pt x="1259918" y="4421096"/>
                  <a:pt x="1312473" y="4396948"/>
                  <a:pt x="1320996" y="4412573"/>
                </a:cubicBezTo>
                <a:cubicBezTo>
                  <a:pt x="1322417" y="4396948"/>
                  <a:pt x="1322417" y="4382744"/>
                  <a:pt x="1306792" y="4382744"/>
                </a:cubicBezTo>
                <a:close/>
                <a:moveTo>
                  <a:pt x="923811" y="4373868"/>
                </a:moveTo>
                <a:cubicBezTo>
                  <a:pt x="929671" y="4374577"/>
                  <a:pt x="936062" y="4376352"/>
                  <a:pt x="947424" y="4378483"/>
                </a:cubicBezTo>
                <a:cubicBezTo>
                  <a:pt x="947424" y="4392687"/>
                  <a:pt x="950267" y="4392687"/>
                  <a:pt x="943164" y="4396948"/>
                </a:cubicBezTo>
                <a:cubicBezTo>
                  <a:pt x="924699" y="4396948"/>
                  <a:pt x="934641" y="4392687"/>
                  <a:pt x="916175" y="4392687"/>
                </a:cubicBezTo>
                <a:cubicBezTo>
                  <a:pt x="911914" y="4382744"/>
                  <a:pt x="900551" y="4389846"/>
                  <a:pt x="903392" y="4375642"/>
                </a:cubicBezTo>
                <a:cubicBezTo>
                  <a:pt x="912626" y="4373513"/>
                  <a:pt x="917953" y="4373158"/>
                  <a:pt x="923811" y="4373868"/>
                </a:cubicBezTo>
                <a:close/>
                <a:moveTo>
                  <a:pt x="1565313" y="4371737"/>
                </a:moveTo>
                <a:cubicBezTo>
                  <a:pt x="1575965" y="4373511"/>
                  <a:pt x="1588749" y="4379903"/>
                  <a:pt x="1596561" y="4382744"/>
                </a:cubicBezTo>
                <a:cubicBezTo>
                  <a:pt x="1593719" y="4395528"/>
                  <a:pt x="1561051" y="4384165"/>
                  <a:pt x="1546846" y="4388425"/>
                </a:cubicBezTo>
                <a:cubicBezTo>
                  <a:pt x="1546136" y="4372801"/>
                  <a:pt x="1554659" y="4369960"/>
                  <a:pt x="1565313" y="4371737"/>
                </a:cubicBezTo>
                <a:close/>
                <a:moveTo>
                  <a:pt x="2272684" y="4368539"/>
                </a:moveTo>
                <a:cubicBezTo>
                  <a:pt x="2282628" y="4371382"/>
                  <a:pt x="2284047" y="4379903"/>
                  <a:pt x="2293991" y="4381324"/>
                </a:cubicBezTo>
                <a:cubicBezTo>
                  <a:pt x="2293991" y="4394107"/>
                  <a:pt x="2271264" y="4385586"/>
                  <a:pt x="2272684" y="4399790"/>
                </a:cubicBezTo>
                <a:cubicBezTo>
                  <a:pt x="2258480" y="4396948"/>
                  <a:pt x="2267002" y="4375642"/>
                  <a:pt x="2244275" y="4381324"/>
                </a:cubicBezTo>
                <a:cubicBezTo>
                  <a:pt x="2240015" y="4364279"/>
                  <a:pt x="2278366" y="4385586"/>
                  <a:pt x="2272684" y="4368539"/>
                </a:cubicBezTo>
                <a:close/>
                <a:moveTo>
                  <a:pt x="1095150" y="4362858"/>
                </a:moveTo>
                <a:cubicBezTo>
                  <a:pt x="1105093" y="4365698"/>
                  <a:pt x="1100831" y="4378483"/>
                  <a:pt x="1102251" y="4387006"/>
                </a:cubicBezTo>
                <a:cubicBezTo>
                  <a:pt x="1090888" y="4381324"/>
                  <a:pt x="1086626" y="4371382"/>
                  <a:pt x="1095150" y="4362858"/>
                </a:cubicBezTo>
                <a:close/>
                <a:moveTo>
                  <a:pt x="1242873" y="4358597"/>
                </a:moveTo>
                <a:cubicBezTo>
                  <a:pt x="1241453" y="4369960"/>
                  <a:pt x="1267021" y="4358597"/>
                  <a:pt x="1271282" y="4364279"/>
                </a:cubicBezTo>
                <a:cubicBezTo>
                  <a:pt x="1278385" y="4372801"/>
                  <a:pt x="1274123" y="4364279"/>
                  <a:pt x="1285486" y="4364279"/>
                </a:cubicBezTo>
                <a:cubicBezTo>
                  <a:pt x="1295430" y="4364279"/>
                  <a:pt x="1298271" y="4369960"/>
                  <a:pt x="1306793" y="4369960"/>
                </a:cubicBezTo>
                <a:cubicBezTo>
                  <a:pt x="1320997" y="4369960"/>
                  <a:pt x="1340883" y="4352915"/>
                  <a:pt x="1335202" y="4382744"/>
                </a:cubicBezTo>
                <a:cubicBezTo>
                  <a:pt x="1353668" y="4384165"/>
                  <a:pt x="1340883" y="4358597"/>
                  <a:pt x="1363610" y="4364279"/>
                </a:cubicBezTo>
                <a:cubicBezTo>
                  <a:pt x="1362191" y="4372801"/>
                  <a:pt x="1374974" y="4398369"/>
                  <a:pt x="1377815" y="4382744"/>
                </a:cubicBezTo>
                <a:cubicBezTo>
                  <a:pt x="1399120" y="4388425"/>
                  <a:pt x="1369292" y="4398369"/>
                  <a:pt x="1377815" y="4413994"/>
                </a:cubicBezTo>
                <a:cubicBezTo>
                  <a:pt x="1390599" y="4412573"/>
                  <a:pt x="1436053" y="4392687"/>
                  <a:pt x="1434632" y="4419675"/>
                </a:cubicBezTo>
                <a:cubicBezTo>
                  <a:pt x="1427529" y="4426778"/>
                  <a:pt x="1393440" y="4411152"/>
                  <a:pt x="1384916" y="4419675"/>
                </a:cubicBezTo>
                <a:cubicBezTo>
                  <a:pt x="1376395" y="4428199"/>
                  <a:pt x="1379236" y="4416834"/>
                  <a:pt x="1363610" y="4419675"/>
                </a:cubicBezTo>
                <a:cubicBezTo>
                  <a:pt x="1360769" y="4419675"/>
                  <a:pt x="1355088" y="4425356"/>
                  <a:pt x="1356507" y="4425356"/>
                </a:cubicBezTo>
                <a:cubicBezTo>
                  <a:pt x="1350827" y="4425356"/>
                  <a:pt x="1349406" y="4418255"/>
                  <a:pt x="1342303" y="4419675"/>
                </a:cubicBezTo>
                <a:cubicBezTo>
                  <a:pt x="1325259" y="4421096"/>
                  <a:pt x="1325259" y="4429618"/>
                  <a:pt x="1313895" y="4419675"/>
                </a:cubicBezTo>
                <a:cubicBezTo>
                  <a:pt x="1313895" y="4419675"/>
                  <a:pt x="1308214" y="4419675"/>
                  <a:pt x="1306793" y="4419675"/>
                </a:cubicBezTo>
                <a:cubicBezTo>
                  <a:pt x="1285486" y="4421096"/>
                  <a:pt x="1257077" y="4431038"/>
                  <a:pt x="1228669" y="4419675"/>
                </a:cubicBezTo>
                <a:cubicBezTo>
                  <a:pt x="1227249" y="4406892"/>
                  <a:pt x="1234352" y="4399790"/>
                  <a:pt x="1249976" y="4401210"/>
                </a:cubicBezTo>
                <a:cubicBezTo>
                  <a:pt x="1248557" y="4394107"/>
                  <a:pt x="1237193" y="4396948"/>
                  <a:pt x="1228669" y="4395528"/>
                </a:cubicBezTo>
                <a:cubicBezTo>
                  <a:pt x="1237193" y="4387006"/>
                  <a:pt x="1231510" y="4385586"/>
                  <a:pt x="1228669" y="4377062"/>
                </a:cubicBezTo>
                <a:lnTo>
                  <a:pt x="1186056" y="4377062"/>
                </a:lnTo>
                <a:cubicBezTo>
                  <a:pt x="1184637" y="4369960"/>
                  <a:pt x="1205943" y="4355756"/>
                  <a:pt x="1207363" y="4371382"/>
                </a:cubicBezTo>
                <a:lnTo>
                  <a:pt x="1216761" y="4366882"/>
                </a:lnTo>
                <a:lnTo>
                  <a:pt x="1217305" y="4367118"/>
                </a:lnTo>
                <a:lnTo>
                  <a:pt x="1217180" y="4366683"/>
                </a:lnTo>
                <a:lnTo>
                  <a:pt x="1224053" y="4363391"/>
                </a:lnTo>
                <a:cubicBezTo>
                  <a:pt x="1229025" y="4360373"/>
                  <a:pt x="1234352" y="4357887"/>
                  <a:pt x="1242873" y="4358597"/>
                </a:cubicBezTo>
                <a:close/>
                <a:moveTo>
                  <a:pt x="1159069" y="4357177"/>
                </a:moveTo>
                <a:cubicBezTo>
                  <a:pt x="1171852" y="4369960"/>
                  <a:pt x="1183217" y="4375642"/>
                  <a:pt x="1173273" y="4394107"/>
                </a:cubicBezTo>
                <a:cubicBezTo>
                  <a:pt x="1163331" y="4385586"/>
                  <a:pt x="1147705" y="4367120"/>
                  <a:pt x="1159069" y="4357177"/>
                </a:cubicBezTo>
                <a:close/>
                <a:moveTo>
                  <a:pt x="1708775" y="4351494"/>
                </a:moveTo>
                <a:cubicBezTo>
                  <a:pt x="1715876" y="4355756"/>
                  <a:pt x="1720138" y="4362858"/>
                  <a:pt x="1722979" y="4369960"/>
                </a:cubicBezTo>
                <a:cubicBezTo>
                  <a:pt x="1741444" y="4371382"/>
                  <a:pt x="1728659" y="4345812"/>
                  <a:pt x="1751388" y="4351494"/>
                </a:cubicBezTo>
                <a:cubicBezTo>
                  <a:pt x="1748547" y="4362858"/>
                  <a:pt x="1757068" y="4364279"/>
                  <a:pt x="1765592" y="4364279"/>
                </a:cubicBezTo>
                <a:cubicBezTo>
                  <a:pt x="1762751" y="4375642"/>
                  <a:pt x="1745706" y="4375642"/>
                  <a:pt x="1744285" y="4388425"/>
                </a:cubicBezTo>
                <a:cubicBezTo>
                  <a:pt x="1735762" y="4384165"/>
                  <a:pt x="1725819" y="4381324"/>
                  <a:pt x="1708775" y="4382744"/>
                </a:cubicBezTo>
                <a:lnTo>
                  <a:pt x="1708775" y="4369960"/>
                </a:lnTo>
                <a:cubicBezTo>
                  <a:pt x="1697410" y="4364279"/>
                  <a:pt x="1678945" y="4381324"/>
                  <a:pt x="1694571" y="4382744"/>
                </a:cubicBezTo>
                <a:cubicBezTo>
                  <a:pt x="1694571" y="4396948"/>
                  <a:pt x="1674685" y="4379903"/>
                  <a:pt x="1680366" y="4369960"/>
                </a:cubicBezTo>
                <a:cubicBezTo>
                  <a:pt x="1690309" y="4364279"/>
                  <a:pt x="1707354" y="4364279"/>
                  <a:pt x="1708775" y="4351494"/>
                </a:cubicBezTo>
                <a:close/>
                <a:moveTo>
                  <a:pt x="1553947" y="4350074"/>
                </a:moveTo>
                <a:lnTo>
                  <a:pt x="1568152" y="4350074"/>
                </a:lnTo>
                <a:lnTo>
                  <a:pt x="1568152" y="4362858"/>
                </a:lnTo>
                <a:lnTo>
                  <a:pt x="1553947" y="4362858"/>
                </a:lnTo>
                <a:close/>
                <a:moveTo>
                  <a:pt x="1046854" y="4350074"/>
                </a:moveTo>
                <a:lnTo>
                  <a:pt x="1046854" y="4362858"/>
                </a:lnTo>
                <a:cubicBezTo>
                  <a:pt x="1053957" y="4362858"/>
                  <a:pt x="1052537" y="4354335"/>
                  <a:pt x="1053957" y="4350074"/>
                </a:cubicBezTo>
                <a:cubicBezTo>
                  <a:pt x="1078105" y="4367120"/>
                  <a:pt x="1031230" y="4372801"/>
                  <a:pt x="1039753" y="4392687"/>
                </a:cubicBezTo>
                <a:cubicBezTo>
                  <a:pt x="1034071" y="4389846"/>
                  <a:pt x="1028389" y="4387006"/>
                  <a:pt x="1018445" y="4387006"/>
                </a:cubicBezTo>
                <a:cubicBezTo>
                  <a:pt x="1015605" y="4375642"/>
                  <a:pt x="1024129" y="4375642"/>
                  <a:pt x="1032650" y="4374221"/>
                </a:cubicBezTo>
                <a:cubicBezTo>
                  <a:pt x="1035492" y="4360017"/>
                  <a:pt x="999981" y="4378483"/>
                  <a:pt x="1011344" y="4355756"/>
                </a:cubicBezTo>
                <a:cubicBezTo>
                  <a:pt x="1031230" y="4361438"/>
                  <a:pt x="1029809" y="4347234"/>
                  <a:pt x="1046854" y="4350074"/>
                </a:cubicBezTo>
                <a:close/>
                <a:moveTo>
                  <a:pt x="1434632" y="4344393"/>
                </a:moveTo>
                <a:cubicBezTo>
                  <a:pt x="1454518" y="4340131"/>
                  <a:pt x="1474404" y="4352915"/>
                  <a:pt x="1498550" y="4348653"/>
                </a:cubicBezTo>
                <a:cubicBezTo>
                  <a:pt x="1501391" y="4360017"/>
                  <a:pt x="1492870" y="4361438"/>
                  <a:pt x="1484346" y="4361438"/>
                </a:cubicBezTo>
                <a:cubicBezTo>
                  <a:pt x="1485767" y="4381324"/>
                  <a:pt x="1519857" y="4372801"/>
                  <a:pt x="1541163" y="4374221"/>
                </a:cubicBezTo>
                <a:cubicBezTo>
                  <a:pt x="1539743" y="4394107"/>
                  <a:pt x="1525539" y="4402630"/>
                  <a:pt x="1519857" y="4418255"/>
                </a:cubicBezTo>
                <a:lnTo>
                  <a:pt x="1455937" y="4418255"/>
                </a:lnTo>
                <a:cubicBezTo>
                  <a:pt x="1450257" y="4396948"/>
                  <a:pt x="1423268" y="4392687"/>
                  <a:pt x="1392019" y="4394107"/>
                </a:cubicBezTo>
                <a:cubicBezTo>
                  <a:pt x="1392019" y="4377062"/>
                  <a:pt x="1387757" y="4367120"/>
                  <a:pt x="1406223" y="4362858"/>
                </a:cubicBezTo>
                <a:cubicBezTo>
                  <a:pt x="1409064" y="4361438"/>
                  <a:pt x="1417587" y="4364279"/>
                  <a:pt x="1420427" y="4362858"/>
                </a:cubicBezTo>
                <a:cubicBezTo>
                  <a:pt x="1424689" y="4360017"/>
                  <a:pt x="1430370" y="4345812"/>
                  <a:pt x="1434632" y="4344393"/>
                </a:cubicBezTo>
                <a:close/>
                <a:moveTo>
                  <a:pt x="2286888" y="4325926"/>
                </a:moveTo>
                <a:cubicBezTo>
                  <a:pt x="2286888" y="4328767"/>
                  <a:pt x="2285467" y="4333029"/>
                  <a:pt x="2279785" y="4331608"/>
                </a:cubicBezTo>
                <a:lnTo>
                  <a:pt x="2279785" y="4344391"/>
                </a:lnTo>
                <a:cubicBezTo>
                  <a:pt x="2284046" y="4344391"/>
                  <a:pt x="2288308" y="4344391"/>
                  <a:pt x="2286888" y="4350074"/>
                </a:cubicBezTo>
                <a:lnTo>
                  <a:pt x="2301093" y="4350074"/>
                </a:lnTo>
                <a:cubicBezTo>
                  <a:pt x="2301093" y="4347234"/>
                  <a:pt x="2302512" y="4342972"/>
                  <a:pt x="2308194" y="4344391"/>
                </a:cubicBezTo>
                <a:lnTo>
                  <a:pt x="2308194" y="4331608"/>
                </a:lnTo>
                <a:cubicBezTo>
                  <a:pt x="2303932" y="4331608"/>
                  <a:pt x="2299671" y="4331608"/>
                  <a:pt x="2301093" y="4325926"/>
                </a:cubicBezTo>
                <a:close/>
                <a:moveTo>
                  <a:pt x="1201681" y="4325926"/>
                </a:moveTo>
                <a:cubicBezTo>
                  <a:pt x="1200260" y="4333029"/>
                  <a:pt x="1203101" y="4337290"/>
                  <a:pt x="1208785" y="4337290"/>
                </a:cubicBezTo>
                <a:cubicBezTo>
                  <a:pt x="1203101" y="4350074"/>
                  <a:pt x="1171852" y="4334449"/>
                  <a:pt x="1159069" y="4331608"/>
                </a:cubicBezTo>
                <a:cubicBezTo>
                  <a:pt x="1169013" y="4318825"/>
                  <a:pt x="1183217" y="4338711"/>
                  <a:pt x="1201681" y="4325926"/>
                </a:cubicBezTo>
                <a:close/>
                <a:moveTo>
                  <a:pt x="1575255" y="4320935"/>
                </a:moveTo>
                <a:lnTo>
                  <a:pt x="1586618" y="4321488"/>
                </a:lnTo>
                <a:lnTo>
                  <a:pt x="1596561" y="4321797"/>
                </a:lnTo>
                <a:lnTo>
                  <a:pt x="1596561" y="4333029"/>
                </a:lnTo>
                <a:lnTo>
                  <a:pt x="1575255" y="4333029"/>
                </a:lnTo>
                <a:close/>
                <a:moveTo>
                  <a:pt x="1102251" y="4320245"/>
                </a:moveTo>
                <a:cubicBezTo>
                  <a:pt x="1115035" y="4318825"/>
                  <a:pt x="1117875" y="4327348"/>
                  <a:pt x="1130660" y="4325926"/>
                </a:cubicBezTo>
                <a:cubicBezTo>
                  <a:pt x="1136342" y="4342973"/>
                  <a:pt x="1097991" y="4321666"/>
                  <a:pt x="1102251" y="4338711"/>
                </a:cubicBezTo>
                <a:cubicBezTo>
                  <a:pt x="1089467" y="4334449"/>
                  <a:pt x="1100831" y="4327348"/>
                  <a:pt x="1102251" y="4320245"/>
                </a:cubicBezTo>
                <a:close/>
                <a:moveTo>
                  <a:pt x="1266587" y="4315860"/>
                </a:moveTo>
                <a:lnTo>
                  <a:pt x="1272348" y="4323442"/>
                </a:lnTo>
                <a:cubicBezTo>
                  <a:pt x="1272703" y="4328059"/>
                  <a:pt x="1271993" y="4333741"/>
                  <a:pt x="1272703" y="4338711"/>
                </a:cubicBezTo>
                <a:cubicBezTo>
                  <a:pt x="1286907" y="4341552"/>
                  <a:pt x="1302531" y="4318825"/>
                  <a:pt x="1301111" y="4344393"/>
                </a:cubicBezTo>
                <a:cubicBezTo>
                  <a:pt x="1278385" y="4350074"/>
                  <a:pt x="1264180" y="4340131"/>
                  <a:pt x="1251397" y="4338711"/>
                </a:cubicBezTo>
                <a:cubicBezTo>
                  <a:pt x="1237193" y="4337290"/>
                  <a:pt x="1228669" y="4345812"/>
                  <a:pt x="1215886" y="4338711"/>
                </a:cubicBezTo>
                <a:cubicBezTo>
                  <a:pt x="1214466" y="4325928"/>
                  <a:pt x="1224763" y="4323442"/>
                  <a:pt x="1236482" y="4322377"/>
                </a:cubicBezTo>
                <a:lnTo>
                  <a:pt x="1245532" y="4321521"/>
                </a:lnTo>
                <a:lnTo>
                  <a:pt x="1245693" y="4321666"/>
                </a:lnTo>
                <a:lnTo>
                  <a:pt x="1246582" y="4321421"/>
                </a:lnTo>
                <a:lnTo>
                  <a:pt x="1253839" y="4320735"/>
                </a:lnTo>
                <a:lnTo>
                  <a:pt x="1259080" y="4317985"/>
                </a:lnTo>
                <a:lnTo>
                  <a:pt x="1265069" y="4316339"/>
                </a:lnTo>
                <a:close/>
                <a:moveTo>
                  <a:pt x="968731" y="4307462"/>
                </a:moveTo>
                <a:cubicBezTo>
                  <a:pt x="990037" y="4318825"/>
                  <a:pt x="1005663" y="4298939"/>
                  <a:pt x="1025549" y="4313143"/>
                </a:cubicBezTo>
                <a:cubicBezTo>
                  <a:pt x="1034071" y="4341552"/>
                  <a:pt x="990037" y="4323086"/>
                  <a:pt x="982936" y="4338711"/>
                </a:cubicBezTo>
                <a:cubicBezTo>
                  <a:pt x="972992" y="4333029"/>
                  <a:pt x="972992" y="4318825"/>
                  <a:pt x="968731" y="4307462"/>
                </a:cubicBezTo>
                <a:close/>
                <a:moveTo>
                  <a:pt x="694590" y="4259167"/>
                </a:moveTo>
                <a:cubicBezTo>
                  <a:pt x="696009" y="4259167"/>
                  <a:pt x="690328" y="4264849"/>
                  <a:pt x="687487" y="4264849"/>
                </a:cubicBezTo>
                <a:cubicBezTo>
                  <a:pt x="661919" y="4269109"/>
                  <a:pt x="633511" y="4254905"/>
                  <a:pt x="616465" y="4270531"/>
                </a:cubicBezTo>
                <a:cubicBezTo>
                  <a:pt x="633511" y="4270531"/>
                  <a:pt x="637773" y="4280473"/>
                  <a:pt x="659078" y="4276212"/>
                </a:cubicBezTo>
                <a:cubicBezTo>
                  <a:pt x="661919" y="4288995"/>
                  <a:pt x="678964" y="4267690"/>
                  <a:pt x="680385" y="4288995"/>
                </a:cubicBezTo>
                <a:lnTo>
                  <a:pt x="680385" y="4325926"/>
                </a:lnTo>
                <a:cubicBezTo>
                  <a:pt x="735781" y="4317404"/>
                  <a:pt x="785495" y="4342972"/>
                  <a:pt x="829529" y="4327348"/>
                </a:cubicBezTo>
                <a:cubicBezTo>
                  <a:pt x="836633" y="4303200"/>
                  <a:pt x="803962" y="4323086"/>
                  <a:pt x="794019" y="4321666"/>
                </a:cubicBezTo>
                <a:cubicBezTo>
                  <a:pt x="781235" y="4320245"/>
                  <a:pt x="769871" y="4307462"/>
                  <a:pt x="758508" y="4308881"/>
                </a:cubicBezTo>
                <a:cubicBezTo>
                  <a:pt x="755667" y="4308881"/>
                  <a:pt x="747145" y="4328767"/>
                  <a:pt x="744304" y="4314563"/>
                </a:cubicBezTo>
                <a:cubicBezTo>
                  <a:pt x="747145" y="4307462"/>
                  <a:pt x="751407" y="4300359"/>
                  <a:pt x="758508" y="4296098"/>
                </a:cubicBezTo>
                <a:cubicBezTo>
                  <a:pt x="788336" y="4294677"/>
                  <a:pt x="786917" y="4304621"/>
                  <a:pt x="808224" y="4296098"/>
                </a:cubicBezTo>
                <a:cubicBezTo>
                  <a:pt x="825267" y="4274791"/>
                  <a:pt x="788336" y="4291836"/>
                  <a:pt x="779815" y="4283314"/>
                </a:cubicBezTo>
                <a:cubicBezTo>
                  <a:pt x="776973" y="4280473"/>
                  <a:pt x="782655" y="4267690"/>
                  <a:pt x="779815" y="4264849"/>
                </a:cubicBezTo>
                <a:cubicBezTo>
                  <a:pt x="774132" y="4262008"/>
                  <a:pt x="757087" y="4269109"/>
                  <a:pt x="758508" y="4259167"/>
                </a:cubicBezTo>
                <a:cubicBezTo>
                  <a:pt x="742883" y="4254905"/>
                  <a:pt x="731519" y="4263428"/>
                  <a:pt x="715895" y="4264849"/>
                </a:cubicBezTo>
                <a:cubicBezTo>
                  <a:pt x="707373" y="4266268"/>
                  <a:pt x="705951" y="4259167"/>
                  <a:pt x="694590" y="4259167"/>
                </a:cubicBezTo>
                <a:close/>
                <a:moveTo>
                  <a:pt x="294028" y="3669689"/>
                </a:moveTo>
                <a:cubicBezTo>
                  <a:pt x="306812" y="3671110"/>
                  <a:pt x="295449" y="3700940"/>
                  <a:pt x="312494" y="3698097"/>
                </a:cubicBezTo>
                <a:cubicBezTo>
                  <a:pt x="311073" y="3706621"/>
                  <a:pt x="296869" y="3703781"/>
                  <a:pt x="288346" y="3705200"/>
                </a:cubicBezTo>
                <a:cubicBezTo>
                  <a:pt x="285505" y="3688155"/>
                  <a:pt x="299709" y="3689576"/>
                  <a:pt x="294028" y="3669689"/>
                </a:cubicBezTo>
                <a:close/>
                <a:moveTo>
                  <a:pt x="120825" y="3095793"/>
                </a:moveTo>
                <a:cubicBezTo>
                  <a:pt x="123755" y="3096282"/>
                  <a:pt x="126062" y="3097259"/>
                  <a:pt x="126417" y="3098678"/>
                </a:cubicBezTo>
                <a:cubicBezTo>
                  <a:pt x="127838" y="3102939"/>
                  <a:pt x="117895" y="3107201"/>
                  <a:pt x="113634" y="3105780"/>
                </a:cubicBezTo>
                <a:cubicBezTo>
                  <a:pt x="97654" y="3097257"/>
                  <a:pt x="112037" y="3094328"/>
                  <a:pt x="120825" y="3095793"/>
                </a:cubicBezTo>
                <a:close/>
                <a:moveTo>
                  <a:pt x="281245" y="3063167"/>
                </a:moveTo>
                <a:cubicBezTo>
                  <a:pt x="289767" y="3066008"/>
                  <a:pt x="294028" y="3071689"/>
                  <a:pt x="294028" y="3084474"/>
                </a:cubicBezTo>
                <a:cubicBezTo>
                  <a:pt x="281245" y="3087313"/>
                  <a:pt x="282664" y="3074530"/>
                  <a:pt x="281245" y="3063167"/>
                </a:cubicBezTo>
                <a:close/>
                <a:moveTo>
                  <a:pt x="283264" y="3027989"/>
                </a:moveTo>
                <a:cubicBezTo>
                  <a:pt x="287104" y="3028722"/>
                  <a:pt x="290832" y="3030853"/>
                  <a:pt x="294028" y="3034758"/>
                </a:cubicBezTo>
                <a:cubicBezTo>
                  <a:pt x="299709" y="3061747"/>
                  <a:pt x="267040" y="3046122"/>
                  <a:pt x="275563" y="3077371"/>
                </a:cubicBezTo>
                <a:cubicBezTo>
                  <a:pt x="244314" y="3080212"/>
                  <a:pt x="272722" y="3056065"/>
                  <a:pt x="257097" y="3048962"/>
                </a:cubicBezTo>
                <a:cubicBezTo>
                  <a:pt x="258518" y="3040440"/>
                  <a:pt x="264554" y="3032984"/>
                  <a:pt x="271835" y="3029609"/>
                </a:cubicBezTo>
                <a:cubicBezTo>
                  <a:pt x="275474" y="3027922"/>
                  <a:pt x="279425" y="3027257"/>
                  <a:pt x="283264" y="3027989"/>
                </a:cubicBezTo>
                <a:close/>
                <a:moveTo>
                  <a:pt x="82385" y="2942431"/>
                </a:moveTo>
                <a:lnTo>
                  <a:pt x="95168" y="2942431"/>
                </a:lnTo>
                <a:lnTo>
                  <a:pt x="95168" y="2956636"/>
                </a:lnTo>
                <a:lnTo>
                  <a:pt x="82385" y="2956636"/>
                </a:lnTo>
                <a:close/>
                <a:moveTo>
                  <a:pt x="65340" y="2894137"/>
                </a:moveTo>
                <a:lnTo>
                  <a:pt x="83804" y="2894137"/>
                </a:lnTo>
                <a:lnTo>
                  <a:pt x="83804" y="2915442"/>
                </a:lnTo>
                <a:cubicBezTo>
                  <a:pt x="72441" y="2916862"/>
                  <a:pt x="72441" y="2908341"/>
                  <a:pt x="65340" y="2908341"/>
                </a:cubicBezTo>
                <a:close/>
                <a:moveTo>
                  <a:pt x="290832" y="2893781"/>
                </a:moveTo>
                <a:cubicBezTo>
                  <a:pt x="296691" y="2897776"/>
                  <a:pt x="292963" y="2912957"/>
                  <a:pt x="294028" y="2922545"/>
                </a:cubicBezTo>
                <a:cubicBezTo>
                  <a:pt x="282664" y="2919704"/>
                  <a:pt x="279823" y="2909761"/>
                  <a:pt x="281245" y="2894137"/>
                </a:cubicBezTo>
                <a:cubicBezTo>
                  <a:pt x="285861" y="2892361"/>
                  <a:pt x="288879" y="2892450"/>
                  <a:pt x="290832" y="2893781"/>
                </a:cubicBezTo>
                <a:close/>
                <a:moveTo>
                  <a:pt x="282664" y="2604370"/>
                </a:moveTo>
                <a:cubicBezTo>
                  <a:pt x="311073" y="2602948"/>
                  <a:pt x="279823" y="2624256"/>
                  <a:pt x="295449" y="2632778"/>
                </a:cubicBezTo>
                <a:cubicBezTo>
                  <a:pt x="303971" y="2629937"/>
                  <a:pt x="299709" y="2614312"/>
                  <a:pt x="301131" y="2604370"/>
                </a:cubicBezTo>
                <a:cubicBezTo>
                  <a:pt x="318176" y="2605789"/>
                  <a:pt x="329539" y="2612892"/>
                  <a:pt x="325277" y="2639880"/>
                </a:cubicBezTo>
                <a:cubicBezTo>
                  <a:pt x="313914" y="2651243"/>
                  <a:pt x="279823" y="2635619"/>
                  <a:pt x="281245" y="2661186"/>
                </a:cubicBezTo>
                <a:cubicBezTo>
                  <a:pt x="267040" y="2646982"/>
                  <a:pt x="267040" y="2618574"/>
                  <a:pt x="282664" y="2604370"/>
                </a:cubicBezTo>
                <a:close/>
                <a:moveTo>
                  <a:pt x="278359" y="2500612"/>
                </a:moveTo>
                <a:cubicBezTo>
                  <a:pt x="284885" y="2506271"/>
                  <a:pt x="286217" y="2536899"/>
                  <a:pt x="288346" y="2547552"/>
                </a:cubicBezTo>
                <a:cubicBezTo>
                  <a:pt x="276983" y="2548972"/>
                  <a:pt x="275563" y="2539030"/>
                  <a:pt x="264200" y="2540449"/>
                </a:cubicBezTo>
                <a:cubicBezTo>
                  <a:pt x="257097" y="2521984"/>
                  <a:pt x="289767" y="2514882"/>
                  <a:pt x="269881" y="2504939"/>
                </a:cubicBezTo>
                <a:cubicBezTo>
                  <a:pt x="273433" y="2499613"/>
                  <a:pt x="276185" y="2498725"/>
                  <a:pt x="278359" y="2500612"/>
                </a:cubicBezTo>
                <a:close/>
                <a:moveTo>
                  <a:pt x="330959" y="2470849"/>
                </a:moveTo>
                <a:cubicBezTo>
                  <a:pt x="348004" y="2466587"/>
                  <a:pt x="326698" y="2504939"/>
                  <a:pt x="343743" y="2499258"/>
                </a:cubicBezTo>
                <a:cubicBezTo>
                  <a:pt x="340903" y="2509200"/>
                  <a:pt x="332380" y="2510621"/>
                  <a:pt x="330959" y="2520563"/>
                </a:cubicBezTo>
                <a:cubicBezTo>
                  <a:pt x="319595" y="2519144"/>
                  <a:pt x="326698" y="2496417"/>
                  <a:pt x="312494" y="2499258"/>
                </a:cubicBezTo>
                <a:cubicBezTo>
                  <a:pt x="315335" y="2485053"/>
                  <a:pt x="336641" y="2493576"/>
                  <a:pt x="330959" y="2470849"/>
                </a:cubicBezTo>
                <a:close/>
                <a:moveTo>
                  <a:pt x="268460" y="2294715"/>
                </a:moveTo>
                <a:cubicBezTo>
                  <a:pt x="276983" y="2297556"/>
                  <a:pt x="281245" y="2303239"/>
                  <a:pt x="281245" y="2316022"/>
                </a:cubicBezTo>
                <a:cubicBezTo>
                  <a:pt x="268460" y="2318863"/>
                  <a:pt x="269881" y="2306080"/>
                  <a:pt x="268460" y="2294715"/>
                </a:cubicBezTo>
                <a:close/>
                <a:moveTo>
                  <a:pt x="275563" y="2266306"/>
                </a:moveTo>
                <a:cubicBezTo>
                  <a:pt x="292608" y="2269147"/>
                  <a:pt x="275563" y="2287613"/>
                  <a:pt x="262778" y="2280510"/>
                </a:cubicBezTo>
                <a:cubicBezTo>
                  <a:pt x="264200" y="2273409"/>
                  <a:pt x="275563" y="2276250"/>
                  <a:pt x="275563" y="2266306"/>
                </a:cubicBezTo>
                <a:close/>
                <a:moveTo>
                  <a:pt x="244314" y="2266306"/>
                </a:moveTo>
                <a:cubicBezTo>
                  <a:pt x="261359" y="2264886"/>
                  <a:pt x="242892" y="2318863"/>
                  <a:pt x="244314" y="2280510"/>
                </a:cubicBezTo>
                <a:close/>
                <a:moveTo>
                  <a:pt x="11363" y="2257783"/>
                </a:moveTo>
                <a:cubicBezTo>
                  <a:pt x="25568" y="2262046"/>
                  <a:pt x="15624" y="2328805"/>
                  <a:pt x="11363" y="2350112"/>
                </a:cubicBezTo>
                <a:cubicBezTo>
                  <a:pt x="1420" y="2340168"/>
                  <a:pt x="-1421" y="2317443"/>
                  <a:pt x="1420" y="2293295"/>
                </a:cubicBezTo>
                <a:cubicBezTo>
                  <a:pt x="7101" y="2293295"/>
                  <a:pt x="9942" y="2264886"/>
                  <a:pt x="11363" y="2257783"/>
                </a:cubicBezTo>
                <a:close/>
                <a:moveTo>
                  <a:pt x="247821" y="2229732"/>
                </a:moveTo>
                <a:cubicBezTo>
                  <a:pt x="250085" y="2228045"/>
                  <a:pt x="253191" y="2227955"/>
                  <a:pt x="257097" y="2230796"/>
                </a:cubicBezTo>
                <a:lnTo>
                  <a:pt x="257097" y="2245001"/>
                </a:lnTo>
                <a:cubicBezTo>
                  <a:pt x="251415" y="2243579"/>
                  <a:pt x="251415" y="2247841"/>
                  <a:pt x="251415" y="2252102"/>
                </a:cubicBezTo>
                <a:cubicBezTo>
                  <a:pt x="241828" y="2254233"/>
                  <a:pt x="241030" y="2234791"/>
                  <a:pt x="247821" y="2229732"/>
                </a:cubicBezTo>
                <a:close/>
                <a:moveTo>
                  <a:pt x="305591" y="2218723"/>
                </a:moveTo>
                <a:cubicBezTo>
                  <a:pt x="311252" y="2221919"/>
                  <a:pt x="317111" y="2244291"/>
                  <a:pt x="330959" y="2237897"/>
                </a:cubicBezTo>
                <a:cubicBezTo>
                  <a:pt x="329539" y="2247841"/>
                  <a:pt x="316755" y="2243579"/>
                  <a:pt x="306812" y="2245001"/>
                </a:cubicBezTo>
                <a:cubicBezTo>
                  <a:pt x="306812" y="2235058"/>
                  <a:pt x="308232" y="2225115"/>
                  <a:pt x="299709" y="2223693"/>
                </a:cubicBezTo>
                <a:cubicBezTo>
                  <a:pt x="301840" y="2218723"/>
                  <a:pt x="303705" y="2217657"/>
                  <a:pt x="305591" y="2218723"/>
                </a:cubicBezTo>
                <a:close/>
                <a:moveTo>
                  <a:pt x="269881" y="2202388"/>
                </a:moveTo>
                <a:cubicBezTo>
                  <a:pt x="279823" y="2200967"/>
                  <a:pt x="279823" y="2242159"/>
                  <a:pt x="264200" y="2230796"/>
                </a:cubicBezTo>
                <a:cubicBezTo>
                  <a:pt x="262778" y="2218013"/>
                  <a:pt x="271301" y="2215171"/>
                  <a:pt x="269881" y="2202388"/>
                </a:cubicBezTo>
                <a:close/>
                <a:moveTo>
                  <a:pt x="199194" y="2152384"/>
                </a:moveTo>
                <a:cubicBezTo>
                  <a:pt x="201124" y="2151474"/>
                  <a:pt x="203744" y="2151874"/>
                  <a:pt x="206495" y="2152851"/>
                </a:cubicBezTo>
                <a:cubicBezTo>
                  <a:pt x="211999" y="2154803"/>
                  <a:pt x="218036" y="2159065"/>
                  <a:pt x="220166" y="2159775"/>
                </a:cubicBezTo>
                <a:cubicBezTo>
                  <a:pt x="218746" y="2178241"/>
                  <a:pt x="198860" y="2162616"/>
                  <a:pt x="196019" y="2159775"/>
                </a:cubicBezTo>
                <a:cubicBezTo>
                  <a:pt x="196019" y="2155514"/>
                  <a:pt x="197263" y="2153294"/>
                  <a:pt x="199194" y="2152384"/>
                </a:cubicBezTo>
                <a:close/>
                <a:moveTo>
                  <a:pt x="270281" y="2143795"/>
                </a:moveTo>
                <a:cubicBezTo>
                  <a:pt x="272811" y="2143085"/>
                  <a:pt x="276273" y="2143440"/>
                  <a:pt x="281245" y="2145570"/>
                </a:cubicBezTo>
                <a:cubicBezTo>
                  <a:pt x="276983" y="2152672"/>
                  <a:pt x="275563" y="2161196"/>
                  <a:pt x="275563" y="2173979"/>
                </a:cubicBezTo>
                <a:lnTo>
                  <a:pt x="244314" y="2173979"/>
                </a:lnTo>
                <a:lnTo>
                  <a:pt x="244314" y="2145570"/>
                </a:lnTo>
                <a:cubicBezTo>
                  <a:pt x="255677" y="2142730"/>
                  <a:pt x="255677" y="2151252"/>
                  <a:pt x="257097" y="2159775"/>
                </a:cubicBezTo>
                <a:cubicBezTo>
                  <a:pt x="263489" y="2157644"/>
                  <a:pt x="262690" y="2145926"/>
                  <a:pt x="270281" y="2143795"/>
                </a:cubicBezTo>
                <a:close/>
                <a:moveTo>
                  <a:pt x="19886" y="2142730"/>
                </a:moveTo>
                <a:cubicBezTo>
                  <a:pt x="24146" y="2169717"/>
                  <a:pt x="14204" y="2161196"/>
                  <a:pt x="0" y="2165457"/>
                </a:cubicBezTo>
                <a:cubicBezTo>
                  <a:pt x="5682" y="2141308"/>
                  <a:pt x="1420" y="2158353"/>
                  <a:pt x="19886" y="2142730"/>
                </a:cubicBezTo>
                <a:close/>
                <a:moveTo>
                  <a:pt x="275563" y="2061766"/>
                </a:moveTo>
                <a:cubicBezTo>
                  <a:pt x="278404" y="2087332"/>
                  <a:pt x="259937" y="2091594"/>
                  <a:pt x="244314" y="2097276"/>
                </a:cubicBezTo>
                <a:cubicBezTo>
                  <a:pt x="242892" y="2070287"/>
                  <a:pt x="259937" y="2067446"/>
                  <a:pt x="275563" y="2061766"/>
                </a:cubicBezTo>
                <a:close/>
                <a:moveTo>
                  <a:pt x="305391" y="2047562"/>
                </a:moveTo>
                <a:cubicBezTo>
                  <a:pt x="315335" y="2053242"/>
                  <a:pt x="312494" y="2085912"/>
                  <a:pt x="311073" y="2097276"/>
                </a:cubicBezTo>
                <a:cubicBezTo>
                  <a:pt x="311073" y="2095855"/>
                  <a:pt x="301131" y="2100117"/>
                  <a:pt x="305391" y="2104379"/>
                </a:cubicBezTo>
                <a:cubicBezTo>
                  <a:pt x="313914" y="2111480"/>
                  <a:pt x="308232" y="2110059"/>
                  <a:pt x="299709" y="2111480"/>
                </a:cubicBezTo>
                <a:cubicBezTo>
                  <a:pt x="292608" y="2090174"/>
                  <a:pt x="291187" y="2060345"/>
                  <a:pt x="305391" y="2047562"/>
                </a:cubicBezTo>
                <a:close/>
                <a:moveTo>
                  <a:pt x="335553" y="1906761"/>
                </a:moveTo>
                <a:cubicBezTo>
                  <a:pt x="338328" y="1905696"/>
                  <a:pt x="341257" y="1905518"/>
                  <a:pt x="343743" y="1906938"/>
                </a:cubicBezTo>
                <a:cubicBezTo>
                  <a:pt x="349425" y="1916881"/>
                  <a:pt x="349425" y="1933927"/>
                  <a:pt x="362208" y="1935347"/>
                </a:cubicBezTo>
                <a:cubicBezTo>
                  <a:pt x="357948" y="1942448"/>
                  <a:pt x="350845" y="1946710"/>
                  <a:pt x="343743" y="1949551"/>
                </a:cubicBezTo>
                <a:cubicBezTo>
                  <a:pt x="342322" y="1968016"/>
                  <a:pt x="367890" y="1955233"/>
                  <a:pt x="362208" y="1977960"/>
                </a:cubicBezTo>
                <a:cubicBezTo>
                  <a:pt x="350845" y="1975119"/>
                  <a:pt x="349425" y="1983642"/>
                  <a:pt x="349425" y="1992164"/>
                </a:cubicBezTo>
                <a:cubicBezTo>
                  <a:pt x="338062" y="1989323"/>
                  <a:pt x="338062" y="1972278"/>
                  <a:pt x="325277" y="1970857"/>
                </a:cubicBezTo>
                <a:cubicBezTo>
                  <a:pt x="329539" y="1962336"/>
                  <a:pt x="332380" y="1952392"/>
                  <a:pt x="330959" y="1935347"/>
                </a:cubicBezTo>
                <a:lnTo>
                  <a:pt x="343743" y="1935347"/>
                </a:lnTo>
                <a:cubicBezTo>
                  <a:pt x="348004" y="1922564"/>
                  <a:pt x="330959" y="1904098"/>
                  <a:pt x="330959" y="1921143"/>
                </a:cubicBezTo>
                <a:cubicBezTo>
                  <a:pt x="320306" y="1921143"/>
                  <a:pt x="327230" y="1909957"/>
                  <a:pt x="335553" y="1906761"/>
                </a:cubicBezTo>
                <a:close/>
                <a:moveTo>
                  <a:pt x="306812" y="1892734"/>
                </a:moveTo>
                <a:cubicBezTo>
                  <a:pt x="313914" y="1894155"/>
                  <a:pt x="311073" y="1906938"/>
                  <a:pt x="319595" y="1906938"/>
                </a:cubicBezTo>
                <a:cubicBezTo>
                  <a:pt x="318176" y="1915461"/>
                  <a:pt x="308232" y="1912620"/>
                  <a:pt x="301131" y="1914040"/>
                </a:cubicBezTo>
                <a:cubicBezTo>
                  <a:pt x="303971" y="1908360"/>
                  <a:pt x="306812" y="1902676"/>
                  <a:pt x="306812" y="1892734"/>
                </a:cubicBezTo>
                <a:close/>
                <a:moveTo>
                  <a:pt x="95168" y="1843018"/>
                </a:moveTo>
                <a:cubicBezTo>
                  <a:pt x="115054" y="1860064"/>
                  <a:pt x="73862" y="1871427"/>
                  <a:pt x="95168" y="1843018"/>
                </a:cubicBezTo>
                <a:close/>
                <a:moveTo>
                  <a:pt x="380675" y="1800406"/>
                </a:moveTo>
                <a:lnTo>
                  <a:pt x="385193" y="1800406"/>
                </a:lnTo>
                <a:lnTo>
                  <a:pt x="390439" y="1804845"/>
                </a:lnTo>
                <a:lnTo>
                  <a:pt x="393458" y="1801827"/>
                </a:lnTo>
                <a:lnTo>
                  <a:pt x="393458" y="1821713"/>
                </a:lnTo>
                <a:lnTo>
                  <a:pt x="380675" y="1821713"/>
                </a:lnTo>
                <a:close/>
                <a:moveTo>
                  <a:pt x="102271" y="1800406"/>
                </a:moveTo>
                <a:cubicBezTo>
                  <a:pt x="109372" y="1801827"/>
                  <a:pt x="105112" y="1807509"/>
                  <a:pt x="102271" y="1807509"/>
                </a:cubicBezTo>
                <a:cubicBezTo>
                  <a:pt x="109372" y="1816031"/>
                  <a:pt x="106531" y="1837338"/>
                  <a:pt x="89486" y="1835917"/>
                </a:cubicBezTo>
                <a:cubicBezTo>
                  <a:pt x="96589" y="1818872"/>
                  <a:pt x="88066" y="1817451"/>
                  <a:pt x="102271" y="1800406"/>
                </a:cubicBezTo>
                <a:close/>
                <a:moveTo>
                  <a:pt x="45454" y="1793304"/>
                </a:moveTo>
                <a:cubicBezTo>
                  <a:pt x="55396" y="1806089"/>
                  <a:pt x="41192" y="1899836"/>
                  <a:pt x="45454" y="1938188"/>
                </a:cubicBezTo>
                <a:cubicBezTo>
                  <a:pt x="36931" y="1950973"/>
                  <a:pt x="44032" y="1938188"/>
                  <a:pt x="21306" y="1948132"/>
                </a:cubicBezTo>
                <a:cubicBezTo>
                  <a:pt x="18465" y="1966596"/>
                  <a:pt x="29828" y="1970857"/>
                  <a:pt x="45454" y="1969437"/>
                </a:cubicBezTo>
                <a:cubicBezTo>
                  <a:pt x="45454" y="1989323"/>
                  <a:pt x="32669" y="1990744"/>
                  <a:pt x="21306" y="1986482"/>
                </a:cubicBezTo>
                <a:cubicBezTo>
                  <a:pt x="17045" y="1986482"/>
                  <a:pt x="22727" y="2046140"/>
                  <a:pt x="14204" y="2044719"/>
                </a:cubicBezTo>
                <a:cubicBezTo>
                  <a:pt x="8523" y="2041878"/>
                  <a:pt x="9942" y="1992164"/>
                  <a:pt x="12783" y="1970857"/>
                </a:cubicBezTo>
                <a:cubicBezTo>
                  <a:pt x="14204" y="1958074"/>
                  <a:pt x="15624" y="1936768"/>
                  <a:pt x="14204" y="1919723"/>
                </a:cubicBezTo>
                <a:cubicBezTo>
                  <a:pt x="19886" y="1916881"/>
                  <a:pt x="25568" y="1933927"/>
                  <a:pt x="26987" y="1933927"/>
                </a:cubicBezTo>
                <a:cubicBezTo>
                  <a:pt x="36931" y="1933927"/>
                  <a:pt x="28409" y="1885631"/>
                  <a:pt x="32669" y="1881371"/>
                </a:cubicBezTo>
                <a:cubicBezTo>
                  <a:pt x="44032" y="1872848"/>
                  <a:pt x="38351" y="1816031"/>
                  <a:pt x="45454" y="1793304"/>
                </a:cubicBezTo>
                <a:close/>
                <a:moveTo>
                  <a:pt x="349425" y="1779100"/>
                </a:moveTo>
                <a:lnTo>
                  <a:pt x="362208" y="1779100"/>
                </a:lnTo>
                <a:lnTo>
                  <a:pt x="362208" y="1793304"/>
                </a:lnTo>
                <a:lnTo>
                  <a:pt x="349425" y="1793304"/>
                </a:lnTo>
                <a:close/>
                <a:moveTo>
                  <a:pt x="325277" y="1771997"/>
                </a:moveTo>
                <a:cubicBezTo>
                  <a:pt x="356527" y="1771997"/>
                  <a:pt x="336641" y="1806089"/>
                  <a:pt x="330959" y="1821713"/>
                </a:cubicBezTo>
                <a:cubicBezTo>
                  <a:pt x="318176" y="1818872"/>
                  <a:pt x="329539" y="1786201"/>
                  <a:pt x="325277" y="1771997"/>
                </a:cubicBezTo>
                <a:close/>
                <a:moveTo>
                  <a:pt x="275563" y="1659784"/>
                </a:moveTo>
                <a:cubicBezTo>
                  <a:pt x="281245" y="1679670"/>
                  <a:pt x="267040" y="1678250"/>
                  <a:pt x="269881" y="1695295"/>
                </a:cubicBezTo>
                <a:cubicBezTo>
                  <a:pt x="249995" y="1693874"/>
                  <a:pt x="255677" y="1656943"/>
                  <a:pt x="275563" y="1659784"/>
                </a:cubicBezTo>
                <a:close/>
                <a:moveTo>
                  <a:pt x="98587" y="1659429"/>
                </a:moveTo>
                <a:cubicBezTo>
                  <a:pt x="99607" y="1659164"/>
                  <a:pt x="100851" y="1661205"/>
                  <a:pt x="102271" y="1666887"/>
                </a:cubicBezTo>
                <a:lnTo>
                  <a:pt x="102271" y="1702397"/>
                </a:lnTo>
                <a:cubicBezTo>
                  <a:pt x="106531" y="1727965"/>
                  <a:pt x="124998" y="1760634"/>
                  <a:pt x="102271" y="1780521"/>
                </a:cubicBezTo>
                <a:cubicBezTo>
                  <a:pt x="89486" y="1781941"/>
                  <a:pt x="109372" y="1764896"/>
                  <a:pt x="102271" y="1759214"/>
                </a:cubicBezTo>
                <a:cubicBezTo>
                  <a:pt x="98009" y="1754952"/>
                  <a:pt x="95168" y="1747851"/>
                  <a:pt x="96589" y="1737908"/>
                </a:cubicBezTo>
                <a:cubicBezTo>
                  <a:pt x="96589" y="1739328"/>
                  <a:pt x="106531" y="1735067"/>
                  <a:pt x="102271" y="1730805"/>
                </a:cubicBezTo>
                <a:cubicBezTo>
                  <a:pt x="99430" y="1726543"/>
                  <a:pt x="93748" y="1713760"/>
                  <a:pt x="96589" y="1688193"/>
                </a:cubicBezTo>
                <a:cubicBezTo>
                  <a:pt x="95169" y="1683932"/>
                  <a:pt x="95169" y="1672924"/>
                  <a:pt x="96234" y="1665821"/>
                </a:cubicBezTo>
                <a:cubicBezTo>
                  <a:pt x="96768" y="1662270"/>
                  <a:pt x="97566" y="1659696"/>
                  <a:pt x="98587" y="1659429"/>
                </a:cubicBezTo>
                <a:close/>
                <a:moveTo>
                  <a:pt x="58237" y="1624274"/>
                </a:moveTo>
                <a:cubicBezTo>
                  <a:pt x="69600" y="1638478"/>
                  <a:pt x="53976" y="1637057"/>
                  <a:pt x="58237" y="1659784"/>
                </a:cubicBezTo>
                <a:cubicBezTo>
                  <a:pt x="49714" y="1656943"/>
                  <a:pt x="53976" y="1637057"/>
                  <a:pt x="34090" y="1645580"/>
                </a:cubicBezTo>
                <a:cubicBezTo>
                  <a:pt x="39772" y="1654102"/>
                  <a:pt x="38351" y="1659784"/>
                  <a:pt x="26987" y="1659784"/>
                </a:cubicBezTo>
                <a:cubicBezTo>
                  <a:pt x="25568" y="1634216"/>
                  <a:pt x="35510" y="1622853"/>
                  <a:pt x="58237" y="1624274"/>
                </a:cubicBezTo>
                <a:close/>
                <a:moveTo>
                  <a:pt x="319595" y="1617171"/>
                </a:moveTo>
                <a:cubicBezTo>
                  <a:pt x="336641" y="1617171"/>
                  <a:pt x="346584" y="1612909"/>
                  <a:pt x="350845" y="1631375"/>
                </a:cubicBezTo>
                <a:cubicBezTo>
                  <a:pt x="352266" y="1634216"/>
                  <a:pt x="349425" y="1642739"/>
                  <a:pt x="350845" y="1645580"/>
                </a:cubicBezTo>
                <a:cubicBezTo>
                  <a:pt x="353686" y="1649842"/>
                  <a:pt x="367890" y="1655522"/>
                  <a:pt x="369311" y="1659784"/>
                </a:cubicBezTo>
                <a:cubicBezTo>
                  <a:pt x="373572" y="1681091"/>
                  <a:pt x="360789" y="1699556"/>
                  <a:pt x="365049" y="1723704"/>
                </a:cubicBezTo>
                <a:cubicBezTo>
                  <a:pt x="353686" y="1726543"/>
                  <a:pt x="352266" y="1718021"/>
                  <a:pt x="352266" y="1709500"/>
                </a:cubicBezTo>
                <a:cubicBezTo>
                  <a:pt x="332380" y="1710919"/>
                  <a:pt x="340903" y="1745010"/>
                  <a:pt x="339481" y="1766317"/>
                </a:cubicBezTo>
                <a:cubicBezTo>
                  <a:pt x="319595" y="1764896"/>
                  <a:pt x="311073" y="1750691"/>
                  <a:pt x="295449" y="1745010"/>
                </a:cubicBezTo>
                <a:lnTo>
                  <a:pt x="295449" y="1681091"/>
                </a:lnTo>
                <a:cubicBezTo>
                  <a:pt x="316755" y="1675408"/>
                  <a:pt x="321017" y="1648421"/>
                  <a:pt x="319595" y="1617171"/>
                </a:cubicBezTo>
                <a:close/>
                <a:moveTo>
                  <a:pt x="37286" y="1515255"/>
                </a:moveTo>
                <a:cubicBezTo>
                  <a:pt x="41903" y="1517031"/>
                  <a:pt x="48295" y="1521292"/>
                  <a:pt x="58237" y="1519161"/>
                </a:cubicBezTo>
                <a:cubicBezTo>
                  <a:pt x="58237" y="1536208"/>
                  <a:pt x="35510" y="1534786"/>
                  <a:pt x="26987" y="1526264"/>
                </a:cubicBezTo>
                <a:cubicBezTo>
                  <a:pt x="29828" y="1514191"/>
                  <a:pt x="32669" y="1513479"/>
                  <a:pt x="37286" y="1515255"/>
                </a:cubicBezTo>
                <a:close/>
                <a:moveTo>
                  <a:pt x="374993" y="1441038"/>
                </a:moveTo>
                <a:cubicBezTo>
                  <a:pt x="399139" y="1439618"/>
                  <a:pt x="384935" y="1482231"/>
                  <a:pt x="399139" y="1490752"/>
                </a:cubicBezTo>
                <a:cubicBezTo>
                  <a:pt x="397720" y="1500696"/>
                  <a:pt x="384935" y="1496436"/>
                  <a:pt x="374993" y="1497855"/>
                </a:cubicBezTo>
                <a:cubicBezTo>
                  <a:pt x="372152" y="1512060"/>
                  <a:pt x="394879" y="1527684"/>
                  <a:pt x="369311" y="1526264"/>
                </a:cubicBezTo>
                <a:cubicBezTo>
                  <a:pt x="363629" y="1503537"/>
                  <a:pt x="373572" y="1489333"/>
                  <a:pt x="374993" y="1476548"/>
                </a:cubicBezTo>
                <a:cubicBezTo>
                  <a:pt x="376413" y="1462344"/>
                  <a:pt x="367890" y="1453823"/>
                  <a:pt x="374993" y="1441038"/>
                </a:cubicBezTo>
                <a:close/>
                <a:moveTo>
                  <a:pt x="336641" y="1412630"/>
                </a:moveTo>
                <a:cubicBezTo>
                  <a:pt x="343743" y="1411210"/>
                  <a:pt x="357948" y="1432516"/>
                  <a:pt x="342322" y="1433935"/>
                </a:cubicBezTo>
                <a:cubicBezTo>
                  <a:pt x="345163" y="1448140"/>
                  <a:pt x="356527" y="1452402"/>
                  <a:pt x="355107" y="1469447"/>
                </a:cubicBezTo>
                <a:cubicBezTo>
                  <a:pt x="343743" y="1468027"/>
                  <a:pt x="355107" y="1493595"/>
                  <a:pt x="349425" y="1497855"/>
                </a:cubicBezTo>
                <a:cubicBezTo>
                  <a:pt x="340903" y="1504957"/>
                  <a:pt x="349425" y="1500696"/>
                  <a:pt x="349425" y="1512060"/>
                </a:cubicBezTo>
                <a:cubicBezTo>
                  <a:pt x="349425" y="1522003"/>
                  <a:pt x="343743" y="1524844"/>
                  <a:pt x="343743" y="1533365"/>
                </a:cubicBezTo>
                <a:cubicBezTo>
                  <a:pt x="343743" y="1547570"/>
                  <a:pt x="360789" y="1567457"/>
                  <a:pt x="330959" y="1561774"/>
                </a:cubicBezTo>
                <a:cubicBezTo>
                  <a:pt x="329539" y="1580240"/>
                  <a:pt x="355107" y="1567457"/>
                  <a:pt x="349425" y="1590182"/>
                </a:cubicBezTo>
                <a:cubicBezTo>
                  <a:pt x="340903" y="1588763"/>
                  <a:pt x="315335" y="1601546"/>
                  <a:pt x="330959" y="1604387"/>
                </a:cubicBezTo>
                <a:cubicBezTo>
                  <a:pt x="325277" y="1625694"/>
                  <a:pt x="315335" y="1595866"/>
                  <a:pt x="299709" y="1604387"/>
                </a:cubicBezTo>
                <a:cubicBezTo>
                  <a:pt x="301131" y="1617171"/>
                  <a:pt x="321017" y="1662625"/>
                  <a:pt x="294028" y="1661204"/>
                </a:cubicBezTo>
                <a:cubicBezTo>
                  <a:pt x="286926" y="1654102"/>
                  <a:pt x="302550" y="1620012"/>
                  <a:pt x="294028" y="1611490"/>
                </a:cubicBezTo>
                <a:cubicBezTo>
                  <a:pt x="285505" y="1602967"/>
                  <a:pt x="296869" y="1605808"/>
                  <a:pt x="294028" y="1590182"/>
                </a:cubicBezTo>
                <a:cubicBezTo>
                  <a:pt x="294028" y="1587341"/>
                  <a:pt x="288346" y="1581661"/>
                  <a:pt x="288346" y="1583081"/>
                </a:cubicBezTo>
                <a:cubicBezTo>
                  <a:pt x="288346" y="1577399"/>
                  <a:pt x="295449" y="1575978"/>
                  <a:pt x="294028" y="1568877"/>
                </a:cubicBezTo>
                <a:cubicBezTo>
                  <a:pt x="292608" y="1551832"/>
                  <a:pt x="284085" y="1551832"/>
                  <a:pt x="294028" y="1540468"/>
                </a:cubicBezTo>
                <a:cubicBezTo>
                  <a:pt x="294028" y="1540468"/>
                  <a:pt x="294028" y="1534786"/>
                  <a:pt x="294028" y="1533365"/>
                </a:cubicBezTo>
                <a:cubicBezTo>
                  <a:pt x="292608" y="1510640"/>
                  <a:pt x="282664" y="1482231"/>
                  <a:pt x="294028" y="1455242"/>
                </a:cubicBezTo>
                <a:cubicBezTo>
                  <a:pt x="306812" y="1453823"/>
                  <a:pt x="313914" y="1460924"/>
                  <a:pt x="312494" y="1476548"/>
                </a:cubicBezTo>
                <a:cubicBezTo>
                  <a:pt x="319595" y="1475128"/>
                  <a:pt x="316755" y="1463765"/>
                  <a:pt x="318176" y="1455242"/>
                </a:cubicBezTo>
                <a:cubicBezTo>
                  <a:pt x="326698" y="1463765"/>
                  <a:pt x="328118" y="1458083"/>
                  <a:pt x="336641" y="1455242"/>
                </a:cubicBezTo>
                <a:close/>
                <a:moveTo>
                  <a:pt x="58237" y="1405527"/>
                </a:moveTo>
                <a:cubicBezTo>
                  <a:pt x="48295" y="1419731"/>
                  <a:pt x="58237" y="1414049"/>
                  <a:pt x="58237" y="1433935"/>
                </a:cubicBezTo>
                <a:cubicBezTo>
                  <a:pt x="39772" y="1445299"/>
                  <a:pt x="39772" y="1395584"/>
                  <a:pt x="58237" y="1405527"/>
                </a:cubicBezTo>
                <a:close/>
                <a:moveTo>
                  <a:pt x="382094" y="1384221"/>
                </a:moveTo>
                <a:cubicBezTo>
                  <a:pt x="394879" y="1394165"/>
                  <a:pt x="374993" y="1408369"/>
                  <a:pt x="387776" y="1426834"/>
                </a:cubicBezTo>
                <a:cubicBezTo>
                  <a:pt x="380675" y="1425414"/>
                  <a:pt x="376413" y="1428254"/>
                  <a:pt x="376413" y="1433935"/>
                </a:cubicBezTo>
                <a:cubicBezTo>
                  <a:pt x="363629" y="1428254"/>
                  <a:pt x="379253" y="1397006"/>
                  <a:pt x="382094" y="1384221"/>
                </a:cubicBezTo>
                <a:close/>
                <a:moveTo>
                  <a:pt x="347761" y="1380248"/>
                </a:moveTo>
                <a:cubicBezTo>
                  <a:pt x="351023" y="1380226"/>
                  <a:pt x="354042" y="1381380"/>
                  <a:pt x="356527" y="1384221"/>
                </a:cubicBezTo>
                <a:cubicBezTo>
                  <a:pt x="343743" y="1398425"/>
                  <a:pt x="338062" y="1409789"/>
                  <a:pt x="319595" y="1398425"/>
                </a:cubicBezTo>
                <a:cubicBezTo>
                  <a:pt x="323857" y="1393453"/>
                  <a:pt x="330604" y="1387062"/>
                  <a:pt x="337529" y="1383334"/>
                </a:cubicBezTo>
                <a:cubicBezTo>
                  <a:pt x="340991" y="1381469"/>
                  <a:pt x="344498" y="1380270"/>
                  <a:pt x="347761" y="1380248"/>
                </a:cubicBezTo>
                <a:close/>
                <a:moveTo>
                  <a:pt x="378678" y="1323231"/>
                </a:moveTo>
                <a:cubicBezTo>
                  <a:pt x="380054" y="1322521"/>
                  <a:pt x="381563" y="1322788"/>
                  <a:pt x="383161" y="1323498"/>
                </a:cubicBezTo>
                <a:cubicBezTo>
                  <a:pt x="386356" y="1324918"/>
                  <a:pt x="389907" y="1328114"/>
                  <a:pt x="393458" y="1328824"/>
                </a:cubicBezTo>
                <a:cubicBezTo>
                  <a:pt x="394879" y="1341608"/>
                  <a:pt x="386356" y="1344449"/>
                  <a:pt x="387776" y="1357232"/>
                </a:cubicBezTo>
                <a:cubicBezTo>
                  <a:pt x="370731" y="1361494"/>
                  <a:pt x="392038" y="1323143"/>
                  <a:pt x="374993" y="1328824"/>
                </a:cubicBezTo>
                <a:cubicBezTo>
                  <a:pt x="376058" y="1325628"/>
                  <a:pt x="377301" y="1323941"/>
                  <a:pt x="378678" y="1323231"/>
                </a:cubicBezTo>
                <a:close/>
                <a:moveTo>
                  <a:pt x="336286" y="1317817"/>
                </a:moveTo>
                <a:cubicBezTo>
                  <a:pt x="340548" y="1316395"/>
                  <a:pt x="345165" y="1317462"/>
                  <a:pt x="349425" y="1321722"/>
                </a:cubicBezTo>
                <a:cubicBezTo>
                  <a:pt x="348004" y="1330245"/>
                  <a:pt x="335221" y="1327404"/>
                  <a:pt x="325277" y="1328824"/>
                </a:cubicBezTo>
                <a:cubicBezTo>
                  <a:pt x="328118" y="1323142"/>
                  <a:pt x="332025" y="1319236"/>
                  <a:pt x="336286" y="1317817"/>
                </a:cubicBezTo>
                <a:close/>
                <a:moveTo>
                  <a:pt x="83804" y="1314619"/>
                </a:moveTo>
                <a:cubicBezTo>
                  <a:pt x="96589" y="1320301"/>
                  <a:pt x="105112" y="1331664"/>
                  <a:pt x="102271" y="1357232"/>
                </a:cubicBezTo>
                <a:cubicBezTo>
                  <a:pt x="82385" y="1357232"/>
                  <a:pt x="86645" y="1331664"/>
                  <a:pt x="83804" y="1314619"/>
                </a:cubicBezTo>
                <a:close/>
                <a:moveTo>
                  <a:pt x="294028" y="1236497"/>
                </a:moveTo>
                <a:cubicBezTo>
                  <a:pt x="311073" y="1235075"/>
                  <a:pt x="292608" y="1289052"/>
                  <a:pt x="294028" y="1250701"/>
                </a:cubicBezTo>
                <a:close/>
                <a:moveTo>
                  <a:pt x="346052" y="1235432"/>
                </a:moveTo>
                <a:cubicBezTo>
                  <a:pt x="347739" y="1233745"/>
                  <a:pt x="350845" y="1233656"/>
                  <a:pt x="356527" y="1236497"/>
                </a:cubicBezTo>
                <a:cubicBezTo>
                  <a:pt x="350845" y="1256383"/>
                  <a:pt x="365049" y="1254963"/>
                  <a:pt x="362208" y="1272007"/>
                </a:cubicBezTo>
                <a:lnTo>
                  <a:pt x="349425" y="1272007"/>
                </a:lnTo>
                <a:cubicBezTo>
                  <a:pt x="349425" y="1279109"/>
                  <a:pt x="357948" y="1277688"/>
                  <a:pt x="362208" y="1279109"/>
                </a:cubicBezTo>
                <a:cubicBezTo>
                  <a:pt x="346584" y="1303256"/>
                  <a:pt x="340903" y="1257802"/>
                  <a:pt x="319595" y="1264905"/>
                </a:cubicBezTo>
                <a:cubicBezTo>
                  <a:pt x="322436" y="1259223"/>
                  <a:pt x="325277" y="1253542"/>
                  <a:pt x="325277" y="1243598"/>
                </a:cubicBezTo>
                <a:cubicBezTo>
                  <a:pt x="336641" y="1240759"/>
                  <a:pt x="336641" y="1249280"/>
                  <a:pt x="338062" y="1257802"/>
                </a:cubicBezTo>
                <a:cubicBezTo>
                  <a:pt x="348715" y="1259933"/>
                  <a:pt x="340991" y="1240492"/>
                  <a:pt x="346052" y="1235432"/>
                </a:cubicBezTo>
                <a:close/>
                <a:moveTo>
                  <a:pt x="102271" y="1229394"/>
                </a:moveTo>
                <a:cubicBezTo>
                  <a:pt x="92327" y="1253542"/>
                  <a:pt x="103690" y="1256383"/>
                  <a:pt x="102271" y="1286211"/>
                </a:cubicBezTo>
                <a:cubicBezTo>
                  <a:pt x="90907" y="1284791"/>
                  <a:pt x="76703" y="1227974"/>
                  <a:pt x="102271" y="1229394"/>
                </a:cubicBezTo>
                <a:close/>
                <a:moveTo>
                  <a:pt x="403483" y="1194260"/>
                </a:moveTo>
                <a:lnTo>
                  <a:pt x="403401" y="1195305"/>
                </a:lnTo>
                <a:lnTo>
                  <a:pt x="404723" y="1194289"/>
                </a:lnTo>
                <a:lnTo>
                  <a:pt x="401138" y="1208953"/>
                </a:lnTo>
                <a:cubicBezTo>
                  <a:pt x="401270" y="1223269"/>
                  <a:pt x="409793" y="1235787"/>
                  <a:pt x="399139" y="1250701"/>
                </a:cubicBezTo>
                <a:cubicBezTo>
                  <a:pt x="370731" y="1259223"/>
                  <a:pt x="389197" y="1215189"/>
                  <a:pt x="373572" y="1208088"/>
                </a:cubicBezTo>
                <a:cubicBezTo>
                  <a:pt x="376413" y="1203118"/>
                  <a:pt x="381384" y="1200632"/>
                  <a:pt x="387066" y="1198856"/>
                </a:cubicBezTo>
                <a:close/>
                <a:moveTo>
                  <a:pt x="89486" y="1193884"/>
                </a:moveTo>
                <a:lnTo>
                  <a:pt x="102271" y="1193884"/>
                </a:lnTo>
                <a:lnTo>
                  <a:pt x="102271" y="1208088"/>
                </a:lnTo>
                <a:lnTo>
                  <a:pt x="89486" y="1208088"/>
                </a:lnTo>
                <a:close/>
                <a:moveTo>
                  <a:pt x="338062" y="1129964"/>
                </a:moveTo>
                <a:cubicBezTo>
                  <a:pt x="342322" y="1148430"/>
                  <a:pt x="339481" y="1151271"/>
                  <a:pt x="335221" y="1173998"/>
                </a:cubicBezTo>
                <a:cubicBezTo>
                  <a:pt x="321017" y="1173998"/>
                  <a:pt x="321017" y="1175417"/>
                  <a:pt x="316755" y="1169737"/>
                </a:cubicBezTo>
                <a:cubicBezTo>
                  <a:pt x="316755" y="1151271"/>
                  <a:pt x="321017" y="1161213"/>
                  <a:pt x="321017" y="1142748"/>
                </a:cubicBezTo>
                <a:cubicBezTo>
                  <a:pt x="330959" y="1138488"/>
                  <a:pt x="323857" y="1127124"/>
                  <a:pt x="338062" y="1129964"/>
                </a:cubicBezTo>
                <a:close/>
                <a:moveTo>
                  <a:pt x="299709" y="1017751"/>
                </a:moveTo>
                <a:cubicBezTo>
                  <a:pt x="292608" y="1049000"/>
                  <a:pt x="312494" y="1073147"/>
                  <a:pt x="299709" y="1088772"/>
                </a:cubicBezTo>
                <a:cubicBezTo>
                  <a:pt x="274142" y="1087351"/>
                  <a:pt x="305391" y="1022011"/>
                  <a:pt x="262778" y="1039058"/>
                </a:cubicBezTo>
                <a:cubicBezTo>
                  <a:pt x="265619" y="1022011"/>
                  <a:pt x="285505" y="1023432"/>
                  <a:pt x="299709" y="1017751"/>
                </a:cubicBezTo>
                <a:close/>
                <a:moveTo>
                  <a:pt x="190337" y="1017751"/>
                </a:moveTo>
                <a:cubicBezTo>
                  <a:pt x="203120" y="1017751"/>
                  <a:pt x="190337" y="1033375"/>
                  <a:pt x="190337" y="1031955"/>
                </a:cubicBezTo>
                <a:cubicBezTo>
                  <a:pt x="193178" y="1044738"/>
                  <a:pt x="211643" y="1040478"/>
                  <a:pt x="203120" y="1067466"/>
                </a:cubicBezTo>
                <a:cubicBezTo>
                  <a:pt x="188916" y="1070307"/>
                  <a:pt x="190337" y="1054682"/>
                  <a:pt x="171871" y="1060364"/>
                </a:cubicBezTo>
                <a:cubicBezTo>
                  <a:pt x="177553" y="1044738"/>
                  <a:pt x="181815" y="1029114"/>
                  <a:pt x="190337" y="1017751"/>
                </a:cubicBezTo>
                <a:close/>
                <a:moveTo>
                  <a:pt x="142043" y="1010649"/>
                </a:moveTo>
                <a:cubicBezTo>
                  <a:pt x="167610" y="1014910"/>
                  <a:pt x="150565" y="1043318"/>
                  <a:pt x="160508" y="1053262"/>
                </a:cubicBezTo>
                <a:cubicBezTo>
                  <a:pt x="156247" y="1060364"/>
                  <a:pt x="149144" y="1064624"/>
                  <a:pt x="142043" y="1067466"/>
                </a:cubicBezTo>
                <a:cubicBezTo>
                  <a:pt x="156247" y="1083090"/>
                  <a:pt x="139202" y="1095875"/>
                  <a:pt x="142043" y="1117181"/>
                </a:cubicBezTo>
                <a:cubicBezTo>
                  <a:pt x="129258" y="1121441"/>
                  <a:pt x="120736" y="1070307"/>
                  <a:pt x="129258" y="1060364"/>
                </a:cubicBezTo>
                <a:cubicBezTo>
                  <a:pt x="134940" y="1054682"/>
                  <a:pt x="130679" y="1053262"/>
                  <a:pt x="129258" y="1039058"/>
                </a:cubicBezTo>
                <a:cubicBezTo>
                  <a:pt x="127838" y="1031955"/>
                  <a:pt x="129258" y="1024854"/>
                  <a:pt x="129258" y="1017751"/>
                </a:cubicBezTo>
                <a:cubicBezTo>
                  <a:pt x="136361" y="1019170"/>
                  <a:pt x="140622" y="1016329"/>
                  <a:pt x="142043" y="1010649"/>
                </a:cubicBezTo>
                <a:close/>
                <a:moveTo>
                  <a:pt x="154826" y="983660"/>
                </a:moveTo>
                <a:lnTo>
                  <a:pt x="173292" y="983660"/>
                </a:lnTo>
                <a:cubicBezTo>
                  <a:pt x="169030" y="989342"/>
                  <a:pt x="166189" y="996445"/>
                  <a:pt x="173292" y="997865"/>
                </a:cubicBezTo>
                <a:cubicBezTo>
                  <a:pt x="176133" y="1010649"/>
                  <a:pt x="149144" y="999286"/>
                  <a:pt x="154826" y="983660"/>
                </a:cubicBezTo>
                <a:close/>
                <a:moveTo>
                  <a:pt x="210223" y="975138"/>
                </a:moveTo>
                <a:cubicBezTo>
                  <a:pt x="223006" y="973717"/>
                  <a:pt x="213064" y="1000705"/>
                  <a:pt x="215905" y="1010649"/>
                </a:cubicBezTo>
                <a:cubicBezTo>
                  <a:pt x="204542" y="1004966"/>
                  <a:pt x="200280" y="986501"/>
                  <a:pt x="210223" y="975138"/>
                </a:cubicBezTo>
                <a:close/>
                <a:moveTo>
                  <a:pt x="443172" y="841616"/>
                </a:moveTo>
                <a:cubicBezTo>
                  <a:pt x="443172" y="858661"/>
                  <a:pt x="433230" y="862923"/>
                  <a:pt x="437490" y="884229"/>
                </a:cubicBezTo>
                <a:cubicBezTo>
                  <a:pt x="424707" y="887070"/>
                  <a:pt x="446013" y="904115"/>
                  <a:pt x="424707" y="905536"/>
                </a:cubicBezTo>
                <a:lnTo>
                  <a:pt x="387776" y="905536"/>
                </a:lnTo>
                <a:cubicBezTo>
                  <a:pt x="394877" y="960932"/>
                  <a:pt x="370731" y="1010648"/>
                  <a:pt x="386355" y="1054680"/>
                </a:cubicBezTo>
                <a:cubicBezTo>
                  <a:pt x="410503" y="1061783"/>
                  <a:pt x="390617" y="1029113"/>
                  <a:pt x="392036" y="1019170"/>
                </a:cubicBezTo>
                <a:cubicBezTo>
                  <a:pt x="393458" y="1006386"/>
                  <a:pt x="406241" y="995022"/>
                  <a:pt x="404821" y="983659"/>
                </a:cubicBezTo>
                <a:cubicBezTo>
                  <a:pt x="404821" y="980818"/>
                  <a:pt x="384935" y="972295"/>
                  <a:pt x="399139" y="969455"/>
                </a:cubicBezTo>
                <a:cubicBezTo>
                  <a:pt x="406241" y="972295"/>
                  <a:pt x="413344" y="976558"/>
                  <a:pt x="417604" y="983659"/>
                </a:cubicBezTo>
                <a:cubicBezTo>
                  <a:pt x="419025" y="1013489"/>
                  <a:pt x="409082" y="1012068"/>
                  <a:pt x="417604" y="1033375"/>
                </a:cubicBezTo>
                <a:cubicBezTo>
                  <a:pt x="438911" y="1050418"/>
                  <a:pt x="421866" y="1013489"/>
                  <a:pt x="430389" y="1004966"/>
                </a:cubicBezTo>
                <a:cubicBezTo>
                  <a:pt x="433230" y="1002125"/>
                  <a:pt x="446013" y="1007806"/>
                  <a:pt x="448854" y="1004966"/>
                </a:cubicBezTo>
                <a:cubicBezTo>
                  <a:pt x="451694" y="999284"/>
                  <a:pt x="444593" y="982239"/>
                  <a:pt x="454535" y="983659"/>
                </a:cubicBezTo>
                <a:cubicBezTo>
                  <a:pt x="458797" y="968035"/>
                  <a:pt x="450275" y="956671"/>
                  <a:pt x="448854" y="941046"/>
                </a:cubicBezTo>
                <a:cubicBezTo>
                  <a:pt x="447434" y="932524"/>
                  <a:pt x="454535" y="931104"/>
                  <a:pt x="454535" y="919740"/>
                </a:cubicBezTo>
                <a:cubicBezTo>
                  <a:pt x="454535" y="921160"/>
                  <a:pt x="448854" y="915478"/>
                  <a:pt x="448854" y="912638"/>
                </a:cubicBezTo>
                <a:cubicBezTo>
                  <a:pt x="444593" y="887070"/>
                  <a:pt x="458797" y="858661"/>
                  <a:pt x="443172" y="841616"/>
                </a:cubicBezTo>
                <a:close/>
                <a:moveTo>
                  <a:pt x="225847" y="834515"/>
                </a:moveTo>
                <a:cubicBezTo>
                  <a:pt x="231529" y="854402"/>
                  <a:pt x="217325" y="852981"/>
                  <a:pt x="220166" y="870026"/>
                </a:cubicBezTo>
                <a:cubicBezTo>
                  <a:pt x="208802" y="871447"/>
                  <a:pt x="207382" y="823151"/>
                  <a:pt x="225847" y="834515"/>
                </a:cubicBezTo>
                <a:close/>
                <a:moveTo>
                  <a:pt x="75106" y="823151"/>
                </a:moveTo>
                <a:cubicBezTo>
                  <a:pt x="80254" y="822796"/>
                  <a:pt x="85935" y="828123"/>
                  <a:pt x="76703" y="840196"/>
                </a:cubicBezTo>
                <a:cubicBezTo>
                  <a:pt x="65340" y="829543"/>
                  <a:pt x="69957" y="823506"/>
                  <a:pt x="75106" y="823151"/>
                </a:cubicBezTo>
                <a:close/>
                <a:moveTo>
                  <a:pt x="76703" y="790482"/>
                </a:moveTo>
                <a:cubicBezTo>
                  <a:pt x="99430" y="811788"/>
                  <a:pt x="58237" y="814629"/>
                  <a:pt x="76703" y="790482"/>
                </a:cubicBezTo>
                <a:close/>
                <a:moveTo>
                  <a:pt x="194598" y="700994"/>
                </a:moveTo>
                <a:cubicBezTo>
                  <a:pt x="215905" y="705257"/>
                  <a:pt x="198860" y="727983"/>
                  <a:pt x="194598" y="743607"/>
                </a:cubicBezTo>
                <a:cubicBezTo>
                  <a:pt x="180394" y="740767"/>
                  <a:pt x="190337" y="705257"/>
                  <a:pt x="194598" y="700994"/>
                </a:cubicBezTo>
                <a:close/>
                <a:moveTo>
                  <a:pt x="100850" y="578838"/>
                </a:moveTo>
                <a:cubicBezTo>
                  <a:pt x="107951" y="632814"/>
                  <a:pt x="83804" y="573158"/>
                  <a:pt x="76702" y="607246"/>
                </a:cubicBezTo>
                <a:cubicBezTo>
                  <a:pt x="79542" y="617190"/>
                  <a:pt x="100850" y="608668"/>
                  <a:pt x="102269" y="621451"/>
                </a:cubicBezTo>
                <a:cubicBezTo>
                  <a:pt x="102269" y="632814"/>
                  <a:pt x="99428" y="647018"/>
                  <a:pt x="107951" y="649859"/>
                </a:cubicBezTo>
                <a:cubicBezTo>
                  <a:pt x="122155" y="634235"/>
                  <a:pt x="110792" y="615769"/>
                  <a:pt x="107951" y="600145"/>
                </a:cubicBezTo>
                <a:cubicBezTo>
                  <a:pt x="106530" y="598724"/>
                  <a:pt x="116474" y="594463"/>
                  <a:pt x="113633" y="585941"/>
                </a:cubicBezTo>
                <a:cubicBezTo>
                  <a:pt x="112213" y="583100"/>
                  <a:pt x="100850" y="581679"/>
                  <a:pt x="100850" y="578838"/>
                </a:cubicBezTo>
                <a:close/>
                <a:moveTo>
                  <a:pt x="92372" y="556467"/>
                </a:moveTo>
                <a:cubicBezTo>
                  <a:pt x="86113" y="561527"/>
                  <a:pt x="86645" y="580969"/>
                  <a:pt x="95168" y="578838"/>
                </a:cubicBezTo>
                <a:cubicBezTo>
                  <a:pt x="95168" y="574577"/>
                  <a:pt x="96588" y="570315"/>
                  <a:pt x="100850" y="571736"/>
                </a:cubicBezTo>
                <a:lnTo>
                  <a:pt x="100850" y="557532"/>
                </a:lnTo>
                <a:cubicBezTo>
                  <a:pt x="97299" y="554691"/>
                  <a:pt x="94458" y="554779"/>
                  <a:pt x="92372" y="556467"/>
                </a:cubicBezTo>
                <a:close/>
                <a:moveTo>
                  <a:pt x="455956" y="546170"/>
                </a:moveTo>
                <a:cubicBezTo>
                  <a:pt x="460219" y="584520"/>
                  <a:pt x="448855" y="615769"/>
                  <a:pt x="455956" y="638496"/>
                </a:cubicBezTo>
                <a:cubicBezTo>
                  <a:pt x="477264" y="641337"/>
                  <a:pt x="467320" y="611508"/>
                  <a:pt x="468741" y="602986"/>
                </a:cubicBezTo>
                <a:cubicBezTo>
                  <a:pt x="471582" y="585941"/>
                  <a:pt x="473002" y="580259"/>
                  <a:pt x="474423" y="567476"/>
                </a:cubicBezTo>
                <a:cubicBezTo>
                  <a:pt x="463059" y="566055"/>
                  <a:pt x="470161" y="543328"/>
                  <a:pt x="455956" y="546170"/>
                </a:cubicBezTo>
                <a:close/>
                <a:moveTo>
                  <a:pt x="419025" y="526284"/>
                </a:moveTo>
                <a:cubicBezTo>
                  <a:pt x="413345" y="553273"/>
                  <a:pt x="409083" y="605827"/>
                  <a:pt x="406242" y="631394"/>
                </a:cubicBezTo>
                <a:cubicBezTo>
                  <a:pt x="403401" y="658383"/>
                  <a:pt x="401982" y="674007"/>
                  <a:pt x="400561" y="688211"/>
                </a:cubicBezTo>
                <a:cubicBezTo>
                  <a:pt x="397720" y="716620"/>
                  <a:pt x="407663" y="715200"/>
                  <a:pt x="406242" y="737927"/>
                </a:cubicBezTo>
                <a:cubicBezTo>
                  <a:pt x="406242" y="746450"/>
                  <a:pt x="401982" y="749289"/>
                  <a:pt x="400561" y="759233"/>
                </a:cubicBezTo>
                <a:cubicBezTo>
                  <a:pt x="399141" y="770596"/>
                  <a:pt x="401982" y="781960"/>
                  <a:pt x="394879" y="787641"/>
                </a:cubicBezTo>
                <a:cubicBezTo>
                  <a:pt x="420447" y="797584"/>
                  <a:pt x="387776" y="830254"/>
                  <a:pt x="413345" y="837357"/>
                </a:cubicBezTo>
                <a:lnTo>
                  <a:pt x="413345" y="801846"/>
                </a:lnTo>
                <a:cubicBezTo>
                  <a:pt x="424707" y="803267"/>
                  <a:pt x="426128" y="791902"/>
                  <a:pt x="431810" y="787641"/>
                </a:cubicBezTo>
                <a:cubicBezTo>
                  <a:pt x="441754" y="787641"/>
                  <a:pt x="436072" y="807527"/>
                  <a:pt x="444595" y="808948"/>
                </a:cubicBezTo>
                <a:cubicBezTo>
                  <a:pt x="450275" y="799005"/>
                  <a:pt x="450275" y="781960"/>
                  <a:pt x="463059" y="780540"/>
                </a:cubicBezTo>
                <a:cubicBezTo>
                  <a:pt x="458799" y="803267"/>
                  <a:pt x="475842" y="791902"/>
                  <a:pt x="475842" y="780540"/>
                </a:cubicBezTo>
                <a:cubicBezTo>
                  <a:pt x="455958" y="786222"/>
                  <a:pt x="463059" y="760654"/>
                  <a:pt x="444595" y="766336"/>
                </a:cubicBezTo>
                <a:cubicBezTo>
                  <a:pt x="437492" y="772017"/>
                  <a:pt x="427549" y="776278"/>
                  <a:pt x="413345" y="773437"/>
                </a:cubicBezTo>
                <a:cubicBezTo>
                  <a:pt x="423287" y="760654"/>
                  <a:pt x="417606" y="732245"/>
                  <a:pt x="419025" y="709519"/>
                </a:cubicBezTo>
                <a:cubicBezTo>
                  <a:pt x="441754" y="699575"/>
                  <a:pt x="437492" y="698154"/>
                  <a:pt x="468741" y="702416"/>
                </a:cubicBezTo>
                <a:cubicBezTo>
                  <a:pt x="473003" y="681110"/>
                  <a:pt x="451696" y="688211"/>
                  <a:pt x="455958" y="666906"/>
                </a:cubicBezTo>
                <a:cubicBezTo>
                  <a:pt x="464479" y="665485"/>
                  <a:pt x="471582" y="664063"/>
                  <a:pt x="468741" y="652702"/>
                </a:cubicBezTo>
                <a:cubicBezTo>
                  <a:pt x="461638" y="649859"/>
                  <a:pt x="457378" y="642758"/>
                  <a:pt x="444595" y="645599"/>
                </a:cubicBezTo>
                <a:cubicBezTo>
                  <a:pt x="446014" y="671166"/>
                  <a:pt x="446014" y="695314"/>
                  <a:pt x="419025" y="688211"/>
                </a:cubicBezTo>
                <a:cubicBezTo>
                  <a:pt x="421868" y="659803"/>
                  <a:pt x="421868" y="666906"/>
                  <a:pt x="419025" y="638497"/>
                </a:cubicBezTo>
                <a:cubicBezTo>
                  <a:pt x="427549" y="638497"/>
                  <a:pt x="433230" y="635655"/>
                  <a:pt x="437492" y="631394"/>
                </a:cubicBezTo>
                <a:cubicBezTo>
                  <a:pt x="434651" y="602986"/>
                  <a:pt x="434651" y="610089"/>
                  <a:pt x="437492" y="581680"/>
                </a:cubicBezTo>
                <a:cubicBezTo>
                  <a:pt x="430390" y="580259"/>
                  <a:pt x="420447" y="583100"/>
                  <a:pt x="419025" y="574577"/>
                </a:cubicBezTo>
                <a:cubicBezTo>
                  <a:pt x="420447" y="566055"/>
                  <a:pt x="428969" y="567477"/>
                  <a:pt x="437492" y="567477"/>
                </a:cubicBezTo>
                <a:cubicBezTo>
                  <a:pt x="431810" y="551852"/>
                  <a:pt x="433230" y="529125"/>
                  <a:pt x="419025" y="526284"/>
                </a:cubicBezTo>
                <a:close/>
                <a:moveTo>
                  <a:pt x="95168" y="514919"/>
                </a:moveTo>
                <a:cubicBezTo>
                  <a:pt x="78123" y="549010"/>
                  <a:pt x="115054" y="531964"/>
                  <a:pt x="95168" y="514919"/>
                </a:cubicBezTo>
                <a:close/>
                <a:moveTo>
                  <a:pt x="356527" y="510657"/>
                </a:moveTo>
                <a:cubicBezTo>
                  <a:pt x="376413" y="504975"/>
                  <a:pt x="376413" y="580259"/>
                  <a:pt x="356527" y="574577"/>
                </a:cubicBezTo>
                <a:cubicBezTo>
                  <a:pt x="366470" y="563215"/>
                  <a:pt x="350845" y="539067"/>
                  <a:pt x="356527" y="510657"/>
                </a:cubicBezTo>
                <a:close/>
                <a:moveTo>
                  <a:pt x="419025" y="496454"/>
                </a:moveTo>
                <a:cubicBezTo>
                  <a:pt x="404821" y="510659"/>
                  <a:pt x="426127" y="523443"/>
                  <a:pt x="437490" y="531966"/>
                </a:cubicBezTo>
                <a:cubicBezTo>
                  <a:pt x="440331" y="509239"/>
                  <a:pt x="430389" y="503557"/>
                  <a:pt x="419025" y="496454"/>
                </a:cubicBezTo>
                <a:close/>
                <a:moveTo>
                  <a:pt x="474421" y="468046"/>
                </a:moveTo>
                <a:cubicBezTo>
                  <a:pt x="446013" y="469466"/>
                  <a:pt x="454535" y="520601"/>
                  <a:pt x="468740" y="531966"/>
                </a:cubicBezTo>
                <a:cubicBezTo>
                  <a:pt x="468740" y="507818"/>
                  <a:pt x="478683" y="496454"/>
                  <a:pt x="474421" y="468046"/>
                </a:cubicBezTo>
                <a:close/>
                <a:moveTo>
                  <a:pt x="205961" y="425433"/>
                </a:moveTo>
                <a:cubicBezTo>
                  <a:pt x="183234" y="418333"/>
                  <a:pt x="191757" y="448161"/>
                  <a:pt x="187496" y="460946"/>
                </a:cubicBezTo>
                <a:cubicBezTo>
                  <a:pt x="187496" y="463787"/>
                  <a:pt x="183234" y="462366"/>
                  <a:pt x="181815" y="468047"/>
                </a:cubicBezTo>
                <a:cubicBezTo>
                  <a:pt x="173292" y="507818"/>
                  <a:pt x="176133" y="553271"/>
                  <a:pt x="176133" y="601565"/>
                </a:cubicBezTo>
                <a:cubicBezTo>
                  <a:pt x="217325" y="605827"/>
                  <a:pt x="160508" y="529125"/>
                  <a:pt x="205961" y="530545"/>
                </a:cubicBezTo>
                <a:cubicBezTo>
                  <a:pt x="197439" y="490774"/>
                  <a:pt x="207382" y="472308"/>
                  <a:pt x="205961" y="425433"/>
                </a:cubicBezTo>
                <a:close/>
                <a:moveTo>
                  <a:pt x="281245" y="411229"/>
                </a:moveTo>
                <a:cubicBezTo>
                  <a:pt x="288346" y="418332"/>
                  <a:pt x="284085" y="443899"/>
                  <a:pt x="275563" y="453840"/>
                </a:cubicBezTo>
                <a:cubicBezTo>
                  <a:pt x="252836" y="455263"/>
                  <a:pt x="274142" y="448158"/>
                  <a:pt x="269881" y="432536"/>
                </a:cubicBezTo>
                <a:cubicBezTo>
                  <a:pt x="258518" y="439637"/>
                  <a:pt x="261359" y="460945"/>
                  <a:pt x="238632" y="453840"/>
                </a:cubicBezTo>
                <a:cubicBezTo>
                  <a:pt x="237211" y="448158"/>
                  <a:pt x="240051" y="446740"/>
                  <a:pt x="244314" y="446740"/>
                </a:cubicBezTo>
                <a:cubicBezTo>
                  <a:pt x="262778" y="442478"/>
                  <a:pt x="259937" y="412650"/>
                  <a:pt x="281245" y="411229"/>
                </a:cubicBezTo>
                <a:close/>
                <a:moveTo>
                  <a:pt x="205961" y="361514"/>
                </a:moveTo>
                <a:cubicBezTo>
                  <a:pt x="184656" y="362934"/>
                  <a:pt x="196019" y="401290"/>
                  <a:pt x="181815" y="411232"/>
                </a:cubicBezTo>
                <a:cubicBezTo>
                  <a:pt x="190337" y="414070"/>
                  <a:pt x="194599" y="421174"/>
                  <a:pt x="205961" y="418333"/>
                </a:cubicBezTo>
                <a:cubicBezTo>
                  <a:pt x="211643" y="389926"/>
                  <a:pt x="191757" y="377138"/>
                  <a:pt x="205961" y="361514"/>
                </a:cubicBezTo>
                <a:close/>
                <a:moveTo>
                  <a:pt x="113633" y="297596"/>
                </a:moveTo>
                <a:cubicBezTo>
                  <a:pt x="113633" y="317482"/>
                  <a:pt x="95168" y="333106"/>
                  <a:pt x="107951" y="347312"/>
                </a:cubicBezTo>
                <a:lnTo>
                  <a:pt x="126417" y="347312"/>
                </a:lnTo>
                <a:cubicBezTo>
                  <a:pt x="117895" y="334527"/>
                  <a:pt x="124996" y="306119"/>
                  <a:pt x="113633" y="297596"/>
                </a:cubicBezTo>
                <a:close/>
                <a:moveTo>
                  <a:pt x="478683" y="270609"/>
                </a:moveTo>
                <a:cubicBezTo>
                  <a:pt x="461638" y="273448"/>
                  <a:pt x="444593" y="274871"/>
                  <a:pt x="434649" y="284813"/>
                </a:cubicBezTo>
                <a:cubicBezTo>
                  <a:pt x="438911" y="294754"/>
                  <a:pt x="458797" y="286231"/>
                  <a:pt x="460217" y="299017"/>
                </a:cubicBezTo>
                <a:cubicBezTo>
                  <a:pt x="434649" y="303278"/>
                  <a:pt x="460217" y="327424"/>
                  <a:pt x="454535" y="334527"/>
                </a:cubicBezTo>
                <a:cubicBezTo>
                  <a:pt x="443172" y="348731"/>
                  <a:pt x="455956" y="344469"/>
                  <a:pt x="454535" y="362934"/>
                </a:cubicBezTo>
                <a:cubicBezTo>
                  <a:pt x="454535" y="364355"/>
                  <a:pt x="448854" y="362934"/>
                  <a:pt x="448854" y="370037"/>
                </a:cubicBezTo>
                <a:cubicBezTo>
                  <a:pt x="448854" y="382822"/>
                  <a:pt x="460217" y="387082"/>
                  <a:pt x="443172" y="391343"/>
                </a:cubicBezTo>
                <a:lnTo>
                  <a:pt x="443172" y="341628"/>
                </a:lnTo>
                <a:cubicBezTo>
                  <a:pt x="428968" y="335945"/>
                  <a:pt x="426127" y="367196"/>
                  <a:pt x="421866" y="384241"/>
                </a:cubicBezTo>
                <a:cubicBezTo>
                  <a:pt x="420445" y="405550"/>
                  <a:pt x="417604" y="438218"/>
                  <a:pt x="434649" y="441060"/>
                </a:cubicBezTo>
                <a:cubicBezTo>
                  <a:pt x="436070" y="428274"/>
                  <a:pt x="438911" y="416913"/>
                  <a:pt x="447434" y="412650"/>
                </a:cubicBezTo>
                <a:cubicBezTo>
                  <a:pt x="465899" y="414070"/>
                  <a:pt x="458797" y="442478"/>
                  <a:pt x="460217" y="462366"/>
                </a:cubicBezTo>
                <a:cubicBezTo>
                  <a:pt x="481524" y="466628"/>
                  <a:pt x="471580" y="431118"/>
                  <a:pt x="473002" y="419754"/>
                </a:cubicBezTo>
                <a:cubicBezTo>
                  <a:pt x="474421" y="409808"/>
                  <a:pt x="478683" y="409808"/>
                  <a:pt x="478683" y="398446"/>
                </a:cubicBezTo>
                <a:cubicBezTo>
                  <a:pt x="480103" y="389922"/>
                  <a:pt x="473002" y="388502"/>
                  <a:pt x="473002" y="377140"/>
                </a:cubicBezTo>
                <a:cubicBezTo>
                  <a:pt x="473002" y="370037"/>
                  <a:pt x="473002" y="362934"/>
                  <a:pt x="473002" y="355833"/>
                </a:cubicBezTo>
                <a:cubicBezTo>
                  <a:pt x="475842" y="331686"/>
                  <a:pt x="475842" y="343048"/>
                  <a:pt x="473002" y="327424"/>
                </a:cubicBezTo>
                <a:cubicBezTo>
                  <a:pt x="471580" y="323162"/>
                  <a:pt x="474421" y="317482"/>
                  <a:pt x="473002" y="313220"/>
                </a:cubicBezTo>
                <a:cubicBezTo>
                  <a:pt x="470161" y="300435"/>
                  <a:pt x="468740" y="297596"/>
                  <a:pt x="473002" y="291914"/>
                </a:cubicBezTo>
                <a:cubicBezTo>
                  <a:pt x="477262" y="287654"/>
                  <a:pt x="471580" y="272025"/>
                  <a:pt x="478683" y="270609"/>
                </a:cubicBezTo>
                <a:close/>
                <a:moveTo>
                  <a:pt x="119316" y="240782"/>
                </a:moveTo>
                <a:cubicBezTo>
                  <a:pt x="124998" y="264927"/>
                  <a:pt x="110793" y="267769"/>
                  <a:pt x="113634" y="290495"/>
                </a:cubicBezTo>
                <a:cubicBezTo>
                  <a:pt x="130679" y="297596"/>
                  <a:pt x="124998" y="272030"/>
                  <a:pt x="124998" y="262088"/>
                </a:cubicBezTo>
                <a:cubicBezTo>
                  <a:pt x="126417" y="252142"/>
                  <a:pt x="133520" y="237937"/>
                  <a:pt x="119316" y="240782"/>
                </a:cubicBezTo>
                <a:close/>
                <a:moveTo>
                  <a:pt x="126417" y="169758"/>
                </a:moveTo>
                <a:cubicBezTo>
                  <a:pt x="122155" y="185381"/>
                  <a:pt x="132099" y="192483"/>
                  <a:pt x="133519" y="205266"/>
                </a:cubicBezTo>
                <a:cubicBezTo>
                  <a:pt x="133519" y="206687"/>
                  <a:pt x="120736" y="212369"/>
                  <a:pt x="120736" y="219470"/>
                </a:cubicBezTo>
                <a:cubicBezTo>
                  <a:pt x="119314" y="215210"/>
                  <a:pt x="127837" y="227993"/>
                  <a:pt x="126417" y="226575"/>
                </a:cubicBezTo>
                <a:cubicBezTo>
                  <a:pt x="129258" y="230835"/>
                  <a:pt x="130678" y="236517"/>
                  <a:pt x="139200" y="233674"/>
                </a:cubicBezTo>
                <a:cubicBezTo>
                  <a:pt x="151985" y="222311"/>
                  <a:pt x="164768" y="159814"/>
                  <a:pt x="126417" y="169758"/>
                </a:cubicBezTo>
                <a:close/>
                <a:moveTo>
                  <a:pt x="393458" y="165495"/>
                </a:moveTo>
                <a:cubicBezTo>
                  <a:pt x="377832" y="166914"/>
                  <a:pt x="370731" y="175439"/>
                  <a:pt x="369310" y="193904"/>
                </a:cubicBezTo>
                <a:lnTo>
                  <a:pt x="393458" y="193904"/>
                </a:lnTo>
                <a:close/>
                <a:moveTo>
                  <a:pt x="249995" y="73167"/>
                </a:moveTo>
                <a:cubicBezTo>
                  <a:pt x="232950" y="61804"/>
                  <a:pt x="232950" y="104416"/>
                  <a:pt x="244314" y="101579"/>
                </a:cubicBezTo>
                <a:cubicBezTo>
                  <a:pt x="255677" y="87371"/>
                  <a:pt x="240051" y="87371"/>
                  <a:pt x="249995" y="73167"/>
                </a:cubicBezTo>
                <a:close/>
                <a:moveTo>
                  <a:pt x="486806" y="49996"/>
                </a:moveTo>
                <a:cubicBezTo>
                  <a:pt x="484276" y="48755"/>
                  <a:pt x="480458" y="49020"/>
                  <a:pt x="474421" y="51860"/>
                </a:cubicBezTo>
                <a:cubicBezTo>
                  <a:pt x="480103" y="78849"/>
                  <a:pt x="458797" y="71747"/>
                  <a:pt x="461638" y="94473"/>
                </a:cubicBezTo>
                <a:cubicBezTo>
                  <a:pt x="474421" y="98733"/>
                  <a:pt x="481524" y="108677"/>
                  <a:pt x="494307" y="115780"/>
                </a:cubicBezTo>
                <a:cubicBezTo>
                  <a:pt x="501410" y="93053"/>
                  <a:pt x="474421" y="110096"/>
                  <a:pt x="481524" y="87371"/>
                </a:cubicBezTo>
                <a:cubicBezTo>
                  <a:pt x="491466" y="87371"/>
                  <a:pt x="497148" y="81690"/>
                  <a:pt x="499989" y="73165"/>
                </a:cubicBezTo>
                <a:cubicBezTo>
                  <a:pt x="490402" y="71036"/>
                  <a:pt x="494397" y="53725"/>
                  <a:pt x="486806" y="49996"/>
                </a:cubicBezTo>
                <a:close/>
                <a:moveTo>
                  <a:pt x="163347" y="36236"/>
                </a:moveTo>
                <a:cubicBezTo>
                  <a:pt x="149143" y="33395"/>
                  <a:pt x="144882" y="61804"/>
                  <a:pt x="144882" y="64644"/>
                </a:cubicBezTo>
                <a:cubicBezTo>
                  <a:pt x="144882" y="71746"/>
                  <a:pt x="139200" y="70325"/>
                  <a:pt x="139200" y="71746"/>
                </a:cubicBezTo>
                <a:cubicBezTo>
                  <a:pt x="136360" y="83109"/>
                  <a:pt x="139200" y="107257"/>
                  <a:pt x="139200" y="121465"/>
                </a:cubicBezTo>
                <a:cubicBezTo>
                  <a:pt x="137781" y="134245"/>
                  <a:pt x="123576" y="156973"/>
                  <a:pt x="144882" y="156973"/>
                </a:cubicBezTo>
                <a:cubicBezTo>
                  <a:pt x="154824" y="145610"/>
                  <a:pt x="147723" y="122881"/>
                  <a:pt x="150564" y="107257"/>
                </a:cubicBezTo>
                <a:cubicBezTo>
                  <a:pt x="153405" y="94473"/>
                  <a:pt x="160508" y="85951"/>
                  <a:pt x="163347" y="71746"/>
                </a:cubicBezTo>
                <a:cubicBezTo>
                  <a:pt x="163347" y="71746"/>
                  <a:pt x="157667" y="64644"/>
                  <a:pt x="157667" y="57541"/>
                </a:cubicBezTo>
                <a:cubicBezTo>
                  <a:pt x="157667" y="54702"/>
                  <a:pt x="169029" y="46178"/>
                  <a:pt x="163347" y="36236"/>
                </a:cubicBezTo>
                <a:close/>
                <a:moveTo>
                  <a:pt x="142319" y="0"/>
                </a:moveTo>
                <a:lnTo>
                  <a:pt x="251415" y="0"/>
                </a:lnTo>
                <a:lnTo>
                  <a:pt x="251415" y="9250"/>
                </a:lnTo>
                <a:cubicBezTo>
                  <a:pt x="249285" y="39078"/>
                  <a:pt x="259938" y="16172"/>
                  <a:pt x="258207" y="2856"/>
                </a:cubicBezTo>
                <a:lnTo>
                  <a:pt x="255724" y="0"/>
                </a:lnTo>
                <a:lnTo>
                  <a:pt x="293654" y="0"/>
                </a:lnTo>
                <a:lnTo>
                  <a:pt x="293895" y="2769"/>
                </a:lnTo>
                <a:cubicBezTo>
                  <a:pt x="300686" y="11290"/>
                  <a:pt x="320660" y="4632"/>
                  <a:pt x="323856" y="16351"/>
                </a:cubicBezTo>
                <a:cubicBezTo>
                  <a:pt x="316755" y="17771"/>
                  <a:pt x="319595" y="23453"/>
                  <a:pt x="318174" y="30554"/>
                </a:cubicBezTo>
                <a:cubicBezTo>
                  <a:pt x="313914" y="49020"/>
                  <a:pt x="308232" y="60384"/>
                  <a:pt x="318174" y="73167"/>
                </a:cubicBezTo>
                <a:cubicBezTo>
                  <a:pt x="302550" y="71746"/>
                  <a:pt x="292607" y="76008"/>
                  <a:pt x="294028" y="94473"/>
                </a:cubicBezTo>
                <a:cubicBezTo>
                  <a:pt x="321015" y="84530"/>
                  <a:pt x="306811" y="121465"/>
                  <a:pt x="329538" y="114359"/>
                </a:cubicBezTo>
                <a:cubicBezTo>
                  <a:pt x="333799" y="84530"/>
                  <a:pt x="338060" y="39522"/>
                  <a:pt x="337528" y="4499"/>
                </a:cubicBezTo>
                <a:lnTo>
                  <a:pt x="337190" y="0"/>
                </a:lnTo>
                <a:lnTo>
                  <a:pt x="396763" y="0"/>
                </a:lnTo>
                <a:lnTo>
                  <a:pt x="399139" y="3565"/>
                </a:lnTo>
                <a:cubicBezTo>
                  <a:pt x="403134" y="5163"/>
                  <a:pt x="405880" y="4814"/>
                  <a:pt x="407622" y="3304"/>
                </a:cubicBezTo>
                <a:lnTo>
                  <a:pt x="408743" y="0"/>
                </a:lnTo>
                <a:lnTo>
                  <a:pt x="481660" y="0"/>
                </a:lnTo>
                <a:lnTo>
                  <a:pt x="478862" y="12621"/>
                </a:lnTo>
                <a:cubicBezTo>
                  <a:pt x="478684" y="24517"/>
                  <a:pt x="482235" y="37656"/>
                  <a:pt x="487206" y="37656"/>
                </a:cubicBezTo>
                <a:cubicBezTo>
                  <a:pt x="482945" y="21677"/>
                  <a:pt x="490669" y="18481"/>
                  <a:pt x="492999" y="8294"/>
                </a:cubicBezTo>
                <a:lnTo>
                  <a:pt x="492930" y="0"/>
                </a:lnTo>
                <a:lnTo>
                  <a:pt x="4354450" y="0"/>
                </a:lnTo>
                <a:lnTo>
                  <a:pt x="4354450" y="4300201"/>
                </a:lnTo>
                <a:lnTo>
                  <a:pt x="4343668" y="4299649"/>
                </a:lnTo>
                <a:cubicBezTo>
                  <a:pt x="4333725" y="4300004"/>
                  <a:pt x="4323782" y="4300360"/>
                  <a:pt x="4315259" y="4290417"/>
                </a:cubicBezTo>
                <a:cubicBezTo>
                  <a:pt x="4308157" y="4296098"/>
                  <a:pt x="4312418" y="4313143"/>
                  <a:pt x="4293953" y="4308881"/>
                </a:cubicBezTo>
                <a:cubicBezTo>
                  <a:pt x="4295373" y="4287576"/>
                  <a:pt x="4265545" y="4306040"/>
                  <a:pt x="4244237" y="4303200"/>
                </a:cubicBezTo>
                <a:cubicBezTo>
                  <a:pt x="4241397" y="4303200"/>
                  <a:pt x="4239977" y="4303200"/>
                  <a:pt x="4237136" y="4303200"/>
                </a:cubicBezTo>
                <a:cubicBezTo>
                  <a:pt x="4232874" y="4303200"/>
                  <a:pt x="4228613" y="4297518"/>
                  <a:pt x="4230033" y="4297518"/>
                </a:cubicBezTo>
                <a:cubicBezTo>
                  <a:pt x="4214409" y="4297518"/>
                  <a:pt x="4204465" y="4304621"/>
                  <a:pt x="4187421" y="4303200"/>
                </a:cubicBezTo>
                <a:cubicBezTo>
                  <a:pt x="4174637" y="4303200"/>
                  <a:pt x="4171797" y="4297518"/>
                  <a:pt x="4159012" y="4297518"/>
                </a:cubicBezTo>
                <a:cubicBezTo>
                  <a:pt x="4150489" y="4297518"/>
                  <a:pt x="4147649" y="4301780"/>
                  <a:pt x="4137706" y="4303200"/>
                </a:cubicBezTo>
                <a:cubicBezTo>
                  <a:pt x="4096513" y="4308881"/>
                  <a:pt x="4065263" y="4298939"/>
                  <a:pt x="4052481" y="4315984"/>
                </a:cubicBezTo>
                <a:cubicBezTo>
                  <a:pt x="4032595" y="4301780"/>
                  <a:pt x="3886289" y="4325926"/>
                  <a:pt x="3864983" y="4313143"/>
                </a:cubicBezTo>
                <a:cubicBezTo>
                  <a:pt x="3855041" y="4313143"/>
                  <a:pt x="3857881" y="4324507"/>
                  <a:pt x="3850778" y="4325926"/>
                </a:cubicBezTo>
                <a:cubicBezTo>
                  <a:pt x="3845098" y="4303200"/>
                  <a:pt x="3795383" y="4313143"/>
                  <a:pt x="3786859" y="4325926"/>
                </a:cubicBezTo>
                <a:cubicBezTo>
                  <a:pt x="3772655" y="4325926"/>
                  <a:pt x="3778337" y="4308881"/>
                  <a:pt x="3758451" y="4313143"/>
                </a:cubicBezTo>
                <a:cubicBezTo>
                  <a:pt x="3758451" y="4333029"/>
                  <a:pt x="3734305" y="4320245"/>
                  <a:pt x="3722940" y="4325926"/>
                </a:cubicBezTo>
                <a:cubicBezTo>
                  <a:pt x="3718679" y="4328769"/>
                  <a:pt x="3722940" y="4345812"/>
                  <a:pt x="3708735" y="4338711"/>
                </a:cubicBezTo>
                <a:cubicBezTo>
                  <a:pt x="3693111" y="4335870"/>
                  <a:pt x="3686010" y="4334449"/>
                  <a:pt x="3673225" y="4333029"/>
                </a:cubicBezTo>
                <a:cubicBezTo>
                  <a:pt x="3660443" y="4331608"/>
                  <a:pt x="3651919" y="4338711"/>
                  <a:pt x="3644817" y="4338711"/>
                </a:cubicBezTo>
                <a:cubicBezTo>
                  <a:pt x="3646238" y="4338711"/>
                  <a:pt x="3640557" y="4333029"/>
                  <a:pt x="3637714" y="4333029"/>
                </a:cubicBezTo>
                <a:cubicBezTo>
                  <a:pt x="3620671" y="4328769"/>
                  <a:pt x="3607886" y="4335870"/>
                  <a:pt x="3595101" y="4333029"/>
                </a:cubicBezTo>
                <a:cubicBezTo>
                  <a:pt x="3565273" y="4360017"/>
                  <a:pt x="3519819" y="4347234"/>
                  <a:pt x="3489991" y="4327348"/>
                </a:cubicBezTo>
                <a:cubicBezTo>
                  <a:pt x="3489991" y="4331608"/>
                  <a:pt x="3488570" y="4333029"/>
                  <a:pt x="3482888" y="4333029"/>
                </a:cubicBezTo>
                <a:cubicBezTo>
                  <a:pt x="3477207" y="4333029"/>
                  <a:pt x="3475787" y="4327348"/>
                  <a:pt x="3475787" y="4327348"/>
                </a:cubicBezTo>
                <a:cubicBezTo>
                  <a:pt x="3445957" y="4323086"/>
                  <a:pt x="3431753" y="4333029"/>
                  <a:pt x="3411867" y="4333029"/>
                </a:cubicBezTo>
                <a:cubicBezTo>
                  <a:pt x="3397663" y="4333029"/>
                  <a:pt x="3389140" y="4328769"/>
                  <a:pt x="3376357" y="4327348"/>
                </a:cubicBezTo>
                <a:cubicBezTo>
                  <a:pt x="3369254" y="4325926"/>
                  <a:pt x="3367833" y="4333029"/>
                  <a:pt x="3362153" y="4333029"/>
                </a:cubicBezTo>
                <a:cubicBezTo>
                  <a:pt x="3353629" y="4334449"/>
                  <a:pt x="3352209" y="4324507"/>
                  <a:pt x="3340845" y="4327348"/>
                </a:cubicBezTo>
                <a:cubicBezTo>
                  <a:pt x="3333744" y="4333029"/>
                  <a:pt x="3338005" y="4350074"/>
                  <a:pt x="3319540" y="4345812"/>
                </a:cubicBezTo>
                <a:cubicBezTo>
                  <a:pt x="3305335" y="4342973"/>
                  <a:pt x="3301073" y="4331608"/>
                  <a:pt x="3284029" y="4333029"/>
                </a:cubicBezTo>
                <a:cubicBezTo>
                  <a:pt x="3262723" y="4348653"/>
                  <a:pt x="3215848" y="4358597"/>
                  <a:pt x="3184599" y="4345812"/>
                </a:cubicBezTo>
                <a:cubicBezTo>
                  <a:pt x="3173235" y="4347234"/>
                  <a:pt x="3178917" y="4361438"/>
                  <a:pt x="3163293" y="4358597"/>
                </a:cubicBezTo>
                <a:lnTo>
                  <a:pt x="3163293" y="4340131"/>
                </a:lnTo>
                <a:cubicBezTo>
                  <a:pt x="3140565" y="4344393"/>
                  <a:pt x="3116418" y="4345812"/>
                  <a:pt x="3099373" y="4352915"/>
                </a:cubicBezTo>
                <a:cubicBezTo>
                  <a:pt x="3096532" y="4344393"/>
                  <a:pt x="3089431" y="4340131"/>
                  <a:pt x="3078067" y="4340131"/>
                </a:cubicBezTo>
                <a:cubicBezTo>
                  <a:pt x="3061022" y="4345812"/>
                  <a:pt x="3066703" y="4354335"/>
                  <a:pt x="3056760" y="4345812"/>
                </a:cubicBezTo>
                <a:cubicBezTo>
                  <a:pt x="3046817" y="4337290"/>
                  <a:pt x="3022669" y="4351494"/>
                  <a:pt x="3021250" y="4351494"/>
                </a:cubicBezTo>
                <a:cubicBezTo>
                  <a:pt x="3001364" y="4355756"/>
                  <a:pt x="3005625" y="4358597"/>
                  <a:pt x="2992841" y="4364279"/>
                </a:cubicBezTo>
                <a:cubicBezTo>
                  <a:pt x="2990001" y="4355756"/>
                  <a:pt x="2982897" y="4351494"/>
                  <a:pt x="2971535" y="4351494"/>
                </a:cubicBezTo>
                <a:cubicBezTo>
                  <a:pt x="2970113" y="4358597"/>
                  <a:pt x="2972955" y="4368539"/>
                  <a:pt x="2964433" y="4369960"/>
                </a:cubicBezTo>
                <a:cubicBezTo>
                  <a:pt x="2947388" y="4372801"/>
                  <a:pt x="2968693" y="4341552"/>
                  <a:pt x="2943126" y="4351494"/>
                </a:cubicBezTo>
                <a:cubicBezTo>
                  <a:pt x="2937444" y="4355756"/>
                  <a:pt x="2920399" y="4377062"/>
                  <a:pt x="2921820" y="4351494"/>
                </a:cubicBezTo>
                <a:cubicBezTo>
                  <a:pt x="2899092" y="4354335"/>
                  <a:pt x="2890571" y="4369960"/>
                  <a:pt x="2865003" y="4369960"/>
                </a:cubicBezTo>
                <a:cubicBezTo>
                  <a:pt x="2865003" y="4360017"/>
                  <a:pt x="2863582" y="4351494"/>
                  <a:pt x="2857900" y="4345812"/>
                </a:cubicBezTo>
                <a:cubicBezTo>
                  <a:pt x="2826651" y="4348653"/>
                  <a:pt x="2815287" y="4338711"/>
                  <a:pt x="2793981" y="4340131"/>
                </a:cubicBezTo>
                <a:cubicBezTo>
                  <a:pt x="2782618" y="4341552"/>
                  <a:pt x="2784038" y="4357177"/>
                  <a:pt x="2765573" y="4358597"/>
                </a:cubicBezTo>
                <a:cubicBezTo>
                  <a:pt x="2764152" y="4358597"/>
                  <a:pt x="2754210" y="4347234"/>
                  <a:pt x="2744266" y="4352915"/>
                </a:cubicBezTo>
                <a:cubicBezTo>
                  <a:pt x="2742845" y="4361438"/>
                  <a:pt x="2747107" y="4375642"/>
                  <a:pt x="2737165" y="4377062"/>
                </a:cubicBezTo>
                <a:lnTo>
                  <a:pt x="2701653" y="4377062"/>
                </a:lnTo>
                <a:cubicBezTo>
                  <a:pt x="2700232" y="4355756"/>
                  <a:pt x="2677507" y="4391266"/>
                  <a:pt x="2680347" y="4371382"/>
                </a:cubicBezTo>
                <a:cubicBezTo>
                  <a:pt x="2681767" y="4362858"/>
                  <a:pt x="2691711" y="4361438"/>
                  <a:pt x="2694552" y="4352915"/>
                </a:cubicBezTo>
                <a:cubicBezTo>
                  <a:pt x="2644836" y="4342973"/>
                  <a:pt x="2634894" y="4369960"/>
                  <a:pt x="2602223" y="4377062"/>
                </a:cubicBezTo>
                <a:lnTo>
                  <a:pt x="2602223" y="4358597"/>
                </a:lnTo>
                <a:cubicBezTo>
                  <a:pt x="2572393" y="4354335"/>
                  <a:pt x="2609326" y="4379903"/>
                  <a:pt x="2580917" y="4377062"/>
                </a:cubicBezTo>
                <a:cubicBezTo>
                  <a:pt x="2583758" y="4377062"/>
                  <a:pt x="2566713" y="4364279"/>
                  <a:pt x="2566713" y="4364279"/>
                </a:cubicBezTo>
                <a:cubicBezTo>
                  <a:pt x="2558189" y="4357177"/>
                  <a:pt x="2561031" y="4352915"/>
                  <a:pt x="2545406" y="4351494"/>
                </a:cubicBezTo>
                <a:cubicBezTo>
                  <a:pt x="2524100" y="4350074"/>
                  <a:pt x="2532623" y="4357177"/>
                  <a:pt x="2502793" y="4364279"/>
                </a:cubicBezTo>
                <a:cubicBezTo>
                  <a:pt x="2501372" y="4355756"/>
                  <a:pt x="2505634" y="4341552"/>
                  <a:pt x="2495692" y="4340131"/>
                </a:cubicBezTo>
                <a:cubicBezTo>
                  <a:pt x="2488589" y="4367120"/>
                  <a:pt x="2477225" y="4348653"/>
                  <a:pt x="2453079" y="4345812"/>
                </a:cubicBezTo>
                <a:cubicBezTo>
                  <a:pt x="2450238" y="4352915"/>
                  <a:pt x="2445976" y="4360017"/>
                  <a:pt x="2438875" y="4364279"/>
                </a:cubicBezTo>
                <a:cubicBezTo>
                  <a:pt x="2414727" y="4378483"/>
                  <a:pt x="2416146" y="4355756"/>
                  <a:pt x="2403363" y="4358597"/>
                </a:cubicBezTo>
                <a:cubicBezTo>
                  <a:pt x="2400523" y="4360017"/>
                  <a:pt x="2403363" y="4378483"/>
                  <a:pt x="2389159" y="4371382"/>
                </a:cubicBezTo>
                <a:cubicBezTo>
                  <a:pt x="2387738" y="4361438"/>
                  <a:pt x="2396262" y="4341552"/>
                  <a:pt x="2374955" y="4347234"/>
                </a:cubicBezTo>
                <a:cubicBezTo>
                  <a:pt x="2350808" y="4341552"/>
                  <a:pt x="2363591" y="4369960"/>
                  <a:pt x="2346546" y="4371382"/>
                </a:cubicBezTo>
                <a:cubicBezTo>
                  <a:pt x="2345125" y="4364279"/>
                  <a:pt x="2335183" y="4365698"/>
                  <a:pt x="2325241" y="4365698"/>
                </a:cubicBezTo>
                <a:cubicBezTo>
                  <a:pt x="2320979" y="4365698"/>
                  <a:pt x="2316717" y="4371382"/>
                  <a:pt x="2318137" y="4371382"/>
                </a:cubicBezTo>
                <a:cubicBezTo>
                  <a:pt x="2311036" y="4371382"/>
                  <a:pt x="2309615" y="4365698"/>
                  <a:pt x="2303933" y="4365698"/>
                </a:cubicBezTo>
                <a:cubicBezTo>
                  <a:pt x="2293991" y="4364279"/>
                  <a:pt x="2288308" y="4371382"/>
                  <a:pt x="2282628" y="4371382"/>
                </a:cubicBezTo>
                <a:cubicBezTo>
                  <a:pt x="2282628" y="4371382"/>
                  <a:pt x="2276946" y="4358597"/>
                  <a:pt x="2275525" y="4358597"/>
                </a:cubicBezTo>
                <a:cubicBezTo>
                  <a:pt x="2265583" y="4354335"/>
                  <a:pt x="2249957" y="4367120"/>
                  <a:pt x="2247116" y="4358597"/>
                </a:cubicBezTo>
                <a:cubicBezTo>
                  <a:pt x="2247116" y="4350074"/>
                  <a:pt x="2249957" y="4345812"/>
                  <a:pt x="2254219" y="4340131"/>
                </a:cubicBezTo>
                <a:cubicBezTo>
                  <a:pt x="2210185" y="4338711"/>
                  <a:pt x="2203084" y="4335870"/>
                  <a:pt x="2161891" y="4340131"/>
                </a:cubicBezTo>
                <a:cubicBezTo>
                  <a:pt x="2164731" y="4364279"/>
                  <a:pt x="2144845" y="4344393"/>
                  <a:pt x="2140583" y="4345812"/>
                </a:cubicBezTo>
                <a:cubicBezTo>
                  <a:pt x="2132062" y="4347234"/>
                  <a:pt x="2130641" y="4369960"/>
                  <a:pt x="2119278" y="4364279"/>
                </a:cubicBezTo>
                <a:cubicBezTo>
                  <a:pt x="2100813" y="4348653"/>
                  <a:pt x="2083766" y="4364279"/>
                  <a:pt x="2062461" y="4358597"/>
                </a:cubicBezTo>
                <a:cubicBezTo>
                  <a:pt x="2039734" y="4351494"/>
                  <a:pt x="2046837" y="4334449"/>
                  <a:pt x="2034052" y="4345812"/>
                </a:cubicBezTo>
                <a:cubicBezTo>
                  <a:pt x="2015587" y="4361438"/>
                  <a:pt x="2014166" y="4341552"/>
                  <a:pt x="1998541" y="4345812"/>
                </a:cubicBezTo>
                <a:cubicBezTo>
                  <a:pt x="1988599" y="4348653"/>
                  <a:pt x="1992861" y="4360017"/>
                  <a:pt x="1977235" y="4358597"/>
                </a:cubicBezTo>
                <a:cubicBezTo>
                  <a:pt x="1975815" y="4348653"/>
                  <a:pt x="1978656" y="4337290"/>
                  <a:pt x="1963031" y="4340131"/>
                </a:cubicBezTo>
                <a:cubicBezTo>
                  <a:pt x="1948827" y="4342973"/>
                  <a:pt x="1961611" y="4368539"/>
                  <a:pt x="1934622" y="4358597"/>
                </a:cubicBezTo>
                <a:cubicBezTo>
                  <a:pt x="1923259" y="4358597"/>
                  <a:pt x="1930362" y="4341552"/>
                  <a:pt x="1920418" y="4340131"/>
                </a:cubicBezTo>
                <a:cubicBezTo>
                  <a:pt x="1918998" y="4331608"/>
                  <a:pt x="1904794" y="4333029"/>
                  <a:pt x="1899111" y="4327348"/>
                </a:cubicBezTo>
                <a:cubicBezTo>
                  <a:pt x="1892009" y="4335870"/>
                  <a:pt x="1894850" y="4345812"/>
                  <a:pt x="1884907" y="4351494"/>
                </a:cubicBezTo>
                <a:cubicBezTo>
                  <a:pt x="1879226" y="4354335"/>
                  <a:pt x="1866442" y="4350074"/>
                  <a:pt x="1863601" y="4357177"/>
                </a:cubicBezTo>
                <a:cubicBezTo>
                  <a:pt x="1853657" y="4369960"/>
                  <a:pt x="1882065" y="4379903"/>
                  <a:pt x="1863601" y="4381324"/>
                </a:cubicBezTo>
                <a:cubicBezTo>
                  <a:pt x="1852237" y="4381324"/>
                  <a:pt x="1838033" y="4384165"/>
                  <a:pt x="1835192" y="4375642"/>
                </a:cubicBezTo>
                <a:cubicBezTo>
                  <a:pt x="1839453" y="4362858"/>
                  <a:pt x="1846556" y="4384165"/>
                  <a:pt x="1856498" y="4369960"/>
                </a:cubicBezTo>
                <a:cubicBezTo>
                  <a:pt x="1839453" y="4355756"/>
                  <a:pt x="1872123" y="4334449"/>
                  <a:pt x="1842294" y="4333029"/>
                </a:cubicBezTo>
                <a:cubicBezTo>
                  <a:pt x="1818147" y="4335870"/>
                  <a:pt x="1859340" y="4357177"/>
                  <a:pt x="1835192" y="4358597"/>
                </a:cubicBezTo>
                <a:cubicBezTo>
                  <a:pt x="1823829" y="4338711"/>
                  <a:pt x="1812465" y="4318825"/>
                  <a:pt x="1785477" y="4314565"/>
                </a:cubicBezTo>
                <a:cubicBezTo>
                  <a:pt x="1772693" y="4314565"/>
                  <a:pt x="1779796" y="4334449"/>
                  <a:pt x="1764171" y="4333029"/>
                </a:cubicBezTo>
                <a:cubicBezTo>
                  <a:pt x="1754227" y="4331608"/>
                  <a:pt x="1748547" y="4335870"/>
                  <a:pt x="1742864" y="4338711"/>
                </a:cubicBezTo>
                <a:cubicBezTo>
                  <a:pt x="1725819" y="4333029"/>
                  <a:pt x="1725819" y="4340131"/>
                  <a:pt x="1714455" y="4333029"/>
                </a:cubicBezTo>
                <a:cubicBezTo>
                  <a:pt x="1697410" y="4323086"/>
                  <a:pt x="1697410" y="4331608"/>
                  <a:pt x="1678945" y="4333029"/>
                </a:cubicBezTo>
                <a:cubicBezTo>
                  <a:pt x="1677525" y="4323086"/>
                  <a:pt x="1680366" y="4311722"/>
                  <a:pt x="1664741" y="4314565"/>
                </a:cubicBezTo>
                <a:cubicBezTo>
                  <a:pt x="1663321" y="4321666"/>
                  <a:pt x="1666162" y="4331608"/>
                  <a:pt x="1657638" y="4333029"/>
                </a:cubicBezTo>
                <a:cubicBezTo>
                  <a:pt x="1654797" y="4324507"/>
                  <a:pt x="1649117" y="4320245"/>
                  <a:pt x="1636332" y="4320245"/>
                </a:cubicBezTo>
                <a:cubicBezTo>
                  <a:pt x="1637753" y="4333029"/>
                  <a:pt x="1630651" y="4340131"/>
                  <a:pt x="1615025" y="4338711"/>
                </a:cubicBezTo>
                <a:cubicBezTo>
                  <a:pt x="1616447" y="4324507"/>
                  <a:pt x="1627810" y="4320245"/>
                  <a:pt x="1607924" y="4314565"/>
                </a:cubicBezTo>
                <a:cubicBezTo>
                  <a:pt x="1608280" y="4319181"/>
                  <a:pt x="1605705" y="4321223"/>
                  <a:pt x="1601667" y="4321955"/>
                </a:cubicBezTo>
                <a:lnTo>
                  <a:pt x="1596561" y="4321797"/>
                </a:lnTo>
                <a:lnTo>
                  <a:pt x="1596561" y="4320245"/>
                </a:lnTo>
                <a:lnTo>
                  <a:pt x="1575255" y="4320245"/>
                </a:lnTo>
                <a:lnTo>
                  <a:pt x="1575255" y="4320935"/>
                </a:lnTo>
                <a:lnTo>
                  <a:pt x="1571571" y="4320756"/>
                </a:lnTo>
                <a:cubicBezTo>
                  <a:pt x="1567531" y="4321311"/>
                  <a:pt x="1564956" y="4323087"/>
                  <a:pt x="1565311" y="4327348"/>
                </a:cubicBezTo>
                <a:cubicBezTo>
                  <a:pt x="1572413" y="4327348"/>
                  <a:pt x="1573833" y="4338711"/>
                  <a:pt x="1565311" y="4340131"/>
                </a:cubicBezTo>
                <a:cubicBezTo>
                  <a:pt x="1548266" y="4342973"/>
                  <a:pt x="1569571" y="4311722"/>
                  <a:pt x="1544004" y="4321666"/>
                </a:cubicBezTo>
                <a:cubicBezTo>
                  <a:pt x="1531221" y="4320245"/>
                  <a:pt x="1521279" y="4323086"/>
                  <a:pt x="1515595" y="4327348"/>
                </a:cubicBezTo>
                <a:cubicBezTo>
                  <a:pt x="1504233" y="4328769"/>
                  <a:pt x="1509915" y="4342973"/>
                  <a:pt x="1494289" y="4340131"/>
                </a:cubicBezTo>
                <a:cubicBezTo>
                  <a:pt x="1499971" y="4320245"/>
                  <a:pt x="1499971" y="4327348"/>
                  <a:pt x="1487187" y="4315984"/>
                </a:cubicBezTo>
                <a:cubicBezTo>
                  <a:pt x="1464461" y="4310302"/>
                  <a:pt x="1472983" y="4331608"/>
                  <a:pt x="1458778" y="4334449"/>
                </a:cubicBezTo>
                <a:cubicBezTo>
                  <a:pt x="1434632" y="4330188"/>
                  <a:pt x="1428950" y="4341552"/>
                  <a:pt x="1416165" y="4347234"/>
                </a:cubicBezTo>
                <a:cubicBezTo>
                  <a:pt x="1420427" y="4330188"/>
                  <a:pt x="1382077" y="4351494"/>
                  <a:pt x="1387757" y="4334449"/>
                </a:cubicBezTo>
                <a:cubicBezTo>
                  <a:pt x="1396281" y="4333029"/>
                  <a:pt x="1404803" y="4331608"/>
                  <a:pt x="1401961" y="4321666"/>
                </a:cubicBezTo>
                <a:cubicBezTo>
                  <a:pt x="1396281" y="4320245"/>
                  <a:pt x="1393440" y="4315984"/>
                  <a:pt x="1394860" y="4308881"/>
                </a:cubicBezTo>
                <a:cubicBezTo>
                  <a:pt x="1386337" y="4306040"/>
                  <a:pt x="1379236" y="4301780"/>
                  <a:pt x="1373553" y="4296098"/>
                </a:cubicBezTo>
                <a:lnTo>
                  <a:pt x="1330940" y="4296098"/>
                </a:lnTo>
                <a:cubicBezTo>
                  <a:pt x="1326679" y="4308881"/>
                  <a:pt x="1311055" y="4303200"/>
                  <a:pt x="1302531" y="4308881"/>
                </a:cubicBezTo>
                <a:cubicBezTo>
                  <a:pt x="1298271" y="4311722"/>
                  <a:pt x="1303952" y="4323086"/>
                  <a:pt x="1295430" y="4321666"/>
                </a:cubicBezTo>
                <a:cubicBezTo>
                  <a:pt x="1293300" y="4313143"/>
                  <a:pt x="1289038" y="4310392"/>
                  <a:pt x="1283646" y="4310480"/>
                </a:cubicBezTo>
                <a:lnTo>
                  <a:pt x="1266587" y="4315860"/>
                </a:lnTo>
                <a:lnTo>
                  <a:pt x="1265601" y="4314565"/>
                </a:lnTo>
                <a:lnTo>
                  <a:pt x="1259080" y="4317985"/>
                </a:lnTo>
                <a:lnTo>
                  <a:pt x="1246582" y="4321421"/>
                </a:lnTo>
                <a:lnTo>
                  <a:pt x="1245532" y="4321521"/>
                </a:lnTo>
                <a:lnTo>
                  <a:pt x="1231510" y="4308881"/>
                </a:lnTo>
                <a:cubicBezTo>
                  <a:pt x="1244294" y="4307462"/>
                  <a:pt x="1267021" y="4314565"/>
                  <a:pt x="1259918" y="4296098"/>
                </a:cubicBezTo>
                <a:cubicBezTo>
                  <a:pt x="1227249" y="4300360"/>
                  <a:pt x="1221567" y="4294677"/>
                  <a:pt x="1203101" y="4314565"/>
                </a:cubicBezTo>
                <a:cubicBezTo>
                  <a:pt x="1203101" y="4306040"/>
                  <a:pt x="1200260" y="4301780"/>
                  <a:pt x="1196000" y="4296098"/>
                </a:cubicBezTo>
                <a:cubicBezTo>
                  <a:pt x="1186056" y="4296098"/>
                  <a:pt x="1177535" y="4296098"/>
                  <a:pt x="1167591" y="4296098"/>
                </a:cubicBezTo>
                <a:cubicBezTo>
                  <a:pt x="1163331" y="4296098"/>
                  <a:pt x="1159069" y="4290417"/>
                  <a:pt x="1160489" y="4290417"/>
                </a:cubicBezTo>
                <a:cubicBezTo>
                  <a:pt x="1143443" y="4288995"/>
                  <a:pt x="1132080" y="4297518"/>
                  <a:pt x="1117875" y="4296098"/>
                </a:cubicBezTo>
                <a:cubicBezTo>
                  <a:pt x="1105093" y="4296098"/>
                  <a:pt x="1102251" y="4290417"/>
                  <a:pt x="1089467" y="4290417"/>
                </a:cubicBezTo>
                <a:cubicBezTo>
                  <a:pt x="1073843" y="4288995"/>
                  <a:pt x="1056798" y="4296098"/>
                  <a:pt x="1039753" y="4296098"/>
                </a:cubicBezTo>
                <a:cubicBezTo>
                  <a:pt x="1031230" y="4296098"/>
                  <a:pt x="1028389" y="4291836"/>
                  <a:pt x="1018445" y="4290417"/>
                </a:cubicBezTo>
                <a:cubicBezTo>
                  <a:pt x="1001401" y="4288995"/>
                  <a:pt x="974413" y="4290417"/>
                  <a:pt x="968731" y="4290417"/>
                </a:cubicBezTo>
                <a:cubicBezTo>
                  <a:pt x="964471" y="4290417"/>
                  <a:pt x="960209" y="4284735"/>
                  <a:pt x="961629" y="4284735"/>
                </a:cubicBezTo>
                <a:cubicBezTo>
                  <a:pt x="947424" y="4284735"/>
                  <a:pt x="933220" y="4290417"/>
                  <a:pt x="919016" y="4290417"/>
                </a:cubicBezTo>
                <a:cubicBezTo>
                  <a:pt x="906233" y="4290417"/>
                  <a:pt x="903392" y="4284735"/>
                  <a:pt x="890607" y="4284735"/>
                </a:cubicBezTo>
                <a:cubicBezTo>
                  <a:pt x="877824" y="4284735"/>
                  <a:pt x="874983" y="4288995"/>
                  <a:pt x="862199" y="4290417"/>
                </a:cubicBezTo>
                <a:cubicBezTo>
                  <a:pt x="850837" y="4290417"/>
                  <a:pt x="818166" y="4276212"/>
                  <a:pt x="819586" y="4296098"/>
                </a:cubicBezTo>
                <a:cubicBezTo>
                  <a:pt x="832370" y="4306040"/>
                  <a:pt x="842314" y="4290417"/>
                  <a:pt x="855097" y="4301780"/>
                </a:cubicBezTo>
                <a:cubicBezTo>
                  <a:pt x="877824" y="4320245"/>
                  <a:pt x="913335" y="4296098"/>
                  <a:pt x="947424" y="4301780"/>
                </a:cubicBezTo>
                <a:cubicBezTo>
                  <a:pt x="948845" y="4310302"/>
                  <a:pt x="958788" y="4311722"/>
                  <a:pt x="961629" y="4320245"/>
                </a:cubicBezTo>
                <a:cubicBezTo>
                  <a:pt x="936062" y="4310302"/>
                  <a:pt x="957368" y="4341552"/>
                  <a:pt x="940323" y="4338711"/>
                </a:cubicBezTo>
                <a:cubicBezTo>
                  <a:pt x="933220" y="4341552"/>
                  <a:pt x="936062" y="4335870"/>
                  <a:pt x="933220" y="4333029"/>
                </a:cubicBezTo>
                <a:cubicBezTo>
                  <a:pt x="919016" y="4318825"/>
                  <a:pt x="877824" y="4331608"/>
                  <a:pt x="855097" y="4327348"/>
                </a:cubicBezTo>
                <a:cubicBezTo>
                  <a:pt x="845153" y="4335870"/>
                  <a:pt x="847994" y="4354335"/>
                  <a:pt x="847994" y="4371382"/>
                </a:cubicBezTo>
                <a:cubicBezTo>
                  <a:pt x="838052" y="4381324"/>
                  <a:pt x="805381" y="4371382"/>
                  <a:pt x="805381" y="4389846"/>
                </a:cubicBezTo>
                <a:cubicBezTo>
                  <a:pt x="821007" y="4401210"/>
                  <a:pt x="852256" y="4395528"/>
                  <a:pt x="855097" y="4402630"/>
                </a:cubicBezTo>
                <a:cubicBezTo>
                  <a:pt x="852256" y="4412573"/>
                  <a:pt x="799701" y="4408311"/>
                  <a:pt x="798280" y="4408311"/>
                </a:cubicBezTo>
                <a:cubicBezTo>
                  <a:pt x="785497" y="4398369"/>
                  <a:pt x="772713" y="4412573"/>
                  <a:pt x="769871" y="4402630"/>
                </a:cubicBezTo>
                <a:cubicBezTo>
                  <a:pt x="761349" y="4374221"/>
                  <a:pt x="769871" y="4381324"/>
                  <a:pt x="776973" y="4358597"/>
                </a:cubicBezTo>
                <a:cubicBezTo>
                  <a:pt x="741463" y="4362858"/>
                  <a:pt x="703111" y="4355756"/>
                  <a:pt x="686067" y="4352915"/>
                </a:cubicBezTo>
                <a:cubicBezTo>
                  <a:pt x="656237" y="4348653"/>
                  <a:pt x="644874" y="4358597"/>
                  <a:pt x="629250" y="4358597"/>
                </a:cubicBezTo>
                <a:cubicBezTo>
                  <a:pt x="612205" y="4358597"/>
                  <a:pt x="600840" y="4350074"/>
                  <a:pt x="586636" y="4352915"/>
                </a:cubicBezTo>
                <a:cubicBezTo>
                  <a:pt x="585216" y="4352915"/>
                  <a:pt x="576693" y="4358597"/>
                  <a:pt x="579534" y="4358597"/>
                </a:cubicBezTo>
                <a:cubicBezTo>
                  <a:pt x="569592" y="4358597"/>
                  <a:pt x="569592" y="4351494"/>
                  <a:pt x="558227" y="4352915"/>
                </a:cubicBezTo>
                <a:cubicBezTo>
                  <a:pt x="549705" y="4352915"/>
                  <a:pt x="541184" y="4355756"/>
                  <a:pt x="529819" y="4358597"/>
                </a:cubicBezTo>
                <a:cubicBezTo>
                  <a:pt x="518455" y="4361438"/>
                  <a:pt x="504251" y="4357177"/>
                  <a:pt x="508513" y="4371382"/>
                </a:cubicBezTo>
                <a:cubicBezTo>
                  <a:pt x="511354" y="4384165"/>
                  <a:pt x="539762" y="4372801"/>
                  <a:pt x="536922" y="4389846"/>
                </a:cubicBezTo>
                <a:cubicBezTo>
                  <a:pt x="524139" y="4391266"/>
                  <a:pt x="501410" y="4384165"/>
                  <a:pt x="508513" y="4402630"/>
                </a:cubicBezTo>
                <a:cubicBezTo>
                  <a:pt x="518455" y="4412573"/>
                  <a:pt x="544023" y="4409732"/>
                  <a:pt x="551126" y="4421096"/>
                </a:cubicBezTo>
                <a:cubicBezTo>
                  <a:pt x="555388" y="4398369"/>
                  <a:pt x="599420" y="4389846"/>
                  <a:pt x="622147" y="4402630"/>
                </a:cubicBezTo>
                <a:cubicBezTo>
                  <a:pt x="632089" y="4392687"/>
                  <a:pt x="632089" y="4374221"/>
                  <a:pt x="643454" y="4365698"/>
                </a:cubicBezTo>
                <a:cubicBezTo>
                  <a:pt x="646294" y="4385586"/>
                  <a:pt x="688906" y="4371382"/>
                  <a:pt x="693169" y="4389846"/>
                </a:cubicBezTo>
                <a:cubicBezTo>
                  <a:pt x="686067" y="4399790"/>
                  <a:pt x="667601" y="4399790"/>
                  <a:pt x="664760" y="4413994"/>
                </a:cubicBezTo>
                <a:cubicBezTo>
                  <a:pt x="696009" y="4431038"/>
                  <a:pt x="730100" y="4421096"/>
                  <a:pt x="784076" y="4419675"/>
                </a:cubicBezTo>
                <a:cubicBezTo>
                  <a:pt x="774132" y="4429618"/>
                  <a:pt x="769871" y="4443823"/>
                  <a:pt x="748565" y="4443823"/>
                </a:cubicBezTo>
                <a:cubicBezTo>
                  <a:pt x="731519" y="4439561"/>
                  <a:pt x="718736" y="4443823"/>
                  <a:pt x="713054" y="4438141"/>
                </a:cubicBezTo>
                <a:cubicBezTo>
                  <a:pt x="707373" y="4432459"/>
                  <a:pt x="649135" y="4436720"/>
                  <a:pt x="642033" y="4438141"/>
                </a:cubicBezTo>
                <a:cubicBezTo>
                  <a:pt x="633511" y="4439561"/>
                  <a:pt x="632089" y="4445242"/>
                  <a:pt x="620726" y="4443823"/>
                </a:cubicBezTo>
                <a:cubicBezTo>
                  <a:pt x="613625" y="4443823"/>
                  <a:pt x="612205" y="4439561"/>
                  <a:pt x="606522" y="4438141"/>
                </a:cubicBezTo>
                <a:cubicBezTo>
                  <a:pt x="582375" y="4432459"/>
                  <a:pt x="561068" y="4440982"/>
                  <a:pt x="556807" y="4425356"/>
                </a:cubicBezTo>
                <a:cubicBezTo>
                  <a:pt x="541184" y="4423937"/>
                  <a:pt x="529819" y="4436720"/>
                  <a:pt x="528399" y="4438141"/>
                </a:cubicBezTo>
                <a:cubicBezTo>
                  <a:pt x="524139" y="4442403"/>
                  <a:pt x="515614" y="4429618"/>
                  <a:pt x="507092" y="4432459"/>
                </a:cubicBezTo>
                <a:cubicBezTo>
                  <a:pt x="504251" y="4433879"/>
                  <a:pt x="508513" y="4448083"/>
                  <a:pt x="499990" y="4445242"/>
                </a:cubicBezTo>
                <a:cubicBezTo>
                  <a:pt x="448855" y="4438141"/>
                  <a:pt x="481526" y="4382744"/>
                  <a:pt x="492888" y="4358597"/>
                </a:cubicBezTo>
                <a:cubicBezTo>
                  <a:pt x="475842" y="4354335"/>
                  <a:pt x="468741" y="4341552"/>
                  <a:pt x="457378" y="4333029"/>
                </a:cubicBezTo>
                <a:lnTo>
                  <a:pt x="419030" y="4335955"/>
                </a:lnTo>
                <a:lnTo>
                  <a:pt x="418316" y="4318115"/>
                </a:lnTo>
                <a:lnTo>
                  <a:pt x="415114" y="4308507"/>
                </a:lnTo>
                <a:lnTo>
                  <a:pt x="438024" y="4310835"/>
                </a:lnTo>
                <a:cubicBezTo>
                  <a:pt x="447079" y="4311722"/>
                  <a:pt x="454537" y="4312434"/>
                  <a:pt x="461638" y="4313143"/>
                </a:cubicBezTo>
                <a:cubicBezTo>
                  <a:pt x="490047" y="4315984"/>
                  <a:pt x="488627" y="4306040"/>
                  <a:pt x="511352" y="4307462"/>
                </a:cubicBezTo>
                <a:cubicBezTo>
                  <a:pt x="519876" y="4307462"/>
                  <a:pt x="522716" y="4311722"/>
                  <a:pt x="532660" y="4313143"/>
                </a:cubicBezTo>
                <a:cubicBezTo>
                  <a:pt x="544023" y="4314563"/>
                  <a:pt x="555386" y="4311722"/>
                  <a:pt x="561068" y="4318825"/>
                </a:cubicBezTo>
                <a:cubicBezTo>
                  <a:pt x="571010" y="4293257"/>
                  <a:pt x="603681" y="4325926"/>
                  <a:pt x="610782" y="4300359"/>
                </a:cubicBezTo>
                <a:lnTo>
                  <a:pt x="575272" y="4300359"/>
                </a:lnTo>
                <a:cubicBezTo>
                  <a:pt x="576693" y="4288995"/>
                  <a:pt x="565329" y="4287576"/>
                  <a:pt x="561068" y="4281894"/>
                </a:cubicBezTo>
                <a:cubicBezTo>
                  <a:pt x="561068" y="4271950"/>
                  <a:pt x="580954" y="4277632"/>
                  <a:pt x="582374" y="4269109"/>
                </a:cubicBezTo>
                <a:cubicBezTo>
                  <a:pt x="572431" y="4263428"/>
                  <a:pt x="555386" y="4263428"/>
                  <a:pt x="553965" y="4250645"/>
                </a:cubicBezTo>
                <a:cubicBezTo>
                  <a:pt x="576693" y="4254905"/>
                  <a:pt x="565329" y="4237860"/>
                  <a:pt x="553965" y="4237860"/>
                </a:cubicBezTo>
                <a:cubicBezTo>
                  <a:pt x="559648" y="4257746"/>
                  <a:pt x="534081" y="4250645"/>
                  <a:pt x="539761" y="4269109"/>
                </a:cubicBezTo>
                <a:cubicBezTo>
                  <a:pt x="545444" y="4276212"/>
                  <a:pt x="549705" y="4286154"/>
                  <a:pt x="546864" y="4300359"/>
                </a:cubicBezTo>
                <a:cubicBezTo>
                  <a:pt x="534081" y="4290417"/>
                  <a:pt x="505672" y="4296098"/>
                  <a:pt x="482944" y="4294677"/>
                </a:cubicBezTo>
                <a:cubicBezTo>
                  <a:pt x="473002" y="4271950"/>
                  <a:pt x="471580" y="4276212"/>
                  <a:pt x="475842" y="4244963"/>
                </a:cubicBezTo>
                <a:cubicBezTo>
                  <a:pt x="454535" y="4240701"/>
                  <a:pt x="461638" y="4262008"/>
                  <a:pt x="440331" y="4257746"/>
                </a:cubicBezTo>
                <a:cubicBezTo>
                  <a:pt x="438911" y="4249223"/>
                  <a:pt x="437490" y="4242122"/>
                  <a:pt x="426127" y="4244963"/>
                </a:cubicBezTo>
                <a:cubicBezTo>
                  <a:pt x="423286" y="4252064"/>
                  <a:pt x="416185" y="4256326"/>
                  <a:pt x="419025" y="4269109"/>
                </a:cubicBezTo>
                <a:cubicBezTo>
                  <a:pt x="444593" y="4267690"/>
                  <a:pt x="468740" y="4267690"/>
                  <a:pt x="461638" y="4294677"/>
                </a:cubicBezTo>
                <a:cubicBezTo>
                  <a:pt x="433230" y="4291836"/>
                  <a:pt x="440331" y="4291836"/>
                  <a:pt x="411922" y="4294677"/>
                </a:cubicBezTo>
                <a:lnTo>
                  <a:pt x="407915" y="4284259"/>
                </a:lnTo>
                <a:lnTo>
                  <a:pt x="411460" y="4257759"/>
                </a:lnTo>
                <a:lnTo>
                  <a:pt x="411922" y="4257746"/>
                </a:lnTo>
                <a:lnTo>
                  <a:pt x="411606" y="4256662"/>
                </a:lnTo>
                <a:lnTo>
                  <a:pt x="412301" y="4251466"/>
                </a:lnTo>
                <a:cubicBezTo>
                  <a:pt x="412101" y="4200929"/>
                  <a:pt x="400915" y="4114638"/>
                  <a:pt x="410503" y="4098659"/>
                </a:cubicBezTo>
                <a:cubicBezTo>
                  <a:pt x="410503" y="4088716"/>
                  <a:pt x="399139" y="4091557"/>
                  <a:pt x="397720" y="4084455"/>
                </a:cubicBezTo>
                <a:cubicBezTo>
                  <a:pt x="420447" y="4078774"/>
                  <a:pt x="410503" y="4029058"/>
                  <a:pt x="397720" y="4020535"/>
                </a:cubicBezTo>
                <a:cubicBezTo>
                  <a:pt x="397720" y="4006331"/>
                  <a:pt x="414765" y="4012013"/>
                  <a:pt x="410503" y="3992127"/>
                </a:cubicBezTo>
                <a:cubicBezTo>
                  <a:pt x="390617" y="3992127"/>
                  <a:pt x="403401" y="3967979"/>
                  <a:pt x="397720" y="3956617"/>
                </a:cubicBezTo>
                <a:cubicBezTo>
                  <a:pt x="394879" y="3952355"/>
                  <a:pt x="377834" y="3956617"/>
                  <a:pt x="384935" y="3942412"/>
                </a:cubicBezTo>
                <a:cubicBezTo>
                  <a:pt x="387776" y="3926787"/>
                  <a:pt x="389197" y="3919686"/>
                  <a:pt x="390617" y="3906901"/>
                </a:cubicBezTo>
                <a:cubicBezTo>
                  <a:pt x="392038" y="3894118"/>
                  <a:pt x="384935" y="3885595"/>
                  <a:pt x="384935" y="3878492"/>
                </a:cubicBezTo>
                <a:cubicBezTo>
                  <a:pt x="384935" y="3879914"/>
                  <a:pt x="390617" y="3874232"/>
                  <a:pt x="390617" y="3871391"/>
                </a:cubicBezTo>
                <a:cubicBezTo>
                  <a:pt x="394879" y="3854344"/>
                  <a:pt x="387776" y="3841561"/>
                  <a:pt x="390617" y="3828778"/>
                </a:cubicBezTo>
                <a:cubicBezTo>
                  <a:pt x="363629" y="3798948"/>
                  <a:pt x="376413" y="3753495"/>
                  <a:pt x="396299" y="3723667"/>
                </a:cubicBezTo>
                <a:cubicBezTo>
                  <a:pt x="392038" y="3723667"/>
                  <a:pt x="390617" y="3722245"/>
                  <a:pt x="390617" y="3716564"/>
                </a:cubicBezTo>
                <a:cubicBezTo>
                  <a:pt x="390617" y="3710882"/>
                  <a:pt x="396299" y="3709462"/>
                  <a:pt x="396299" y="3709462"/>
                </a:cubicBezTo>
                <a:cubicBezTo>
                  <a:pt x="400561" y="3679633"/>
                  <a:pt x="390617" y="3665428"/>
                  <a:pt x="390617" y="3645542"/>
                </a:cubicBezTo>
                <a:cubicBezTo>
                  <a:pt x="390617" y="3631338"/>
                  <a:pt x="394879" y="3622815"/>
                  <a:pt x="396299" y="3610032"/>
                </a:cubicBezTo>
                <a:cubicBezTo>
                  <a:pt x="397720" y="3602929"/>
                  <a:pt x="390617" y="3601510"/>
                  <a:pt x="390617" y="3595828"/>
                </a:cubicBezTo>
                <a:cubicBezTo>
                  <a:pt x="389197" y="3587305"/>
                  <a:pt x="399139" y="3585884"/>
                  <a:pt x="396299" y="3574521"/>
                </a:cubicBezTo>
                <a:cubicBezTo>
                  <a:pt x="390617" y="3567419"/>
                  <a:pt x="373572" y="3571680"/>
                  <a:pt x="377834" y="3553215"/>
                </a:cubicBezTo>
                <a:cubicBezTo>
                  <a:pt x="380675" y="3539011"/>
                  <a:pt x="392038" y="3534749"/>
                  <a:pt x="390617" y="3517704"/>
                </a:cubicBezTo>
                <a:cubicBezTo>
                  <a:pt x="374993" y="3496398"/>
                  <a:pt x="365049" y="3449523"/>
                  <a:pt x="377834" y="3418274"/>
                </a:cubicBezTo>
                <a:cubicBezTo>
                  <a:pt x="376413" y="3406910"/>
                  <a:pt x="362208" y="3412592"/>
                  <a:pt x="365049" y="3396968"/>
                </a:cubicBezTo>
                <a:lnTo>
                  <a:pt x="383515" y="3396968"/>
                </a:lnTo>
                <a:cubicBezTo>
                  <a:pt x="379253" y="3374241"/>
                  <a:pt x="377834" y="3350093"/>
                  <a:pt x="370731" y="3333048"/>
                </a:cubicBezTo>
                <a:cubicBezTo>
                  <a:pt x="379253" y="3330207"/>
                  <a:pt x="383515" y="3323106"/>
                  <a:pt x="383515" y="3311742"/>
                </a:cubicBezTo>
                <a:cubicBezTo>
                  <a:pt x="377834" y="3294697"/>
                  <a:pt x="369311" y="3300378"/>
                  <a:pt x="377834" y="3290435"/>
                </a:cubicBezTo>
                <a:cubicBezTo>
                  <a:pt x="386356" y="3280493"/>
                  <a:pt x="372152" y="3256345"/>
                  <a:pt x="372152" y="3254925"/>
                </a:cubicBezTo>
                <a:cubicBezTo>
                  <a:pt x="367890" y="3235039"/>
                  <a:pt x="365049" y="3239300"/>
                  <a:pt x="359367" y="3226517"/>
                </a:cubicBezTo>
                <a:cubicBezTo>
                  <a:pt x="367890" y="3223676"/>
                  <a:pt x="372152" y="3216573"/>
                  <a:pt x="372152" y="3205210"/>
                </a:cubicBezTo>
                <a:cubicBezTo>
                  <a:pt x="365049" y="3203790"/>
                  <a:pt x="355107" y="3206631"/>
                  <a:pt x="353686" y="3198108"/>
                </a:cubicBezTo>
                <a:cubicBezTo>
                  <a:pt x="350845" y="3181063"/>
                  <a:pt x="382094" y="3202369"/>
                  <a:pt x="372152" y="3176801"/>
                </a:cubicBezTo>
                <a:cubicBezTo>
                  <a:pt x="367890" y="3171119"/>
                  <a:pt x="346584" y="3154074"/>
                  <a:pt x="372152" y="3155495"/>
                </a:cubicBezTo>
                <a:cubicBezTo>
                  <a:pt x="369311" y="3132768"/>
                  <a:pt x="353686" y="3124246"/>
                  <a:pt x="353686" y="3098678"/>
                </a:cubicBezTo>
                <a:cubicBezTo>
                  <a:pt x="363629" y="3098678"/>
                  <a:pt x="372152" y="3097257"/>
                  <a:pt x="377834" y="3091575"/>
                </a:cubicBezTo>
                <a:cubicBezTo>
                  <a:pt x="374993" y="3060326"/>
                  <a:pt x="384935" y="3048962"/>
                  <a:pt x="383515" y="3027657"/>
                </a:cubicBezTo>
                <a:cubicBezTo>
                  <a:pt x="382094" y="3016292"/>
                  <a:pt x="366470" y="3017713"/>
                  <a:pt x="365049" y="2999248"/>
                </a:cubicBezTo>
                <a:cubicBezTo>
                  <a:pt x="365049" y="2997827"/>
                  <a:pt x="376413" y="2987883"/>
                  <a:pt x="370731" y="2977941"/>
                </a:cubicBezTo>
                <a:cubicBezTo>
                  <a:pt x="362208" y="2976521"/>
                  <a:pt x="348004" y="2980782"/>
                  <a:pt x="346584" y="2970840"/>
                </a:cubicBezTo>
                <a:lnTo>
                  <a:pt x="346584" y="2935328"/>
                </a:lnTo>
                <a:cubicBezTo>
                  <a:pt x="367890" y="2933909"/>
                  <a:pt x="332380" y="2911182"/>
                  <a:pt x="352266" y="2914023"/>
                </a:cubicBezTo>
                <a:cubicBezTo>
                  <a:pt x="360789" y="2915442"/>
                  <a:pt x="362208" y="2925386"/>
                  <a:pt x="370731" y="2928227"/>
                </a:cubicBezTo>
                <a:cubicBezTo>
                  <a:pt x="380675" y="2878511"/>
                  <a:pt x="353686" y="2868569"/>
                  <a:pt x="346584" y="2835898"/>
                </a:cubicBezTo>
                <a:lnTo>
                  <a:pt x="365049" y="2835898"/>
                </a:lnTo>
                <a:cubicBezTo>
                  <a:pt x="369311" y="2806070"/>
                  <a:pt x="343743" y="2843001"/>
                  <a:pt x="346584" y="2814593"/>
                </a:cubicBezTo>
                <a:cubicBezTo>
                  <a:pt x="346584" y="2817432"/>
                  <a:pt x="359367" y="2800389"/>
                  <a:pt x="359367" y="2800389"/>
                </a:cubicBezTo>
                <a:cubicBezTo>
                  <a:pt x="366470" y="2791866"/>
                  <a:pt x="370731" y="2794707"/>
                  <a:pt x="372152" y="2779081"/>
                </a:cubicBezTo>
                <a:cubicBezTo>
                  <a:pt x="373572" y="2757776"/>
                  <a:pt x="366470" y="2766298"/>
                  <a:pt x="359367" y="2736469"/>
                </a:cubicBezTo>
                <a:cubicBezTo>
                  <a:pt x="367890" y="2735049"/>
                  <a:pt x="382094" y="2739309"/>
                  <a:pt x="383515" y="2729367"/>
                </a:cubicBezTo>
                <a:cubicBezTo>
                  <a:pt x="356527" y="2722264"/>
                  <a:pt x="374993" y="2710901"/>
                  <a:pt x="377834" y="2686754"/>
                </a:cubicBezTo>
                <a:cubicBezTo>
                  <a:pt x="370731" y="2683914"/>
                  <a:pt x="363629" y="2679651"/>
                  <a:pt x="359367" y="2672550"/>
                </a:cubicBezTo>
                <a:cubicBezTo>
                  <a:pt x="345163" y="2648402"/>
                  <a:pt x="367890" y="2649823"/>
                  <a:pt x="365049" y="2637038"/>
                </a:cubicBezTo>
                <a:cubicBezTo>
                  <a:pt x="363629" y="2634198"/>
                  <a:pt x="345163" y="2637038"/>
                  <a:pt x="352266" y="2622834"/>
                </a:cubicBezTo>
                <a:cubicBezTo>
                  <a:pt x="362208" y="2621414"/>
                  <a:pt x="382094" y="2629937"/>
                  <a:pt x="376413" y="2608630"/>
                </a:cubicBezTo>
                <a:cubicBezTo>
                  <a:pt x="382094" y="2584483"/>
                  <a:pt x="353686" y="2597267"/>
                  <a:pt x="352266" y="2580221"/>
                </a:cubicBezTo>
                <a:cubicBezTo>
                  <a:pt x="359367" y="2578802"/>
                  <a:pt x="357948" y="2568858"/>
                  <a:pt x="357948" y="2558916"/>
                </a:cubicBezTo>
                <a:cubicBezTo>
                  <a:pt x="357948" y="2554654"/>
                  <a:pt x="352266" y="2550393"/>
                  <a:pt x="352266" y="2551813"/>
                </a:cubicBezTo>
                <a:cubicBezTo>
                  <a:pt x="352266" y="2544712"/>
                  <a:pt x="357948" y="2543290"/>
                  <a:pt x="357948" y="2537608"/>
                </a:cubicBezTo>
                <a:cubicBezTo>
                  <a:pt x="359367" y="2527666"/>
                  <a:pt x="352266" y="2521984"/>
                  <a:pt x="352266" y="2516303"/>
                </a:cubicBezTo>
                <a:cubicBezTo>
                  <a:pt x="352266" y="2516303"/>
                  <a:pt x="365049" y="2510621"/>
                  <a:pt x="365049" y="2509200"/>
                </a:cubicBezTo>
                <a:cubicBezTo>
                  <a:pt x="369311" y="2499258"/>
                  <a:pt x="356527" y="2483632"/>
                  <a:pt x="365049" y="2480792"/>
                </a:cubicBezTo>
                <a:cubicBezTo>
                  <a:pt x="373572" y="2480792"/>
                  <a:pt x="377834" y="2483632"/>
                  <a:pt x="383515" y="2487894"/>
                </a:cubicBezTo>
                <a:cubicBezTo>
                  <a:pt x="384935" y="2443860"/>
                  <a:pt x="387776" y="2436759"/>
                  <a:pt x="383515" y="2395566"/>
                </a:cubicBezTo>
                <a:cubicBezTo>
                  <a:pt x="359367" y="2398407"/>
                  <a:pt x="379253" y="2378521"/>
                  <a:pt x="377834" y="2374260"/>
                </a:cubicBezTo>
                <a:cubicBezTo>
                  <a:pt x="376413" y="2365736"/>
                  <a:pt x="353686" y="2364316"/>
                  <a:pt x="359367" y="2352953"/>
                </a:cubicBezTo>
                <a:cubicBezTo>
                  <a:pt x="374993" y="2334488"/>
                  <a:pt x="359367" y="2317443"/>
                  <a:pt x="365049" y="2296136"/>
                </a:cubicBezTo>
                <a:cubicBezTo>
                  <a:pt x="372152" y="2273409"/>
                  <a:pt x="389197" y="2280510"/>
                  <a:pt x="377834" y="2267727"/>
                </a:cubicBezTo>
                <a:cubicBezTo>
                  <a:pt x="362208" y="2249262"/>
                  <a:pt x="382094" y="2247841"/>
                  <a:pt x="377834" y="2232217"/>
                </a:cubicBezTo>
                <a:cubicBezTo>
                  <a:pt x="374993" y="2222273"/>
                  <a:pt x="363629" y="2226534"/>
                  <a:pt x="365049" y="2210910"/>
                </a:cubicBezTo>
                <a:cubicBezTo>
                  <a:pt x="374993" y="2209489"/>
                  <a:pt x="386356" y="2212330"/>
                  <a:pt x="383515" y="2196706"/>
                </a:cubicBezTo>
                <a:cubicBezTo>
                  <a:pt x="380675" y="2182502"/>
                  <a:pt x="355107" y="2195285"/>
                  <a:pt x="365049" y="2168297"/>
                </a:cubicBezTo>
                <a:cubicBezTo>
                  <a:pt x="365049" y="2156934"/>
                  <a:pt x="382094" y="2164037"/>
                  <a:pt x="383515" y="2154093"/>
                </a:cubicBezTo>
                <a:cubicBezTo>
                  <a:pt x="392038" y="2152672"/>
                  <a:pt x="390617" y="2138467"/>
                  <a:pt x="396299" y="2132787"/>
                </a:cubicBezTo>
                <a:cubicBezTo>
                  <a:pt x="387776" y="2125684"/>
                  <a:pt x="377834" y="2128525"/>
                  <a:pt x="372152" y="2118583"/>
                </a:cubicBezTo>
                <a:cubicBezTo>
                  <a:pt x="369311" y="2112900"/>
                  <a:pt x="373572" y="2100117"/>
                  <a:pt x="366470" y="2097276"/>
                </a:cubicBezTo>
                <a:cubicBezTo>
                  <a:pt x="353686" y="2087332"/>
                  <a:pt x="343743" y="2115741"/>
                  <a:pt x="342322" y="2097276"/>
                </a:cubicBezTo>
                <a:cubicBezTo>
                  <a:pt x="342322" y="2085912"/>
                  <a:pt x="339481" y="2071708"/>
                  <a:pt x="348004" y="2068867"/>
                </a:cubicBezTo>
                <a:cubicBezTo>
                  <a:pt x="360789" y="2073128"/>
                  <a:pt x="339481" y="2080231"/>
                  <a:pt x="353686" y="2090174"/>
                </a:cubicBezTo>
                <a:cubicBezTo>
                  <a:pt x="367890" y="2073128"/>
                  <a:pt x="389197" y="2105798"/>
                  <a:pt x="390617" y="2075970"/>
                </a:cubicBezTo>
                <a:cubicBezTo>
                  <a:pt x="387776" y="2051822"/>
                  <a:pt x="366470" y="2093015"/>
                  <a:pt x="365049" y="2068867"/>
                </a:cubicBezTo>
                <a:cubicBezTo>
                  <a:pt x="384935" y="2057504"/>
                  <a:pt x="404821" y="2046140"/>
                  <a:pt x="409083" y="2019153"/>
                </a:cubicBezTo>
                <a:cubicBezTo>
                  <a:pt x="409083" y="2006368"/>
                  <a:pt x="389197" y="2013470"/>
                  <a:pt x="390617" y="1997846"/>
                </a:cubicBezTo>
                <a:cubicBezTo>
                  <a:pt x="392038" y="1987902"/>
                  <a:pt x="387776" y="1982220"/>
                  <a:pt x="384935" y="1976540"/>
                </a:cubicBezTo>
                <a:cubicBezTo>
                  <a:pt x="390617" y="1959494"/>
                  <a:pt x="383515" y="1959494"/>
                  <a:pt x="390617" y="1948132"/>
                </a:cubicBezTo>
                <a:cubicBezTo>
                  <a:pt x="400561" y="1931085"/>
                  <a:pt x="392038" y="1931085"/>
                  <a:pt x="390617" y="1912620"/>
                </a:cubicBezTo>
                <a:cubicBezTo>
                  <a:pt x="400561" y="1911199"/>
                  <a:pt x="411924" y="1914040"/>
                  <a:pt x="409083" y="1898416"/>
                </a:cubicBezTo>
                <a:cubicBezTo>
                  <a:pt x="401980" y="1896995"/>
                  <a:pt x="392038" y="1899836"/>
                  <a:pt x="390617" y="1891315"/>
                </a:cubicBezTo>
                <a:cubicBezTo>
                  <a:pt x="399139" y="1888472"/>
                  <a:pt x="403401" y="1882790"/>
                  <a:pt x="403401" y="1870007"/>
                </a:cubicBezTo>
                <a:cubicBezTo>
                  <a:pt x="390617" y="1871427"/>
                  <a:pt x="383515" y="1864326"/>
                  <a:pt x="384935" y="1848702"/>
                </a:cubicBezTo>
                <a:cubicBezTo>
                  <a:pt x="399139" y="1850121"/>
                  <a:pt x="403401" y="1861485"/>
                  <a:pt x="409083" y="1841599"/>
                </a:cubicBezTo>
                <a:cubicBezTo>
                  <a:pt x="390617" y="1843018"/>
                  <a:pt x="413344" y="1797565"/>
                  <a:pt x="396299" y="1798986"/>
                </a:cubicBezTo>
                <a:lnTo>
                  <a:pt x="393458" y="1801827"/>
                </a:lnTo>
                <a:lnTo>
                  <a:pt x="393458" y="1800406"/>
                </a:lnTo>
                <a:lnTo>
                  <a:pt x="385193" y="1800406"/>
                </a:lnTo>
                <a:lnTo>
                  <a:pt x="383515" y="1798986"/>
                </a:lnTo>
                <a:cubicBezTo>
                  <a:pt x="380675" y="1781941"/>
                  <a:pt x="411924" y="1803247"/>
                  <a:pt x="401980" y="1777680"/>
                </a:cubicBezTo>
                <a:cubicBezTo>
                  <a:pt x="403401" y="1764896"/>
                  <a:pt x="400561" y="1754952"/>
                  <a:pt x="396299" y="1749272"/>
                </a:cubicBezTo>
                <a:cubicBezTo>
                  <a:pt x="394879" y="1737908"/>
                  <a:pt x="380675" y="1743589"/>
                  <a:pt x="383515" y="1727965"/>
                </a:cubicBezTo>
                <a:cubicBezTo>
                  <a:pt x="403401" y="1733646"/>
                  <a:pt x="396299" y="1733646"/>
                  <a:pt x="407662" y="1720863"/>
                </a:cubicBezTo>
                <a:cubicBezTo>
                  <a:pt x="413344" y="1698135"/>
                  <a:pt x="392038" y="1706659"/>
                  <a:pt x="389197" y="1692455"/>
                </a:cubicBezTo>
                <a:cubicBezTo>
                  <a:pt x="393458" y="1668307"/>
                  <a:pt x="382094" y="1662625"/>
                  <a:pt x="376413" y="1649842"/>
                </a:cubicBezTo>
                <a:cubicBezTo>
                  <a:pt x="393458" y="1654102"/>
                  <a:pt x="372152" y="1615750"/>
                  <a:pt x="389197" y="1621433"/>
                </a:cubicBezTo>
                <a:cubicBezTo>
                  <a:pt x="390617" y="1629954"/>
                  <a:pt x="392038" y="1638478"/>
                  <a:pt x="401980" y="1635638"/>
                </a:cubicBezTo>
                <a:cubicBezTo>
                  <a:pt x="403401" y="1629954"/>
                  <a:pt x="407662" y="1627113"/>
                  <a:pt x="414765" y="1628535"/>
                </a:cubicBezTo>
                <a:cubicBezTo>
                  <a:pt x="417606" y="1620012"/>
                  <a:pt x="421866" y="1612909"/>
                  <a:pt x="427548" y="1607229"/>
                </a:cubicBezTo>
                <a:lnTo>
                  <a:pt x="427548" y="1564616"/>
                </a:lnTo>
                <a:cubicBezTo>
                  <a:pt x="414765" y="1560354"/>
                  <a:pt x="420447" y="1544729"/>
                  <a:pt x="414765" y="1536208"/>
                </a:cubicBezTo>
                <a:cubicBezTo>
                  <a:pt x="411924" y="1531946"/>
                  <a:pt x="400561" y="1537627"/>
                  <a:pt x="401980" y="1529105"/>
                </a:cubicBezTo>
                <a:cubicBezTo>
                  <a:pt x="436070" y="1520582"/>
                  <a:pt x="377834" y="1477969"/>
                  <a:pt x="414765" y="1465186"/>
                </a:cubicBezTo>
                <a:cubicBezTo>
                  <a:pt x="416185" y="1477969"/>
                  <a:pt x="409083" y="1500696"/>
                  <a:pt x="427548" y="1493595"/>
                </a:cubicBezTo>
                <a:cubicBezTo>
                  <a:pt x="423287" y="1460924"/>
                  <a:pt x="428969" y="1455242"/>
                  <a:pt x="409083" y="1436778"/>
                </a:cubicBezTo>
                <a:cubicBezTo>
                  <a:pt x="417606" y="1436778"/>
                  <a:pt x="421866" y="1433935"/>
                  <a:pt x="427548" y="1429675"/>
                </a:cubicBezTo>
                <a:cubicBezTo>
                  <a:pt x="427548" y="1419731"/>
                  <a:pt x="427548" y="1411210"/>
                  <a:pt x="427548" y="1401266"/>
                </a:cubicBezTo>
                <a:cubicBezTo>
                  <a:pt x="427548" y="1397006"/>
                  <a:pt x="433230" y="1392744"/>
                  <a:pt x="433230" y="1394165"/>
                </a:cubicBezTo>
                <a:cubicBezTo>
                  <a:pt x="434651" y="1377118"/>
                  <a:pt x="426128" y="1365756"/>
                  <a:pt x="427548" y="1351552"/>
                </a:cubicBezTo>
                <a:cubicBezTo>
                  <a:pt x="427548" y="1338767"/>
                  <a:pt x="433230" y="1335927"/>
                  <a:pt x="433230" y="1323143"/>
                </a:cubicBezTo>
                <a:cubicBezTo>
                  <a:pt x="434651" y="1307518"/>
                  <a:pt x="427548" y="1290473"/>
                  <a:pt x="427548" y="1273428"/>
                </a:cubicBezTo>
                <a:cubicBezTo>
                  <a:pt x="427548" y="1264905"/>
                  <a:pt x="431810" y="1262064"/>
                  <a:pt x="433230" y="1252122"/>
                </a:cubicBezTo>
                <a:cubicBezTo>
                  <a:pt x="434651" y="1235075"/>
                  <a:pt x="433230" y="1208088"/>
                  <a:pt x="433230" y="1202406"/>
                </a:cubicBezTo>
                <a:cubicBezTo>
                  <a:pt x="433230" y="1198146"/>
                  <a:pt x="438911" y="1193884"/>
                  <a:pt x="438911" y="1195305"/>
                </a:cubicBezTo>
                <a:cubicBezTo>
                  <a:pt x="438911" y="1181101"/>
                  <a:pt x="433230" y="1166896"/>
                  <a:pt x="433230" y="1152692"/>
                </a:cubicBezTo>
                <a:cubicBezTo>
                  <a:pt x="433230" y="1139907"/>
                  <a:pt x="438911" y="1137067"/>
                  <a:pt x="438911" y="1124284"/>
                </a:cubicBezTo>
                <a:cubicBezTo>
                  <a:pt x="438911" y="1111499"/>
                  <a:pt x="434651" y="1108658"/>
                  <a:pt x="433230" y="1095875"/>
                </a:cubicBezTo>
                <a:cubicBezTo>
                  <a:pt x="433230" y="1084512"/>
                  <a:pt x="447434" y="1051841"/>
                  <a:pt x="427548" y="1053262"/>
                </a:cubicBezTo>
                <a:cubicBezTo>
                  <a:pt x="417606" y="1066045"/>
                  <a:pt x="433230" y="1075988"/>
                  <a:pt x="421866" y="1088772"/>
                </a:cubicBezTo>
                <a:cubicBezTo>
                  <a:pt x="403401" y="1111499"/>
                  <a:pt x="427548" y="1147009"/>
                  <a:pt x="421866" y="1181101"/>
                </a:cubicBezTo>
                <a:lnTo>
                  <a:pt x="404723" y="1194289"/>
                </a:lnTo>
                <a:lnTo>
                  <a:pt x="404821" y="1193884"/>
                </a:lnTo>
                <a:lnTo>
                  <a:pt x="403483" y="1194260"/>
                </a:lnTo>
                <a:lnTo>
                  <a:pt x="404311" y="1183587"/>
                </a:lnTo>
                <a:cubicBezTo>
                  <a:pt x="399851" y="1177993"/>
                  <a:pt x="382806" y="1186782"/>
                  <a:pt x="384935" y="1173998"/>
                </a:cubicBezTo>
                <a:cubicBezTo>
                  <a:pt x="382094" y="1166896"/>
                  <a:pt x="387776" y="1169737"/>
                  <a:pt x="390617" y="1166896"/>
                </a:cubicBezTo>
                <a:cubicBezTo>
                  <a:pt x="404821" y="1152692"/>
                  <a:pt x="392038" y="1111499"/>
                  <a:pt x="396299" y="1088772"/>
                </a:cubicBezTo>
                <a:cubicBezTo>
                  <a:pt x="387776" y="1078828"/>
                  <a:pt x="369311" y="1081671"/>
                  <a:pt x="352266" y="1081671"/>
                </a:cubicBezTo>
                <a:cubicBezTo>
                  <a:pt x="342322" y="1071727"/>
                  <a:pt x="352266" y="1039058"/>
                  <a:pt x="333800" y="1039058"/>
                </a:cubicBezTo>
                <a:cubicBezTo>
                  <a:pt x="322436" y="1054682"/>
                  <a:pt x="328118" y="1085931"/>
                  <a:pt x="321017" y="1088772"/>
                </a:cubicBezTo>
                <a:cubicBezTo>
                  <a:pt x="311073" y="1085931"/>
                  <a:pt x="315335" y="1033375"/>
                  <a:pt x="315335" y="1031955"/>
                </a:cubicBezTo>
                <a:cubicBezTo>
                  <a:pt x="325277" y="1019170"/>
                  <a:pt x="311073" y="1006387"/>
                  <a:pt x="321017" y="1003546"/>
                </a:cubicBezTo>
                <a:cubicBezTo>
                  <a:pt x="349425" y="995024"/>
                  <a:pt x="342322" y="1003546"/>
                  <a:pt x="365049" y="1010649"/>
                </a:cubicBezTo>
                <a:cubicBezTo>
                  <a:pt x="360789" y="975138"/>
                  <a:pt x="367890" y="936786"/>
                  <a:pt x="370731" y="919740"/>
                </a:cubicBezTo>
                <a:cubicBezTo>
                  <a:pt x="374993" y="889912"/>
                  <a:pt x="365049" y="878549"/>
                  <a:pt x="365049" y="862923"/>
                </a:cubicBezTo>
                <a:cubicBezTo>
                  <a:pt x="365049" y="845878"/>
                  <a:pt x="373572" y="834515"/>
                  <a:pt x="370731" y="820311"/>
                </a:cubicBezTo>
                <a:cubicBezTo>
                  <a:pt x="370731" y="818891"/>
                  <a:pt x="365049" y="810368"/>
                  <a:pt x="365049" y="813209"/>
                </a:cubicBezTo>
                <a:cubicBezTo>
                  <a:pt x="365049" y="803265"/>
                  <a:pt x="372152" y="803265"/>
                  <a:pt x="370731" y="791902"/>
                </a:cubicBezTo>
                <a:cubicBezTo>
                  <a:pt x="370731" y="783379"/>
                  <a:pt x="367890" y="774857"/>
                  <a:pt x="365049" y="763493"/>
                </a:cubicBezTo>
                <a:cubicBezTo>
                  <a:pt x="362208" y="752130"/>
                  <a:pt x="366470" y="737926"/>
                  <a:pt x="352266" y="742188"/>
                </a:cubicBezTo>
                <a:cubicBezTo>
                  <a:pt x="339481" y="745028"/>
                  <a:pt x="350845" y="773437"/>
                  <a:pt x="333800" y="770596"/>
                </a:cubicBezTo>
                <a:cubicBezTo>
                  <a:pt x="332380" y="757812"/>
                  <a:pt x="339481" y="735085"/>
                  <a:pt x="321017" y="742188"/>
                </a:cubicBezTo>
                <a:cubicBezTo>
                  <a:pt x="311073" y="752130"/>
                  <a:pt x="313914" y="777698"/>
                  <a:pt x="302550" y="784801"/>
                </a:cubicBezTo>
                <a:cubicBezTo>
                  <a:pt x="325277" y="789061"/>
                  <a:pt x="333800" y="833095"/>
                  <a:pt x="321017" y="855822"/>
                </a:cubicBezTo>
                <a:cubicBezTo>
                  <a:pt x="330959" y="865764"/>
                  <a:pt x="349425" y="865764"/>
                  <a:pt x="357948" y="877128"/>
                </a:cubicBezTo>
                <a:cubicBezTo>
                  <a:pt x="338062" y="879968"/>
                  <a:pt x="352266" y="922581"/>
                  <a:pt x="333800" y="926843"/>
                </a:cubicBezTo>
                <a:cubicBezTo>
                  <a:pt x="323857" y="919740"/>
                  <a:pt x="323857" y="901276"/>
                  <a:pt x="309653" y="898435"/>
                </a:cubicBezTo>
                <a:cubicBezTo>
                  <a:pt x="292608" y="929684"/>
                  <a:pt x="302550" y="963774"/>
                  <a:pt x="303971" y="1017751"/>
                </a:cubicBezTo>
                <a:cubicBezTo>
                  <a:pt x="294028" y="1007807"/>
                  <a:pt x="279823" y="1003546"/>
                  <a:pt x="279823" y="982241"/>
                </a:cubicBezTo>
                <a:cubicBezTo>
                  <a:pt x="284085" y="965194"/>
                  <a:pt x="279823" y="952411"/>
                  <a:pt x="285505" y="946729"/>
                </a:cubicBezTo>
                <a:cubicBezTo>
                  <a:pt x="291187" y="941048"/>
                  <a:pt x="286926" y="882811"/>
                  <a:pt x="285505" y="875708"/>
                </a:cubicBezTo>
                <a:cubicBezTo>
                  <a:pt x="284085" y="867185"/>
                  <a:pt x="278404" y="865764"/>
                  <a:pt x="279823" y="854402"/>
                </a:cubicBezTo>
                <a:cubicBezTo>
                  <a:pt x="279823" y="847299"/>
                  <a:pt x="284085" y="845878"/>
                  <a:pt x="285505" y="840196"/>
                </a:cubicBezTo>
                <a:cubicBezTo>
                  <a:pt x="291187" y="816050"/>
                  <a:pt x="282664" y="794743"/>
                  <a:pt x="298290" y="790482"/>
                </a:cubicBezTo>
                <a:cubicBezTo>
                  <a:pt x="299709" y="774857"/>
                  <a:pt x="286926" y="763493"/>
                  <a:pt x="285505" y="762074"/>
                </a:cubicBezTo>
                <a:cubicBezTo>
                  <a:pt x="281245" y="757812"/>
                  <a:pt x="294028" y="749289"/>
                  <a:pt x="291187" y="740767"/>
                </a:cubicBezTo>
                <a:cubicBezTo>
                  <a:pt x="289767" y="737926"/>
                  <a:pt x="275563" y="742188"/>
                  <a:pt x="278404" y="733665"/>
                </a:cubicBezTo>
                <a:cubicBezTo>
                  <a:pt x="285505" y="682530"/>
                  <a:pt x="340903" y="715199"/>
                  <a:pt x="365049" y="726562"/>
                </a:cubicBezTo>
                <a:cubicBezTo>
                  <a:pt x="369311" y="709517"/>
                  <a:pt x="382094" y="702416"/>
                  <a:pt x="390617" y="691052"/>
                </a:cubicBezTo>
                <a:cubicBezTo>
                  <a:pt x="384935" y="658382"/>
                  <a:pt x="387776" y="642758"/>
                  <a:pt x="390617" y="598724"/>
                </a:cubicBezTo>
                <a:cubicBezTo>
                  <a:pt x="386356" y="587360"/>
                  <a:pt x="369311" y="575997"/>
                  <a:pt x="377834" y="563215"/>
                </a:cubicBezTo>
                <a:cubicBezTo>
                  <a:pt x="380675" y="558953"/>
                  <a:pt x="399139" y="567476"/>
                  <a:pt x="396299" y="556112"/>
                </a:cubicBezTo>
                <a:cubicBezTo>
                  <a:pt x="389197" y="554691"/>
                  <a:pt x="379253" y="557534"/>
                  <a:pt x="377834" y="549010"/>
                </a:cubicBezTo>
                <a:cubicBezTo>
                  <a:pt x="379253" y="536226"/>
                  <a:pt x="399139" y="557534"/>
                  <a:pt x="396299" y="527702"/>
                </a:cubicBezTo>
                <a:cubicBezTo>
                  <a:pt x="396299" y="517760"/>
                  <a:pt x="384935" y="520602"/>
                  <a:pt x="383515" y="513498"/>
                </a:cubicBezTo>
                <a:cubicBezTo>
                  <a:pt x="384935" y="499295"/>
                  <a:pt x="400561" y="499295"/>
                  <a:pt x="401980" y="485091"/>
                </a:cubicBezTo>
                <a:cubicBezTo>
                  <a:pt x="383515" y="460945"/>
                  <a:pt x="404821" y="431115"/>
                  <a:pt x="407662" y="406967"/>
                </a:cubicBezTo>
                <a:cubicBezTo>
                  <a:pt x="409083" y="398446"/>
                  <a:pt x="400561" y="397023"/>
                  <a:pt x="401980" y="385661"/>
                </a:cubicBezTo>
                <a:cubicBezTo>
                  <a:pt x="403401" y="370037"/>
                  <a:pt x="426128" y="335945"/>
                  <a:pt x="401980" y="335945"/>
                </a:cubicBezTo>
                <a:cubicBezTo>
                  <a:pt x="383515" y="345889"/>
                  <a:pt x="404821" y="399865"/>
                  <a:pt x="370731" y="392764"/>
                </a:cubicBezTo>
                <a:cubicBezTo>
                  <a:pt x="377834" y="351569"/>
                  <a:pt x="382094" y="337367"/>
                  <a:pt x="376413" y="293334"/>
                </a:cubicBezTo>
                <a:cubicBezTo>
                  <a:pt x="386356" y="293334"/>
                  <a:pt x="394879" y="291913"/>
                  <a:pt x="400561" y="286231"/>
                </a:cubicBezTo>
                <a:cubicBezTo>
                  <a:pt x="406242" y="263504"/>
                  <a:pt x="384935" y="272025"/>
                  <a:pt x="382094" y="257823"/>
                </a:cubicBezTo>
                <a:cubicBezTo>
                  <a:pt x="394879" y="243618"/>
                  <a:pt x="376413" y="242197"/>
                  <a:pt x="376413" y="229414"/>
                </a:cubicBezTo>
                <a:cubicBezTo>
                  <a:pt x="374993" y="220890"/>
                  <a:pt x="384935" y="219472"/>
                  <a:pt x="382094" y="208108"/>
                </a:cubicBezTo>
                <a:cubicBezTo>
                  <a:pt x="353686" y="205268"/>
                  <a:pt x="367890" y="242197"/>
                  <a:pt x="363629" y="264925"/>
                </a:cubicBezTo>
                <a:cubicBezTo>
                  <a:pt x="360789" y="283389"/>
                  <a:pt x="350845" y="311797"/>
                  <a:pt x="350845" y="314640"/>
                </a:cubicBezTo>
                <a:cubicBezTo>
                  <a:pt x="350845" y="317481"/>
                  <a:pt x="359367" y="313220"/>
                  <a:pt x="356527" y="321741"/>
                </a:cubicBezTo>
                <a:cubicBezTo>
                  <a:pt x="355107" y="323162"/>
                  <a:pt x="343743" y="326003"/>
                  <a:pt x="343743" y="328844"/>
                </a:cubicBezTo>
                <a:cubicBezTo>
                  <a:pt x="343743" y="321741"/>
                  <a:pt x="336641" y="323162"/>
                  <a:pt x="338062" y="335945"/>
                </a:cubicBezTo>
                <a:lnTo>
                  <a:pt x="338062" y="350151"/>
                </a:lnTo>
                <a:cubicBezTo>
                  <a:pt x="339481" y="362933"/>
                  <a:pt x="359367" y="341628"/>
                  <a:pt x="356527" y="371457"/>
                </a:cubicBezTo>
                <a:cubicBezTo>
                  <a:pt x="348004" y="368614"/>
                  <a:pt x="346584" y="362933"/>
                  <a:pt x="338062" y="371457"/>
                </a:cubicBezTo>
                <a:cubicBezTo>
                  <a:pt x="345163" y="397023"/>
                  <a:pt x="332380" y="419751"/>
                  <a:pt x="332380" y="442478"/>
                </a:cubicBezTo>
                <a:cubicBezTo>
                  <a:pt x="332380" y="441059"/>
                  <a:pt x="338062" y="446740"/>
                  <a:pt x="338062" y="449581"/>
                </a:cubicBezTo>
                <a:cubicBezTo>
                  <a:pt x="343743" y="477990"/>
                  <a:pt x="340903" y="524863"/>
                  <a:pt x="338062" y="547590"/>
                </a:cubicBezTo>
                <a:cubicBezTo>
                  <a:pt x="338062" y="554691"/>
                  <a:pt x="332380" y="556112"/>
                  <a:pt x="332380" y="561793"/>
                </a:cubicBezTo>
                <a:cubicBezTo>
                  <a:pt x="332380" y="573156"/>
                  <a:pt x="340903" y="573156"/>
                  <a:pt x="332380" y="583100"/>
                </a:cubicBezTo>
                <a:cubicBezTo>
                  <a:pt x="319595" y="598724"/>
                  <a:pt x="332380" y="601565"/>
                  <a:pt x="332380" y="618610"/>
                </a:cubicBezTo>
                <a:cubicBezTo>
                  <a:pt x="332380" y="617190"/>
                  <a:pt x="326698" y="622872"/>
                  <a:pt x="326698" y="625713"/>
                </a:cubicBezTo>
                <a:cubicBezTo>
                  <a:pt x="322436" y="648439"/>
                  <a:pt x="332380" y="655541"/>
                  <a:pt x="321017" y="668325"/>
                </a:cubicBezTo>
                <a:cubicBezTo>
                  <a:pt x="315335" y="674007"/>
                  <a:pt x="319595" y="691052"/>
                  <a:pt x="308232" y="689631"/>
                </a:cubicBezTo>
                <a:cubicBezTo>
                  <a:pt x="302550" y="676848"/>
                  <a:pt x="305391" y="654121"/>
                  <a:pt x="295449" y="647018"/>
                </a:cubicBezTo>
                <a:cubicBezTo>
                  <a:pt x="296869" y="665485"/>
                  <a:pt x="298290" y="682530"/>
                  <a:pt x="276983" y="675427"/>
                </a:cubicBezTo>
                <a:cubicBezTo>
                  <a:pt x="284085" y="644177"/>
                  <a:pt x="286926" y="597304"/>
                  <a:pt x="289767" y="577420"/>
                </a:cubicBezTo>
                <a:cubicBezTo>
                  <a:pt x="292608" y="549010"/>
                  <a:pt x="292608" y="536226"/>
                  <a:pt x="295449" y="520602"/>
                </a:cubicBezTo>
                <a:cubicBezTo>
                  <a:pt x="296869" y="516339"/>
                  <a:pt x="294028" y="510657"/>
                  <a:pt x="295449" y="506398"/>
                </a:cubicBezTo>
                <a:cubicBezTo>
                  <a:pt x="295449" y="504975"/>
                  <a:pt x="301131" y="496453"/>
                  <a:pt x="301131" y="499295"/>
                </a:cubicBezTo>
                <a:cubicBezTo>
                  <a:pt x="302550" y="487932"/>
                  <a:pt x="294028" y="475149"/>
                  <a:pt x="295449" y="463785"/>
                </a:cubicBezTo>
                <a:cubicBezTo>
                  <a:pt x="295449" y="455263"/>
                  <a:pt x="299709" y="452422"/>
                  <a:pt x="301131" y="442478"/>
                </a:cubicBezTo>
                <a:cubicBezTo>
                  <a:pt x="305391" y="411229"/>
                  <a:pt x="302550" y="392764"/>
                  <a:pt x="301131" y="385661"/>
                </a:cubicBezTo>
                <a:cubicBezTo>
                  <a:pt x="295449" y="364355"/>
                  <a:pt x="306812" y="357251"/>
                  <a:pt x="306812" y="350151"/>
                </a:cubicBezTo>
                <a:cubicBezTo>
                  <a:pt x="306812" y="345889"/>
                  <a:pt x="312494" y="343047"/>
                  <a:pt x="312494" y="343047"/>
                </a:cubicBezTo>
                <a:cubicBezTo>
                  <a:pt x="313914" y="334526"/>
                  <a:pt x="306812" y="321741"/>
                  <a:pt x="306812" y="307538"/>
                </a:cubicBezTo>
                <a:cubicBezTo>
                  <a:pt x="306812" y="300434"/>
                  <a:pt x="311073" y="299016"/>
                  <a:pt x="312494" y="293334"/>
                </a:cubicBezTo>
                <a:cubicBezTo>
                  <a:pt x="316755" y="266345"/>
                  <a:pt x="303971" y="266345"/>
                  <a:pt x="299709" y="257823"/>
                </a:cubicBezTo>
                <a:cubicBezTo>
                  <a:pt x="295449" y="249300"/>
                  <a:pt x="302550" y="230835"/>
                  <a:pt x="286926" y="236517"/>
                </a:cubicBezTo>
                <a:cubicBezTo>
                  <a:pt x="269881" y="233676"/>
                  <a:pt x="281245" y="260663"/>
                  <a:pt x="281245" y="264925"/>
                </a:cubicBezTo>
                <a:cubicBezTo>
                  <a:pt x="281245" y="270607"/>
                  <a:pt x="275563" y="272025"/>
                  <a:pt x="275563" y="272025"/>
                </a:cubicBezTo>
                <a:cubicBezTo>
                  <a:pt x="274142" y="279128"/>
                  <a:pt x="281245" y="277707"/>
                  <a:pt x="281245" y="279128"/>
                </a:cubicBezTo>
                <a:cubicBezTo>
                  <a:pt x="282664" y="284811"/>
                  <a:pt x="275563" y="286231"/>
                  <a:pt x="275563" y="286231"/>
                </a:cubicBezTo>
                <a:cubicBezTo>
                  <a:pt x="275563" y="299016"/>
                  <a:pt x="282664" y="304697"/>
                  <a:pt x="275563" y="307538"/>
                </a:cubicBezTo>
                <a:cubicBezTo>
                  <a:pt x="272722" y="320321"/>
                  <a:pt x="284085" y="326003"/>
                  <a:pt x="275563" y="328844"/>
                </a:cubicBezTo>
                <a:cubicBezTo>
                  <a:pt x="252836" y="335945"/>
                  <a:pt x="269881" y="297594"/>
                  <a:pt x="257097" y="293334"/>
                </a:cubicBezTo>
                <a:cubicBezTo>
                  <a:pt x="257097" y="279128"/>
                  <a:pt x="274142" y="284811"/>
                  <a:pt x="269881" y="264925"/>
                </a:cubicBezTo>
                <a:cubicBezTo>
                  <a:pt x="268460" y="252141"/>
                  <a:pt x="271301" y="242197"/>
                  <a:pt x="275563" y="236517"/>
                </a:cubicBezTo>
                <a:cubicBezTo>
                  <a:pt x="255677" y="229414"/>
                  <a:pt x="272722" y="223732"/>
                  <a:pt x="269881" y="201005"/>
                </a:cubicBezTo>
                <a:cubicBezTo>
                  <a:pt x="291187" y="213790"/>
                  <a:pt x="285505" y="196745"/>
                  <a:pt x="306812" y="193904"/>
                </a:cubicBezTo>
                <a:cubicBezTo>
                  <a:pt x="309653" y="208108"/>
                  <a:pt x="286926" y="225152"/>
                  <a:pt x="312494" y="222313"/>
                </a:cubicBezTo>
                <a:cubicBezTo>
                  <a:pt x="330959" y="218050"/>
                  <a:pt x="306812" y="206687"/>
                  <a:pt x="312494" y="193904"/>
                </a:cubicBezTo>
                <a:cubicBezTo>
                  <a:pt x="338062" y="201005"/>
                  <a:pt x="316755" y="168336"/>
                  <a:pt x="318176" y="172597"/>
                </a:cubicBezTo>
                <a:cubicBezTo>
                  <a:pt x="315335" y="166914"/>
                  <a:pt x="323857" y="158391"/>
                  <a:pt x="323857" y="158391"/>
                </a:cubicBezTo>
                <a:cubicBezTo>
                  <a:pt x="321017" y="141348"/>
                  <a:pt x="318176" y="134246"/>
                  <a:pt x="305391" y="137087"/>
                </a:cubicBezTo>
                <a:cubicBezTo>
                  <a:pt x="313914" y="189642"/>
                  <a:pt x="282664" y="174018"/>
                  <a:pt x="261359" y="179700"/>
                </a:cubicBezTo>
                <a:cubicBezTo>
                  <a:pt x="241473" y="216629"/>
                  <a:pt x="267040" y="272025"/>
                  <a:pt x="237211" y="306116"/>
                </a:cubicBezTo>
                <a:cubicBezTo>
                  <a:pt x="228688" y="303276"/>
                  <a:pt x="224428" y="296175"/>
                  <a:pt x="224428" y="284811"/>
                </a:cubicBezTo>
                <a:cubicBezTo>
                  <a:pt x="224428" y="274866"/>
                  <a:pt x="224428" y="266345"/>
                  <a:pt x="224428" y="256403"/>
                </a:cubicBezTo>
                <a:cubicBezTo>
                  <a:pt x="224428" y="252141"/>
                  <a:pt x="230109" y="249300"/>
                  <a:pt x="230109" y="249300"/>
                </a:cubicBezTo>
                <a:cubicBezTo>
                  <a:pt x="231529" y="239358"/>
                  <a:pt x="224428" y="222313"/>
                  <a:pt x="224428" y="213790"/>
                </a:cubicBezTo>
                <a:cubicBezTo>
                  <a:pt x="223006" y="198163"/>
                  <a:pt x="237211" y="169756"/>
                  <a:pt x="211643" y="178279"/>
                </a:cubicBezTo>
                <a:cubicBezTo>
                  <a:pt x="215905" y="208108"/>
                  <a:pt x="208802" y="227994"/>
                  <a:pt x="205961" y="242197"/>
                </a:cubicBezTo>
                <a:cubicBezTo>
                  <a:pt x="204542" y="252141"/>
                  <a:pt x="208802" y="269184"/>
                  <a:pt x="200280" y="270607"/>
                </a:cubicBezTo>
                <a:cubicBezTo>
                  <a:pt x="196019" y="291913"/>
                  <a:pt x="217325" y="284811"/>
                  <a:pt x="213064" y="306116"/>
                </a:cubicBezTo>
                <a:cubicBezTo>
                  <a:pt x="201701" y="313220"/>
                  <a:pt x="191757" y="318902"/>
                  <a:pt x="194598" y="341628"/>
                </a:cubicBezTo>
                <a:cubicBezTo>
                  <a:pt x="198860" y="343047"/>
                  <a:pt x="201701" y="347310"/>
                  <a:pt x="200280" y="355833"/>
                </a:cubicBezTo>
                <a:cubicBezTo>
                  <a:pt x="223006" y="355833"/>
                  <a:pt x="217325" y="364355"/>
                  <a:pt x="237211" y="355833"/>
                </a:cubicBezTo>
                <a:cubicBezTo>
                  <a:pt x="235791" y="372878"/>
                  <a:pt x="215905" y="368614"/>
                  <a:pt x="218746" y="391343"/>
                </a:cubicBezTo>
                <a:cubicBezTo>
                  <a:pt x="213064" y="406967"/>
                  <a:pt x="223006" y="418332"/>
                  <a:pt x="224428" y="433954"/>
                </a:cubicBezTo>
                <a:cubicBezTo>
                  <a:pt x="225847" y="441059"/>
                  <a:pt x="218746" y="442478"/>
                  <a:pt x="218746" y="448158"/>
                </a:cubicBezTo>
                <a:cubicBezTo>
                  <a:pt x="218746" y="446740"/>
                  <a:pt x="224428" y="452422"/>
                  <a:pt x="224428" y="455263"/>
                </a:cubicBezTo>
                <a:cubicBezTo>
                  <a:pt x="228688" y="477990"/>
                  <a:pt x="213064" y="483671"/>
                  <a:pt x="211643" y="497876"/>
                </a:cubicBezTo>
                <a:cubicBezTo>
                  <a:pt x="211643" y="496453"/>
                  <a:pt x="217325" y="507816"/>
                  <a:pt x="217325" y="512080"/>
                </a:cubicBezTo>
                <a:cubicBezTo>
                  <a:pt x="218746" y="520602"/>
                  <a:pt x="217325" y="531966"/>
                  <a:pt x="217325" y="540488"/>
                </a:cubicBezTo>
                <a:cubicBezTo>
                  <a:pt x="217325" y="546170"/>
                  <a:pt x="211643" y="547590"/>
                  <a:pt x="211643" y="547590"/>
                </a:cubicBezTo>
                <a:cubicBezTo>
                  <a:pt x="208802" y="560373"/>
                  <a:pt x="215905" y="564634"/>
                  <a:pt x="217325" y="575997"/>
                </a:cubicBezTo>
                <a:cubicBezTo>
                  <a:pt x="217325" y="574577"/>
                  <a:pt x="211643" y="578838"/>
                  <a:pt x="211643" y="583100"/>
                </a:cubicBezTo>
                <a:cubicBezTo>
                  <a:pt x="210223" y="588782"/>
                  <a:pt x="218746" y="593042"/>
                  <a:pt x="217325" y="597304"/>
                </a:cubicBezTo>
                <a:cubicBezTo>
                  <a:pt x="215905" y="601565"/>
                  <a:pt x="200280" y="607246"/>
                  <a:pt x="198860" y="611508"/>
                </a:cubicBezTo>
                <a:cubicBezTo>
                  <a:pt x="196019" y="620031"/>
                  <a:pt x="203120" y="638496"/>
                  <a:pt x="193178" y="639917"/>
                </a:cubicBezTo>
                <a:cubicBezTo>
                  <a:pt x="171871" y="651280"/>
                  <a:pt x="188916" y="615769"/>
                  <a:pt x="174712" y="618610"/>
                </a:cubicBezTo>
                <a:cubicBezTo>
                  <a:pt x="176133" y="632814"/>
                  <a:pt x="167610" y="634235"/>
                  <a:pt x="169030" y="647018"/>
                </a:cubicBezTo>
                <a:cubicBezTo>
                  <a:pt x="157667" y="655541"/>
                  <a:pt x="176133" y="685371"/>
                  <a:pt x="156247" y="696734"/>
                </a:cubicBezTo>
                <a:cubicBezTo>
                  <a:pt x="154826" y="691052"/>
                  <a:pt x="156247" y="682530"/>
                  <a:pt x="150565" y="682530"/>
                </a:cubicBezTo>
                <a:cubicBezTo>
                  <a:pt x="142043" y="713779"/>
                  <a:pt x="174712" y="698154"/>
                  <a:pt x="169030" y="725143"/>
                </a:cubicBezTo>
                <a:cubicBezTo>
                  <a:pt x="159088" y="747869"/>
                  <a:pt x="137781" y="753551"/>
                  <a:pt x="134940" y="781960"/>
                </a:cubicBezTo>
                <a:cubicBezTo>
                  <a:pt x="143462" y="796164"/>
                  <a:pt x="164770" y="786220"/>
                  <a:pt x="164770" y="810368"/>
                </a:cubicBezTo>
                <a:cubicBezTo>
                  <a:pt x="153406" y="811788"/>
                  <a:pt x="151985" y="801846"/>
                  <a:pt x="140622" y="803265"/>
                </a:cubicBezTo>
                <a:cubicBezTo>
                  <a:pt x="140622" y="838777"/>
                  <a:pt x="123576" y="840196"/>
                  <a:pt x="129258" y="868606"/>
                </a:cubicBezTo>
                <a:cubicBezTo>
                  <a:pt x="117895" y="885652"/>
                  <a:pt x="120736" y="884231"/>
                  <a:pt x="123576" y="897015"/>
                </a:cubicBezTo>
                <a:cubicBezTo>
                  <a:pt x="126417" y="911219"/>
                  <a:pt x="116475" y="933945"/>
                  <a:pt x="129258" y="932525"/>
                </a:cubicBezTo>
                <a:cubicBezTo>
                  <a:pt x="134940" y="918321"/>
                  <a:pt x="139202" y="904116"/>
                  <a:pt x="142043" y="882811"/>
                </a:cubicBezTo>
                <a:cubicBezTo>
                  <a:pt x="143462" y="860083"/>
                  <a:pt x="134940" y="833095"/>
                  <a:pt x="147724" y="818891"/>
                </a:cubicBezTo>
                <a:cubicBezTo>
                  <a:pt x="161929" y="821732"/>
                  <a:pt x="147724" y="857242"/>
                  <a:pt x="160508" y="861504"/>
                </a:cubicBezTo>
                <a:cubicBezTo>
                  <a:pt x="137781" y="865764"/>
                  <a:pt x="157667" y="884231"/>
                  <a:pt x="154826" y="897015"/>
                </a:cubicBezTo>
                <a:cubicBezTo>
                  <a:pt x="151985" y="906957"/>
                  <a:pt x="144884" y="909798"/>
                  <a:pt x="142043" y="918321"/>
                </a:cubicBezTo>
                <a:cubicBezTo>
                  <a:pt x="150565" y="919740"/>
                  <a:pt x="157667" y="921162"/>
                  <a:pt x="154826" y="932525"/>
                </a:cubicBezTo>
                <a:cubicBezTo>
                  <a:pt x="154826" y="943888"/>
                  <a:pt x="157667" y="958093"/>
                  <a:pt x="149144" y="960934"/>
                </a:cubicBezTo>
                <a:cubicBezTo>
                  <a:pt x="140622" y="959512"/>
                  <a:pt x="139202" y="949570"/>
                  <a:pt x="130679" y="946729"/>
                </a:cubicBezTo>
                <a:cubicBezTo>
                  <a:pt x="129258" y="956673"/>
                  <a:pt x="133520" y="962353"/>
                  <a:pt x="136361" y="968037"/>
                </a:cubicBezTo>
                <a:cubicBezTo>
                  <a:pt x="120736" y="972297"/>
                  <a:pt x="109372" y="989342"/>
                  <a:pt x="117895" y="996445"/>
                </a:cubicBezTo>
                <a:cubicBezTo>
                  <a:pt x="123576" y="1000705"/>
                  <a:pt x="112213" y="1003546"/>
                  <a:pt x="112213" y="1003546"/>
                </a:cubicBezTo>
                <a:cubicBezTo>
                  <a:pt x="106531" y="1014910"/>
                  <a:pt x="113634" y="1014910"/>
                  <a:pt x="116475" y="1026273"/>
                </a:cubicBezTo>
                <a:cubicBezTo>
                  <a:pt x="117895" y="1036216"/>
                  <a:pt x="106531" y="1037637"/>
                  <a:pt x="106531" y="1043318"/>
                </a:cubicBezTo>
                <a:cubicBezTo>
                  <a:pt x="105112" y="1050420"/>
                  <a:pt x="113634" y="1053262"/>
                  <a:pt x="113634" y="1058942"/>
                </a:cubicBezTo>
                <a:cubicBezTo>
                  <a:pt x="105112" y="1060364"/>
                  <a:pt x="110793" y="1067466"/>
                  <a:pt x="98009" y="1064624"/>
                </a:cubicBezTo>
                <a:cubicBezTo>
                  <a:pt x="96589" y="1077409"/>
                  <a:pt x="103690" y="1100136"/>
                  <a:pt x="85226" y="1093033"/>
                </a:cubicBezTo>
                <a:cubicBezTo>
                  <a:pt x="92327" y="1108658"/>
                  <a:pt x="86645" y="1127124"/>
                  <a:pt x="90907" y="1142748"/>
                </a:cubicBezTo>
                <a:cubicBezTo>
                  <a:pt x="93748" y="1154112"/>
                  <a:pt x="107952" y="1158372"/>
                  <a:pt x="103690" y="1171157"/>
                </a:cubicBezTo>
                <a:cubicBezTo>
                  <a:pt x="88066" y="1173998"/>
                  <a:pt x="89486" y="1161213"/>
                  <a:pt x="82385" y="1168316"/>
                </a:cubicBezTo>
                <a:cubicBezTo>
                  <a:pt x="58237" y="1195305"/>
                  <a:pt x="72441" y="1286211"/>
                  <a:pt x="59658" y="1281950"/>
                </a:cubicBezTo>
                <a:cubicBezTo>
                  <a:pt x="49714" y="1281950"/>
                  <a:pt x="69600" y="1122862"/>
                  <a:pt x="71021" y="1118600"/>
                </a:cubicBezTo>
                <a:cubicBezTo>
                  <a:pt x="73862" y="1111499"/>
                  <a:pt x="71021" y="1091613"/>
                  <a:pt x="69600" y="1080249"/>
                </a:cubicBezTo>
                <a:cubicBezTo>
                  <a:pt x="68180" y="1078828"/>
                  <a:pt x="66759" y="1063204"/>
                  <a:pt x="66759" y="1061783"/>
                </a:cubicBezTo>
                <a:cubicBezTo>
                  <a:pt x="63918" y="1036216"/>
                  <a:pt x="72441" y="1057523"/>
                  <a:pt x="72441" y="1046159"/>
                </a:cubicBezTo>
                <a:cubicBezTo>
                  <a:pt x="73862" y="1031955"/>
                  <a:pt x="62499" y="1034796"/>
                  <a:pt x="69600" y="1027694"/>
                </a:cubicBezTo>
                <a:cubicBezTo>
                  <a:pt x="71021" y="1026273"/>
                  <a:pt x="69600" y="1014910"/>
                  <a:pt x="69600" y="1013490"/>
                </a:cubicBezTo>
                <a:cubicBezTo>
                  <a:pt x="71021" y="993603"/>
                  <a:pt x="75282" y="985082"/>
                  <a:pt x="75282" y="977979"/>
                </a:cubicBezTo>
                <a:cubicBezTo>
                  <a:pt x="75282" y="977979"/>
                  <a:pt x="69600" y="976558"/>
                  <a:pt x="69600" y="970877"/>
                </a:cubicBezTo>
                <a:cubicBezTo>
                  <a:pt x="69600" y="968037"/>
                  <a:pt x="75282" y="960934"/>
                  <a:pt x="75282" y="963774"/>
                </a:cubicBezTo>
                <a:cubicBezTo>
                  <a:pt x="73862" y="949570"/>
                  <a:pt x="66759" y="945308"/>
                  <a:pt x="62499" y="935366"/>
                </a:cubicBezTo>
                <a:cubicBezTo>
                  <a:pt x="76703" y="938207"/>
                  <a:pt x="86645" y="933945"/>
                  <a:pt x="93748" y="928265"/>
                </a:cubicBezTo>
                <a:cubicBezTo>
                  <a:pt x="78123" y="895594"/>
                  <a:pt x="92327" y="843037"/>
                  <a:pt x="93748" y="823151"/>
                </a:cubicBezTo>
                <a:cubicBezTo>
                  <a:pt x="95168" y="810368"/>
                  <a:pt x="86645" y="806106"/>
                  <a:pt x="88066" y="794743"/>
                </a:cubicBezTo>
                <a:cubicBezTo>
                  <a:pt x="90907" y="781960"/>
                  <a:pt x="106531" y="777698"/>
                  <a:pt x="100850" y="766334"/>
                </a:cubicBezTo>
                <a:cubicBezTo>
                  <a:pt x="85226" y="757812"/>
                  <a:pt x="75282" y="787641"/>
                  <a:pt x="69600" y="766334"/>
                </a:cubicBezTo>
                <a:cubicBezTo>
                  <a:pt x="76703" y="740767"/>
                  <a:pt x="78123" y="733665"/>
                  <a:pt x="82385" y="716620"/>
                </a:cubicBezTo>
                <a:lnTo>
                  <a:pt x="105112" y="716620"/>
                </a:lnTo>
                <a:cubicBezTo>
                  <a:pt x="115054" y="691052"/>
                  <a:pt x="83804" y="712358"/>
                  <a:pt x="86645" y="695313"/>
                </a:cubicBezTo>
                <a:cubicBezTo>
                  <a:pt x="88066" y="655541"/>
                  <a:pt x="86645" y="654121"/>
                  <a:pt x="92327" y="624291"/>
                </a:cubicBezTo>
                <a:cubicBezTo>
                  <a:pt x="76703" y="615769"/>
                  <a:pt x="62499" y="639917"/>
                  <a:pt x="61078" y="624291"/>
                </a:cubicBezTo>
                <a:cubicBezTo>
                  <a:pt x="62499" y="607246"/>
                  <a:pt x="59658" y="588782"/>
                  <a:pt x="61078" y="581679"/>
                </a:cubicBezTo>
                <a:cubicBezTo>
                  <a:pt x="61078" y="580259"/>
                  <a:pt x="66759" y="571736"/>
                  <a:pt x="66759" y="574577"/>
                </a:cubicBezTo>
                <a:cubicBezTo>
                  <a:pt x="66759" y="567476"/>
                  <a:pt x="53976" y="547590"/>
                  <a:pt x="66759" y="546170"/>
                </a:cubicBezTo>
                <a:cubicBezTo>
                  <a:pt x="73862" y="547590"/>
                  <a:pt x="80964" y="558953"/>
                  <a:pt x="85226" y="546170"/>
                </a:cubicBezTo>
                <a:cubicBezTo>
                  <a:pt x="78123" y="544748"/>
                  <a:pt x="72441" y="546170"/>
                  <a:pt x="79544" y="539067"/>
                </a:cubicBezTo>
                <a:cubicBezTo>
                  <a:pt x="83804" y="534805"/>
                  <a:pt x="73862" y="530545"/>
                  <a:pt x="73862" y="531966"/>
                </a:cubicBezTo>
                <a:cubicBezTo>
                  <a:pt x="69600" y="504975"/>
                  <a:pt x="78123" y="497876"/>
                  <a:pt x="79544" y="482250"/>
                </a:cubicBezTo>
                <a:cubicBezTo>
                  <a:pt x="82385" y="458104"/>
                  <a:pt x="72441" y="419751"/>
                  <a:pt x="92327" y="418332"/>
                </a:cubicBezTo>
                <a:cubicBezTo>
                  <a:pt x="96589" y="435377"/>
                  <a:pt x="95168" y="436796"/>
                  <a:pt x="98009" y="468046"/>
                </a:cubicBezTo>
                <a:cubicBezTo>
                  <a:pt x="89486" y="466626"/>
                  <a:pt x="85226" y="456682"/>
                  <a:pt x="85226" y="475149"/>
                </a:cubicBezTo>
                <a:cubicBezTo>
                  <a:pt x="85226" y="487932"/>
                  <a:pt x="109372" y="482250"/>
                  <a:pt x="116475" y="482250"/>
                </a:cubicBezTo>
                <a:cubicBezTo>
                  <a:pt x="122157" y="482250"/>
                  <a:pt x="126417" y="490771"/>
                  <a:pt x="129258" y="489353"/>
                </a:cubicBezTo>
                <a:cubicBezTo>
                  <a:pt x="130679" y="487932"/>
                  <a:pt x="134940" y="473728"/>
                  <a:pt x="134940" y="468046"/>
                </a:cubicBezTo>
                <a:cubicBezTo>
                  <a:pt x="120736" y="453840"/>
                  <a:pt x="127838" y="469467"/>
                  <a:pt x="116475" y="475149"/>
                </a:cubicBezTo>
                <a:cubicBezTo>
                  <a:pt x="115054" y="465204"/>
                  <a:pt x="106531" y="463785"/>
                  <a:pt x="103690" y="453840"/>
                </a:cubicBezTo>
                <a:cubicBezTo>
                  <a:pt x="103690" y="433954"/>
                  <a:pt x="113634" y="439637"/>
                  <a:pt x="103690" y="425433"/>
                </a:cubicBezTo>
                <a:cubicBezTo>
                  <a:pt x="120736" y="426854"/>
                  <a:pt x="150565" y="408388"/>
                  <a:pt x="129258" y="389922"/>
                </a:cubicBezTo>
                <a:cubicBezTo>
                  <a:pt x="129258" y="398446"/>
                  <a:pt x="130679" y="409808"/>
                  <a:pt x="123576" y="411229"/>
                </a:cubicBezTo>
                <a:cubicBezTo>
                  <a:pt x="109372" y="394184"/>
                  <a:pt x="137781" y="362933"/>
                  <a:pt x="105112" y="354412"/>
                </a:cubicBezTo>
                <a:cubicBezTo>
                  <a:pt x="106531" y="374298"/>
                  <a:pt x="106531" y="392764"/>
                  <a:pt x="86645" y="389922"/>
                </a:cubicBezTo>
                <a:cubicBezTo>
                  <a:pt x="86645" y="382820"/>
                  <a:pt x="82385" y="381401"/>
                  <a:pt x="80964" y="375719"/>
                </a:cubicBezTo>
                <a:cubicBezTo>
                  <a:pt x="78123" y="368614"/>
                  <a:pt x="83804" y="371457"/>
                  <a:pt x="86645" y="368614"/>
                </a:cubicBezTo>
                <a:cubicBezTo>
                  <a:pt x="99430" y="355833"/>
                  <a:pt x="93748" y="323162"/>
                  <a:pt x="105112" y="311797"/>
                </a:cubicBezTo>
                <a:cubicBezTo>
                  <a:pt x="86645" y="310379"/>
                  <a:pt x="106531" y="267766"/>
                  <a:pt x="105112" y="276289"/>
                </a:cubicBezTo>
                <a:cubicBezTo>
                  <a:pt x="106531" y="272025"/>
                  <a:pt x="99430" y="266345"/>
                  <a:pt x="99430" y="269184"/>
                </a:cubicBezTo>
                <a:cubicBezTo>
                  <a:pt x="103690" y="240777"/>
                  <a:pt x="112213" y="219472"/>
                  <a:pt x="105112" y="191063"/>
                </a:cubicBezTo>
                <a:cubicBezTo>
                  <a:pt x="115054" y="191063"/>
                  <a:pt x="120736" y="185381"/>
                  <a:pt x="123576" y="176859"/>
                </a:cubicBezTo>
                <a:cubicBezTo>
                  <a:pt x="110793" y="172597"/>
                  <a:pt x="123576" y="158391"/>
                  <a:pt x="123576" y="148450"/>
                </a:cubicBezTo>
                <a:cubicBezTo>
                  <a:pt x="124998" y="135666"/>
                  <a:pt x="120736" y="120042"/>
                  <a:pt x="123576" y="105837"/>
                </a:cubicBezTo>
                <a:cubicBezTo>
                  <a:pt x="124998" y="98735"/>
                  <a:pt x="136361" y="94473"/>
                  <a:pt x="136361" y="91632"/>
                </a:cubicBezTo>
                <a:cubicBezTo>
                  <a:pt x="137781" y="78849"/>
                  <a:pt x="127838" y="67484"/>
                  <a:pt x="130679" y="56120"/>
                </a:cubicBezTo>
                <a:cubicBezTo>
                  <a:pt x="132099" y="53281"/>
                  <a:pt x="150565" y="56120"/>
                  <a:pt x="143462" y="41917"/>
                </a:cubicBezTo>
                <a:cubicBezTo>
                  <a:pt x="142043" y="30554"/>
                  <a:pt x="127838" y="36236"/>
                  <a:pt x="130679" y="20610"/>
                </a:cubicBezTo>
                <a:cubicBezTo>
                  <a:pt x="144173" y="25582"/>
                  <a:pt x="143108" y="13864"/>
                  <a:pt x="142220" y="2323"/>
                </a:cubicBezTo>
                <a:close/>
                <a:moveTo>
                  <a:pt x="112992" y="0"/>
                </a:moveTo>
                <a:lnTo>
                  <a:pt x="121281" y="0"/>
                </a:lnTo>
                <a:lnTo>
                  <a:pt x="119848" y="10668"/>
                </a:lnTo>
                <a:cubicBezTo>
                  <a:pt x="116120" y="23452"/>
                  <a:pt x="108663" y="34815"/>
                  <a:pt x="99430" y="34815"/>
                </a:cubicBezTo>
                <a:cubicBezTo>
                  <a:pt x="101560" y="27003"/>
                  <a:pt x="105111" y="20611"/>
                  <a:pt x="108662" y="13154"/>
                </a:cubicBez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a:xfrm>
            <a:off x="515938" y="512764"/>
            <a:ext cx="6824662" cy="1296000"/>
          </a:xfrm>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a:xfrm>
            <a:off x="515937" y="2372360"/>
            <a:ext cx="6824663" cy="3972876"/>
          </a:xfrm>
        </p:spPr>
        <p:txBody>
          <a:bodyPr numCol="1"/>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GB"/>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lvl1pPr>
              <a:defRPr>
                <a:solidFill>
                  <a:schemeClr val="tx1"/>
                </a:solidFill>
              </a:defRPr>
            </a:lvl1pPr>
          </a:lstStyle>
          <a:p>
            <a:fld id="{A8B7E462-AA7B-4427-9DF0-5AABDADAA92F}" type="slidenum">
              <a:rPr lang="en-GB" smtClean="0"/>
              <a:pPr/>
              <a:t>‹#›</a:t>
            </a:fld>
            <a:endParaRPr lang="en-GB"/>
          </a:p>
        </p:txBody>
      </p:sp>
      <p:sp>
        <p:nvSpPr>
          <p:cNvPr id="11" name="Text Placeholder 10">
            <a:extLst>
              <a:ext uri="{FF2B5EF4-FFF2-40B4-BE49-F238E27FC236}">
                <a16:creationId xmlns:a16="http://schemas.microsoft.com/office/drawing/2014/main" id="{361E0A07-7E60-4A85-AECC-A1562FF34276}"/>
              </a:ext>
            </a:extLst>
          </p:cNvPr>
          <p:cNvSpPr>
            <a:spLocks noGrp="1"/>
          </p:cNvSpPr>
          <p:nvPr>
            <p:ph type="body" sz="quarter" idx="14"/>
          </p:nvPr>
        </p:nvSpPr>
        <p:spPr>
          <a:xfrm>
            <a:off x="8239027" y="4806952"/>
            <a:ext cx="3437036" cy="1538284"/>
          </a:xfrm>
        </p:spPr>
        <p:txBody>
          <a:bodyPr>
            <a:noAutofit/>
          </a:bodyPr>
          <a:lstStyle>
            <a:lvl1pPr>
              <a:spcBef>
                <a:spcPts val="0"/>
              </a:spcBef>
              <a:defRPr sz="1200"/>
            </a:lvl1pPr>
            <a:lvl2pPr>
              <a:spcBef>
                <a:spcPts val="0"/>
              </a:spcBef>
              <a:defRPr sz="1200"/>
            </a:lvl2pPr>
            <a:lvl3pPr>
              <a:spcBef>
                <a:spcPts val="0"/>
              </a:spcBef>
              <a:defRPr sz="1200"/>
            </a:lvl3pPr>
            <a:lvl4pPr>
              <a:spcBef>
                <a:spcPts val="0"/>
              </a:spcBef>
              <a:defRPr sz="1200"/>
            </a:lvl4pPr>
            <a:lvl5pPr>
              <a:spcBef>
                <a:spcPts val="0"/>
              </a:spcBef>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83745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 Image + Cap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39354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a:xfrm>
            <a:off x="515938" y="512764"/>
            <a:ext cx="6824662" cy="1296000"/>
          </a:xfrm>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a:xfrm>
            <a:off x="515937" y="2372360"/>
            <a:ext cx="6824663" cy="3972876"/>
          </a:xfrm>
        </p:spPr>
        <p:txBody>
          <a:bodyPr numCol="2" spcCol="72000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GB"/>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lvl1pPr>
              <a:defRPr>
                <a:solidFill>
                  <a:schemeClr val="tx1"/>
                </a:solidFill>
              </a:defRPr>
            </a:lvl1pPr>
          </a:lstStyle>
          <a:p>
            <a:fld id="{A8B7E462-AA7B-4427-9DF0-5AABDADAA92F}" type="slidenum">
              <a:rPr lang="en-GB" smtClean="0"/>
              <a:pPr/>
              <a:t>‹#›</a:t>
            </a:fld>
            <a:endParaRPr lang="en-GB"/>
          </a:p>
        </p:txBody>
      </p:sp>
      <p:sp>
        <p:nvSpPr>
          <p:cNvPr id="11" name="Text Placeholder 10">
            <a:extLst>
              <a:ext uri="{FF2B5EF4-FFF2-40B4-BE49-F238E27FC236}">
                <a16:creationId xmlns:a16="http://schemas.microsoft.com/office/drawing/2014/main" id="{361E0A07-7E60-4A85-AECC-A1562FF34276}"/>
              </a:ext>
            </a:extLst>
          </p:cNvPr>
          <p:cNvSpPr>
            <a:spLocks noGrp="1"/>
          </p:cNvSpPr>
          <p:nvPr>
            <p:ph type="body" sz="quarter" idx="14"/>
          </p:nvPr>
        </p:nvSpPr>
        <p:spPr>
          <a:xfrm>
            <a:off x="8239027" y="4806952"/>
            <a:ext cx="3437036" cy="1538284"/>
          </a:xfrm>
        </p:spPr>
        <p:txBody>
          <a:bodyPr>
            <a:noAutofit/>
          </a:bodyPr>
          <a:lstStyle>
            <a:lvl1pPr>
              <a:spcBef>
                <a:spcPts val="0"/>
              </a:spcBef>
              <a:defRPr sz="1200"/>
            </a:lvl1pPr>
            <a:lvl2pPr>
              <a:spcBef>
                <a:spcPts val="0"/>
              </a:spcBef>
              <a:defRPr sz="1200"/>
            </a:lvl2pPr>
            <a:lvl3pPr>
              <a:spcBef>
                <a:spcPts val="0"/>
              </a:spcBef>
              <a:defRPr sz="1200"/>
            </a:lvl3pPr>
            <a:lvl4pPr>
              <a:spcBef>
                <a:spcPts val="0"/>
              </a:spcBef>
              <a:defRPr sz="1200"/>
            </a:lvl4pPr>
            <a:lvl5pPr>
              <a:spcBef>
                <a:spcPts val="0"/>
              </a:spcBef>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268660B0-3780-43A7-B4A1-2056A2103E16}"/>
              </a:ext>
            </a:extLst>
          </p:cNvPr>
          <p:cNvSpPr>
            <a:spLocks noGrp="1"/>
          </p:cNvSpPr>
          <p:nvPr>
            <p:ph type="pic" sz="quarter" idx="15"/>
          </p:nvPr>
        </p:nvSpPr>
        <p:spPr>
          <a:xfrm>
            <a:off x="7837551" y="0"/>
            <a:ext cx="4354450" cy="4517685"/>
          </a:xfrm>
          <a:custGeom>
            <a:avLst/>
            <a:gdLst>
              <a:gd name="connsiteX0" fmla="*/ 1934622 w 4354450"/>
              <a:gd name="connsiteY0" fmla="*/ 4493537 h 4517685"/>
              <a:gd name="connsiteX1" fmla="*/ 1934622 w 4354450"/>
              <a:gd name="connsiteY1" fmla="*/ 4517685 h 4517685"/>
              <a:gd name="connsiteX2" fmla="*/ 1934622 w 4354450"/>
              <a:gd name="connsiteY2" fmla="*/ 4493537 h 4517685"/>
              <a:gd name="connsiteX3" fmla="*/ 2048169 w 4354450"/>
              <a:gd name="connsiteY3" fmla="*/ 4461800 h 4517685"/>
              <a:gd name="connsiteX4" fmla="*/ 2055358 w 4354450"/>
              <a:gd name="connsiteY4" fmla="*/ 4469390 h 4517685"/>
              <a:gd name="connsiteX5" fmla="*/ 2041153 w 4354450"/>
              <a:gd name="connsiteY5" fmla="*/ 4469390 h 4517685"/>
              <a:gd name="connsiteX6" fmla="*/ 2048169 w 4354450"/>
              <a:gd name="connsiteY6" fmla="*/ 4461800 h 4517685"/>
              <a:gd name="connsiteX7" fmla="*/ 2005643 w 4354450"/>
              <a:gd name="connsiteY7" fmla="*/ 4456607 h 4517685"/>
              <a:gd name="connsiteX8" fmla="*/ 2019848 w 4354450"/>
              <a:gd name="connsiteY8" fmla="*/ 4456607 h 4517685"/>
              <a:gd name="connsiteX9" fmla="*/ 2026949 w 4354450"/>
              <a:gd name="connsiteY9" fmla="*/ 4462288 h 4517685"/>
              <a:gd name="connsiteX10" fmla="*/ 2005643 w 4354450"/>
              <a:gd name="connsiteY10" fmla="*/ 4456607 h 4517685"/>
              <a:gd name="connsiteX11" fmla="*/ 1836613 w 4354450"/>
              <a:gd name="connsiteY11" fmla="*/ 4438141 h 4517685"/>
              <a:gd name="connsiteX12" fmla="*/ 1872123 w 4354450"/>
              <a:gd name="connsiteY12" fmla="*/ 4469390 h 4517685"/>
              <a:gd name="connsiteX13" fmla="*/ 1836613 w 4354450"/>
              <a:gd name="connsiteY13" fmla="*/ 4438141 h 4517685"/>
              <a:gd name="connsiteX14" fmla="*/ 1822409 w 4354450"/>
              <a:gd name="connsiteY14" fmla="*/ 4438141 h 4517685"/>
              <a:gd name="connsiteX15" fmla="*/ 1822409 w 4354450"/>
              <a:gd name="connsiteY15" fmla="*/ 4456607 h 4517685"/>
              <a:gd name="connsiteX16" fmla="*/ 1822409 w 4354450"/>
              <a:gd name="connsiteY16" fmla="*/ 4438141 h 4517685"/>
              <a:gd name="connsiteX17" fmla="*/ 1444753 w 4354450"/>
              <a:gd name="connsiteY17" fmla="*/ 4437031 h 4517685"/>
              <a:gd name="connsiteX18" fmla="*/ 1468722 w 4354450"/>
              <a:gd name="connsiteY18" fmla="*/ 4443823 h 4517685"/>
              <a:gd name="connsiteX19" fmla="*/ 1433212 w 4354450"/>
              <a:gd name="connsiteY19" fmla="*/ 4438141 h 4517685"/>
              <a:gd name="connsiteX20" fmla="*/ 1444753 w 4354450"/>
              <a:gd name="connsiteY20" fmla="*/ 4437031 h 4517685"/>
              <a:gd name="connsiteX21" fmla="*/ 1994635 w 4354450"/>
              <a:gd name="connsiteY21" fmla="*/ 4436011 h 4517685"/>
              <a:gd name="connsiteX22" fmla="*/ 2005643 w 4354450"/>
              <a:gd name="connsiteY22" fmla="*/ 4449504 h 4517685"/>
              <a:gd name="connsiteX23" fmla="*/ 1977235 w 4354450"/>
              <a:gd name="connsiteY23" fmla="*/ 4443823 h 4517685"/>
              <a:gd name="connsiteX24" fmla="*/ 1994635 w 4354450"/>
              <a:gd name="connsiteY24" fmla="*/ 4436011 h 4517685"/>
              <a:gd name="connsiteX25" fmla="*/ 1920418 w 4354450"/>
              <a:gd name="connsiteY25" fmla="*/ 4432459 h 4517685"/>
              <a:gd name="connsiteX26" fmla="*/ 1948827 w 4354450"/>
              <a:gd name="connsiteY26" fmla="*/ 4438141 h 4517685"/>
              <a:gd name="connsiteX27" fmla="*/ 1948827 w 4354450"/>
              <a:gd name="connsiteY27" fmla="*/ 4469390 h 4517685"/>
              <a:gd name="connsiteX28" fmla="*/ 1920418 w 4354450"/>
              <a:gd name="connsiteY28" fmla="*/ 4469390 h 4517685"/>
              <a:gd name="connsiteX29" fmla="*/ 1934622 w 4354450"/>
              <a:gd name="connsiteY29" fmla="*/ 4456607 h 4517685"/>
              <a:gd name="connsiteX30" fmla="*/ 1920418 w 4354450"/>
              <a:gd name="connsiteY30" fmla="*/ 4432459 h 4517685"/>
              <a:gd name="connsiteX31" fmla="*/ 2089449 w 4354450"/>
              <a:gd name="connsiteY31" fmla="*/ 4431038 h 4517685"/>
              <a:gd name="connsiteX32" fmla="*/ 2068142 w 4354450"/>
              <a:gd name="connsiteY32" fmla="*/ 4443823 h 4517685"/>
              <a:gd name="connsiteX33" fmla="*/ 2089449 w 4354450"/>
              <a:gd name="connsiteY33" fmla="*/ 4431038 h 4517685"/>
              <a:gd name="connsiteX34" fmla="*/ 2045571 w 4354450"/>
              <a:gd name="connsiteY34" fmla="*/ 4430950 h 4517685"/>
              <a:gd name="connsiteX35" fmla="*/ 2055358 w 4354450"/>
              <a:gd name="connsiteY35" fmla="*/ 4450924 h 4517685"/>
              <a:gd name="connsiteX36" fmla="*/ 2041153 w 4354450"/>
              <a:gd name="connsiteY36" fmla="*/ 4438141 h 4517685"/>
              <a:gd name="connsiteX37" fmla="*/ 2045571 w 4354450"/>
              <a:gd name="connsiteY37" fmla="*/ 4430950 h 4517685"/>
              <a:gd name="connsiteX38" fmla="*/ 421222 w 4354450"/>
              <a:gd name="connsiteY38" fmla="*/ 4428434 h 4517685"/>
              <a:gd name="connsiteX39" fmla="*/ 437137 w 4354450"/>
              <a:gd name="connsiteY39" fmla="*/ 4428909 h 4517685"/>
              <a:gd name="connsiteX40" fmla="*/ 441754 w 4354450"/>
              <a:gd name="connsiteY40" fmla="*/ 4446664 h 4517685"/>
              <a:gd name="connsiteX41" fmla="*/ 422901 w 4354450"/>
              <a:gd name="connsiteY41" fmla="*/ 4443836 h 4517685"/>
              <a:gd name="connsiteX42" fmla="*/ 422755 w 4354450"/>
              <a:gd name="connsiteY42" fmla="*/ 4442935 h 4517685"/>
              <a:gd name="connsiteX43" fmla="*/ 2322400 w 4354450"/>
              <a:gd name="connsiteY43" fmla="*/ 4425356 h 4517685"/>
              <a:gd name="connsiteX44" fmla="*/ 2315297 w 4354450"/>
              <a:gd name="connsiteY44" fmla="*/ 4449504 h 4517685"/>
              <a:gd name="connsiteX45" fmla="*/ 2279787 w 4354450"/>
              <a:gd name="connsiteY45" fmla="*/ 4443823 h 4517685"/>
              <a:gd name="connsiteX46" fmla="*/ 2322400 w 4354450"/>
              <a:gd name="connsiteY46" fmla="*/ 4425356 h 4517685"/>
              <a:gd name="connsiteX47" fmla="*/ 2857900 w 4354450"/>
              <a:gd name="connsiteY47" fmla="*/ 4419675 h 4517685"/>
              <a:gd name="connsiteX48" fmla="*/ 2836595 w 4354450"/>
              <a:gd name="connsiteY48" fmla="*/ 4432459 h 4517685"/>
              <a:gd name="connsiteX49" fmla="*/ 2857900 w 4354450"/>
              <a:gd name="connsiteY49" fmla="*/ 4419675 h 4517685"/>
              <a:gd name="connsiteX50" fmla="*/ 2809605 w 4354450"/>
              <a:gd name="connsiteY50" fmla="*/ 4419675 h 4517685"/>
              <a:gd name="connsiteX51" fmla="*/ 2852219 w 4354450"/>
              <a:gd name="connsiteY51" fmla="*/ 4438141 h 4517685"/>
              <a:gd name="connsiteX52" fmla="*/ 2823810 w 4354450"/>
              <a:gd name="connsiteY52" fmla="*/ 4456607 h 4517685"/>
              <a:gd name="connsiteX53" fmla="*/ 2809605 w 4354450"/>
              <a:gd name="connsiteY53" fmla="*/ 4419675 h 4517685"/>
              <a:gd name="connsiteX54" fmla="*/ 2695971 w 4354450"/>
              <a:gd name="connsiteY54" fmla="*/ 4419675 h 4517685"/>
              <a:gd name="connsiteX55" fmla="*/ 2667563 w 4354450"/>
              <a:gd name="connsiteY55" fmla="*/ 4432459 h 4517685"/>
              <a:gd name="connsiteX56" fmla="*/ 2695971 w 4354450"/>
              <a:gd name="connsiteY56" fmla="*/ 4419675 h 4517685"/>
              <a:gd name="connsiteX57" fmla="*/ 1018359 w 4354450"/>
              <a:gd name="connsiteY57" fmla="*/ 4412086 h 4517685"/>
              <a:gd name="connsiteX58" fmla="*/ 1025549 w 4354450"/>
              <a:gd name="connsiteY58" fmla="*/ 4419675 h 4517685"/>
              <a:gd name="connsiteX59" fmla="*/ 1011344 w 4354450"/>
              <a:gd name="connsiteY59" fmla="*/ 4419675 h 4517685"/>
              <a:gd name="connsiteX60" fmla="*/ 1018359 w 4354450"/>
              <a:gd name="connsiteY60" fmla="*/ 4412086 h 4517685"/>
              <a:gd name="connsiteX61" fmla="*/ 850325 w 4354450"/>
              <a:gd name="connsiteY61" fmla="*/ 4408180 h 4517685"/>
              <a:gd name="connsiteX62" fmla="*/ 863620 w 4354450"/>
              <a:gd name="connsiteY62" fmla="*/ 4412573 h 4517685"/>
              <a:gd name="connsiteX63" fmla="*/ 813905 w 4354450"/>
              <a:gd name="connsiteY63" fmla="*/ 4449504 h 4517685"/>
              <a:gd name="connsiteX64" fmla="*/ 792599 w 4354450"/>
              <a:gd name="connsiteY64" fmla="*/ 4412573 h 4517685"/>
              <a:gd name="connsiteX65" fmla="*/ 850325 w 4354450"/>
              <a:gd name="connsiteY65" fmla="*/ 4408180 h 4517685"/>
              <a:gd name="connsiteX66" fmla="*/ 3471525 w 4354450"/>
              <a:gd name="connsiteY66" fmla="*/ 4399790 h 4517685"/>
              <a:gd name="connsiteX67" fmla="*/ 3478627 w 4354450"/>
              <a:gd name="connsiteY67" fmla="*/ 4423937 h 4517685"/>
              <a:gd name="connsiteX68" fmla="*/ 3443117 w 4354450"/>
              <a:gd name="connsiteY68" fmla="*/ 4418255 h 4517685"/>
              <a:gd name="connsiteX69" fmla="*/ 3471525 w 4354450"/>
              <a:gd name="connsiteY69" fmla="*/ 4399790 h 4517685"/>
              <a:gd name="connsiteX70" fmla="*/ 1843715 w 4354450"/>
              <a:gd name="connsiteY70" fmla="*/ 4399790 h 4517685"/>
              <a:gd name="connsiteX71" fmla="*/ 1870702 w 4354450"/>
              <a:gd name="connsiteY71" fmla="*/ 4401210 h 4517685"/>
              <a:gd name="connsiteX72" fmla="*/ 1877805 w 4354450"/>
              <a:gd name="connsiteY72" fmla="*/ 4406892 h 4517685"/>
              <a:gd name="connsiteX73" fmla="*/ 1884907 w 4354450"/>
              <a:gd name="connsiteY73" fmla="*/ 4412573 h 4517685"/>
              <a:gd name="connsiteX74" fmla="*/ 1820988 w 4354450"/>
              <a:gd name="connsiteY74" fmla="*/ 4406892 h 4517685"/>
              <a:gd name="connsiteX75" fmla="*/ 1843715 w 4354450"/>
              <a:gd name="connsiteY75" fmla="*/ 4399790 h 4517685"/>
              <a:gd name="connsiteX76" fmla="*/ 424759 w 4354450"/>
              <a:gd name="connsiteY76" fmla="*/ 4399532 h 4517685"/>
              <a:gd name="connsiteX77" fmla="*/ 434651 w 4354450"/>
              <a:gd name="connsiteY77" fmla="*/ 4402630 h 4517685"/>
              <a:gd name="connsiteX78" fmla="*/ 455958 w 4354450"/>
              <a:gd name="connsiteY78" fmla="*/ 4415414 h 4517685"/>
              <a:gd name="connsiteX79" fmla="*/ 432521 w 4354450"/>
              <a:gd name="connsiteY79" fmla="*/ 4420209 h 4517685"/>
              <a:gd name="connsiteX80" fmla="*/ 420867 w 4354450"/>
              <a:gd name="connsiteY80" fmla="*/ 4425066 h 4517685"/>
              <a:gd name="connsiteX81" fmla="*/ 420447 w 4354450"/>
              <a:gd name="connsiteY81" fmla="*/ 4421096 h 4517685"/>
              <a:gd name="connsiteX82" fmla="*/ 423287 w 4354450"/>
              <a:gd name="connsiteY82" fmla="*/ 4406892 h 4517685"/>
              <a:gd name="connsiteX83" fmla="*/ 1680366 w 4354450"/>
              <a:gd name="connsiteY83" fmla="*/ 4394107 h 4517685"/>
              <a:gd name="connsiteX84" fmla="*/ 1687468 w 4354450"/>
              <a:gd name="connsiteY84" fmla="*/ 4412573 h 4517685"/>
              <a:gd name="connsiteX85" fmla="*/ 1666162 w 4354450"/>
              <a:gd name="connsiteY85" fmla="*/ 4406892 h 4517685"/>
              <a:gd name="connsiteX86" fmla="*/ 1680366 w 4354450"/>
              <a:gd name="connsiteY86" fmla="*/ 4394107 h 4517685"/>
              <a:gd name="connsiteX87" fmla="*/ 1335200 w 4354450"/>
              <a:gd name="connsiteY87" fmla="*/ 4394107 h 4517685"/>
              <a:gd name="connsiteX88" fmla="*/ 1356507 w 4354450"/>
              <a:gd name="connsiteY88" fmla="*/ 4399789 h 4517685"/>
              <a:gd name="connsiteX89" fmla="*/ 1349405 w 4354450"/>
              <a:gd name="connsiteY89" fmla="*/ 4394107 h 4517685"/>
              <a:gd name="connsiteX90" fmla="*/ 2414727 w 4354450"/>
              <a:gd name="connsiteY90" fmla="*/ 4387006 h 4517685"/>
              <a:gd name="connsiteX91" fmla="*/ 2436034 w 4354450"/>
              <a:gd name="connsiteY91" fmla="*/ 4431038 h 4517685"/>
              <a:gd name="connsiteX92" fmla="*/ 2379217 w 4354450"/>
              <a:gd name="connsiteY92" fmla="*/ 4429618 h 4517685"/>
              <a:gd name="connsiteX93" fmla="*/ 2407625 w 4354450"/>
              <a:gd name="connsiteY93" fmla="*/ 4416834 h 4517685"/>
              <a:gd name="connsiteX94" fmla="*/ 2379217 w 4354450"/>
              <a:gd name="connsiteY94" fmla="*/ 4411152 h 4517685"/>
              <a:gd name="connsiteX95" fmla="*/ 2414727 w 4354450"/>
              <a:gd name="connsiteY95" fmla="*/ 4387006 h 4517685"/>
              <a:gd name="connsiteX96" fmla="*/ 2012745 w 4354450"/>
              <a:gd name="connsiteY96" fmla="*/ 4382744 h 4517685"/>
              <a:gd name="connsiteX97" fmla="*/ 2019848 w 4354450"/>
              <a:gd name="connsiteY97" fmla="*/ 4406892 h 4517685"/>
              <a:gd name="connsiteX98" fmla="*/ 1998541 w 4354450"/>
              <a:gd name="connsiteY98" fmla="*/ 4413994 h 4517685"/>
              <a:gd name="connsiteX99" fmla="*/ 2012745 w 4354450"/>
              <a:gd name="connsiteY99" fmla="*/ 4382744 h 4517685"/>
              <a:gd name="connsiteX100" fmla="*/ 1306792 w 4354450"/>
              <a:gd name="connsiteY100" fmla="*/ 4382744 h 4517685"/>
              <a:gd name="connsiteX101" fmla="*/ 1271282 w 4354450"/>
              <a:gd name="connsiteY101" fmla="*/ 4388425 h 4517685"/>
              <a:gd name="connsiteX102" fmla="*/ 1320996 w 4354450"/>
              <a:gd name="connsiteY102" fmla="*/ 4412573 h 4517685"/>
              <a:gd name="connsiteX103" fmla="*/ 1306792 w 4354450"/>
              <a:gd name="connsiteY103" fmla="*/ 4382744 h 4517685"/>
              <a:gd name="connsiteX104" fmla="*/ 923811 w 4354450"/>
              <a:gd name="connsiteY104" fmla="*/ 4373868 h 4517685"/>
              <a:gd name="connsiteX105" fmla="*/ 947424 w 4354450"/>
              <a:gd name="connsiteY105" fmla="*/ 4378483 h 4517685"/>
              <a:gd name="connsiteX106" fmla="*/ 943164 w 4354450"/>
              <a:gd name="connsiteY106" fmla="*/ 4396948 h 4517685"/>
              <a:gd name="connsiteX107" fmla="*/ 916175 w 4354450"/>
              <a:gd name="connsiteY107" fmla="*/ 4392687 h 4517685"/>
              <a:gd name="connsiteX108" fmla="*/ 903392 w 4354450"/>
              <a:gd name="connsiteY108" fmla="*/ 4375642 h 4517685"/>
              <a:gd name="connsiteX109" fmla="*/ 923811 w 4354450"/>
              <a:gd name="connsiteY109" fmla="*/ 4373868 h 4517685"/>
              <a:gd name="connsiteX110" fmla="*/ 1565313 w 4354450"/>
              <a:gd name="connsiteY110" fmla="*/ 4371737 h 4517685"/>
              <a:gd name="connsiteX111" fmla="*/ 1596561 w 4354450"/>
              <a:gd name="connsiteY111" fmla="*/ 4382744 h 4517685"/>
              <a:gd name="connsiteX112" fmla="*/ 1546846 w 4354450"/>
              <a:gd name="connsiteY112" fmla="*/ 4388425 h 4517685"/>
              <a:gd name="connsiteX113" fmla="*/ 1565313 w 4354450"/>
              <a:gd name="connsiteY113" fmla="*/ 4371737 h 4517685"/>
              <a:gd name="connsiteX114" fmla="*/ 2272684 w 4354450"/>
              <a:gd name="connsiteY114" fmla="*/ 4368539 h 4517685"/>
              <a:gd name="connsiteX115" fmla="*/ 2293991 w 4354450"/>
              <a:gd name="connsiteY115" fmla="*/ 4381324 h 4517685"/>
              <a:gd name="connsiteX116" fmla="*/ 2272684 w 4354450"/>
              <a:gd name="connsiteY116" fmla="*/ 4399790 h 4517685"/>
              <a:gd name="connsiteX117" fmla="*/ 2244275 w 4354450"/>
              <a:gd name="connsiteY117" fmla="*/ 4381324 h 4517685"/>
              <a:gd name="connsiteX118" fmla="*/ 2272684 w 4354450"/>
              <a:gd name="connsiteY118" fmla="*/ 4368539 h 4517685"/>
              <a:gd name="connsiteX119" fmla="*/ 1095150 w 4354450"/>
              <a:gd name="connsiteY119" fmla="*/ 4362858 h 4517685"/>
              <a:gd name="connsiteX120" fmla="*/ 1102251 w 4354450"/>
              <a:gd name="connsiteY120" fmla="*/ 4387006 h 4517685"/>
              <a:gd name="connsiteX121" fmla="*/ 1095150 w 4354450"/>
              <a:gd name="connsiteY121" fmla="*/ 4362858 h 4517685"/>
              <a:gd name="connsiteX122" fmla="*/ 1242873 w 4354450"/>
              <a:gd name="connsiteY122" fmla="*/ 4358597 h 4517685"/>
              <a:gd name="connsiteX123" fmla="*/ 1271282 w 4354450"/>
              <a:gd name="connsiteY123" fmla="*/ 4364279 h 4517685"/>
              <a:gd name="connsiteX124" fmla="*/ 1285486 w 4354450"/>
              <a:gd name="connsiteY124" fmla="*/ 4364279 h 4517685"/>
              <a:gd name="connsiteX125" fmla="*/ 1306793 w 4354450"/>
              <a:gd name="connsiteY125" fmla="*/ 4369960 h 4517685"/>
              <a:gd name="connsiteX126" fmla="*/ 1335202 w 4354450"/>
              <a:gd name="connsiteY126" fmla="*/ 4382744 h 4517685"/>
              <a:gd name="connsiteX127" fmla="*/ 1363610 w 4354450"/>
              <a:gd name="connsiteY127" fmla="*/ 4364279 h 4517685"/>
              <a:gd name="connsiteX128" fmla="*/ 1377815 w 4354450"/>
              <a:gd name="connsiteY128" fmla="*/ 4382744 h 4517685"/>
              <a:gd name="connsiteX129" fmla="*/ 1377815 w 4354450"/>
              <a:gd name="connsiteY129" fmla="*/ 4413994 h 4517685"/>
              <a:gd name="connsiteX130" fmla="*/ 1434632 w 4354450"/>
              <a:gd name="connsiteY130" fmla="*/ 4419675 h 4517685"/>
              <a:gd name="connsiteX131" fmla="*/ 1384916 w 4354450"/>
              <a:gd name="connsiteY131" fmla="*/ 4419675 h 4517685"/>
              <a:gd name="connsiteX132" fmla="*/ 1363610 w 4354450"/>
              <a:gd name="connsiteY132" fmla="*/ 4419675 h 4517685"/>
              <a:gd name="connsiteX133" fmla="*/ 1356507 w 4354450"/>
              <a:gd name="connsiteY133" fmla="*/ 4425356 h 4517685"/>
              <a:gd name="connsiteX134" fmla="*/ 1342303 w 4354450"/>
              <a:gd name="connsiteY134" fmla="*/ 4419675 h 4517685"/>
              <a:gd name="connsiteX135" fmla="*/ 1313895 w 4354450"/>
              <a:gd name="connsiteY135" fmla="*/ 4419675 h 4517685"/>
              <a:gd name="connsiteX136" fmla="*/ 1306793 w 4354450"/>
              <a:gd name="connsiteY136" fmla="*/ 4419675 h 4517685"/>
              <a:gd name="connsiteX137" fmla="*/ 1228669 w 4354450"/>
              <a:gd name="connsiteY137" fmla="*/ 4419675 h 4517685"/>
              <a:gd name="connsiteX138" fmla="*/ 1249976 w 4354450"/>
              <a:gd name="connsiteY138" fmla="*/ 4401210 h 4517685"/>
              <a:gd name="connsiteX139" fmla="*/ 1228669 w 4354450"/>
              <a:gd name="connsiteY139" fmla="*/ 4395528 h 4517685"/>
              <a:gd name="connsiteX140" fmla="*/ 1228669 w 4354450"/>
              <a:gd name="connsiteY140" fmla="*/ 4377062 h 4517685"/>
              <a:gd name="connsiteX141" fmla="*/ 1186056 w 4354450"/>
              <a:gd name="connsiteY141" fmla="*/ 4377062 h 4517685"/>
              <a:gd name="connsiteX142" fmla="*/ 1207363 w 4354450"/>
              <a:gd name="connsiteY142" fmla="*/ 4371382 h 4517685"/>
              <a:gd name="connsiteX143" fmla="*/ 1216761 w 4354450"/>
              <a:gd name="connsiteY143" fmla="*/ 4366882 h 4517685"/>
              <a:gd name="connsiteX144" fmla="*/ 1217305 w 4354450"/>
              <a:gd name="connsiteY144" fmla="*/ 4367118 h 4517685"/>
              <a:gd name="connsiteX145" fmla="*/ 1217180 w 4354450"/>
              <a:gd name="connsiteY145" fmla="*/ 4366683 h 4517685"/>
              <a:gd name="connsiteX146" fmla="*/ 1224053 w 4354450"/>
              <a:gd name="connsiteY146" fmla="*/ 4363391 h 4517685"/>
              <a:gd name="connsiteX147" fmla="*/ 1242873 w 4354450"/>
              <a:gd name="connsiteY147" fmla="*/ 4358597 h 4517685"/>
              <a:gd name="connsiteX148" fmla="*/ 1159069 w 4354450"/>
              <a:gd name="connsiteY148" fmla="*/ 4357177 h 4517685"/>
              <a:gd name="connsiteX149" fmla="*/ 1173273 w 4354450"/>
              <a:gd name="connsiteY149" fmla="*/ 4394107 h 4517685"/>
              <a:gd name="connsiteX150" fmla="*/ 1159069 w 4354450"/>
              <a:gd name="connsiteY150" fmla="*/ 4357177 h 4517685"/>
              <a:gd name="connsiteX151" fmla="*/ 1708775 w 4354450"/>
              <a:gd name="connsiteY151" fmla="*/ 4351494 h 4517685"/>
              <a:gd name="connsiteX152" fmla="*/ 1722979 w 4354450"/>
              <a:gd name="connsiteY152" fmla="*/ 4369960 h 4517685"/>
              <a:gd name="connsiteX153" fmla="*/ 1751388 w 4354450"/>
              <a:gd name="connsiteY153" fmla="*/ 4351494 h 4517685"/>
              <a:gd name="connsiteX154" fmla="*/ 1765592 w 4354450"/>
              <a:gd name="connsiteY154" fmla="*/ 4364279 h 4517685"/>
              <a:gd name="connsiteX155" fmla="*/ 1744285 w 4354450"/>
              <a:gd name="connsiteY155" fmla="*/ 4388425 h 4517685"/>
              <a:gd name="connsiteX156" fmla="*/ 1708775 w 4354450"/>
              <a:gd name="connsiteY156" fmla="*/ 4382744 h 4517685"/>
              <a:gd name="connsiteX157" fmla="*/ 1708775 w 4354450"/>
              <a:gd name="connsiteY157" fmla="*/ 4369960 h 4517685"/>
              <a:gd name="connsiteX158" fmla="*/ 1694571 w 4354450"/>
              <a:gd name="connsiteY158" fmla="*/ 4382744 h 4517685"/>
              <a:gd name="connsiteX159" fmla="*/ 1680366 w 4354450"/>
              <a:gd name="connsiteY159" fmla="*/ 4369960 h 4517685"/>
              <a:gd name="connsiteX160" fmla="*/ 1708775 w 4354450"/>
              <a:gd name="connsiteY160" fmla="*/ 4351494 h 4517685"/>
              <a:gd name="connsiteX161" fmla="*/ 1553947 w 4354450"/>
              <a:gd name="connsiteY161" fmla="*/ 4350074 h 4517685"/>
              <a:gd name="connsiteX162" fmla="*/ 1568152 w 4354450"/>
              <a:gd name="connsiteY162" fmla="*/ 4350074 h 4517685"/>
              <a:gd name="connsiteX163" fmla="*/ 1568152 w 4354450"/>
              <a:gd name="connsiteY163" fmla="*/ 4362858 h 4517685"/>
              <a:gd name="connsiteX164" fmla="*/ 1553947 w 4354450"/>
              <a:gd name="connsiteY164" fmla="*/ 4362858 h 4517685"/>
              <a:gd name="connsiteX165" fmla="*/ 1046854 w 4354450"/>
              <a:gd name="connsiteY165" fmla="*/ 4350074 h 4517685"/>
              <a:gd name="connsiteX166" fmla="*/ 1046854 w 4354450"/>
              <a:gd name="connsiteY166" fmla="*/ 4362858 h 4517685"/>
              <a:gd name="connsiteX167" fmla="*/ 1053957 w 4354450"/>
              <a:gd name="connsiteY167" fmla="*/ 4350074 h 4517685"/>
              <a:gd name="connsiteX168" fmla="*/ 1039753 w 4354450"/>
              <a:gd name="connsiteY168" fmla="*/ 4392687 h 4517685"/>
              <a:gd name="connsiteX169" fmla="*/ 1018445 w 4354450"/>
              <a:gd name="connsiteY169" fmla="*/ 4387006 h 4517685"/>
              <a:gd name="connsiteX170" fmla="*/ 1032650 w 4354450"/>
              <a:gd name="connsiteY170" fmla="*/ 4374221 h 4517685"/>
              <a:gd name="connsiteX171" fmla="*/ 1011344 w 4354450"/>
              <a:gd name="connsiteY171" fmla="*/ 4355756 h 4517685"/>
              <a:gd name="connsiteX172" fmla="*/ 1046854 w 4354450"/>
              <a:gd name="connsiteY172" fmla="*/ 4350074 h 4517685"/>
              <a:gd name="connsiteX173" fmla="*/ 1434632 w 4354450"/>
              <a:gd name="connsiteY173" fmla="*/ 4344393 h 4517685"/>
              <a:gd name="connsiteX174" fmla="*/ 1498550 w 4354450"/>
              <a:gd name="connsiteY174" fmla="*/ 4348653 h 4517685"/>
              <a:gd name="connsiteX175" fmla="*/ 1484346 w 4354450"/>
              <a:gd name="connsiteY175" fmla="*/ 4361438 h 4517685"/>
              <a:gd name="connsiteX176" fmla="*/ 1541163 w 4354450"/>
              <a:gd name="connsiteY176" fmla="*/ 4374221 h 4517685"/>
              <a:gd name="connsiteX177" fmla="*/ 1519857 w 4354450"/>
              <a:gd name="connsiteY177" fmla="*/ 4418255 h 4517685"/>
              <a:gd name="connsiteX178" fmla="*/ 1455937 w 4354450"/>
              <a:gd name="connsiteY178" fmla="*/ 4418255 h 4517685"/>
              <a:gd name="connsiteX179" fmla="*/ 1392019 w 4354450"/>
              <a:gd name="connsiteY179" fmla="*/ 4394107 h 4517685"/>
              <a:gd name="connsiteX180" fmla="*/ 1406223 w 4354450"/>
              <a:gd name="connsiteY180" fmla="*/ 4362858 h 4517685"/>
              <a:gd name="connsiteX181" fmla="*/ 1420427 w 4354450"/>
              <a:gd name="connsiteY181" fmla="*/ 4362858 h 4517685"/>
              <a:gd name="connsiteX182" fmla="*/ 1434632 w 4354450"/>
              <a:gd name="connsiteY182" fmla="*/ 4344393 h 4517685"/>
              <a:gd name="connsiteX183" fmla="*/ 2286888 w 4354450"/>
              <a:gd name="connsiteY183" fmla="*/ 4325926 h 4517685"/>
              <a:gd name="connsiteX184" fmla="*/ 2279785 w 4354450"/>
              <a:gd name="connsiteY184" fmla="*/ 4331608 h 4517685"/>
              <a:gd name="connsiteX185" fmla="*/ 2279785 w 4354450"/>
              <a:gd name="connsiteY185" fmla="*/ 4344391 h 4517685"/>
              <a:gd name="connsiteX186" fmla="*/ 2286888 w 4354450"/>
              <a:gd name="connsiteY186" fmla="*/ 4350074 h 4517685"/>
              <a:gd name="connsiteX187" fmla="*/ 2301093 w 4354450"/>
              <a:gd name="connsiteY187" fmla="*/ 4350074 h 4517685"/>
              <a:gd name="connsiteX188" fmla="*/ 2308194 w 4354450"/>
              <a:gd name="connsiteY188" fmla="*/ 4344391 h 4517685"/>
              <a:gd name="connsiteX189" fmla="*/ 2308194 w 4354450"/>
              <a:gd name="connsiteY189" fmla="*/ 4331608 h 4517685"/>
              <a:gd name="connsiteX190" fmla="*/ 2301093 w 4354450"/>
              <a:gd name="connsiteY190" fmla="*/ 4325926 h 4517685"/>
              <a:gd name="connsiteX191" fmla="*/ 1201681 w 4354450"/>
              <a:gd name="connsiteY191" fmla="*/ 4325926 h 4517685"/>
              <a:gd name="connsiteX192" fmla="*/ 1208785 w 4354450"/>
              <a:gd name="connsiteY192" fmla="*/ 4337290 h 4517685"/>
              <a:gd name="connsiteX193" fmla="*/ 1159069 w 4354450"/>
              <a:gd name="connsiteY193" fmla="*/ 4331608 h 4517685"/>
              <a:gd name="connsiteX194" fmla="*/ 1201681 w 4354450"/>
              <a:gd name="connsiteY194" fmla="*/ 4325926 h 4517685"/>
              <a:gd name="connsiteX195" fmla="*/ 1575255 w 4354450"/>
              <a:gd name="connsiteY195" fmla="*/ 4320935 h 4517685"/>
              <a:gd name="connsiteX196" fmla="*/ 1586618 w 4354450"/>
              <a:gd name="connsiteY196" fmla="*/ 4321488 h 4517685"/>
              <a:gd name="connsiteX197" fmla="*/ 1596561 w 4354450"/>
              <a:gd name="connsiteY197" fmla="*/ 4321797 h 4517685"/>
              <a:gd name="connsiteX198" fmla="*/ 1596561 w 4354450"/>
              <a:gd name="connsiteY198" fmla="*/ 4333029 h 4517685"/>
              <a:gd name="connsiteX199" fmla="*/ 1575255 w 4354450"/>
              <a:gd name="connsiteY199" fmla="*/ 4333029 h 4517685"/>
              <a:gd name="connsiteX200" fmla="*/ 1102251 w 4354450"/>
              <a:gd name="connsiteY200" fmla="*/ 4320245 h 4517685"/>
              <a:gd name="connsiteX201" fmla="*/ 1130660 w 4354450"/>
              <a:gd name="connsiteY201" fmla="*/ 4325926 h 4517685"/>
              <a:gd name="connsiteX202" fmla="*/ 1102251 w 4354450"/>
              <a:gd name="connsiteY202" fmla="*/ 4338711 h 4517685"/>
              <a:gd name="connsiteX203" fmla="*/ 1102251 w 4354450"/>
              <a:gd name="connsiteY203" fmla="*/ 4320245 h 4517685"/>
              <a:gd name="connsiteX204" fmla="*/ 1266587 w 4354450"/>
              <a:gd name="connsiteY204" fmla="*/ 4315860 h 4517685"/>
              <a:gd name="connsiteX205" fmla="*/ 1272348 w 4354450"/>
              <a:gd name="connsiteY205" fmla="*/ 4323442 h 4517685"/>
              <a:gd name="connsiteX206" fmla="*/ 1272703 w 4354450"/>
              <a:gd name="connsiteY206" fmla="*/ 4338711 h 4517685"/>
              <a:gd name="connsiteX207" fmla="*/ 1301111 w 4354450"/>
              <a:gd name="connsiteY207" fmla="*/ 4344393 h 4517685"/>
              <a:gd name="connsiteX208" fmla="*/ 1251397 w 4354450"/>
              <a:gd name="connsiteY208" fmla="*/ 4338711 h 4517685"/>
              <a:gd name="connsiteX209" fmla="*/ 1215886 w 4354450"/>
              <a:gd name="connsiteY209" fmla="*/ 4338711 h 4517685"/>
              <a:gd name="connsiteX210" fmla="*/ 1236482 w 4354450"/>
              <a:gd name="connsiteY210" fmla="*/ 4322377 h 4517685"/>
              <a:gd name="connsiteX211" fmla="*/ 1245532 w 4354450"/>
              <a:gd name="connsiteY211" fmla="*/ 4321521 h 4517685"/>
              <a:gd name="connsiteX212" fmla="*/ 1245693 w 4354450"/>
              <a:gd name="connsiteY212" fmla="*/ 4321666 h 4517685"/>
              <a:gd name="connsiteX213" fmla="*/ 1246582 w 4354450"/>
              <a:gd name="connsiteY213" fmla="*/ 4321421 h 4517685"/>
              <a:gd name="connsiteX214" fmla="*/ 1253839 w 4354450"/>
              <a:gd name="connsiteY214" fmla="*/ 4320735 h 4517685"/>
              <a:gd name="connsiteX215" fmla="*/ 1259080 w 4354450"/>
              <a:gd name="connsiteY215" fmla="*/ 4317985 h 4517685"/>
              <a:gd name="connsiteX216" fmla="*/ 1265069 w 4354450"/>
              <a:gd name="connsiteY216" fmla="*/ 4316339 h 4517685"/>
              <a:gd name="connsiteX217" fmla="*/ 968731 w 4354450"/>
              <a:gd name="connsiteY217" fmla="*/ 4307462 h 4517685"/>
              <a:gd name="connsiteX218" fmla="*/ 1025549 w 4354450"/>
              <a:gd name="connsiteY218" fmla="*/ 4313143 h 4517685"/>
              <a:gd name="connsiteX219" fmla="*/ 982936 w 4354450"/>
              <a:gd name="connsiteY219" fmla="*/ 4338711 h 4517685"/>
              <a:gd name="connsiteX220" fmla="*/ 968731 w 4354450"/>
              <a:gd name="connsiteY220" fmla="*/ 4307462 h 4517685"/>
              <a:gd name="connsiteX221" fmla="*/ 694590 w 4354450"/>
              <a:gd name="connsiteY221" fmla="*/ 4259167 h 4517685"/>
              <a:gd name="connsiteX222" fmla="*/ 687487 w 4354450"/>
              <a:gd name="connsiteY222" fmla="*/ 4264849 h 4517685"/>
              <a:gd name="connsiteX223" fmla="*/ 616465 w 4354450"/>
              <a:gd name="connsiteY223" fmla="*/ 4270531 h 4517685"/>
              <a:gd name="connsiteX224" fmla="*/ 659078 w 4354450"/>
              <a:gd name="connsiteY224" fmla="*/ 4276212 h 4517685"/>
              <a:gd name="connsiteX225" fmla="*/ 680385 w 4354450"/>
              <a:gd name="connsiteY225" fmla="*/ 4288995 h 4517685"/>
              <a:gd name="connsiteX226" fmla="*/ 680385 w 4354450"/>
              <a:gd name="connsiteY226" fmla="*/ 4325926 h 4517685"/>
              <a:gd name="connsiteX227" fmla="*/ 829529 w 4354450"/>
              <a:gd name="connsiteY227" fmla="*/ 4327348 h 4517685"/>
              <a:gd name="connsiteX228" fmla="*/ 794019 w 4354450"/>
              <a:gd name="connsiteY228" fmla="*/ 4321666 h 4517685"/>
              <a:gd name="connsiteX229" fmla="*/ 758508 w 4354450"/>
              <a:gd name="connsiteY229" fmla="*/ 4308881 h 4517685"/>
              <a:gd name="connsiteX230" fmla="*/ 744304 w 4354450"/>
              <a:gd name="connsiteY230" fmla="*/ 4314563 h 4517685"/>
              <a:gd name="connsiteX231" fmla="*/ 758508 w 4354450"/>
              <a:gd name="connsiteY231" fmla="*/ 4296098 h 4517685"/>
              <a:gd name="connsiteX232" fmla="*/ 808224 w 4354450"/>
              <a:gd name="connsiteY232" fmla="*/ 4296098 h 4517685"/>
              <a:gd name="connsiteX233" fmla="*/ 779815 w 4354450"/>
              <a:gd name="connsiteY233" fmla="*/ 4283314 h 4517685"/>
              <a:gd name="connsiteX234" fmla="*/ 779815 w 4354450"/>
              <a:gd name="connsiteY234" fmla="*/ 4264849 h 4517685"/>
              <a:gd name="connsiteX235" fmla="*/ 758508 w 4354450"/>
              <a:gd name="connsiteY235" fmla="*/ 4259167 h 4517685"/>
              <a:gd name="connsiteX236" fmla="*/ 715895 w 4354450"/>
              <a:gd name="connsiteY236" fmla="*/ 4264849 h 4517685"/>
              <a:gd name="connsiteX237" fmla="*/ 694590 w 4354450"/>
              <a:gd name="connsiteY237" fmla="*/ 4259167 h 4517685"/>
              <a:gd name="connsiteX238" fmla="*/ 294028 w 4354450"/>
              <a:gd name="connsiteY238" fmla="*/ 3669689 h 4517685"/>
              <a:gd name="connsiteX239" fmla="*/ 312494 w 4354450"/>
              <a:gd name="connsiteY239" fmla="*/ 3698097 h 4517685"/>
              <a:gd name="connsiteX240" fmla="*/ 288346 w 4354450"/>
              <a:gd name="connsiteY240" fmla="*/ 3705200 h 4517685"/>
              <a:gd name="connsiteX241" fmla="*/ 294028 w 4354450"/>
              <a:gd name="connsiteY241" fmla="*/ 3669689 h 4517685"/>
              <a:gd name="connsiteX242" fmla="*/ 120825 w 4354450"/>
              <a:gd name="connsiteY242" fmla="*/ 3095793 h 4517685"/>
              <a:gd name="connsiteX243" fmla="*/ 126417 w 4354450"/>
              <a:gd name="connsiteY243" fmla="*/ 3098678 h 4517685"/>
              <a:gd name="connsiteX244" fmla="*/ 113634 w 4354450"/>
              <a:gd name="connsiteY244" fmla="*/ 3105780 h 4517685"/>
              <a:gd name="connsiteX245" fmla="*/ 120825 w 4354450"/>
              <a:gd name="connsiteY245" fmla="*/ 3095793 h 4517685"/>
              <a:gd name="connsiteX246" fmla="*/ 281245 w 4354450"/>
              <a:gd name="connsiteY246" fmla="*/ 3063167 h 4517685"/>
              <a:gd name="connsiteX247" fmla="*/ 294028 w 4354450"/>
              <a:gd name="connsiteY247" fmla="*/ 3084474 h 4517685"/>
              <a:gd name="connsiteX248" fmla="*/ 281245 w 4354450"/>
              <a:gd name="connsiteY248" fmla="*/ 3063167 h 4517685"/>
              <a:gd name="connsiteX249" fmla="*/ 283264 w 4354450"/>
              <a:gd name="connsiteY249" fmla="*/ 3027989 h 4517685"/>
              <a:gd name="connsiteX250" fmla="*/ 294028 w 4354450"/>
              <a:gd name="connsiteY250" fmla="*/ 3034758 h 4517685"/>
              <a:gd name="connsiteX251" fmla="*/ 275563 w 4354450"/>
              <a:gd name="connsiteY251" fmla="*/ 3077371 h 4517685"/>
              <a:gd name="connsiteX252" fmla="*/ 257097 w 4354450"/>
              <a:gd name="connsiteY252" fmla="*/ 3048962 h 4517685"/>
              <a:gd name="connsiteX253" fmla="*/ 271835 w 4354450"/>
              <a:gd name="connsiteY253" fmla="*/ 3029609 h 4517685"/>
              <a:gd name="connsiteX254" fmla="*/ 283264 w 4354450"/>
              <a:gd name="connsiteY254" fmla="*/ 3027989 h 4517685"/>
              <a:gd name="connsiteX255" fmla="*/ 82385 w 4354450"/>
              <a:gd name="connsiteY255" fmla="*/ 2942431 h 4517685"/>
              <a:gd name="connsiteX256" fmla="*/ 95168 w 4354450"/>
              <a:gd name="connsiteY256" fmla="*/ 2942431 h 4517685"/>
              <a:gd name="connsiteX257" fmla="*/ 95168 w 4354450"/>
              <a:gd name="connsiteY257" fmla="*/ 2956636 h 4517685"/>
              <a:gd name="connsiteX258" fmla="*/ 82385 w 4354450"/>
              <a:gd name="connsiteY258" fmla="*/ 2956636 h 4517685"/>
              <a:gd name="connsiteX259" fmla="*/ 65340 w 4354450"/>
              <a:gd name="connsiteY259" fmla="*/ 2894137 h 4517685"/>
              <a:gd name="connsiteX260" fmla="*/ 83804 w 4354450"/>
              <a:gd name="connsiteY260" fmla="*/ 2894137 h 4517685"/>
              <a:gd name="connsiteX261" fmla="*/ 83804 w 4354450"/>
              <a:gd name="connsiteY261" fmla="*/ 2915442 h 4517685"/>
              <a:gd name="connsiteX262" fmla="*/ 65340 w 4354450"/>
              <a:gd name="connsiteY262" fmla="*/ 2908341 h 4517685"/>
              <a:gd name="connsiteX263" fmla="*/ 290832 w 4354450"/>
              <a:gd name="connsiteY263" fmla="*/ 2893781 h 4517685"/>
              <a:gd name="connsiteX264" fmla="*/ 294028 w 4354450"/>
              <a:gd name="connsiteY264" fmla="*/ 2922545 h 4517685"/>
              <a:gd name="connsiteX265" fmla="*/ 281245 w 4354450"/>
              <a:gd name="connsiteY265" fmla="*/ 2894137 h 4517685"/>
              <a:gd name="connsiteX266" fmla="*/ 290832 w 4354450"/>
              <a:gd name="connsiteY266" fmla="*/ 2893781 h 4517685"/>
              <a:gd name="connsiteX267" fmla="*/ 282664 w 4354450"/>
              <a:gd name="connsiteY267" fmla="*/ 2604370 h 4517685"/>
              <a:gd name="connsiteX268" fmla="*/ 295449 w 4354450"/>
              <a:gd name="connsiteY268" fmla="*/ 2632778 h 4517685"/>
              <a:gd name="connsiteX269" fmla="*/ 301131 w 4354450"/>
              <a:gd name="connsiteY269" fmla="*/ 2604370 h 4517685"/>
              <a:gd name="connsiteX270" fmla="*/ 325277 w 4354450"/>
              <a:gd name="connsiteY270" fmla="*/ 2639880 h 4517685"/>
              <a:gd name="connsiteX271" fmla="*/ 281245 w 4354450"/>
              <a:gd name="connsiteY271" fmla="*/ 2661186 h 4517685"/>
              <a:gd name="connsiteX272" fmla="*/ 282664 w 4354450"/>
              <a:gd name="connsiteY272" fmla="*/ 2604370 h 4517685"/>
              <a:gd name="connsiteX273" fmla="*/ 278359 w 4354450"/>
              <a:gd name="connsiteY273" fmla="*/ 2500612 h 4517685"/>
              <a:gd name="connsiteX274" fmla="*/ 288346 w 4354450"/>
              <a:gd name="connsiteY274" fmla="*/ 2547552 h 4517685"/>
              <a:gd name="connsiteX275" fmla="*/ 264200 w 4354450"/>
              <a:gd name="connsiteY275" fmla="*/ 2540449 h 4517685"/>
              <a:gd name="connsiteX276" fmla="*/ 269881 w 4354450"/>
              <a:gd name="connsiteY276" fmla="*/ 2504939 h 4517685"/>
              <a:gd name="connsiteX277" fmla="*/ 278359 w 4354450"/>
              <a:gd name="connsiteY277" fmla="*/ 2500612 h 4517685"/>
              <a:gd name="connsiteX278" fmla="*/ 330959 w 4354450"/>
              <a:gd name="connsiteY278" fmla="*/ 2470849 h 4517685"/>
              <a:gd name="connsiteX279" fmla="*/ 343743 w 4354450"/>
              <a:gd name="connsiteY279" fmla="*/ 2499258 h 4517685"/>
              <a:gd name="connsiteX280" fmla="*/ 330959 w 4354450"/>
              <a:gd name="connsiteY280" fmla="*/ 2520563 h 4517685"/>
              <a:gd name="connsiteX281" fmla="*/ 312494 w 4354450"/>
              <a:gd name="connsiteY281" fmla="*/ 2499258 h 4517685"/>
              <a:gd name="connsiteX282" fmla="*/ 330959 w 4354450"/>
              <a:gd name="connsiteY282" fmla="*/ 2470849 h 4517685"/>
              <a:gd name="connsiteX283" fmla="*/ 268460 w 4354450"/>
              <a:gd name="connsiteY283" fmla="*/ 2294715 h 4517685"/>
              <a:gd name="connsiteX284" fmla="*/ 281245 w 4354450"/>
              <a:gd name="connsiteY284" fmla="*/ 2316022 h 4517685"/>
              <a:gd name="connsiteX285" fmla="*/ 268460 w 4354450"/>
              <a:gd name="connsiteY285" fmla="*/ 2294715 h 4517685"/>
              <a:gd name="connsiteX286" fmla="*/ 275563 w 4354450"/>
              <a:gd name="connsiteY286" fmla="*/ 2266306 h 4517685"/>
              <a:gd name="connsiteX287" fmla="*/ 262778 w 4354450"/>
              <a:gd name="connsiteY287" fmla="*/ 2280510 h 4517685"/>
              <a:gd name="connsiteX288" fmla="*/ 275563 w 4354450"/>
              <a:gd name="connsiteY288" fmla="*/ 2266306 h 4517685"/>
              <a:gd name="connsiteX289" fmla="*/ 244314 w 4354450"/>
              <a:gd name="connsiteY289" fmla="*/ 2266306 h 4517685"/>
              <a:gd name="connsiteX290" fmla="*/ 244314 w 4354450"/>
              <a:gd name="connsiteY290" fmla="*/ 2280510 h 4517685"/>
              <a:gd name="connsiteX291" fmla="*/ 11363 w 4354450"/>
              <a:gd name="connsiteY291" fmla="*/ 2257783 h 4517685"/>
              <a:gd name="connsiteX292" fmla="*/ 11363 w 4354450"/>
              <a:gd name="connsiteY292" fmla="*/ 2350112 h 4517685"/>
              <a:gd name="connsiteX293" fmla="*/ 1420 w 4354450"/>
              <a:gd name="connsiteY293" fmla="*/ 2293295 h 4517685"/>
              <a:gd name="connsiteX294" fmla="*/ 11363 w 4354450"/>
              <a:gd name="connsiteY294" fmla="*/ 2257783 h 4517685"/>
              <a:gd name="connsiteX295" fmla="*/ 247821 w 4354450"/>
              <a:gd name="connsiteY295" fmla="*/ 2229732 h 4517685"/>
              <a:gd name="connsiteX296" fmla="*/ 257097 w 4354450"/>
              <a:gd name="connsiteY296" fmla="*/ 2230796 h 4517685"/>
              <a:gd name="connsiteX297" fmla="*/ 257097 w 4354450"/>
              <a:gd name="connsiteY297" fmla="*/ 2245001 h 4517685"/>
              <a:gd name="connsiteX298" fmla="*/ 251415 w 4354450"/>
              <a:gd name="connsiteY298" fmla="*/ 2252102 h 4517685"/>
              <a:gd name="connsiteX299" fmla="*/ 247821 w 4354450"/>
              <a:gd name="connsiteY299" fmla="*/ 2229732 h 4517685"/>
              <a:gd name="connsiteX300" fmla="*/ 305591 w 4354450"/>
              <a:gd name="connsiteY300" fmla="*/ 2218723 h 4517685"/>
              <a:gd name="connsiteX301" fmla="*/ 330959 w 4354450"/>
              <a:gd name="connsiteY301" fmla="*/ 2237897 h 4517685"/>
              <a:gd name="connsiteX302" fmla="*/ 306812 w 4354450"/>
              <a:gd name="connsiteY302" fmla="*/ 2245001 h 4517685"/>
              <a:gd name="connsiteX303" fmla="*/ 299709 w 4354450"/>
              <a:gd name="connsiteY303" fmla="*/ 2223693 h 4517685"/>
              <a:gd name="connsiteX304" fmla="*/ 305591 w 4354450"/>
              <a:gd name="connsiteY304" fmla="*/ 2218723 h 4517685"/>
              <a:gd name="connsiteX305" fmla="*/ 269881 w 4354450"/>
              <a:gd name="connsiteY305" fmla="*/ 2202388 h 4517685"/>
              <a:gd name="connsiteX306" fmla="*/ 264200 w 4354450"/>
              <a:gd name="connsiteY306" fmla="*/ 2230796 h 4517685"/>
              <a:gd name="connsiteX307" fmla="*/ 269881 w 4354450"/>
              <a:gd name="connsiteY307" fmla="*/ 2202388 h 4517685"/>
              <a:gd name="connsiteX308" fmla="*/ 199194 w 4354450"/>
              <a:gd name="connsiteY308" fmla="*/ 2152384 h 4517685"/>
              <a:gd name="connsiteX309" fmla="*/ 206495 w 4354450"/>
              <a:gd name="connsiteY309" fmla="*/ 2152851 h 4517685"/>
              <a:gd name="connsiteX310" fmla="*/ 220166 w 4354450"/>
              <a:gd name="connsiteY310" fmla="*/ 2159775 h 4517685"/>
              <a:gd name="connsiteX311" fmla="*/ 196019 w 4354450"/>
              <a:gd name="connsiteY311" fmla="*/ 2159775 h 4517685"/>
              <a:gd name="connsiteX312" fmla="*/ 199194 w 4354450"/>
              <a:gd name="connsiteY312" fmla="*/ 2152384 h 4517685"/>
              <a:gd name="connsiteX313" fmla="*/ 270281 w 4354450"/>
              <a:gd name="connsiteY313" fmla="*/ 2143795 h 4517685"/>
              <a:gd name="connsiteX314" fmla="*/ 281245 w 4354450"/>
              <a:gd name="connsiteY314" fmla="*/ 2145570 h 4517685"/>
              <a:gd name="connsiteX315" fmla="*/ 275563 w 4354450"/>
              <a:gd name="connsiteY315" fmla="*/ 2173979 h 4517685"/>
              <a:gd name="connsiteX316" fmla="*/ 244314 w 4354450"/>
              <a:gd name="connsiteY316" fmla="*/ 2173979 h 4517685"/>
              <a:gd name="connsiteX317" fmla="*/ 244314 w 4354450"/>
              <a:gd name="connsiteY317" fmla="*/ 2145570 h 4517685"/>
              <a:gd name="connsiteX318" fmla="*/ 257097 w 4354450"/>
              <a:gd name="connsiteY318" fmla="*/ 2159775 h 4517685"/>
              <a:gd name="connsiteX319" fmla="*/ 270281 w 4354450"/>
              <a:gd name="connsiteY319" fmla="*/ 2143795 h 4517685"/>
              <a:gd name="connsiteX320" fmla="*/ 19886 w 4354450"/>
              <a:gd name="connsiteY320" fmla="*/ 2142730 h 4517685"/>
              <a:gd name="connsiteX321" fmla="*/ 0 w 4354450"/>
              <a:gd name="connsiteY321" fmla="*/ 2165457 h 4517685"/>
              <a:gd name="connsiteX322" fmla="*/ 19886 w 4354450"/>
              <a:gd name="connsiteY322" fmla="*/ 2142730 h 4517685"/>
              <a:gd name="connsiteX323" fmla="*/ 275563 w 4354450"/>
              <a:gd name="connsiteY323" fmla="*/ 2061766 h 4517685"/>
              <a:gd name="connsiteX324" fmla="*/ 244314 w 4354450"/>
              <a:gd name="connsiteY324" fmla="*/ 2097276 h 4517685"/>
              <a:gd name="connsiteX325" fmla="*/ 275563 w 4354450"/>
              <a:gd name="connsiteY325" fmla="*/ 2061766 h 4517685"/>
              <a:gd name="connsiteX326" fmla="*/ 305391 w 4354450"/>
              <a:gd name="connsiteY326" fmla="*/ 2047562 h 4517685"/>
              <a:gd name="connsiteX327" fmla="*/ 311073 w 4354450"/>
              <a:gd name="connsiteY327" fmla="*/ 2097276 h 4517685"/>
              <a:gd name="connsiteX328" fmla="*/ 305391 w 4354450"/>
              <a:gd name="connsiteY328" fmla="*/ 2104379 h 4517685"/>
              <a:gd name="connsiteX329" fmla="*/ 299709 w 4354450"/>
              <a:gd name="connsiteY329" fmla="*/ 2111480 h 4517685"/>
              <a:gd name="connsiteX330" fmla="*/ 305391 w 4354450"/>
              <a:gd name="connsiteY330" fmla="*/ 2047562 h 4517685"/>
              <a:gd name="connsiteX331" fmla="*/ 335553 w 4354450"/>
              <a:gd name="connsiteY331" fmla="*/ 1906761 h 4517685"/>
              <a:gd name="connsiteX332" fmla="*/ 343743 w 4354450"/>
              <a:gd name="connsiteY332" fmla="*/ 1906938 h 4517685"/>
              <a:gd name="connsiteX333" fmla="*/ 362208 w 4354450"/>
              <a:gd name="connsiteY333" fmla="*/ 1935347 h 4517685"/>
              <a:gd name="connsiteX334" fmla="*/ 343743 w 4354450"/>
              <a:gd name="connsiteY334" fmla="*/ 1949551 h 4517685"/>
              <a:gd name="connsiteX335" fmla="*/ 362208 w 4354450"/>
              <a:gd name="connsiteY335" fmla="*/ 1977960 h 4517685"/>
              <a:gd name="connsiteX336" fmla="*/ 349425 w 4354450"/>
              <a:gd name="connsiteY336" fmla="*/ 1992164 h 4517685"/>
              <a:gd name="connsiteX337" fmla="*/ 325277 w 4354450"/>
              <a:gd name="connsiteY337" fmla="*/ 1970857 h 4517685"/>
              <a:gd name="connsiteX338" fmla="*/ 330959 w 4354450"/>
              <a:gd name="connsiteY338" fmla="*/ 1935347 h 4517685"/>
              <a:gd name="connsiteX339" fmla="*/ 343743 w 4354450"/>
              <a:gd name="connsiteY339" fmla="*/ 1935347 h 4517685"/>
              <a:gd name="connsiteX340" fmla="*/ 330959 w 4354450"/>
              <a:gd name="connsiteY340" fmla="*/ 1921143 h 4517685"/>
              <a:gd name="connsiteX341" fmla="*/ 335553 w 4354450"/>
              <a:gd name="connsiteY341" fmla="*/ 1906761 h 4517685"/>
              <a:gd name="connsiteX342" fmla="*/ 306812 w 4354450"/>
              <a:gd name="connsiteY342" fmla="*/ 1892734 h 4517685"/>
              <a:gd name="connsiteX343" fmla="*/ 319595 w 4354450"/>
              <a:gd name="connsiteY343" fmla="*/ 1906938 h 4517685"/>
              <a:gd name="connsiteX344" fmla="*/ 301131 w 4354450"/>
              <a:gd name="connsiteY344" fmla="*/ 1914040 h 4517685"/>
              <a:gd name="connsiteX345" fmla="*/ 306812 w 4354450"/>
              <a:gd name="connsiteY345" fmla="*/ 1892734 h 4517685"/>
              <a:gd name="connsiteX346" fmla="*/ 95168 w 4354450"/>
              <a:gd name="connsiteY346" fmla="*/ 1843018 h 4517685"/>
              <a:gd name="connsiteX347" fmla="*/ 95168 w 4354450"/>
              <a:gd name="connsiteY347" fmla="*/ 1843018 h 4517685"/>
              <a:gd name="connsiteX348" fmla="*/ 380675 w 4354450"/>
              <a:gd name="connsiteY348" fmla="*/ 1800406 h 4517685"/>
              <a:gd name="connsiteX349" fmla="*/ 385193 w 4354450"/>
              <a:gd name="connsiteY349" fmla="*/ 1800406 h 4517685"/>
              <a:gd name="connsiteX350" fmla="*/ 390439 w 4354450"/>
              <a:gd name="connsiteY350" fmla="*/ 1804845 h 4517685"/>
              <a:gd name="connsiteX351" fmla="*/ 393458 w 4354450"/>
              <a:gd name="connsiteY351" fmla="*/ 1801827 h 4517685"/>
              <a:gd name="connsiteX352" fmla="*/ 393458 w 4354450"/>
              <a:gd name="connsiteY352" fmla="*/ 1821713 h 4517685"/>
              <a:gd name="connsiteX353" fmla="*/ 380675 w 4354450"/>
              <a:gd name="connsiteY353" fmla="*/ 1821713 h 4517685"/>
              <a:gd name="connsiteX354" fmla="*/ 102271 w 4354450"/>
              <a:gd name="connsiteY354" fmla="*/ 1800406 h 4517685"/>
              <a:gd name="connsiteX355" fmla="*/ 102271 w 4354450"/>
              <a:gd name="connsiteY355" fmla="*/ 1807509 h 4517685"/>
              <a:gd name="connsiteX356" fmla="*/ 89486 w 4354450"/>
              <a:gd name="connsiteY356" fmla="*/ 1835917 h 4517685"/>
              <a:gd name="connsiteX357" fmla="*/ 102271 w 4354450"/>
              <a:gd name="connsiteY357" fmla="*/ 1800406 h 4517685"/>
              <a:gd name="connsiteX358" fmla="*/ 45454 w 4354450"/>
              <a:gd name="connsiteY358" fmla="*/ 1793304 h 4517685"/>
              <a:gd name="connsiteX359" fmla="*/ 45454 w 4354450"/>
              <a:gd name="connsiteY359" fmla="*/ 1938188 h 4517685"/>
              <a:gd name="connsiteX360" fmla="*/ 21306 w 4354450"/>
              <a:gd name="connsiteY360" fmla="*/ 1948132 h 4517685"/>
              <a:gd name="connsiteX361" fmla="*/ 45454 w 4354450"/>
              <a:gd name="connsiteY361" fmla="*/ 1969437 h 4517685"/>
              <a:gd name="connsiteX362" fmla="*/ 21306 w 4354450"/>
              <a:gd name="connsiteY362" fmla="*/ 1986482 h 4517685"/>
              <a:gd name="connsiteX363" fmla="*/ 14204 w 4354450"/>
              <a:gd name="connsiteY363" fmla="*/ 2044719 h 4517685"/>
              <a:gd name="connsiteX364" fmla="*/ 12783 w 4354450"/>
              <a:gd name="connsiteY364" fmla="*/ 1970857 h 4517685"/>
              <a:gd name="connsiteX365" fmla="*/ 14204 w 4354450"/>
              <a:gd name="connsiteY365" fmla="*/ 1919723 h 4517685"/>
              <a:gd name="connsiteX366" fmla="*/ 26987 w 4354450"/>
              <a:gd name="connsiteY366" fmla="*/ 1933927 h 4517685"/>
              <a:gd name="connsiteX367" fmla="*/ 32669 w 4354450"/>
              <a:gd name="connsiteY367" fmla="*/ 1881371 h 4517685"/>
              <a:gd name="connsiteX368" fmla="*/ 45454 w 4354450"/>
              <a:gd name="connsiteY368" fmla="*/ 1793304 h 4517685"/>
              <a:gd name="connsiteX369" fmla="*/ 349425 w 4354450"/>
              <a:gd name="connsiteY369" fmla="*/ 1779100 h 4517685"/>
              <a:gd name="connsiteX370" fmla="*/ 362208 w 4354450"/>
              <a:gd name="connsiteY370" fmla="*/ 1779100 h 4517685"/>
              <a:gd name="connsiteX371" fmla="*/ 362208 w 4354450"/>
              <a:gd name="connsiteY371" fmla="*/ 1793304 h 4517685"/>
              <a:gd name="connsiteX372" fmla="*/ 349425 w 4354450"/>
              <a:gd name="connsiteY372" fmla="*/ 1793304 h 4517685"/>
              <a:gd name="connsiteX373" fmla="*/ 325277 w 4354450"/>
              <a:gd name="connsiteY373" fmla="*/ 1771997 h 4517685"/>
              <a:gd name="connsiteX374" fmla="*/ 330959 w 4354450"/>
              <a:gd name="connsiteY374" fmla="*/ 1821713 h 4517685"/>
              <a:gd name="connsiteX375" fmla="*/ 325277 w 4354450"/>
              <a:gd name="connsiteY375" fmla="*/ 1771997 h 4517685"/>
              <a:gd name="connsiteX376" fmla="*/ 275563 w 4354450"/>
              <a:gd name="connsiteY376" fmla="*/ 1659784 h 4517685"/>
              <a:gd name="connsiteX377" fmla="*/ 269881 w 4354450"/>
              <a:gd name="connsiteY377" fmla="*/ 1695295 h 4517685"/>
              <a:gd name="connsiteX378" fmla="*/ 275563 w 4354450"/>
              <a:gd name="connsiteY378" fmla="*/ 1659784 h 4517685"/>
              <a:gd name="connsiteX379" fmla="*/ 98587 w 4354450"/>
              <a:gd name="connsiteY379" fmla="*/ 1659429 h 4517685"/>
              <a:gd name="connsiteX380" fmla="*/ 102271 w 4354450"/>
              <a:gd name="connsiteY380" fmla="*/ 1666887 h 4517685"/>
              <a:gd name="connsiteX381" fmla="*/ 102271 w 4354450"/>
              <a:gd name="connsiteY381" fmla="*/ 1702397 h 4517685"/>
              <a:gd name="connsiteX382" fmla="*/ 102271 w 4354450"/>
              <a:gd name="connsiteY382" fmla="*/ 1780521 h 4517685"/>
              <a:gd name="connsiteX383" fmla="*/ 102271 w 4354450"/>
              <a:gd name="connsiteY383" fmla="*/ 1759214 h 4517685"/>
              <a:gd name="connsiteX384" fmla="*/ 96589 w 4354450"/>
              <a:gd name="connsiteY384" fmla="*/ 1737908 h 4517685"/>
              <a:gd name="connsiteX385" fmla="*/ 102271 w 4354450"/>
              <a:gd name="connsiteY385" fmla="*/ 1730805 h 4517685"/>
              <a:gd name="connsiteX386" fmla="*/ 96589 w 4354450"/>
              <a:gd name="connsiteY386" fmla="*/ 1688193 h 4517685"/>
              <a:gd name="connsiteX387" fmla="*/ 96234 w 4354450"/>
              <a:gd name="connsiteY387" fmla="*/ 1665821 h 4517685"/>
              <a:gd name="connsiteX388" fmla="*/ 98587 w 4354450"/>
              <a:gd name="connsiteY388" fmla="*/ 1659429 h 4517685"/>
              <a:gd name="connsiteX389" fmla="*/ 58237 w 4354450"/>
              <a:gd name="connsiteY389" fmla="*/ 1624274 h 4517685"/>
              <a:gd name="connsiteX390" fmla="*/ 58237 w 4354450"/>
              <a:gd name="connsiteY390" fmla="*/ 1659784 h 4517685"/>
              <a:gd name="connsiteX391" fmla="*/ 34090 w 4354450"/>
              <a:gd name="connsiteY391" fmla="*/ 1645580 h 4517685"/>
              <a:gd name="connsiteX392" fmla="*/ 26987 w 4354450"/>
              <a:gd name="connsiteY392" fmla="*/ 1659784 h 4517685"/>
              <a:gd name="connsiteX393" fmla="*/ 58237 w 4354450"/>
              <a:gd name="connsiteY393" fmla="*/ 1624274 h 4517685"/>
              <a:gd name="connsiteX394" fmla="*/ 319595 w 4354450"/>
              <a:gd name="connsiteY394" fmla="*/ 1617171 h 4517685"/>
              <a:gd name="connsiteX395" fmla="*/ 350845 w 4354450"/>
              <a:gd name="connsiteY395" fmla="*/ 1631375 h 4517685"/>
              <a:gd name="connsiteX396" fmla="*/ 350845 w 4354450"/>
              <a:gd name="connsiteY396" fmla="*/ 1645580 h 4517685"/>
              <a:gd name="connsiteX397" fmla="*/ 369311 w 4354450"/>
              <a:gd name="connsiteY397" fmla="*/ 1659784 h 4517685"/>
              <a:gd name="connsiteX398" fmla="*/ 365049 w 4354450"/>
              <a:gd name="connsiteY398" fmla="*/ 1723704 h 4517685"/>
              <a:gd name="connsiteX399" fmla="*/ 352266 w 4354450"/>
              <a:gd name="connsiteY399" fmla="*/ 1709500 h 4517685"/>
              <a:gd name="connsiteX400" fmla="*/ 339481 w 4354450"/>
              <a:gd name="connsiteY400" fmla="*/ 1766317 h 4517685"/>
              <a:gd name="connsiteX401" fmla="*/ 295449 w 4354450"/>
              <a:gd name="connsiteY401" fmla="*/ 1745010 h 4517685"/>
              <a:gd name="connsiteX402" fmla="*/ 295449 w 4354450"/>
              <a:gd name="connsiteY402" fmla="*/ 1681091 h 4517685"/>
              <a:gd name="connsiteX403" fmla="*/ 319595 w 4354450"/>
              <a:gd name="connsiteY403" fmla="*/ 1617171 h 4517685"/>
              <a:gd name="connsiteX404" fmla="*/ 37286 w 4354450"/>
              <a:gd name="connsiteY404" fmla="*/ 1515255 h 4517685"/>
              <a:gd name="connsiteX405" fmla="*/ 58237 w 4354450"/>
              <a:gd name="connsiteY405" fmla="*/ 1519161 h 4517685"/>
              <a:gd name="connsiteX406" fmla="*/ 26987 w 4354450"/>
              <a:gd name="connsiteY406" fmla="*/ 1526264 h 4517685"/>
              <a:gd name="connsiteX407" fmla="*/ 37286 w 4354450"/>
              <a:gd name="connsiteY407" fmla="*/ 1515255 h 4517685"/>
              <a:gd name="connsiteX408" fmla="*/ 374993 w 4354450"/>
              <a:gd name="connsiteY408" fmla="*/ 1441038 h 4517685"/>
              <a:gd name="connsiteX409" fmla="*/ 399139 w 4354450"/>
              <a:gd name="connsiteY409" fmla="*/ 1490752 h 4517685"/>
              <a:gd name="connsiteX410" fmla="*/ 374993 w 4354450"/>
              <a:gd name="connsiteY410" fmla="*/ 1497855 h 4517685"/>
              <a:gd name="connsiteX411" fmla="*/ 369311 w 4354450"/>
              <a:gd name="connsiteY411" fmla="*/ 1526264 h 4517685"/>
              <a:gd name="connsiteX412" fmla="*/ 374993 w 4354450"/>
              <a:gd name="connsiteY412" fmla="*/ 1476548 h 4517685"/>
              <a:gd name="connsiteX413" fmla="*/ 374993 w 4354450"/>
              <a:gd name="connsiteY413" fmla="*/ 1441038 h 4517685"/>
              <a:gd name="connsiteX414" fmla="*/ 336641 w 4354450"/>
              <a:gd name="connsiteY414" fmla="*/ 1412630 h 4517685"/>
              <a:gd name="connsiteX415" fmla="*/ 342322 w 4354450"/>
              <a:gd name="connsiteY415" fmla="*/ 1433935 h 4517685"/>
              <a:gd name="connsiteX416" fmla="*/ 355107 w 4354450"/>
              <a:gd name="connsiteY416" fmla="*/ 1469447 h 4517685"/>
              <a:gd name="connsiteX417" fmla="*/ 349425 w 4354450"/>
              <a:gd name="connsiteY417" fmla="*/ 1497855 h 4517685"/>
              <a:gd name="connsiteX418" fmla="*/ 349425 w 4354450"/>
              <a:gd name="connsiteY418" fmla="*/ 1512060 h 4517685"/>
              <a:gd name="connsiteX419" fmla="*/ 343743 w 4354450"/>
              <a:gd name="connsiteY419" fmla="*/ 1533365 h 4517685"/>
              <a:gd name="connsiteX420" fmla="*/ 330959 w 4354450"/>
              <a:gd name="connsiteY420" fmla="*/ 1561774 h 4517685"/>
              <a:gd name="connsiteX421" fmla="*/ 349425 w 4354450"/>
              <a:gd name="connsiteY421" fmla="*/ 1590182 h 4517685"/>
              <a:gd name="connsiteX422" fmla="*/ 330959 w 4354450"/>
              <a:gd name="connsiteY422" fmla="*/ 1604387 h 4517685"/>
              <a:gd name="connsiteX423" fmla="*/ 299709 w 4354450"/>
              <a:gd name="connsiteY423" fmla="*/ 1604387 h 4517685"/>
              <a:gd name="connsiteX424" fmla="*/ 294028 w 4354450"/>
              <a:gd name="connsiteY424" fmla="*/ 1661204 h 4517685"/>
              <a:gd name="connsiteX425" fmla="*/ 294028 w 4354450"/>
              <a:gd name="connsiteY425" fmla="*/ 1611490 h 4517685"/>
              <a:gd name="connsiteX426" fmla="*/ 294028 w 4354450"/>
              <a:gd name="connsiteY426" fmla="*/ 1590182 h 4517685"/>
              <a:gd name="connsiteX427" fmla="*/ 288346 w 4354450"/>
              <a:gd name="connsiteY427" fmla="*/ 1583081 h 4517685"/>
              <a:gd name="connsiteX428" fmla="*/ 294028 w 4354450"/>
              <a:gd name="connsiteY428" fmla="*/ 1568877 h 4517685"/>
              <a:gd name="connsiteX429" fmla="*/ 294028 w 4354450"/>
              <a:gd name="connsiteY429" fmla="*/ 1540468 h 4517685"/>
              <a:gd name="connsiteX430" fmla="*/ 294028 w 4354450"/>
              <a:gd name="connsiteY430" fmla="*/ 1533365 h 4517685"/>
              <a:gd name="connsiteX431" fmla="*/ 294028 w 4354450"/>
              <a:gd name="connsiteY431" fmla="*/ 1455242 h 4517685"/>
              <a:gd name="connsiteX432" fmla="*/ 312494 w 4354450"/>
              <a:gd name="connsiteY432" fmla="*/ 1476548 h 4517685"/>
              <a:gd name="connsiteX433" fmla="*/ 318176 w 4354450"/>
              <a:gd name="connsiteY433" fmla="*/ 1455242 h 4517685"/>
              <a:gd name="connsiteX434" fmla="*/ 336641 w 4354450"/>
              <a:gd name="connsiteY434" fmla="*/ 1455242 h 4517685"/>
              <a:gd name="connsiteX435" fmla="*/ 58237 w 4354450"/>
              <a:gd name="connsiteY435" fmla="*/ 1405527 h 4517685"/>
              <a:gd name="connsiteX436" fmla="*/ 58237 w 4354450"/>
              <a:gd name="connsiteY436" fmla="*/ 1433935 h 4517685"/>
              <a:gd name="connsiteX437" fmla="*/ 58237 w 4354450"/>
              <a:gd name="connsiteY437" fmla="*/ 1405527 h 4517685"/>
              <a:gd name="connsiteX438" fmla="*/ 382094 w 4354450"/>
              <a:gd name="connsiteY438" fmla="*/ 1384221 h 4517685"/>
              <a:gd name="connsiteX439" fmla="*/ 387776 w 4354450"/>
              <a:gd name="connsiteY439" fmla="*/ 1426834 h 4517685"/>
              <a:gd name="connsiteX440" fmla="*/ 376413 w 4354450"/>
              <a:gd name="connsiteY440" fmla="*/ 1433935 h 4517685"/>
              <a:gd name="connsiteX441" fmla="*/ 382094 w 4354450"/>
              <a:gd name="connsiteY441" fmla="*/ 1384221 h 4517685"/>
              <a:gd name="connsiteX442" fmla="*/ 347761 w 4354450"/>
              <a:gd name="connsiteY442" fmla="*/ 1380248 h 4517685"/>
              <a:gd name="connsiteX443" fmla="*/ 356527 w 4354450"/>
              <a:gd name="connsiteY443" fmla="*/ 1384221 h 4517685"/>
              <a:gd name="connsiteX444" fmla="*/ 319595 w 4354450"/>
              <a:gd name="connsiteY444" fmla="*/ 1398425 h 4517685"/>
              <a:gd name="connsiteX445" fmla="*/ 337529 w 4354450"/>
              <a:gd name="connsiteY445" fmla="*/ 1383334 h 4517685"/>
              <a:gd name="connsiteX446" fmla="*/ 347761 w 4354450"/>
              <a:gd name="connsiteY446" fmla="*/ 1380248 h 4517685"/>
              <a:gd name="connsiteX447" fmla="*/ 378678 w 4354450"/>
              <a:gd name="connsiteY447" fmla="*/ 1323231 h 4517685"/>
              <a:gd name="connsiteX448" fmla="*/ 383161 w 4354450"/>
              <a:gd name="connsiteY448" fmla="*/ 1323498 h 4517685"/>
              <a:gd name="connsiteX449" fmla="*/ 393458 w 4354450"/>
              <a:gd name="connsiteY449" fmla="*/ 1328824 h 4517685"/>
              <a:gd name="connsiteX450" fmla="*/ 387776 w 4354450"/>
              <a:gd name="connsiteY450" fmla="*/ 1357232 h 4517685"/>
              <a:gd name="connsiteX451" fmla="*/ 374993 w 4354450"/>
              <a:gd name="connsiteY451" fmla="*/ 1328824 h 4517685"/>
              <a:gd name="connsiteX452" fmla="*/ 378678 w 4354450"/>
              <a:gd name="connsiteY452" fmla="*/ 1323231 h 4517685"/>
              <a:gd name="connsiteX453" fmla="*/ 336286 w 4354450"/>
              <a:gd name="connsiteY453" fmla="*/ 1317817 h 4517685"/>
              <a:gd name="connsiteX454" fmla="*/ 349425 w 4354450"/>
              <a:gd name="connsiteY454" fmla="*/ 1321722 h 4517685"/>
              <a:gd name="connsiteX455" fmla="*/ 325277 w 4354450"/>
              <a:gd name="connsiteY455" fmla="*/ 1328824 h 4517685"/>
              <a:gd name="connsiteX456" fmla="*/ 336286 w 4354450"/>
              <a:gd name="connsiteY456" fmla="*/ 1317817 h 4517685"/>
              <a:gd name="connsiteX457" fmla="*/ 83804 w 4354450"/>
              <a:gd name="connsiteY457" fmla="*/ 1314619 h 4517685"/>
              <a:gd name="connsiteX458" fmla="*/ 102271 w 4354450"/>
              <a:gd name="connsiteY458" fmla="*/ 1357232 h 4517685"/>
              <a:gd name="connsiteX459" fmla="*/ 83804 w 4354450"/>
              <a:gd name="connsiteY459" fmla="*/ 1314619 h 4517685"/>
              <a:gd name="connsiteX460" fmla="*/ 294028 w 4354450"/>
              <a:gd name="connsiteY460" fmla="*/ 1236497 h 4517685"/>
              <a:gd name="connsiteX461" fmla="*/ 294028 w 4354450"/>
              <a:gd name="connsiteY461" fmla="*/ 1250701 h 4517685"/>
              <a:gd name="connsiteX462" fmla="*/ 346052 w 4354450"/>
              <a:gd name="connsiteY462" fmla="*/ 1235432 h 4517685"/>
              <a:gd name="connsiteX463" fmla="*/ 356527 w 4354450"/>
              <a:gd name="connsiteY463" fmla="*/ 1236497 h 4517685"/>
              <a:gd name="connsiteX464" fmla="*/ 362208 w 4354450"/>
              <a:gd name="connsiteY464" fmla="*/ 1272007 h 4517685"/>
              <a:gd name="connsiteX465" fmla="*/ 349425 w 4354450"/>
              <a:gd name="connsiteY465" fmla="*/ 1272007 h 4517685"/>
              <a:gd name="connsiteX466" fmla="*/ 362208 w 4354450"/>
              <a:gd name="connsiteY466" fmla="*/ 1279109 h 4517685"/>
              <a:gd name="connsiteX467" fmla="*/ 319595 w 4354450"/>
              <a:gd name="connsiteY467" fmla="*/ 1264905 h 4517685"/>
              <a:gd name="connsiteX468" fmla="*/ 325277 w 4354450"/>
              <a:gd name="connsiteY468" fmla="*/ 1243598 h 4517685"/>
              <a:gd name="connsiteX469" fmla="*/ 338062 w 4354450"/>
              <a:gd name="connsiteY469" fmla="*/ 1257802 h 4517685"/>
              <a:gd name="connsiteX470" fmla="*/ 346052 w 4354450"/>
              <a:gd name="connsiteY470" fmla="*/ 1235432 h 4517685"/>
              <a:gd name="connsiteX471" fmla="*/ 102271 w 4354450"/>
              <a:gd name="connsiteY471" fmla="*/ 1229394 h 4517685"/>
              <a:gd name="connsiteX472" fmla="*/ 102271 w 4354450"/>
              <a:gd name="connsiteY472" fmla="*/ 1286211 h 4517685"/>
              <a:gd name="connsiteX473" fmla="*/ 102271 w 4354450"/>
              <a:gd name="connsiteY473" fmla="*/ 1229394 h 4517685"/>
              <a:gd name="connsiteX474" fmla="*/ 403483 w 4354450"/>
              <a:gd name="connsiteY474" fmla="*/ 1194260 h 4517685"/>
              <a:gd name="connsiteX475" fmla="*/ 403401 w 4354450"/>
              <a:gd name="connsiteY475" fmla="*/ 1195305 h 4517685"/>
              <a:gd name="connsiteX476" fmla="*/ 404723 w 4354450"/>
              <a:gd name="connsiteY476" fmla="*/ 1194289 h 4517685"/>
              <a:gd name="connsiteX477" fmla="*/ 401138 w 4354450"/>
              <a:gd name="connsiteY477" fmla="*/ 1208953 h 4517685"/>
              <a:gd name="connsiteX478" fmla="*/ 399139 w 4354450"/>
              <a:gd name="connsiteY478" fmla="*/ 1250701 h 4517685"/>
              <a:gd name="connsiteX479" fmla="*/ 373572 w 4354450"/>
              <a:gd name="connsiteY479" fmla="*/ 1208088 h 4517685"/>
              <a:gd name="connsiteX480" fmla="*/ 387066 w 4354450"/>
              <a:gd name="connsiteY480" fmla="*/ 1198856 h 4517685"/>
              <a:gd name="connsiteX481" fmla="*/ 89486 w 4354450"/>
              <a:gd name="connsiteY481" fmla="*/ 1193884 h 4517685"/>
              <a:gd name="connsiteX482" fmla="*/ 102271 w 4354450"/>
              <a:gd name="connsiteY482" fmla="*/ 1193884 h 4517685"/>
              <a:gd name="connsiteX483" fmla="*/ 102271 w 4354450"/>
              <a:gd name="connsiteY483" fmla="*/ 1208088 h 4517685"/>
              <a:gd name="connsiteX484" fmla="*/ 89486 w 4354450"/>
              <a:gd name="connsiteY484" fmla="*/ 1208088 h 4517685"/>
              <a:gd name="connsiteX485" fmla="*/ 338062 w 4354450"/>
              <a:gd name="connsiteY485" fmla="*/ 1129964 h 4517685"/>
              <a:gd name="connsiteX486" fmla="*/ 335221 w 4354450"/>
              <a:gd name="connsiteY486" fmla="*/ 1173998 h 4517685"/>
              <a:gd name="connsiteX487" fmla="*/ 316755 w 4354450"/>
              <a:gd name="connsiteY487" fmla="*/ 1169737 h 4517685"/>
              <a:gd name="connsiteX488" fmla="*/ 321017 w 4354450"/>
              <a:gd name="connsiteY488" fmla="*/ 1142748 h 4517685"/>
              <a:gd name="connsiteX489" fmla="*/ 338062 w 4354450"/>
              <a:gd name="connsiteY489" fmla="*/ 1129964 h 4517685"/>
              <a:gd name="connsiteX490" fmla="*/ 299709 w 4354450"/>
              <a:gd name="connsiteY490" fmla="*/ 1017751 h 4517685"/>
              <a:gd name="connsiteX491" fmla="*/ 299709 w 4354450"/>
              <a:gd name="connsiteY491" fmla="*/ 1088772 h 4517685"/>
              <a:gd name="connsiteX492" fmla="*/ 262778 w 4354450"/>
              <a:gd name="connsiteY492" fmla="*/ 1039058 h 4517685"/>
              <a:gd name="connsiteX493" fmla="*/ 299709 w 4354450"/>
              <a:gd name="connsiteY493" fmla="*/ 1017751 h 4517685"/>
              <a:gd name="connsiteX494" fmla="*/ 190337 w 4354450"/>
              <a:gd name="connsiteY494" fmla="*/ 1017751 h 4517685"/>
              <a:gd name="connsiteX495" fmla="*/ 190337 w 4354450"/>
              <a:gd name="connsiteY495" fmla="*/ 1031955 h 4517685"/>
              <a:gd name="connsiteX496" fmla="*/ 203120 w 4354450"/>
              <a:gd name="connsiteY496" fmla="*/ 1067466 h 4517685"/>
              <a:gd name="connsiteX497" fmla="*/ 171871 w 4354450"/>
              <a:gd name="connsiteY497" fmla="*/ 1060364 h 4517685"/>
              <a:gd name="connsiteX498" fmla="*/ 190337 w 4354450"/>
              <a:gd name="connsiteY498" fmla="*/ 1017751 h 4517685"/>
              <a:gd name="connsiteX499" fmla="*/ 142043 w 4354450"/>
              <a:gd name="connsiteY499" fmla="*/ 1010649 h 4517685"/>
              <a:gd name="connsiteX500" fmla="*/ 160508 w 4354450"/>
              <a:gd name="connsiteY500" fmla="*/ 1053262 h 4517685"/>
              <a:gd name="connsiteX501" fmla="*/ 142043 w 4354450"/>
              <a:gd name="connsiteY501" fmla="*/ 1067466 h 4517685"/>
              <a:gd name="connsiteX502" fmla="*/ 142043 w 4354450"/>
              <a:gd name="connsiteY502" fmla="*/ 1117181 h 4517685"/>
              <a:gd name="connsiteX503" fmla="*/ 129258 w 4354450"/>
              <a:gd name="connsiteY503" fmla="*/ 1060364 h 4517685"/>
              <a:gd name="connsiteX504" fmla="*/ 129258 w 4354450"/>
              <a:gd name="connsiteY504" fmla="*/ 1039058 h 4517685"/>
              <a:gd name="connsiteX505" fmla="*/ 129258 w 4354450"/>
              <a:gd name="connsiteY505" fmla="*/ 1017751 h 4517685"/>
              <a:gd name="connsiteX506" fmla="*/ 142043 w 4354450"/>
              <a:gd name="connsiteY506" fmla="*/ 1010649 h 4517685"/>
              <a:gd name="connsiteX507" fmla="*/ 154826 w 4354450"/>
              <a:gd name="connsiteY507" fmla="*/ 983660 h 4517685"/>
              <a:gd name="connsiteX508" fmla="*/ 173292 w 4354450"/>
              <a:gd name="connsiteY508" fmla="*/ 983660 h 4517685"/>
              <a:gd name="connsiteX509" fmla="*/ 173292 w 4354450"/>
              <a:gd name="connsiteY509" fmla="*/ 997865 h 4517685"/>
              <a:gd name="connsiteX510" fmla="*/ 154826 w 4354450"/>
              <a:gd name="connsiteY510" fmla="*/ 983660 h 4517685"/>
              <a:gd name="connsiteX511" fmla="*/ 210223 w 4354450"/>
              <a:gd name="connsiteY511" fmla="*/ 975138 h 4517685"/>
              <a:gd name="connsiteX512" fmla="*/ 215905 w 4354450"/>
              <a:gd name="connsiteY512" fmla="*/ 1010649 h 4517685"/>
              <a:gd name="connsiteX513" fmla="*/ 210223 w 4354450"/>
              <a:gd name="connsiteY513" fmla="*/ 975138 h 4517685"/>
              <a:gd name="connsiteX514" fmla="*/ 443172 w 4354450"/>
              <a:gd name="connsiteY514" fmla="*/ 841616 h 4517685"/>
              <a:gd name="connsiteX515" fmla="*/ 437490 w 4354450"/>
              <a:gd name="connsiteY515" fmla="*/ 884229 h 4517685"/>
              <a:gd name="connsiteX516" fmla="*/ 424707 w 4354450"/>
              <a:gd name="connsiteY516" fmla="*/ 905536 h 4517685"/>
              <a:gd name="connsiteX517" fmla="*/ 387776 w 4354450"/>
              <a:gd name="connsiteY517" fmla="*/ 905536 h 4517685"/>
              <a:gd name="connsiteX518" fmla="*/ 386355 w 4354450"/>
              <a:gd name="connsiteY518" fmla="*/ 1054680 h 4517685"/>
              <a:gd name="connsiteX519" fmla="*/ 392036 w 4354450"/>
              <a:gd name="connsiteY519" fmla="*/ 1019170 h 4517685"/>
              <a:gd name="connsiteX520" fmla="*/ 404821 w 4354450"/>
              <a:gd name="connsiteY520" fmla="*/ 983659 h 4517685"/>
              <a:gd name="connsiteX521" fmla="*/ 399139 w 4354450"/>
              <a:gd name="connsiteY521" fmla="*/ 969455 h 4517685"/>
              <a:gd name="connsiteX522" fmla="*/ 417604 w 4354450"/>
              <a:gd name="connsiteY522" fmla="*/ 983659 h 4517685"/>
              <a:gd name="connsiteX523" fmla="*/ 417604 w 4354450"/>
              <a:gd name="connsiteY523" fmla="*/ 1033375 h 4517685"/>
              <a:gd name="connsiteX524" fmla="*/ 430389 w 4354450"/>
              <a:gd name="connsiteY524" fmla="*/ 1004966 h 4517685"/>
              <a:gd name="connsiteX525" fmla="*/ 448854 w 4354450"/>
              <a:gd name="connsiteY525" fmla="*/ 1004966 h 4517685"/>
              <a:gd name="connsiteX526" fmla="*/ 454535 w 4354450"/>
              <a:gd name="connsiteY526" fmla="*/ 983659 h 4517685"/>
              <a:gd name="connsiteX527" fmla="*/ 448854 w 4354450"/>
              <a:gd name="connsiteY527" fmla="*/ 941046 h 4517685"/>
              <a:gd name="connsiteX528" fmla="*/ 454535 w 4354450"/>
              <a:gd name="connsiteY528" fmla="*/ 919740 h 4517685"/>
              <a:gd name="connsiteX529" fmla="*/ 448854 w 4354450"/>
              <a:gd name="connsiteY529" fmla="*/ 912638 h 4517685"/>
              <a:gd name="connsiteX530" fmla="*/ 443172 w 4354450"/>
              <a:gd name="connsiteY530" fmla="*/ 841616 h 4517685"/>
              <a:gd name="connsiteX531" fmla="*/ 225847 w 4354450"/>
              <a:gd name="connsiteY531" fmla="*/ 834515 h 4517685"/>
              <a:gd name="connsiteX532" fmla="*/ 220166 w 4354450"/>
              <a:gd name="connsiteY532" fmla="*/ 870026 h 4517685"/>
              <a:gd name="connsiteX533" fmla="*/ 225847 w 4354450"/>
              <a:gd name="connsiteY533" fmla="*/ 834515 h 4517685"/>
              <a:gd name="connsiteX534" fmla="*/ 75106 w 4354450"/>
              <a:gd name="connsiteY534" fmla="*/ 823151 h 4517685"/>
              <a:gd name="connsiteX535" fmla="*/ 76703 w 4354450"/>
              <a:gd name="connsiteY535" fmla="*/ 840196 h 4517685"/>
              <a:gd name="connsiteX536" fmla="*/ 75106 w 4354450"/>
              <a:gd name="connsiteY536" fmla="*/ 823151 h 4517685"/>
              <a:gd name="connsiteX537" fmla="*/ 76703 w 4354450"/>
              <a:gd name="connsiteY537" fmla="*/ 790482 h 4517685"/>
              <a:gd name="connsiteX538" fmla="*/ 76703 w 4354450"/>
              <a:gd name="connsiteY538" fmla="*/ 790482 h 4517685"/>
              <a:gd name="connsiteX539" fmla="*/ 194598 w 4354450"/>
              <a:gd name="connsiteY539" fmla="*/ 700994 h 4517685"/>
              <a:gd name="connsiteX540" fmla="*/ 194598 w 4354450"/>
              <a:gd name="connsiteY540" fmla="*/ 743607 h 4517685"/>
              <a:gd name="connsiteX541" fmla="*/ 194598 w 4354450"/>
              <a:gd name="connsiteY541" fmla="*/ 700994 h 4517685"/>
              <a:gd name="connsiteX542" fmla="*/ 100850 w 4354450"/>
              <a:gd name="connsiteY542" fmla="*/ 578838 h 4517685"/>
              <a:gd name="connsiteX543" fmla="*/ 76702 w 4354450"/>
              <a:gd name="connsiteY543" fmla="*/ 607246 h 4517685"/>
              <a:gd name="connsiteX544" fmla="*/ 102269 w 4354450"/>
              <a:gd name="connsiteY544" fmla="*/ 621451 h 4517685"/>
              <a:gd name="connsiteX545" fmla="*/ 107951 w 4354450"/>
              <a:gd name="connsiteY545" fmla="*/ 649859 h 4517685"/>
              <a:gd name="connsiteX546" fmla="*/ 107951 w 4354450"/>
              <a:gd name="connsiteY546" fmla="*/ 600145 h 4517685"/>
              <a:gd name="connsiteX547" fmla="*/ 113633 w 4354450"/>
              <a:gd name="connsiteY547" fmla="*/ 585941 h 4517685"/>
              <a:gd name="connsiteX548" fmla="*/ 100850 w 4354450"/>
              <a:gd name="connsiteY548" fmla="*/ 578838 h 4517685"/>
              <a:gd name="connsiteX549" fmla="*/ 92372 w 4354450"/>
              <a:gd name="connsiteY549" fmla="*/ 556467 h 4517685"/>
              <a:gd name="connsiteX550" fmla="*/ 95168 w 4354450"/>
              <a:gd name="connsiteY550" fmla="*/ 578838 h 4517685"/>
              <a:gd name="connsiteX551" fmla="*/ 100850 w 4354450"/>
              <a:gd name="connsiteY551" fmla="*/ 571736 h 4517685"/>
              <a:gd name="connsiteX552" fmla="*/ 100850 w 4354450"/>
              <a:gd name="connsiteY552" fmla="*/ 557532 h 4517685"/>
              <a:gd name="connsiteX553" fmla="*/ 92372 w 4354450"/>
              <a:gd name="connsiteY553" fmla="*/ 556467 h 4517685"/>
              <a:gd name="connsiteX554" fmla="*/ 455956 w 4354450"/>
              <a:gd name="connsiteY554" fmla="*/ 546170 h 4517685"/>
              <a:gd name="connsiteX555" fmla="*/ 455956 w 4354450"/>
              <a:gd name="connsiteY555" fmla="*/ 638496 h 4517685"/>
              <a:gd name="connsiteX556" fmla="*/ 468741 w 4354450"/>
              <a:gd name="connsiteY556" fmla="*/ 602986 h 4517685"/>
              <a:gd name="connsiteX557" fmla="*/ 474423 w 4354450"/>
              <a:gd name="connsiteY557" fmla="*/ 567476 h 4517685"/>
              <a:gd name="connsiteX558" fmla="*/ 455956 w 4354450"/>
              <a:gd name="connsiteY558" fmla="*/ 546170 h 4517685"/>
              <a:gd name="connsiteX559" fmla="*/ 419025 w 4354450"/>
              <a:gd name="connsiteY559" fmla="*/ 526284 h 4517685"/>
              <a:gd name="connsiteX560" fmla="*/ 406242 w 4354450"/>
              <a:gd name="connsiteY560" fmla="*/ 631394 h 4517685"/>
              <a:gd name="connsiteX561" fmla="*/ 400561 w 4354450"/>
              <a:gd name="connsiteY561" fmla="*/ 688211 h 4517685"/>
              <a:gd name="connsiteX562" fmla="*/ 406242 w 4354450"/>
              <a:gd name="connsiteY562" fmla="*/ 737927 h 4517685"/>
              <a:gd name="connsiteX563" fmla="*/ 400561 w 4354450"/>
              <a:gd name="connsiteY563" fmla="*/ 759233 h 4517685"/>
              <a:gd name="connsiteX564" fmla="*/ 394879 w 4354450"/>
              <a:gd name="connsiteY564" fmla="*/ 787641 h 4517685"/>
              <a:gd name="connsiteX565" fmla="*/ 413345 w 4354450"/>
              <a:gd name="connsiteY565" fmla="*/ 837357 h 4517685"/>
              <a:gd name="connsiteX566" fmla="*/ 413345 w 4354450"/>
              <a:gd name="connsiteY566" fmla="*/ 801846 h 4517685"/>
              <a:gd name="connsiteX567" fmla="*/ 431810 w 4354450"/>
              <a:gd name="connsiteY567" fmla="*/ 787641 h 4517685"/>
              <a:gd name="connsiteX568" fmla="*/ 444595 w 4354450"/>
              <a:gd name="connsiteY568" fmla="*/ 808948 h 4517685"/>
              <a:gd name="connsiteX569" fmla="*/ 463059 w 4354450"/>
              <a:gd name="connsiteY569" fmla="*/ 780540 h 4517685"/>
              <a:gd name="connsiteX570" fmla="*/ 475842 w 4354450"/>
              <a:gd name="connsiteY570" fmla="*/ 780540 h 4517685"/>
              <a:gd name="connsiteX571" fmla="*/ 444595 w 4354450"/>
              <a:gd name="connsiteY571" fmla="*/ 766336 h 4517685"/>
              <a:gd name="connsiteX572" fmla="*/ 413345 w 4354450"/>
              <a:gd name="connsiteY572" fmla="*/ 773437 h 4517685"/>
              <a:gd name="connsiteX573" fmla="*/ 419025 w 4354450"/>
              <a:gd name="connsiteY573" fmla="*/ 709519 h 4517685"/>
              <a:gd name="connsiteX574" fmla="*/ 468741 w 4354450"/>
              <a:gd name="connsiteY574" fmla="*/ 702416 h 4517685"/>
              <a:gd name="connsiteX575" fmla="*/ 455958 w 4354450"/>
              <a:gd name="connsiteY575" fmla="*/ 666906 h 4517685"/>
              <a:gd name="connsiteX576" fmla="*/ 468741 w 4354450"/>
              <a:gd name="connsiteY576" fmla="*/ 652702 h 4517685"/>
              <a:gd name="connsiteX577" fmla="*/ 444595 w 4354450"/>
              <a:gd name="connsiteY577" fmla="*/ 645599 h 4517685"/>
              <a:gd name="connsiteX578" fmla="*/ 419025 w 4354450"/>
              <a:gd name="connsiteY578" fmla="*/ 688211 h 4517685"/>
              <a:gd name="connsiteX579" fmla="*/ 419025 w 4354450"/>
              <a:gd name="connsiteY579" fmla="*/ 638497 h 4517685"/>
              <a:gd name="connsiteX580" fmla="*/ 437492 w 4354450"/>
              <a:gd name="connsiteY580" fmla="*/ 631394 h 4517685"/>
              <a:gd name="connsiteX581" fmla="*/ 437492 w 4354450"/>
              <a:gd name="connsiteY581" fmla="*/ 581680 h 4517685"/>
              <a:gd name="connsiteX582" fmla="*/ 419025 w 4354450"/>
              <a:gd name="connsiteY582" fmla="*/ 574577 h 4517685"/>
              <a:gd name="connsiteX583" fmla="*/ 437492 w 4354450"/>
              <a:gd name="connsiteY583" fmla="*/ 567477 h 4517685"/>
              <a:gd name="connsiteX584" fmla="*/ 419025 w 4354450"/>
              <a:gd name="connsiteY584" fmla="*/ 526284 h 4517685"/>
              <a:gd name="connsiteX585" fmla="*/ 95168 w 4354450"/>
              <a:gd name="connsiteY585" fmla="*/ 514919 h 4517685"/>
              <a:gd name="connsiteX586" fmla="*/ 95168 w 4354450"/>
              <a:gd name="connsiteY586" fmla="*/ 514919 h 4517685"/>
              <a:gd name="connsiteX587" fmla="*/ 356527 w 4354450"/>
              <a:gd name="connsiteY587" fmla="*/ 510657 h 4517685"/>
              <a:gd name="connsiteX588" fmla="*/ 356527 w 4354450"/>
              <a:gd name="connsiteY588" fmla="*/ 574577 h 4517685"/>
              <a:gd name="connsiteX589" fmla="*/ 356527 w 4354450"/>
              <a:gd name="connsiteY589" fmla="*/ 510657 h 4517685"/>
              <a:gd name="connsiteX590" fmla="*/ 419025 w 4354450"/>
              <a:gd name="connsiteY590" fmla="*/ 496454 h 4517685"/>
              <a:gd name="connsiteX591" fmla="*/ 437490 w 4354450"/>
              <a:gd name="connsiteY591" fmla="*/ 531966 h 4517685"/>
              <a:gd name="connsiteX592" fmla="*/ 419025 w 4354450"/>
              <a:gd name="connsiteY592" fmla="*/ 496454 h 4517685"/>
              <a:gd name="connsiteX593" fmla="*/ 474421 w 4354450"/>
              <a:gd name="connsiteY593" fmla="*/ 468046 h 4517685"/>
              <a:gd name="connsiteX594" fmla="*/ 468740 w 4354450"/>
              <a:gd name="connsiteY594" fmla="*/ 531966 h 4517685"/>
              <a:gd name="connsiteX595" fmla="*/ 474421 w 4354450"/>
              <a:gd name="connsiteY595" fmla="*/ 468046 h 4517685"/>
              <a:gd name="connsiteX596" fmla="*/ 205961 w 4354450"/>
              <a:gd name="connsiteY596" fmla="*/ 425433 h 4517685"/>
              <a:gd name="connsiteX597" fmla="*/ 187496 w 4354450"/>
              <a:gd name="connsiteY597" fmla="*/ 460946 h 4517685"/>
              <a:gd name="connsiteX598" fmla="*/ 181815 w 4354450"/>
              <a:gd name="connsiteY598" fmla="*/ 468047 h 4517685"/>
              <a:gd name="connsiteX599" fmla="*/ 176133 w 4354450"/>
              <a:gd name="connsiteY599" fmla="*/ 601565 h 4517685"/>
              <a:gd name="connsiteX600" fmla="*/ 205961 w 4354450"/>
              <a:gd name="connsiteY600" fmla="*/ 530545 h 4517685"/>
              <a:gd name="connsiteX601" fmla="*/ 205961 w 4354450"/>
              <a:gd name="connsiteY601" fmla="*/ 425433 h 4517685"/>
              <a:gd name="connsiteX602" fmla="*/ 281245 w 4354450"/>
              <a:gd name="connsiteY602" fmla="*/ 411229 h 4517685"/>
              <a:gd name="connsiteX603" fmla="*/ 275563 w 4354450"/>
              <a:gd name="connsiteY603" fmla="*/ 453840 h 4517685"/>
              <a:gd name="connsiteX604" fmla="*/ 269881 w 4354450"/>
              <a:gd name="connsiteY604" fmla="*/ 432536 h 4517685"/>
              <a:gd name="connsiteX605" fmla="*/ 238632 w 4354450"/>
              <a:gd name="connsiteY605" fmla="*/ 453840 h 4517685"/>
              <a:gd name="connsiteX606" fmla="*/ 244314 w 4354450"/>
              <a:gd name="connsiteY606" fmla="*/ 446740 h 4517685"/>
              <a:gd name="connsiteX607" fmla="*/ 281245 w 4354450"/>
              <a:gd name="connsiteY607" fmla="*/ 411229 h 4517685"/>
              <a:gd name="connsiteX608" fmla="*/ 205961 w 4354450"/>
              <a:gd name="connsiteY608" fmla="*/ 361514 h 4517685"/>
              <a:gd name="connsiteX609" fmla="*/ 181815 w 4354450"/>
              <a:gd name="connsiteY609" fmla="*/ 411232 h 4517685"/>
              <a:gd name="connsiteX610" fmla="*/ 205961 w 4354450"/>
              <a:gd name="connsiteY610" fmla="*/ 418333 h 4517685"/>
              <a:gd name="connsiteX611" fmla="*/ 205961 w 4354450"/>
              <a:gd name="connsiteY611" fmla="*/ 361514 h 4517685"/>
              <a:gd name="connsiteX612" fmla="*/ 113633 w 4354450"/>
              <a:gd name="connsiteY612" fmla="*/ 297596 h 4517685"/>
              <a:gd name="connsiteX613" fmla="*/ 107951 w 4354450"/>
              <a:gd name="connsiteY613" fmla="*/ 347312 h 4517685"/>
              <a:gd name="connsiteX614" fmla="*/ 126417 w 4354450"/>
              <a:gd name="connsiteY614" fmla="*/ 347312 h 4517685"/>
              <a:gd name="connsiteX615" fmla="*/ 113633 w 4354450"/>
              <a:gd name="connsiteY615" fmla="*/ 297596 h 4517685"/>
              <a:gd name="connsiteX616" fmla="*/ 478683 w 4354450"/>
              <a:gd name="connsiteY616" fmla="*/ 270609 h 4517685"/>
              <a:gd name="connsiteX617" fmla="*/ 434649 w 4354450"/>
              <a:gd name="connsiteY617" fmla="*/ 284813 h 4517685"/>
              <a:gd name="connsiteX618" fmla="*/ 460217 w 4354450"/>
              <a:gd name="connsiteY618" fmla="*/ 299017 h 4517685"/>
              <a:gd name="connsiteX619" fmla="*/ 454535 w 4354450"/>
              <a:gd name="connsiteY619" fmla="*/ 334527 h 4517685"/>
              <a:gd name="connsiteX620" fmla="*/ 454535 w 4354450"/>
              <a:gd name="connsiteY620" fmla="*/ 362934 h 4517685"/>
              <a:gd name="connsiteX621" fmla="*/ 448854 w 4354450"/>
              <a:gd name="connsiteY621" fmla="*/ 370037 h 4517685"/>
              <a:gd name="connsiteX622" fmla="*/ 443172 w 4354450"/>
              <a:gd name="connsiteY622" fmla="*/ 391343 h 4517685"/>
              <a:gd name="connsiteX623" fmla="*/ 443172 w 4354450"/>
              <a:gd name="connsiteY623" fmla="*/ 341628 h 4517685"/>
              <a:gd name="connsiteX624" fmla="*/ 421866 w 4354450"/>
              <a:gd name="connsiteY624" fmla="*/ 384241 h 4517685"/>
              <a:gd name="connsiteX625" fmla="*/ 434649 w 4354450"/>
              <a:gd name="connsiteY625" fmla="*/ 441060 h 4517685"/>
              <a:gd name="connsiteX626" fmla="*/ 447434 w 4354450"/>
              <a:gd name="connsiteY626" fmla="*/ 412650 h 4517685"/>
              <a:gd name="connsiteX627" fmla="*/ 460217 w 4354450"/>
              <a:gd name="connsiteY627" fmla="*/ 462366 h 4517685"/>
              <a:gd name="connsiteX628" fmla="*/ 473002 w 4354450"/>
              <a:gd name="connsiteY628" fmla="*/ 419754 h 4517685"/>
              <a:gd name="connsiteX629" fmla="*/ 478683 w 4354450"/>
              <a:gd name="connsiteY629" fmla="*/ 398446 h 4517685"/>
              <a:gd name="connsiteX630" fmla="*/ 473002 w 4354450"/>
              <a:gd name="connsiteY630" fmla="*/ 377140 h 4517685"/>
              <a:gd name="connsiteX631" fmla="*/ 473002 w 4354450"/>
              <a:gd name="connsiteY631" fmla="*/ 355833 h 4517685"/>
              <a:gd name="connsiteX632" fmla="*/ 473002 w 4354450"/>
              <a:gd name="connsiteY632" fmla="*/ 327424 h 4517685"/>
              <a:gd name="connsiteX633" fmla="*/ 473002 w 4354450"/>
              <a:gd name="connsiteY633" fmla="*/ 313220 h 4517685"/>
              <a:gd name="connsiteX634" fmla="*/ 473002 w 4354450"/>
              <a:gd name="connsiteY634" fmla="*/ 291914 h 4517685"/>
              <a:gd name="connsiteX635" fmla="*/ 478683 w 4354450"/>
              <a:gd name="connsiteY635" fmla="*/ 270609 h 4517685"/>
              <a:gd name="connsiteX636" fmla="*/ 119316 w 4354450"/>
              <a:gd name="connsiteY636" fmla="*/ 240782 h 4517685"/>
              <a:gd name="connsiteX637" fmla="*/ 113634 w 4354450"/>
              <a:gd name="connsiteY637" fmla="*/ 290495 h 4517685"/>
              <a:gd name="connsiteX638" fmla="*/ 124998 w 4354450"/>
              <a:gd name="connsiteY638" fmla="*/ 262088 h 4517685"/>
              <a:gd name="connsiteX639" fmla="*/ 119316 w 4354450"/>
              <a:gd name="connsiteY639" fmla="*/ 240782 h 4517685"/>
              <a:gd name="connsiteX640" fmla="*/ 126417 w 4354450"/>
              <a:gd name="connsiteY640" fmla="*/ 169758 h 4517685"/>
              <a:gd name="connsiteX641" fmla="*/ 133519 w 4354450"/>
              <a:gd name="connsiteY641" fmla="*/ 205266 h 4517685"/>
              <a:gd name="connsiteX642" fmla="*/ 120736 w 4354450"/>
              <a:gd name="connsiteY642" fmla="*/ 219470 h 4517685"/>
              <a:gd name="connsiteX643" fmla="*/ 126417 w 4354450"/>
              <a:gd name="connsiteY643" fmla="*/ 226575 h 4517685"/>
              <a:gd name="connsiteX644" fmla="*/ 139200 w 4354450"/>
              <a:gd name="connsiteY644" fmla="*/ 233674 h 4517685"/>
              <a:gd name="connsiteX645" fmla="*/ 126417 w 4354450"/>
              <a:gd name="connsiteY645" fmla="*/ 169758 h 4517685"/>
              <a:gd name="connsiteX646" fmla="*/ 393458 w 4354450"/>
              <a:gd name="connsiteY646" fmla="*/ 165495 h 4517685"/>
              <a:gd name="connsiteX647" fmla="*/ 369310 w 4354450"/>
              <a:gd name="connsiteY647" fmla="*/ 193904 h 4517685"/>
              <a:gd name="connsiteX648" fmla="*/ 393458 w 4354450"/>
              <a:gd name="connsiteY648" fmla="*/ 193904 h 4517685"/>
              <a:gd name="connsiteX649" fmla="*/ 249995 w 4354450"/>
              <a:gd name="connsiteY649" fmla="*/ 73167 h 4517685"/>
              <a:gd name="connsiteX650" fmla="*/ 244314 w 4354450"/>
              <a:gd name="connsiteY650" fmla="*/ 101579 h 4517685"/>
              <a:gd name="connsiteX651" fmla="*/ 249995 w 4354450"/>
              <a:gd name="connsiteY651" fmla="*/ 73167 h 4517685"/>
              <a:gd name="connsiteX652" fmla="*/ 486806 w 4354450"/>
              <a:gd name="connsiteY652" fmla="*/ 49996 h 4517685"/>
              <a:gd name="connsiteX653" fmla="*/ 474421 w 4354450"/>
              <a:gd name="connsiteY653" fmla="*/ 51860 h 4517685"/>
              <a:gd name="connsiteX654" fmla="*/ 461638 w 4354450"/>
              <a:gd name="connsiteY654" fmla="*/ 94473 h 4517685"/>
              <a:gd name="connsiteX655" fmla="*/ 494307 w 4354450"/>
              <a:gd name="connsiteY655" fmla="*/ 115780 h 4517685"/>
              <a:gd name="connsiteX656" fmla="*/ 481524 w 4354450"/>
              <a:gd name="connsiteY656" fmla="*/ 87371 h 4517685"/>
              <a:gd name="connsiteX657" fmla="*/ 499989 w 4354450"/>
              <a:gd name="connsiteY657" fmla="*/ 73165 h 4517685"/>
              <a:gd name="connsiteX658" fmla="*/ 486806 w 4354450"/>
              <a:gd name="connsiteY658" fmla="*/ 49996 h 4517685"/>
              <a:gd name="connsiteX659" fmla="*/ 163347 w 4354450"/>
              <a:gd name="connsiteY659" fmla="*/ 36236 h 4517685"/>
              <a:gd name="connsiteX660" fmla="*/ 144882 w 4354450"/>
              <a:gd name="connsiteY660" fmla="*/ 64644 h 4517685"/>
              <a:gd name="connsiteX661" fmla="*/ 139200 w 4354450"/>
              <a:gd name="connsiteY661" fmla="*/ 71746 h 4517685"/>
              <a:gd name="connsiteX662" fmla="*/ 139200 w 4354450"/>
              <a:gd name="connsiteY662" fmla="*/ 121465 h 4517685"/>
              <a:gd name="connsiteX663" fmla="*/ 144882 w 4354450"/>
              <a:gd name="connsiteY663" fmla="*/ 156973 h 4517685"/>
              <a:gd name="connsiteX664" fmla="*/ 150564 w 4354450"/>
              <a:gd name="connsiteY664" fmla="*/ 107257 h 4517685"/>
              <a:gd name="connsiteX665" fmla="*/ 163347 w 4354450"/>
              <a:gd name="connsiteY665" fmla="*/ 71746 h 4517685"/>
              <a:gd name="connsiteX666" fmla="*/ 157667 w 4354450"/>
              <a:gd name="connsiteY666" fmla="*/ 57541 h 4517685"/>
              <a:gd name="connsiteX667" fmla="*/ 163347 w 4354450"/>
              <a:gd name="connsiteY667" fmla="*/ 36236 h 4517685"/>
              <a:gd name="connsiteX668" fmla="*/ 142319 w 4354450"/>
              <a:gd name="connsiteY668" fmla="*/ 0 h 4517685"/>
              <a:gd name="connsiteX669" fmla="*/ 251415 w 4354450"/>
              <a:gd name="connsiteY669" fmla="*/ 0 h 4517685"/>
              <a:gd name="connsiteX670" fmla="*/ 251415 w 4354450"/>
              <a:gd name="connsiteY670" fmla="*/ 9250 h 4517685"/>
              <a:gd name="connsiteX671" fmla="*/ 258207 w 4354450"/>
              <a:gd name="connsiteY671" fmla="*/ 2856 h 4517685"/>
              <a:gd name="connsiteX672" fmla="*/ 255724 w 4354450"/>
              <a:gd name="connsiteY672" fmla="*/ 0 h 4517685"/>
              <a:gd name="connsiteX673" fmla="*/ 293654 w 4354450"/>
              <a:gd name="connsiteY673" fmla="*/ 0 h 4517685"/>
              <a:gd name="connsiteX674" fmla="*/ 293895 w 4354450"/>
              <a:gd name="connsiteY674" fmla="*/ 2769 h 4517685"/>
              <a:gd name="connsiteX675" fmla="*/ 323856 w 4354450"/>
              <a:gd name="connsiteY675" fmla="*/ 16351 h 4517685"/>
              <a:gd name="connsiteX676" fmla="*/ 318174 w 4354450"/>
              <a:gd name="connsiteY676" fmla="*/ 30554 h 4517685"/>
              <a:gd name="connsiteX677" fmla="*/ 318174 w 4354450"/>
              <a:gd name="connsiteY677" fmla="*/ 73167 h 4517685"/>
              <a:gd name="connsiteX678" fmla="*/ 294028 w 4354450"/>
              <a:gd name="connsiteY678" fmla="*/ 94473 h 4517685"/>
              <a:gd name="connsiteX679" fmla="*/ 329538 w 4354450"/>
              <a:gd name="connsiteY679" fmla="*/ 114359 h 4517685"/>
              <a:gd name="connsiteX680" fmla="*/ 337528 w 4354450"/>
              <a:gd name="connsiteY680" fmla="*/ 4499 h 4517685"/>
              <a:gd name="connsiteX681" fmla="*/ 337190 w 4354450"/>
              <a:gd name="connsiteY681" fmla="*/ 0 h 4517685"/>
              <a:gd name="connsiteX682" fmla="*/ 396763 w 4354450"/>
              <a:gd name="connsiteY682" fmla="*/ 0 h 4517685"/>
              <a:gd name="connsiteX683" fmla="*/ 399139 w 4354450"/>
              <a:gd name="connsiteY683" fmla="*/ 3565 h 4517685"/>
              <a:gd name="connsiteX684" fmla="*/ 407622 w 4354450"/>
              <a:gd name="connsiteY684" fmla="*/ 3304 h 4517685"/>
              <a:gd name="connsiteX685" fmla="*/ 408743 w 4354450"/>
              <a:gd name="connsiteY685" fmla="*/ 0 h 4517685"/>
              <a:gd name="connsiteX686" fmla="*/ 481660 w 4354450"/>
              <a:gd name="connsiteY686" fmla="*/ 0 h 4517685"/>
              <a:gd name="connsiteX687" fmla="*/ 478862 w 4354450"/>
              <a:gd name="connsiteY687" fmla="*/ 12621 h 4517685"/>
              <a:gd name="connsiteX688" fmla="*/ 487206 w 4354450"/>
              <a:gd name="connsiteY688" fmla="*/ 37656 h 4517685"/>
              <a:gd name="connsiteX689" fmla="*/ 492999 w 4354450"/>
              <a:gd name="connsiteY689" fmla="*/ 8294 h 4517685"/>
              <a:gd name="connsiteX690" fmla="*/ 492930 w 4354450"/>
              <a:gd name="connsiteY690" fmla="*/ 0 h 4517685"/>
              <a:gd name="connsiteX691" fmla="*/ 4354450 w 4354450"/>
              <a:gd name="connsiteY691" fmla="*/ 0 h 4517685"/>
              <a:gd name="connsiteX692" fmla="*/ 4354450 w 4354450"/>
              <a:gd name="connsiteY692" fmla="*/ 4300201 h 4517685"/>
              <a:gd name="connsiteX693" fmla="*/ 4343668 w 4354450"/>
              <a:gd name="connsiteY693" fmla="*/ 4299649 h 4517685"/>
              <a:gd name="connsiteX694" fmla="*/ 4315259 w 4354450"/>
              <a:gd name="connsiteY694" fmla="*/ 4290417 h 4517685"/>
              <a:gd name="connsiteX695" fmla="*/ 4293953 w 4354450"/>
              <a:gd name="connsiteY695" fmla="*/ 4308881 h 4517685"/>
              <a:gd name="connsiteX696" fmla="*/ 4244237 w 4354450"/>
              <a:gd name="connsiteY696" fmla="*/ 4303200 h 4517685"/>
              <a:gd name="connsiteX697" fmla="*/ 4237136 w 4354450"/>
              <a:gd name="connsiteY697" fmla="*/ 4303200 h 4517685"/>
              <a:gd name="connsiteX698" fmla="*/ 4230033 w 4354450"/>
              <a:gd name="connsiteY698" fmla="*/ 4297518 h 4517685"/>
              <a:gd name="connsiteX699" fmla="*/ 4187421 w 4354450"/>
              <a:gd name="connsiteY699" fmla="*/ 4303200 h 4517685"/>
              <a:gd name="connsiteX700" fmla="*/ 4159012 w 4354450"/>
              <a:gd name="connsiteY700" fmla="*/ 4297518 h 4517685"/>
              <a:gd name="connsiteX701" fmla="*/ 4137706 w 4354450"/>
              <a:gd name="connsiteY701" fmla="*/ 4303200 h 4517685"/>
              <a:gd name="connsiteX702" fmla="*/ 4052481 w 4354450"/>
              <a:gd name="connsiteY702" fmla="*/ 4315984 h 4517685"/>
              <a:gd name="connsiteX703" fmla="*/ 3864983 w 4354450"/>
              <a:gd name="connsiteY703" fmla="*/ 4313143 h 4517685"/>
              <a:gd name="connsiteX704" fmla="*/ 3850778 w 4354450"/>
              <a:gd name="connsiteY704" fmla="*/ 4325926 h 4517685"/>
              <a:gd name="connsiteX705" fmla="*/ 3786859 w 4354450"/>
              <a:gd name="connsiteY705" fmla="*/ 4325926 h 4517685"/>
              <a:gd name="connsiteX706" fmla="*/ 3758451 w 4354450"/>
              <a:gd name="connsiteY706" fmla="*/ 4313143 h 4517685"/>
              <a:gd name="connsiteX707" fmla="*/ 3722940 w 4354450"/>
              <a:gd name="connsiteY707" fmla="*/ 4325926 h 4517685"/>
              <a:gd name="connsiteX708" fmla="*/ 3708735 w 4354450"/>
              <a:gd name="connsiteY708" fmla="*/ 4338711 h 4517685"/>
              <a:gd name="connsiteX709" fmla="*/ 3673225 w 4354450"/>
              <a:gd name="connsiteY709" fmla="*/ 4333029 h 4517685"/>
              <a:gd name="connsiteX710" fmla="*/ 3644817 w 4354450"/>
              <a:gd name="connsiteY710" fmla="*/ 4338711 h 4517685"/>
              <a:gd name="connsiteX711" fmla="*/ 3637714 w 4354450"/>
              <a:gd name="connsiteY711" fmla="*/ 4333029 h 4517685"/>
              <a:gd name="connsiteX712" fmla="*/ 3595101 w 4354450"/>
              <a:gd name="connsiteY712" fmla="*/ 4333029 h 4517685"/>
              <a:gd name="connsiteX713" fmla="*/ 3489991 w 4354450"/>
              <a:gd name="connsiteY713" fmla="*/ 4327348 h 4517685"/>
              <a:gd name="connsiteX714" fmla="*/ 3482888 w 4354450"/>
              <a:gd name="connsiteY714" fmla="*/ 4333029 h 4517685"/>
              <a:gd name="connsiteX715" fmla="*/ 3475787 w 4354450"/>
              <a:gd name="connsiteY715" fmla="*/ 4327348 h 4517685"/>
              <a:gd name="connsiteX716" fmla="*/ 3411867 w 4354450"/>
              <a:gd name="connsiteY716" fmla="*/ 4333029 h 4517685"/>
              <a:gd name="connsiteX717" fmla="*/ 3376357 w 4354450"/>
              <a:gd name="connsiteY717" fmla="*/ 4327348 h 4517685"/>
              <a:gd name="connsiteX718" fmla="*/ 3362153 w 4354450"/>
              <a:gd name="connsiteY718" fmla="*/ 4333029 h 4517685"/>
              <a:gd name="connsiteX719" fmla="*/ 3340845 w 4354450"/>
              <a:gd name="connsiteY719" fmla="*/ 4327348 h 4517685"/>
              <a:gd name="connsiteX720" fmla="*/ 3319540 w 4354450"/>
              <a:gd name="connsiteY720" fmla="*/ 4345812 h 4517685"/>
              <a:gd name="connsiteX721" fmla="*/ 3284029 w 4354450"/>
              <a:gd name="connsiteY721" fmla="*/ 4333029 h 4517685"/>
              <a:gd name="connsiteX722" fmla="*/ 3184599 w 4354450"/>
              <a:gd name="connsiteY722" fmla="*/ 4345812 h 4517685"/>
              <a:gd name="connsiteX723" fmla="*/ 3163293 w 4354450"/>
              <a:gd name="connsiteY723" fmla="*/ 4358597 h 4517685"/>
              <a:gd name="connsiteX724" fmla="*/ 3163293 w 4354450"/>
              <a:gd name="connsiteY724" fmla="*/ 4340131 h 4517685"/>
              <a:gd name="connsiteX725" fmla="*/ 3099373 w 4354450"/>
              <a:gd name="connsiteY725" fmla="*/ 4352915 h 4517685"/>
              <a:gd name="connsiteX726" fmla="*/ 3078067 w 4354450"/>
              <a:gd name="connsiteY726" fmla="*/ 4340131 h 4517685"/>
              <a:gd name="connsiteX727" fmla="*/ 3056760 w 4354450"/>
              <a:gd name="connsiteY727" fmla="*/ 4345812 h 4517685"/>
              <a:gd name="connsiteX728" fmla="*/ 3021250 w 4354450"/>
              <a:gd name="connsiteY728" fmla="*/ 4351494 h 4517685"/>
              <a:gd name="connsiteX729" fmla="*/ 2992841 w 4354450"/>
              <a:gd name="connsiteY729" fmla="*/ 4364279 h 4517685"/>
              <a:gd name="connsiteX730" fmla="*/ 2971535 w 4354450"/>
              <a:gd name="connsiteY730" fmla="*/ 4351494 h 4517685"/>
              <a:gd name="connsiteX731" fmla="*/ 2964433 w 4354450"/>
              <a:gd name="connsiteY731" fmla="*/ 4369960 h 4517685"/>
              <a:gd name="connsiteX732" fmla="*/ 2943126 w 4354450"/>
              <a:gd name="connsiteY732" fmla="*/ 4351494 h 4517685"/>
              <a:gd name="connsiteX733" fmla="*/ 2921820 w 4354450"/>
              <a:gd name="connsiteY733" fmla="*/ 4351494 h 4517685"/>
              <a:gd name="connsiteX734" fmla="*/ 2865003 w 4354450"/>
              <a:gd name="connsiteY734" fmla="*/ 4369960 h 4517685"/>
              <a:gd name="connsiteX735" fmla="*/ 2857900 w 4354450"/>
              <a:gd name="connsiteY735" fmla="*/ 4345812 h 4517685"/>
              <a:gd name="connsiteX736" fmla="*/ 2793981 w 4354450"/>
              <a:gd name="connsiteY736" fmla="*/ 4340131 h 4517685"/>
              <a:gd name="connsiteX737" fmla="*/ 2765573 w 4354450"/>
              <a:gd name="connsiteY737" fmla="*/ 4358597 h 4517685"/>
              <a:gd name="connsiteX738" fmla="*/ 2744266 w 4354450"/>
              <a:gd name="connsiteY738" fmla="*/ 4352915 h 4517685"/>
              <a:gd name="connsiteX739" fmla="*/ 2737165 w 4354450"/>
              <a:gd name="connsiteY739" fmla="*/ 4377062 h 4517685"/>
              <a:gd name="connsiteX740" fmla="*/ 2701653 w 4354450"/>
              <a:gd name="connsiteY740" fmla="*/ 4377062 h 4517685"/>
              <a:gd name="connsiteX741" fmla="*/ 2680347 w 4354450"/>
              <a:gd name="connsiteY741" fmla="*/ 4371382 h 4517685"/>
              <a:gd name="connsiteX742" fmla="*/ 2694552 w 4354450"/>
              <a:gd name="connsiteY742" fmla="*/ 4352915 h 4517685"/>
              <a:gd name="connsiteX743" fmla="*/ 2602223 w 4354450"/>
              <a:gd name="connsiteY743" fmla="*/ 4377062 h 4517685"/>
              <a:gd name="connsiteX744" fmla="*/ 2602223 w 4354450"/>
              <a:gd name="connsiteY744" fmla="*/ 4358597 h 4517685"/>
              <a:gd name="connsiteX745" fmla="*/ 2580917 w 4354450"/>
              <a:gd name="connsiteY745" fmla="*/ 4377062 h 4517685"/>
              <a:gd name="connsiteX746" fmla="*/ 2566713 w 4354450"/>
              <a:gd name="connsiteY746" fmla="*/ 4364279 h 4517685"/>
              <a:gd name="connsiteX747" fmla="*/ 2545406 w 4354450"/>
              <a:gd name="connsiteY747" fmla="*/ 4351494 h 4517685"/>
              <a:gd name="connsiteX748" fmla="*/ 2502793 w 4354450"/>
              <a:gd name="connsiteY748" fmla="*/ 4364279 h 4517685"/>
              <a:gd name="connsiteX749" fmla="*/ 2495692 w 4354450"/>
              <a:gd name="connsiteY749" fmla="*/ 4340131 h 4517685"/>
              <a:gd name="connsiteX750" fmla="*/ 2453079 w 4354450"/>
              <a:gd name="connsiteY750" fmla="*/ 4345812 h 4517685"/>
              <a:gd name="connsiteX751" fmla="*/ 2438875 w 4354450"/>
              <a:gd name="connsiteY751" fmla="*/ 4364279 h 4517685"/>
              <a:gd name="connsiteX752" fmla="*/ 2403363 w 4354450"/>
              <a:gd name="connsiteY752" fmla="*/ 4358597 h 4517685"/>
              <a:gd name="connsiteX753" fmla="*/ 2389159 w 4354450"/>
              <a:gd name="connsiteY753" fmla="*/ 4371382 h 4517685"/>
              <a:gd name="connsiteX754" fmla="*/ 2374955 w 4354450"/>
              <a:gd name="connsiteY754" fmla="*/ 4347234 h 4517685"/>
              <a:gd name="connsiteX755" fmla="*/ 2346546 w 4354450"/>
              <a:gd name="connsiteY755" fmla="*/ 4371382 h 4517685"/>
              <a:gd name="connsiteX756" fmla="*/ 2325241 w 4354450"/>
              <a:gd name="connsiteY756" fmla="*/ 4365698 h 4517685"/>
              <a:gd name="connsiteX757" fmla="*/ 2318137 w 4354450"/>
              <a:gd name="connsiteY757" fmla="*/ 4371382 h 4517685"/>
              <a:gd name="connsiteX758" fmla="*/ 2303933 w 4354450"/>
              <a:gd name="connsiteY758" fmla="*/ 4365698 h 4517685"/>
              <a:gd name="connsiteX759" fmla="*/ 2282628 w 4354450"/>
              <a:gd name="connsiteY759" fmla="*/ 4371382 h 4517685"/>
              <a:gd name="connsiteX760" fmla="*/ 2275525 w 4354450"/>
              <a:gd name="connsiteY760" fmla="*/ 4358597 h 4517685"/>
              <a:gd name="connsiteX761" fmla="*/ 2247116 w 4354450"/>
              <a:gd name="connsiteY761" fmla="*/ 4358597 h 4517685"/>
              <a:gd name="connsiteX762" fmla="*/ 2254219 w 4354450"/>
              <a:gd name="connsiteY762" fmla="*/ 4340131 h 4517685"/>
              <a:gd name="connsiteX763" fmla="*/ 2161891 w 4354450"/>
              <a:gd name="connsiteY763" fmla="*/ 4340131 h 4517685"/>
              <a:gd name="connsiteX764" fmla="*/ 2140583 w 4354450"/>
              <a:gd name="connsiteY764" fmla="*/ 4345812 h 4517685"/>
              <a:gd name="connsiteX765" fmla="*/ 2119278 w 4354450"/>
              <a:gd name="connsiteY765" fmla="*/ 4364279 h 4517685"/>
              <a:gd name="connsiteX766" fmla="*/ 2062461 w 4354450"/>
              <a:gd name="connsiteY766" fmla="*/ 4358597 h 4517685"/>
              <a:gd name="connsiteX767" fmla="*/ 2034052 w 4354450"/>
              <a:gd name="connsiteY767" fmla="*/ 4345812 h 4517685"/>
              <a:gd name="connsiteX768" fmla="*/ 1998541 w 4354450"/>
              <a:gd name="connsiteY768" fmla="*/ 4345812 h 4517685"/>
              <a:gd name="connsiteX769" fmla="*/ 1977235 w 4354450"/>
              <a:gd name="connsiteY769" fmla="*/ 4358597 h 4517685"/>
              <a:gd name="connsiteX770" fmla="*/ 1963031 w 4354450"/>
              <a:gd name="connsiteY770" fmla="*/ 4340131 h 4517685"/>
              <a:gd name="connsiteX771" fmla="*/ 1934622 w 4354450"/>
              <a:gd name="connsiteY771" fmla="*/ 4358597 h 4517685"/>
              <a:gd name="connsiteX772" fmla="*/ 1920418 w 4354450"/>
              <a:gd name="connsiteY772" fmla="*/ 4340131 h 4517685"/>
              <a:gd name="connsiteX773" fmla="*/ 1899111 w 4354450"/>
              <a:gd name="connsiteY773" fmla="*/ 4327348 h 4517685"/>
              <a:gd name="connsiteX774" fmla="*/ 1884907 w 4354450"/>
              <a:gd name="connsiteY774" fmla="*/ 4351494 h 4517685"/>
              <a:gd name="connsiteX775" fmla="*/ 1863601 w 4354450"/>
              <a:gd name="connsiteY775" fmla="*/ 4357177 h 4517685"/>
              <a:gd name="connsiteX776" fmla="*/ 1863601 w 4354450"/>
              <a:gd name="connsiteY776" fmla="*/ 4381324 h 4517685"/>
              <a:gd name="connsiteX777" fmla="*/ 1835192 w 4354450"/>
              <a:gd name="connsiteY777" fmla="*/ 4375642 h 4517685"/>
              <a:gd name="connsiteX778" fmla="*/ 1856498 w 4354450"/>
              <a:gd name="connsiteY778" fmla="*/ 4369960 h 4517685"/>
              <a:gd name="connsiteX779" fmla="*/ 1842294 w 4354450"/>
              <a:gd name="connsiteY779" fmla="*/ 4333029 h 4517685"/>
              <a:gd name="connsiteX780" fmla="*/ 1835192 w 4354450"/>
              <a:gd name="connsiteY780" fmla="*/ 4358597 h 4517685"/>
              <a:gd name="connsiteX781" fmla="*/ 1785477 w 4354450"/>
              <a:gd name="connsiteY781" fmla="*/ 4314565 h 4517685"/>
              <a:gd name="connsiteX782" fmla="*/ 1764171 w 4354450"/>
              <a:gd name="connsiteY782" fmla="*/ 4333029 h 4517685"/>
              <a:gd name="connsiteX783" fmla="*/ 1742864 w 4354450"/>
              <a:gd name="connsiteY783" fmla="*/ 4338711 h 4517685"/>
              <a:gd name="connsiteX784" fmla="*/ 1714455 w 4354450"/>
              <a:gd name="connsiteY784" fmla="*/ 4333029 h 4517685"/>
              <a:gd name="connsiteX785" fmla="*/ 1678945 w 4354450"/>
              <a:gd name="connsiteY785" fmla="*/ 4333029 h 4517685"/>
              <a:gd name="connsiteX786" fmla="*/ 1664741 w 4354450"/>
              <a:gd name="connsiteY786" fmla="*/ 4314565 h 4517685"/>
              <a:gd name="connsiteX787" fmla="*/ 1657638 w 4354450"/>
              <a:gd name="connsiteY787" fmla="*/ 4333029 h 4517685"/>
              <a:gd name="connsiteX788" fmla="*/ 1636332 w 4354450"/>
              <a:gd name="connsiteY788" fmla="*/ 4320245 h 4517685"/>
              <a:gd name="connsiteX789" fmla="*/ 1615025 w 4354450"/>
              <a:gd name="connsiteY789" fmla="*/ 4338711 h 4517685"/>
              <a:gd name="connsiteX790" fmla="*/ 1607924 w 4354450"/>
              <a:gd name="connsiteY790" fmla="*/ 4314565 h 4517685"/>
              <a:gd name="connsiteX791" fmla="*/ 1601667 w 4354450"/>
              <a:gd name="connsiteY791" fmla="*/ 4321955 h 4517685"/>
              <a:gd name="connsiteX792" fmla="*/ 1596561 w 4354450"/>
              <a:gd name="connsiteY792" fmla="*/ 4321797 h 4517685"/>
              <a:gd name="connsiteX793" fmla="*/ 1596561 w 4354450"/>
              <a:gd name="connsiteY793" fmla="*/ 4320245 h 4517685"/>
              <a:gd name="connsiteX794" fmla="*/ 1575255 w 4354450"/>
              <a:gd name="connsiteY794" fmla="*/ 4320245 h 4517685"/>
              <a:gd name="connsiteX795" fmla="*/ 1575255 w 4354450"/>
              <a:gd name="connsiteY795" fmla="*/ 4320935 h 4517685"/>
              <a:gd name="connsiteX796" fmla="*/ 1571571 w 4354450"/>
              <a:gd name="connsiteY796" fmla="*/ 4320756 h 4517685"/>
              <a:gd name="connsiteX797" fmla="*/ 1565311 w 4354450"/>
              <a:gd name="connsiteY797" fmla="*/ 4327348 h 4517685"/>
              <a:gd name="connsiteX798" fmla="*/ 1565311 w 4354450"/>
              <a:gd name="connsiteY798" fmla="*/ 4340131 h 4517685"/>
              <a:gd name="connsiteX799" fmla="*/ 1544004 w 4354450"/>
              <a:gd name="connsiteY799" fmla="*/ 4321666 h 4517685"/>
              <a:gd name="connsiteX800" fmla="*/ 1515595 w 4354450"/>
              <a:gd name="connsiteY800" fmla="*/ 4327348 h 4517685"/>
              <a:gd name="connsiteX801" fmla="*/ 1494289 w 4354450"/>
              <a:gd name="connsiteY801" fmla="*/ 4340131 h 4517685"/>
              <a:gd name="connsiteX802" fmla="*/ 1487187 w 4354450"/>
              <a:gd name="connsiteY802" fmla="*/ 4315984 h 4517685"/>
              <a:gd name="connsiteX803" fmla="*/ 1458778 w 4354450"/>
              <a:gd name="connsiteY803" fmla="*/ 4334449 h 4517685"/>
              <a:gd name="connsiteX804" fmla="*/ 1416165 w 4354450"/>
              <a:gd name="connsiteY804" fmla="*/ 4347234 h 4517685"/>
              <a:gd name="connsiteX805" fmla="*/ 1387757 w 4354450"/>
              <a:gd name="connsiteY805" fmla="*/ 4334449 h 4517685"/>
              <a:gd name="connsiteX806" fmla="*/ 1401961 w 4354450"/>
              <a:gd name="connsiteY806" fmla="*/ 4321666 h 4517685"/>
              <a:gd name="connsiteX807" fmla="*/ 1394860 w 4354450"/>
              <a:gd name="connsiteY807" fmla="*/ 4308881 h 4517685"/>
              <a:gd name="connsiteX808" fmla="*/ 1373553 w 4354450"/>
              <a:gd name="connsiteY808" fmla="*/ 4296098 h 4517685"/>
              <a:gd name="connsiteX809" fmla="*/ 1330940 w 4354450"/>
              <a:gd name="connsiteY809" fmla="*/ 4296098 h 4517685"/>
              <a:gd name="connsiteX810" fmla="*/ 1302531 w 4354450"/>
              <a:gd name="connsiteY810" fmla="*/ 4308881 h 4517685"/>
              <a:gd name="connsiteX811" fmla="*/ 1295430 w 4354450"/>
              <a:gd name="connsiteY811" fmla="*/ 4321666 h 4517685"/>
              <a:gd name="connsiteX812" fmla="*/ 1283646 w 4354450"/>
              <a:gd name="connsiteY812" fmla="*/ 4310480 h 4517685"/>
              <a:gd name="connsiteX813" fmla="*/ 1266587 w 4354450"/>
              <a:gd name="connsiteY813" fmla="*/ 4315860 h 4517685"/>
              <a:gd name="connsiteX814" fmla="*/ 1265601 w 4354450"/>
              <a:gd name="connsiteY814" fmla="*/ 4314565 h 4517685"/>
              <a:gd name="connsiteX815" fmla="*/ 1259080 w 4354450"/>
              <a:gd name="connsiteY815" fmla="*/ 4317985 h 4517685"/>
              <a:gd name="connsiteX816" fmla="*/ 1246582 w 4354450"/>
              <a:gd name="connsiteY816" fmla="*/ 4321421 h 4517685"/>
              <a:gd name="connsiteX817" fmla="*/ 1245532 w 4354450"/>
              <a:gd name="connsiteY817" fmla="*/ 4321521 h 4517685"/>
              <a:gd name="connsiteX818" fmla="*/ 1231510 w 4354450"/>
              <a:gd name="connsiteY818" fmla="*/ 4308881 h 4517685"/>
              <a:gd name="connsiteX819" fmla="*/ 1259918 w 4354450"/>
              <a:gd name="connsiteY819" fmla="*/ 4296098 h 4517685"/>
              <a:gd name="connsiteX820" fmla="*/ 1203101 w 4354450"/>
              <a:gd name="connsiteY820" fmla="*/ 4314565 h 4517685"/>
              <a:gd name="connsiteX821" fmla="*/ 1196000 w 4354450"/>
              <a:gd name="connsiteY821" fmla="*/ 4296098 h 4517685"/>
              <a:gd name="connsiteX822" fmla="*/ 1167591 w 4354450"/>
              <a:gd name="connsiteY822" fmla="*/ 4296098 h 4517685"/>
              <a:gd name="connsiteX823" fmla="*/ 1160489 w 4354450"/>
              <a:gd name="connsiteY823" fmla="*/ 4290417 h 4517685"/>
              <a:gd name="connsiteX824" fmla="*/ 1117875 w 4354450"/>
              <a:gd name="connsiteY824" fmla="*/ 4296098 h 4517685"/>
              <a:gd name="connsiteX825" fmla="*/ 1089467 w 4354450"/>
              <a:gd name="connsiteY825" fmla="*/ 4290417 h 4517685"/>
              <a:gd name="connsiteX826" fmla="*/ 1039753 w 4354450"/>
              <a:gd name="connsiteY826" fmla="*/ 4296098 h 4517685"/>
              <a:gd name="connsiteX827" fmla="*/ 1018445 w 4354450"/>
              <a:gd name="connsiteY827" fmla="*/ 4290417 h 4517685"/>
              <a:gd name="connsiteX828" fmla="*/ 968731 w 4354450"/>
              <a:gd name="connsiteY828" fmla="*/ 4290417 h 4517685"/>
              <a:gd name="connsiteX829" fmla="*/ 961629 w 4354450"/>
              <a:gd name="connsiteY829" fmla="*/ 4284735 h 4517685"/>
              <a:gd name="connsiteX830" fmla="*/ 919016 w 4354450"/>
              <a:gd name="connsiteY830" fmla="*/ 4290417 h 4517685"/>
              <a:gd name="connsiteX831" fmla="*/ 890607 w 4354450"/>
              <a:gd name="connsiteY831" fmla="*/ 4284735 h 4517685"/>
              <a:gd name="connsiteX832" fmla="*/ 862199 w 4354450"/>
              <a:gd name="connsiteY832" fmla="*/ 4290417 h 4517685"/>
              <a:gd name="connsiteX833" fmla="*/ 819586 w 4354450"/>
              <a:gd name="connsiteY833" fmla="*/ 4296098 h 4517685"/>
              <a:gd name="connsiteX834" fmla="*/ 855097 w 4354450"/>
              <a:gd name="connsiteY834" fmla="*/ 4301780 h 4517685"/>
              <a:gd name="connsiteX835" fmla="*/ 947424 w 4354450"/>
              <a:gd name="connsiteY835" fmla="*/ 4301780 h 4517685"/>
              <a:gd name="connsiteX836" fmla="*/ 961629 w 4354450"/>
              <a:gd name="connsiteY836" fmla="*/ 4320245 h 4517685"/>
              <a:gd name="connsiteX837" fmla="*/ 940323 w 4354450"/>
              <a:gd name="connsiteY837" fmla="*/ 4338711 h 4517685"/>
              <a:gd name="connsiteX838" fmla="*/ 933220 w 4354450"/>
              <a:gd name="connsiteY838" fmla="*/ 4333029 h 4517685"/>
              <a:gd name="connsiteX839" fmla="*/ 855097 w 4354450"/>
              <a:gd name="connsiteY839" fmla="*/ 4327348 h 4517685"/>
              <a:gd name="connsiteX840" fmla="*/ 847994 w 4354450"/>
              <a:gd name="connsiteY840" fmla="*/ 4371382 h 4517685"/>
              <a:gd name="connsiteX841" fmla="*/ 805381 w 4354450"/>
              <a:gd name="connsiteY841" fmla="*/ 4389846 h 4517685"/>
              <a:gd name="connsiteX842" fmla="*/ 855097 w 4354450"/>
              <a:gd name="connsiteY842" fmla="*/ 4402630 h 4517685"/>
              <a:gd name="connsiteX843" fmla="*/ 798280 w 4354450"/>
              <a:gd name="connsiteY843" fmla="*/ 4408311 h 4517685"/>
              <a:gd name="connsiteX844" fmla="*/ 769871 w 4354450"/>
              <a:gd name="connsiteY844" fmla="*/ 4402630 h 4517685"/>
              <a:gd name="connsiteX845" fmla="*/ 776973 w 4354450"/>
              <a:gd name="connsiteY845" fmla="*/ 4358597 h 4517685"/>
              <a:gd name="connsiteX846" fmla="*/ 686067 w 4354450"/>
              <a:gd name="connsiteY846" fmla="*/ 4352915 h 4517685"/>
              <a:gd name="connsiteX847" fmla="*/ 629250 w 4354450"/>
              <a:gd name="connsiteY847" fmla="*/ 4358597 h 4517685"/>
              <a:gd name="connsiteX848" fmla="*/ 586636 w 4354450"/>
              <a:gd name="connsiteY848" fmla="*/ 4352915 h 4517685"/>
              <a:gd name="connsiteX849" fmla="*/ 579534 w 4354450"/>
              <a:gd name="connsiteY849" fmla="*/ 4358597 h 4517685"/>
              <a:gd name="connsiteX850" fmla="*/ 558227 w 4354450"/>
              <a:gd name="connsiteY850" fmla="*/ 4352915 h 4517685"/>
              <a:gd name="connsiteX851" fmla="*/ 529819 w 4354450"/>
              <a:gd name="connsiteY851" fmla="*/ 4358597 h 4517685"/>
              <a:gd name="connsiteX852" fmla="*/ 508513 w 4354450"/>
              <a:gd name="connsiteY852" fmla="*/ 4371382 h 4517685"/>
              <a:gd name="connsiteX853" fmla="*/ 536922 w 4354450"/>
              <a:gd name="connsiteY853" fmla="*/ 4389846 h 4517685"/>
              <a:gd name="connsiteX854" fmla="*/ 508513 w 4354450"/>
              <a:gd name="connsiteY854" fmla="*/ 4402630 h 4517685"/>
              <a:gd name="connsiteX855" fmla="*/ 551126 w 4354450"/>
              <a:gd name="connsiteY855" fmla="*/ 4421096 h 4517685"/>
              <a:gd name="connsiteX856" fmla="*/ 622147 w 4354450"/>
              <a:gd name="connsiteY856" fmla="*/ 4402630 h 4517685"/>
              <a:gd name="connsiteX857" fmla="*/ 643454 w 4354450"/>
              <a:gd name="connsiteY857" fmla="*/ 4365698 h 4517685"/>
              <a:gd name="connsiteX858" fmla="*/ 693169 w 4354450"/>
              <a:gd name="connsiteY858" fmla="*/ 4389846 h 4517685"/>
              <a:gd name="connsiteX859" fmla="*/ 664760 w 4354450"/>
              <a:gd name="connsiteY859" fmla="*/ 4413994 h 4517685"/>
              <a:gd name="connsiteX860" fmla="*/ 784076 w 4354450"/>
              <a:gd name="connsiteY860" fmla="*/ 4419675 h 4517685"/>
              <a:gd name="connsiteX861" fmla="*/ 748565 w 4354450"/>
              <a:gd name="connsiteY861" fmla="*/ 4443823 h 4517685"/>
              <a:gd name="connsiteX862" fmla="*/ 713054 w 4354450"/>
              <a:gd name="connsiteY862" fmla="*/ 4438141 h 4517685"/>
              <a:gd name="connsiteX863" fmla="*/ 642033 w 4354450"/>
              <a:gd name="connsiteY863" fmla="*/ 4438141 h 4517685"/>
              <a:gd name="connsiteX864" fmla="*/ 620726 w 4354450"/>
              <a:gd name="connsiteY864" fmla="*/ 4443823 h 4517685"/>
              <a:gd name="connsiteX865" fmla="*/ 606522 w 4354450"/>
              <a:gd name="connsiteY865" fmla="*/ 4438141 h 4517685"/>
              <a:gd name="connsiteX866" fmla="*/ 556807 w 4354450"/>
              <a:gd name="connsiteY866" fmla="*/ 4425356 h 4517685"/>
              <a:gd name="connsiteX867" fmla="*/ 528399 w 4354450"/>
              <a:gd name="connsiteY867" fmla="*/ 4438141 h 4517685"/>
              <a:gd name="connsiteX868" fmla="*/ 507092 w 4354450"/>
              <a:gd name="connsiteY868" fmla="*/ 4432459 h 4517685"/>
              <a:gd name="connsiteX869" fmla="*/ 499990 w 4354450"/>
              <a:gd name="connsiteY869" fmla="*/ 4445242 h 4517685"/>
              <a:gd name="connsiteX870" fmla="*/ 492888 w 4354450"/>
              <a:gd name="connsiteY870" fmla="*/ 4358597 h 4517685"/>
              <a:gd name="connsiteX871" fmla="*/ 457378 w 4354450"/>
              <a:gd name="connsiteY871" fmla="*/ 4333029 h 4517685"/>
              <a:gd name="connsiteX872" fmla="*/ 419030 w 4354450"/>
              <a:gd name="connsiteY872" fmla="*/ 4335955 h 4517685"/>
              <a:gd name="connsiteX873" fmla="*/ 418316 w 4354450"/>
              <a:gd name="connsiteY873" fmla="*/ 4318115 h 4517685"/>
              <a:gd name="connsiteX874" fmla="*/ 415114 w 4354450"/>
              <a:gd name="connsiteY874" fmla="*/ 4308507 h 4517685"/>
              <a:gd name="connsiteX875" fmla="*/ 438024 w 4354450"/>
              <a:gd name="connsiteY875" fmla="*/ 4310835 h 4517685"/>
              <a:gd name="connsiteX876" fmla="*/ 461638 w 4354450"/>
              <a:gd name="connsiteY876" fmla="*/ 4313143 h 4517685"/>
              <a:gd name="connsiteX877" fmla="*/ 511352 w 4354450"/>
              <a:gd name="connsiteY877" fmla="*/ 4307462 h 4517685"/>
              <a:gd name="connsiteX878" fmla="*/ 532660 w 4354450"/>
              <a:gd name="connsiteY878" fmla="*/ 4313143 h 4517685"/>
              <a:gd name="connsiteX879" fmla="*/ 561068 w 4354450"/>
              <a:gd name="connsiteY879" fmla="*/ 4318825 h 4517685"/>
              <a:gd name="connsiteX880" fmla="*/ 610782 w 4354450"/>
              <a:gd name="connsiteY880" fmla="*/ 4300359 h 4517685"/>
              <a:gd name="connsiteX881" fmla="*/ 575272 w 4354450"/>
              <a:gd name="connsiteY881" fmla="*/ 4300359 h 4517685"/>
              <a:gd name="connsiteX882" fmla="*/ 561068 w 4354450"/>
              <a:gd name="connsiteY882" fmla="*/ 4281894 h 4517685"/>
              <a:gd name="connsiteX883" fmla="*/ 582374 w 4354450"/>
              <a:gd name="connsiteY883" fmla="*/ 4269109 h 4517685"/>
              <a:gd name="connsiteX884" fmla="*/ 553965 w 4354450"/>
              <a:gd name="connsiteY884" fmla="*/ 4250645 h 4517685"/>
              <a:gd name="connsiteX885" fmla="*/ 553965 w 4354450"/>
              <a:gd name="connsiteY885" fmla="*/ 4237860 h 4517685"/>
              <a:gd name="connsiteX886" fmla="*/ 539761 w 4354450"/>
              <a:gd name="connsiteY886" fmla="*/ 4269109 h 4517685"/>
              <a:gd name="connsiteX887" fmla="*/ 546864 w 4354450"/>
              <a:gd name="connsiteY887" fmla="*/ 4300359 h 4517685"/>
              <a:gd name="connsiteX888" fmla="*/ 482944 w 4354450"/>
              <a:gd name="connsiteY888" fmla="*/ 4294677 h 4517685"/>
              <a:gd name="connsiteX889" fmla="*/ 475842 w 4354450"/>
              <a:gd name="connsiteY889" fmla="*/ 4244963 h 4517685"/>
              <a:gd name="connsiteX890" fmla="*/ 440331 w 4354450"/>
              <a:gd name="connsiteY890" fmla="*/ 4257746 h 4517685"/>
              <a:gd name="connsiteX891" fmla="*/ 426127 w 4354450"/>
              <a:gd name="connsiteY891" fmla="*/ 4244963 h 4517685"/>
              <a:gd name="connsiteX892" fmla="*/ 419025 w 4354450"/>
              <a:gd name="connsiteY892" fmla="*/ 4269109 h 4517685"/>
              <a:gd name="connsiteX893" fmla="*/ 461638 w 4354450"/>
              <a:gd name="connsiteY893" fmla="*/ 4294677 h 4517685"/>
              <a:gd name="connsiteX894" fmla="*/ 411922 w 4354450"/>
              <a:gd name="connsiteY894" fmla="*/ 4294677 h 4517685"/>
              <a:gd name="connsiteX895" fmla="*/ 407915 w 4354450"/>
              <a:gd name="connsiteY895" fmla="*/ 4284259 h 4517685"/>
              <a:gd name="connsiteX896" fmla="*/ 411460 w 4354450"/>
              <a:gd name="connsiteY896" fmla="*/ 4257759 h 4517685"/>
              <a:gd name="connsiteX897" fmla="*/ 411922 w 4354450"/>
              <a:gd name="connsiteY897" fmla="*/ 4257746 h 4517685"/>
              <a:gd name="connsiteX898" fmla="*/ 411606 w 4354450"/>
              <a:gd name="connsiteY898" fmla="*/ 4256662 h 4517685"/>
              <a:gd name="connsiteX899" fmla="*/ 412301 w 4354450"/>
              <a:gd name="connsiteY899" fmla="*/ 4251466 h 4517685"/>
              <a:gd name="connsiteX900" fmla="*/ 410503 w 4354450"/>
              <a:gd name="connsiteY900" fmla="*/ 4098659 h 4517685"/>
              <a:gd name="connsiteX901" fmla="*/ 397720 w 4354450"/>
              <a:gd name="connsiteY901" fmla="*/ 4084455 h 4517685"/>
              <a:gd name="connsiteX902" fmla="*/ 397720 w 4354450"/>
              <a:gd name="connsiteY902" fmla="*/ 4020535 h 4517685"/>
              <a:gd name="connsiteX903" fmla="*/ 410503 w 4354450"/>
              <a:gd name="connsiteY903" fmla="*/ 3992127 h 4517685"/>
              <a:gd name="connsiteX904" fmla="*/ 397720 w 4354450"/>
              <a:gd name="connsiteY904" fmla="*/ 3956617 h 4517685"/>
              <a:gd name="connsiteX905" fmla="*/ 384935 w 4354450"/>
              <a:gd name="connsiteY905" fmla="*/ 3942412 h 4517685"/>
              <a:gd name="connsiteX906" fmla="*/ 390617 w 4354450"/>
              <a:gd name="connsiteY906" fmla="*/ 3906901 h 4517685"/>
              <a:gd name="connsiteX907" fmla="*/ 384935 w 4354450"/>
              <a:gd name="connsiteY907" fmla="*/ 3878492 h 4517685"/>
              <a:gd name="connsiteX908" fmla="*/ 390617 w 4354450"/>
              <a:gd name="connsiteY908" fmla="*/ 3871391 h 4517685"/>
              <a:gd name="connsiteX909" fmla="*/ 390617 w 4354450"/>
              <a:gd name="connsiteY909" fmla="*/ 3828778 h 4517685"/>
              <a:gd name="connsiteX910" fmla="*/ 396299 w 4354450"/>
              <a:gd name="connsiteY910" fmla="*/ 3723667 h 4517685"/>
              <a:gd name="connsiteX911" fmla="*/ 390617 w 4354450"/>
              <a:gd name="connsiteY911" fmla="*/ 3716564 h 4517685"/>
              <a:gd name="connsiteX912" fmla="*/ 396299 w 4354450"/>
              <a:gd name="connsiteY912" fmla="*/ 3709462 h 4517685"/>
              <a:gd name="connsiteX913" fmla="*/ 390617 w 4354450"/>
              <a:gd name="connsiteY913" fmla="*/ 3645542 h 4517685"/>
              <a:gd name="connsiteX914" fmla="*/ 396299 w 4354450"/>
              <a:gd name="connsiteY914" fmla="*/ 3610032 h 4517685"/>
              <a:gd name="connsiteX915" fmla="*/ 390617 w 4354450"/>
              <a:gd name="connsiteY915" fmla="*/ 3595828 h 4517685"/>
              <a:gd name="connsiteX916" fmla="*/ 396299 w 4354450"/>
              <a:gd name="connsiteY916" fmla="*/ 3574521 h 4517685"/>
              <a:gd name="connsiteX917" fmla="*/ 377834 w 4354450"/>
              <a:gd name="connsiteY917" fmla="*/ 3553215 h 4517685"/>
              <a:gd name="connsiteX918" fmla="*/ 390617 w 4354450"/>
              <a:gd name="connsiteY918" fmla="*/ 3517704 h 4517685"/>
              <a:gd name="connsiteX919" fmla="*/ 377834 w 4354450"/>
              <a:gd name="connsiteY919" fmla="*/ 3418274 h 4517685"/>
              <a:gd name="connsiteX920" fmla="*/ 365049 w 4354450"/>
              <a:gd name="connsiteY920" fmla="*/ 3396968 h 4517685"/>
              <a:gd name="connsiteX921" fmla="*/ 383515 w 4354450"/>
              <a:gd name="connsiteY921" fmla="*/ 3396968 h 4517685"/>
              <a:gd name="connsiteX922" fmla="*/ 370731 w 4354450"/>
              <a:gd name="connsiteY922" fmla="*/ 3333048 h 4517685"/>
              <a:gd name="connsiteX923" fmla="*/ 383515 w 4354450"/>
              <a:gd name="connsiteY923" fmla="*/ 3311742 h 4517685"/>
              <a:gd name="connsiteX924" fmla="*/ 377834 w 4354450"/>
              <a:gd name="connsiteY924" fmla="*/ 3290435 h 4517685"/>
              <a:gd name="connsiteX925" fmla="*/ 372152 w 4354450"/>
              <a:gd name="connsiteY925" fmla="*/ 3254925 h 4517685"/>
              <a:gd name="connsiteX926" fmla="*/ 359367 w 4354450"/>
              <a:gd name="connsiteY926" fmla="*/ 3226517 h 4517685"/>
              <a:gd name="connsiteX927" fmla="*/ 372152 w 4354450"/>
              <a:gd name="connsiteY927" fmla="*/ 3205210 h 4517685"/>
              <a:gd name="connsiteX928" fmla="*/ 353686 w 4354450"/>
              <a:gd name="connsiteY928" fmla="*/ 3198108 h 4517685"/>
              <a:gd name="connsiteX929" fmla="*/ 372152 w 4354450"/>
              <a:gd name="connsiteY929" fmla="*/ 3176801 h 4517685"/>
              <a:gd name="connsiteX930" fmla="*/ 372152 w 4354450"/>
              <a:gd name="connsiteY930" fmla="*/ 3155495 h 4517685"/>
              <a:gd name="connsiteX931" fmla="*/ 353686 w 4354450"/>
              <a:gd name="connsiteY931" fmla="*/ 3098678 h 4517685"/>
              <a:gd name="connsiteX932" fmla="*/ 377834 w 4354450"/>
              <a:gd name="connsiteY932" fmla="*/ 3091575 h 4517685"/>
              <a:gd name="connsiteX933" fmla="*/ 383515 w 4354450"/>
              <a:gd name="connsiteY933" fmla="*/ 3027657 h 4517685"/>
              <a:gd name="connsiteX934" fmla="*/ 365049 w 4354450"/>
              <a:gd name="connsiteY934" fmla="*/ 2999248 h 4517685"/>
              <a:gd name="connsiteX935" fmla="*/ 370731 w 4354450"/>
              <a:gd name="connsiteY935" fmla="*/ 2977941 h 4517685"/>
              <a:gd name="connsiteX936" fmla="*/ 346584 w 4354450"/>
              <a:gd name="connsiteY936" fmla="*/ 2970840 h 4517685"/>
              <a:gd name="connsiteX937" fmla="*/ 346584 w 4354450"/>
              <a:gd name="connsiteY937" fmla="*/ 2935328 h 4517685"/>
              <a:gd name="connsiteX938" fmla="*/ 352266 w 4354450"/>
              <a:gd name="connsiteY938" fmla="*/ 2914023 h 4517685"/>
              <a:gd name="connsiteX939" fmla="*/ 370731 w 4354450"/>
              <a:gd name="connsiteY939" fmla="*/ 2928227 h 4517685"/>
              <a:gd name="connsiteX940" fmla="*/ 346584 w 4354450"/>
              <a:gd name="connsiteY940" fmla="*/ 2835898 h 4517685"/>
              <a:gd name="connsiteX941" fmla="*/ 365049 w 4354450"/>
              <a:gd name="connsiteY941" fmla="*/ 2835898 h 4517685"/>
              <a:gd name="connsiteX942" fmla="*/ 346584 w 4354450"/>
              <a:gd name="connsiteY942" fmla="*/ 2814593 h 4517685"/>
              <a:gd name="connsiteX943" fmla="*/ 359367 w 4354450"/>
              <a:gd name="connsiteY943" fmla="*/ 2800389 h 4517685"/>
              <a:gd name="connsiteX944" fmla="*/ 372152 w 4354450"/>
              <a:gd name="connsiteY944" fmla="*/ 2779081 h 4517685"/>
              <a:gd name="connsiteX945" fmla="*/ 359367 w 4354450"/>
              <a:gd name="connsiteY945" fmla="*/ 2736469 h 4517685"/>
              <a:gd name="connsiteX946" fmla="*/ 383515 w 4354450"/>
              <a:gd name="connsiteY946" fmla="*/ 2729367 h 4517685"/>
              <a:gd name="connsiteX947" fmla="*/ 377834 w 4354450"/>
              <a:gd name="connsiteY947" fmla="*/ 2686754 h 4517685"/>
              <a:gd name="connsiteX948" fmla="*/ 359367 w 4354450"/>
              <a:gd name="connsiteY948" fmla="*/ 2672550 h 4517685"/>
              <a:gd name="connsiteX949" fmla="*/ 365049 w 4354450"/>
              <a:gd name="connsiteY949" fmla="*/ 2637038 h 4517685"/>
              <a:gd name="connsiteX950" fmla="*/ 352266 w 4354450"/>
              <a:gd name="connsiteY950" fmla="*/ 2622834 h 4517685"/>
              <a:gd name="connsiteX951" fmla="*/ 376413 w 4354450"/>
              <a:gd name="connsiteY951" fmla="*/ 2608630 h 4517685"/>
              <a:gd name="connsiteX952" fmla="*/ 352266 w 4354450"/>
              <a:gd name="connsiteY952" fmla="*/ 2580221 h 4517685"/>
              <a:gd name="connsiteX953" fmla="*/ 357948 w 4354450"/>
              <a:gd name="connsiteY953" fmla="*/ 2558916 h 4517685"/>
              <a:gd name="connsiteX954" fmla="*/ 352266 w 4354450"/>
              <a:gd name="connsiteY954" fmla="*/ 2551813 h 4517685"/>
              <a:gd name="connsiteX955" fmla="*/ 357948 w 4354450"/>
              <a:gd name="connsiteY955" fmla="*/ 2537608 h 4517685"/>
              <a:gd name="connsiteX956" fmla="*/ 352266 w 4354450"/>
              <a:gd name="connsiteY956" fmla="*/ 2516303 h 4517685"/>
              <a:gd name="connsiteX957" fmla="*/ 365049 w 4354450"/>
              <a:gd name="connsiteY957" fmla="*/ 2509200 h 4517685"/>
              <a:gd name="connsiteX958" fmla="*/ 365049 w 4354450"/>
              <a:gd name="connsiteY958" fmla="*/ 2480792 h 4517685"/>
              <a:gd name="connsiteX959" fmla="*/ 383515 w 4354450"/>
              <a:gd name="connsiteY959" fmla="*/ 2487894 h 4517685"/>
              <a:gd name="connsiteX960" fmla="*/ 383515 w 4354450"/>
              <a:gd name="connsiteY960" fmla="*/ 2395566 h 4517685"/>
              <a:gd name="connsiteX961" fmla="*/ 377834 w 4354450"/>
              <a:gd name="connsiteY961" fmla="*/ 2374260 h 4517685"/>
              <a:gd name="connsiteX962" fmla="*/ 359367 w 4354450"/>
              <a:gd name="connsiteY962" fmla="*/ 2352953 h 4517685"/>
              <a:gd name="connsiteX963" fmla="*/ 365049 w 4354450"/>
              <a:gd name="connsiteY963" fmla="*/ 2296136 h 4517685"/>
              <a:gd name="connsiteX964" fmla="*/ 377834 w 4354450"/>
              <a:gd name="connsiteY964" fmla="*/ 2267727 h 4517685"/>
              <a:gd name="connsiteX965" fmla="*/ 377834 w 4354450"/>
              <a:gd name="connsiteY965" fmla="*/ 2232217 h 4517685"/>
              <a:gd name="connsiteX966" fmla="*/ 365049 w 4354450"/>
              <a:gd name="connsiteY966" fmla="*/ 2210910 h 4517685"/>
              <a:gd name="connsiteX967" fmla="*/ 383515 w 4354450"/>
              <a:gd name="connsiteY967" fmla="*/ 2196706 h 4517685"/>
              <a:gd name="connsiteX968" fmla="*/ 365049 w 4354450"/>
              <a:gd name="connsiteY968" fmla="*/ 2168297 h 4517685"/>
              <a:gd name="connsiteX969" fmla="*/ 383515 w 4354450"/>
              <a:gd name="connsiteY969" fmla="*/ 2154093 h 4517685"/>
              <a:gd name="connsiteX970" fmla="*/ 396299 w 4354450"/>
              <a:gd name="connsiteY970" fmla="*/ 2132787 h 4517685"/>
              <a:gd name="connsiteX971" fmla="*/ 372152 w 4354450"/>
              <a:gd name="connsiteY971" fmla="*/ 2118583 h 4517685"/>
              <a:gd name="connsiteX972" fmla="*/ 366470 w 4354450"/>
              <a:gd name="connsiteY972" fmla="*/ 2097276 h 4517685"/>
              <a:gd name="connsiteX973" fmla="*/ 342322 w 4354450"/>
              <a:gd name="connsiteY973" fmla="*/ 2097276 h 4517685"/>
              <a:gd name="connsiteX974" fmla="*/ 348004 w 4354450"/>
              <a:gd name="connsiteY974" fmla="*/ 2068867 h 4517685"/>
              <a:gd name="connsiteX975" fmla="*/ 353686 w 4354450"/>
              <a:gd name="connsiteY975" fmla="*/ 2090174 h 4517685"/>
              <a:gd name="connsiteX976" fmla="*/ 390617 w 4354450"/>
              <a:gd name="connsiteY976" fmla="*/ 2075970 h 4517685"/>
              <a:gd name="connsiteX977" fmla="*/ 365049 w 4354450"/>
              <a:gd name="connsiteY977" fmla="*/ 2068867 h 4517685"/>
              <a:gd name="connsiteX978" fmla="*/ 409083 w 4354450"/>
              <a:gd name="connsiteY978" fmla="*/ 2019153 h 4517685"/>
              <a:gd name="connsiteX979" fmla="*/ 390617 w 4354450"/>
              <a:gd name="connsiteY979" fmla="*/ 1997846 h 4517685"/>
              <a:gd name="connsiteX980" fmla="*/ 384935 w 4354450"/>
              <a:gd name="connsiteY980" fmla="*/ 1976540 h 4517685"/>
              <a:gd name="connsiteX981" fmla="*/ 390617 w 4354450"/>
              <a:gd name="connsiteY981" fmla="*/ 1948132 h 4517685"/>
              <a:gd name="connsiteX982" fmla="*/ 390617 w 4354450"/>
              <a:gd name="connsiteY982" fmla="*/ 1912620 h 4517685"/>
              <a:gd name="connsiteX983" fmla="*/ 409083 w 4354450"/>
              <a:gd name="connsiteY983" fmla="*/ 1898416 h 4517685"/>
              <a:gd name="connsiteX984" fmla="*/ 390617 w 4354450"/>
              <a:gd name="connsiteY984" fmla="*/ 1891315 h 4517685"/>
              <a:gd name="connsiteX985" fmla="*/ 403401 w 4354450"/>
              <a:gd name="connsiteY985" fmla="*/ 1870007 h 4517685"/>
              <a:gd name="connsiteX986" fmla="*/ 384935 w 4354450"/>
              <a:gd name="connsiteY986" fmla="*/ 1848702 h 4517685"/>
              <a:gd name="connsiteX987" fmla="*/ 409083 w 4354450"/>
              <a:gd name="connsiteY987" fmla="*/ 1841599 h 4517685"/>
              <a:gd name="connsiteX988" fmla="*/ 396299 w 4354450"/>
              <a:gd name="connsiteY988" fmla="*/ 1798986 h 4517685"/>
              <a:gd name="connsiteX989" fmla="*/ 393458 w 4354450"/>
              <a:gd name="connsiteY989" fmla="*/ 1801827 h 4517685"/>
              <a:gd name="connsiteX990" fmla="*/ 393458 w 4354450"/>
              <a:gd name="connsiteY990" fmla="*/ 1800406 h 4517685"/>
              <a:gd name="connsiteX991" fmla="*/ 385193 w 4354450"/>
              <a:gd name="connsiteY991" fmla="*/ 1800406 h 4517685"/>
              <a:gd name="connsiteX992" fmla="*/ 383515 w 4354450"/>
              <a:gd name="connsiteY992" fmla="*/ 1798986 h 4517685"/>
              <a:gd name="connsiteX993" fmla="*/ 401980 w 4354450"/>
              <a:gd name="connsiteY993" fmla="*/ 1777680 h 4517685"/>
              <a:gd name="connsiteX994" fmla="*/ 396299 w 4354450"/>
              <a:gd name="connsiteY994" fmla="*/ 1749272 h 4517685"/>
              <a:gd name="connsiteX995" fmla="*/ 383515 w 4354450"/>
              <a:gd name="connsiteY995" fmla="*/ 1727965 h 4517685"/>
              <a:gd name="connsiteX996" fmla="*/ 407662 w 4354450"/>
              <a:gd name="connsiteY996" fmla="*/ 1720863 h 4517685"/>
              <a:gd name="connsiteX997" fmla="*/ 389197 w 4354450"/>
              <a:gd name="connsiteY997" fmla="*/ 1692455 h 4517685"/>
              <a:gd name="connsiteX998" fmla="*/ 376413 w 4354450"/>
              <a:gd name="connsiteY998" fmla="*/ 1649842 h 4517685"/>
              <a:gd name="connsiteX999" fmla="*/ 389197 w 4354450"/>
              <a:gd name="connsiteY999" fmla="*/ 1621433 h 4517685"/>
              <a:gd name="connsiteX1000" fmla="*/ 401980 w 4354450"/>
              <a:gd name="connsiteY1000" fmla="*/ 1635638 h 4517685"/>
              <a:gd name="connsiteX1001" fmla="*/ 414765 w 4354450"/>
              <a:gd name="connsiteY1001" fmla="*/ 1628535 h 4517685"/>
              <a:gd name="connsiteX1002" fmla="*/ 427548 w 4354450"/>
              <a:gd name="connsiteY1002" fmla="*/ 1607229 h 4517685"/>
              <a:gd name="connsiteX1003" fmla="*/ 427548 w 4354450"/>
              <a:gd name="connsiteY1003" fmla="*/ 1564616 h 4517685"/>
              <a:gd name="connsiteX1004" fmla="*/ 414765 w 4354450"/>
              <a:gd name="connsiteY1004" fmla="*/ 1536208 h 4517685"/>
              <a:gd name="connsiteX1005" fmla="*/ 401980 w 4354450"/>
              <a:gd name="connsiteY1005" fmla="*/ 1529105 h 4517685"/>
              <a:gd name="connsiteX1006" fmla="*/ 414765 w 4354450"/>
              <a:gd name="connsiteY1006" fmla="*/ 1465186 h 4517685"/>
              <a:gd name="connsiteX1007" fmla="*/ 427548 w 4354450"/>
              <a:gd name="connsiteY1007" fmla="*/ 1493595 h 4517685"/>
              <a:gd name="connsiteX1008" fmla="*/ 409083 w 4354450"/>
              <a:gd name="connsiteY1008" fmla="*/ 1436778 h 4517685"/>
              <a:gd name="connsiteX1009" fmla="*/ 427548 w 4354450"/>
              <a:gd name="connsiteY1009" fmla="*/ 1429675 h 4517685"/>
              <a:gd name="connsiteX1010" fmla="*/ 427548 w 4354450"/>
              <a:gd name="connsiteY1010" fmla="*/ 1401266 h 4517685"/>
              <a:gd name="connsiteX1011" fmla="*/ 433230 w 4354450"/>
              <a:gd name="connsiteY1011" fmla="*/ 1394165 h 4517685"/>
              <a:gd name="connsiteX1012" fmla="*/ 427548 w 4354450"/>
              <a:gd name="connsiteY1012" fmla="*/ 1351552 h 4517685"/>
              <a:gd name="connsiteX1013" fmla="*/ 433230 w 4354450"/>
              <a:gd name="connsiteY1013" fmla="*/ 1323143 h 4517685"/>
              <a:gd name="connsiteX1014" fmla="*/ 427548 w 4354450"/>
              <a:gd name="connsiteY1014" fmla="*/ 1273428 h 4517685"/>
              <a:gd name="connsiteX1015" fmla="*/ 433230 w 4354450"/>
              <a:gd name="connsiteY1015" fmla="*/ 1252122 h 4517685"/>
              <a:gd name="connsiteX1016" fmla="*/ 433230 w 4354450"/>
              <a:gd name="connsiteY1016" fmla="*/ 1202406 h 4517685"/>
              <a:gd name="connsiteX1017" fmla="*/ 438911 w 4354450"/>
              <a:gd name="connsiteY1017" fmla="*/ 1195305 h 4517685"/>
              <a:gd name="connsiteX1018" fmla="*/ 433230 w 4354450"/>
              <a:gd name="connsiteY1018" fmla="*/ 1152692 h 4517685"/>
              <a:gd name="connsiteX1019" fmla="*/ 438911 w 4354450"/>
              <a:gd name="connsiteY1019" fmla="*/ 1124284 h 4517685"/>
              <a:gd name="connsiteX1020" fmla="*/ 433230 w 4354450"/>
              <a:gd name="connsiteY1020" fmla="*/ 1095875 h 4517685"/>
              <a:gd name="connsiteX1021" fmla="*/ 427548 w 4354450"/>
              <a:gd name="connsiteY1021" fmla="*/ 1053262 h 4517685"/>
              <a:gd name="connsiteX1022" fmla="*/ 421866 w 4354450"/>
              <a:gd name="connsiteY1022" fmla="*/ 1088772 h 4517685"/>
              <a:gd name="connsiteX1023" fmla="*/ 421866 w 4354450"/>
              <a:gd name="connsiteY1023" fmla="*/ 1181101 h 4517685"/>
              <a:gd name="connsiteX1024" fmla="*/ 404723 w 4354450"/>
              <a:gd name="connsiteY1024" fmla="*/ 1194289 h 4517685"/>
              <a:gd name="connsiteX1025" fmla="*/ 404821 w 4354450"/>
              <a:gd name="connsiteY1025" fmla="*/ 1193884 h 4517685"/>
              <a:gd name="connsiteX1026" fmla="*/ 403483 w 4354450"/>
              <a:gd name="connsiteY1026" fmla="*/ 1194260 h 4517685"/>
              <a:gd name="connsiteX1027" fmla="*/ 404311 w 4354450"/>
              <a:gd name="connsiteY1027" fmla="*/ 1183587 h 4517685"/>
              <a:gd name="connsiteX1028" fmla="*/ 384935 w 4354450"/>
              <a:gd name="connsiteY1028" fmla="*/ 1173998 h 4517685"/>
              <a:gd name="connsiteX1029" fmla="*/ 390617 w 4354450"/>
              <a:gd name="connsiteY1029" fmla="*/ 1166896 h 4517685"/>
              <a:gd name="connsiteX1030" fmla="*/ 396299 w 4354450"/>
              <a:gd name="connsiteY1030" fmla="*/ 1088772 h 4517685"/>
              <a:gd name="connsiteX1031" fmla="*/ 352266 w 4354450"/>
              <a:gd name="connsiteY1031" fmla="*/ 1081671 h 4517685"/>
              <a:gd name="connsiteX1032" fmla="*/ 333800 w 4354450"/>
              <a:gd name="connsiteY1032" fmla="*/ 1039058 h 4517685"/>
              <a:gd name="connsiteX1033" fmla="*/ 321017 w 4354450"/>
              <a:gd name="connsiteY1033" fmla="*/ 1088772 h 4517685"/>
              <a:gd name="connsiteX1034" fmla="*/ 315335 w 4354450"/>
              <a:gd name="connsiteY1034" fmla="*/ 1031955 h 4517685"/>
              <a:gd name="connsiteX1035" fmla="*/ 321017 w 4354450"/>
              <a:gd name="connsiteY1035" fmla="*/ 1003546 h 4517685"/>
              <a:gd name="connsiteX1036" fmla="*/ 365049 w 4354450"/>
              <a:gd name="connsiteY1036" fmla="*/ 1010649 h 4517685"/>
              <a:gd name="connsiteX1037" fmla="*/ 370731 w 4354450"/>
              <a:gd name="connsiteY1037" fmla="*/ 919740 h 4517685"/>
              <a:gd name="connsiteX1038" fmla="*/ 365049 w 4354450"/>
              <a:gd name="connsiteY1038" fmla="*/ 862923 h 4517685"/>
              <a:gd name="connsiteX1039" fmla="*/ 370731 w 4354450"/>
              <a:gd name="connsiteY1039" fmla="*/ 820311 h 4517685"/>
              <a:gd name="connsiteX1040" fmla="*/ 365049 w 4354450"/>
              <a:gd name="connsiteY1040" fmla="*/ 813209 h 4517685"/>
              <a:gd name="connsiteX1041" fmla="*/ 370731 w 4354450"/>
              <a:gd name="connsiteY1041" fmla="*/ 791902 h 4517685"/>
              <a:gd name="connsiteX1042" fmla="*/ 365049 w 4354450"/>
              <a:gd name="connsiteY1042" fmla="*/ 763493 h 4517685"/>
              <a:gd name="connsiteX1043" fmla="*/ 352266 w 4354450"/>
              <a:gd name="connsiteY1043" fmla="*/ 742188 h 4517685"/>
              <a:gd name="connsiteX1044" fmla="*/ 333800 w 4354450"/>
              <a:gd name="connsiteY1044" fmla="*/ 770596 h 4517685"/>
              <a:gd name="connsiteX1045" fmla="*/ 321017 w 4354450"/>
              <a:gd name="connsiteY1045" fmla="*/ 742188 h 4517685"/>
              <a:gd name="connsiteX1046" fmla="*/ 302550 w 4354450"/>
              <a:gd name="connsiteY1046" fmla="*/ 784801 h 4517685"/>
              <a:gd name="connsiteX1047" fmla="*/ 321017 w 4354450"/>
              <a:gd name="connsiteY1047" fmla="*/ 855822 h 4517685"/>
              <a:gd name="connsiteX1048" fmla="*/ 357948 w 4354450"/>
              <a:gd name="connsiteY1048" fmla="*/ 877128 h 4517685"/>
              <a:gd name="connsiteX1049" fmla="*/ 333800 w 4354450"/>
              <a:gd name="connsiteY1049" fmla="*/ 926843 h 4517685"/>
              <a:gd name="connsiteX1050" fmla="*/ 309653 w 4354450"/>
              <a:gd name="connsiteY1050" fmla="*/ 898435 h 4517685"/>
              <a:gd name="connsiteX1051" fmla="*/ 303971 w 4354450"/>
              <a:gd name="connsiteY1051" fmla="*/ 1017751 h 4517685"/>
              <a:gd name="connsiteX1052" fmla="*/ 279823 w 4354450"/>
              <a:gd name="connsiteY1052" fmla="*/ 982241 h 4517685"/>
              <a:gd name="connsiteX1053" fmla="*/ 285505 w 4354450"/>
              <a:gd name="connsiteY1053" fmla="*/ 946729 h 4517685"/>
              <a:gd name="connsiteX1054" fmla="*/ 285505 w 4354450"/>
              <a:gd name="connsiteY1054" fmla="*/ 875708 h 4517685"/>
              <a:gd name="connsiteX1055" fmla="*/ 279823 w 4354450"/>
              <a:gd name="connsiteY1055" fmla="*/ 854402 h 4517685"/>
              <a:gd name="connsiteX1056" fmla="*/ 285505 w 4354450"/>
              <a:gd name="connsiteY1056" fmla="*/ 840196 h 4517685"/>
              <a:gd name="connsiteX1057" fmla="*/ 298290 w 4354450"/>
              <a:gd name="connsiteY1057" fmla="*/ 790482 h 4517685"/>
              <a:gd name="connsiteX1058" fmla="*/ 285505 w 4354450"/>
              <a:gd name="connsiteY1058" fmla="*/ 762074 h 4517685"/>
              <a:gd name="connsiteX1059" fmla="*/ 291187 w 4354450"/>
              <a:gd name="connsiteY1059" fmla="*/ 740767 h 4517685"/>
              <a:gd name="connsiteX1060" fmla="*/ 278404 w 4354450"/>
              <a:gd name="connsiteY1060" fmla="*/ 733665 h 4517685"/>
              <a:gd name="connsiteX1061" fmla="*/ 365049 w 4354450"/>
              <a:gd name="connsiteY1061" fmla="*/ 726562 h 4517685"/>
              <a:gd name="connsiteX1062" fmla="*/ 390617 w 4354450"/>
              <a:gd name="connsiteY1062" fmla="*/ 691052 h 4517685"/>
              <a:gd name="connsiteX1063" fmla="*/ 390617 w 4354450"/>
              <a:gd name="connsiteY1063" fmla="*/ 598724 h 4517685"/>
              <a:gd name="connsiteX1064" fmla="*/ 377834 w 4354450"/>
              <a:gd name="connsiteY1064" fmla="*/ 563215 h 4517685"/>
              <a:gd name="connsiteX1065" fmla="*/ 396299 w 4354450"/>
              <a:gd name="connsiteY1065" fmla="*/ 556112 h 4517685"/>
              <a:gd name="connsiteX1066" fmla="*/ 377834 w 4354450"/>
              <a:gd name="connsiteY1066" fmla="*/ 549010 h 4517685"/>
              <a:gd name="connsiteX1067" fmla="*/ 396299 w 4354450"/>
              <a:gd name="connsiteY1067" fmla="*/ 527702 h 4517685"/>
              <a:gd name="connsiteX1068" fmla="*/ 383515 w 4354450"/>
              <a:gd name="connsiteY1068" fmla="*/ 513498 h 4517685"/>
              <a:gd name="connsiteX1069" fmla="*/ 401980 w 4354450"/>
              <a:gd name="connsiteY1069" fmla="*/ 485091 h 4517685"/>
              <a:gd name="connsiteX1070" fmla="*/ 407662 w 4354450"/>
              <a:gd name="connsiteY1070" fmla="*/ 406967 h 4517685"/>
              <a:gd name="connsiteX1071" fmla="*/ 401980 w 4354450"/>
              <a:gd name="connsiteY1071" fmla="*/ 385661 h 4517685"/>
              <a:gd name="connsiteX1072" fmla="*/ 401980 w 4354450"/>
              <a:gd name="connsiteY1072" fmla="*/ 335945 h 4517685"/>
              <a:gd name="connsiteX1073" fmla="*/ 370731 w 4354450"/>
              <a:gd name="connsiteY1073" fmla="*/ 392764 h 4517685"/>
              <a:gd name="connsiteX1074" fmla="*/ 376413 w 4354450"/>
              <a:gd name="connsiteY1074" fmla="*/ 293334 h 4517685"/>
              <a:gd name="connsiteX1075" fmla="*/ 400561 w 4354450"/>
              <a:gd name="connsiteY1075" fmla="*/ 286231 h 4517685"/>
              <a:gd name="connsiteX1076" fmla="*/ 382094 w 4354450"/>
              <a:gd name="connsiteY1076" fmla="*/ 257823 h 4517685"/>
              <a:gd name="connsiteX1077" fmla="*/ 376413 w 4354450"/>
              <a:gd name="connsiteY1077" fmla="*/ 229414 h 4517685"/>
              <a:gd name="connsiteX1078" fmla="*/ 382094 w 4354450"/>
              <a:gd name="connsiteY1078" fmla="*/ 208108 h 4517685"/>
              <a:gd name="connsiteX1079" fmla="*/ 363629 w 4354450"/>
              <a:gd name="connsiteY1079" fmla="*/ 264925 h 4517685"/>
              <a:gd name="connsiteX1080" fmla="*/ 350845 w 4354450"/>
              <a:gd name="connsiteY1080" fmla="*/ 314640 h 4517685"/>
              <a:gd name="connsiteX1081" fmla="*/ 356527 w 4354450"/>
              <a:gd name="connsiteY1081" fmla="*/ 321741 h 4517685"/>
              <a:gd name="connsiteX1082" fmla="*/ 343743 w 4354450"/>
              <a:gd name="connsiteY1082" fmla="*/ 328844 h 4517685"/>
              <a:gd name="connsiteX1083" fmla="*/ 338062 w 4354450"/>
              <a:gd name="connsiteY1083" fmla="*/ 335945 h 4517685"/>
              <a:gd name="connsiteX1084" fmla="*/ 338062 w 4354450"/>
              <a:gd name="connsiteY1084" fmla="*/ 350151 h 4517685"/>
              <a:gd name="connsiteX1085" fmla="*/ 356527 w 4354450"/>
              <a:gd name="connsiteY1085" fmla="*/ 371457 h 4517685"/>
              <a:gd name="connsiteX1086" fmla="*/ 338062 w 4354450"/>
              <a:gd name="connsiteY1086" fmla="*/ 371457 h 4517685"/>
              <a:gd name="connsiteX1087" fmla="*/ 332380 w 4354450"/>
              <a:gd name="connsiteY1087" fmla="*/ 442478 h 4517685"/>
              <a:gd name="connsiteX1088" fmla="*/ 338062 w 4354450"/>
              <a:gd name="connsiteY1088" fmla="*/ 449581 h 4517685"/>
              <a:gd name="connsiteX1089" fmla="*/ 338062 w 4354450"/>
              <a:gd name="connsiteY1089" fmla="*/ 547590 h 4517685"/>
              <a:gd name="connsiteX1090" fmla="*/ 332380 w 4354450"/>
              <a:gd name="connsiteY1090" fmla="*/ 561793 h 4517685"/>
              <a:gd name="connsiteX1091" fmla="*/ 332380 w 4354450"/>
              <a:gd name="connsiteY1091" fmla="*/ 583100 h 4517685"/>
              <a:gd name="connsiteX1092" fmla="*/ 332380 w 4354450"/>
              <a:gd name="connsiteY1092" fmla="*/ 618610 h 4517685"/>
              <a:gd name="connsiteX1093" fmla="*/ 326698 w 4354450"/>
              <a:gd name="connsiteY1093" fmla="*/ 625713 h 4517685"/>
              <a:gd name="connsiteX1094" fmla="*/ 321017 w 4354450"/>
              <a:gd name="connsiteY1094" fmla="*/ 668325 h 4517685"/>
              <a:gd name="connsiteX1095" fmla="*/ 308232 w 4354450"/>
              <a:gd name="connsiteY1095" fmla="*/ 689631 h 4517685"/>
              <a:gd name="connsiteX1096" fmla="*/ 295449 w 4354450"/>
              <a:gd name="connsiteY1096" fmla="*/ 647018 h 4517685"/>
              <a:gd name="connsiteX1097" fmla="*/ 276983 w 4354450"/>
              <a:gd name="connsiteY1097" fmla="*/ 675427 h 4517685"/>
              <a:gd name="connsiteX1098" fmla="*/ 289767 w 4354450"/>
              <a:gd name="connsiteY1098" fmla="*/ 577420 h 4517685"/>
              <a:gd name="connsiteX1099" fmla="*/ 295449 w 4354450"/>
              <a:gd name="connsiteY1099" fmla="*/ 520602 h 4517685"/>
              <a:gd name="connsiteX1100" fmla="*/ 295449 w 4354450"/>
              <a:gd name="connsiteY1100" fmla="*/ 506398 h 4517685"/>
              <a:gd name="connsiteX1101" fmla="*/ 301131 w 4354450"/>
              <a:gd name="connsiteY1101" fmla="*/ 499295 h 4517685"/>
              <a:gd name="connsiteX1102" fmla="*/ 295449 w 4354450"/>
              <a:gd name="connsiteY1102" fmla="*/ 463785 h 4517685"/>
              <a:gd name="connsiteX1103" fmla="*/ 301131 w 4354450"/>
              <a:gd name="connsiteY1103" fmla="*/ 442478 h 4517685"/>
              <a:gd name="connsiteX1104" fmla="*/ 301131 w 4354450"/>
              <a:gd name="connsiteY1104" fmla="*/ 385661 h 4517685"/>
              <a:gd name="connsiteX1105" fmla="*/ 306812 w 4354450"/>
              <a:gd name="connsiteY1105" fmla="*/ 350151 h 4517685"/>
              <a:gd name="connsiteX1106" fmla="*/ 312494 w 4354450"/>
              <a:gd name="connsiteY1106" fmla="*/ 343047 h 4517685"/>
              <a:gd name="connsiteX1107" fmla="*/ 306812 w 4354450"/>
              <a:gd name="connsiteY1107" fmla="*/ 307538 h 4517685"/>
              <a:gd name="connsiteX1108" fmla="*/ 312494 w 4354450"/>
              <a:gd name="connsiteY1108" fmla="*/ 293334 h 4517685"/>
              <a:gd name="connsiteX1109" fmla="*/ 299709 w 4354450"/>
              <a:gd name="connsiteY1109" fmla="*/ 257823 h 4517685"/>
              <a:gd name="connsiteX1110" fmla="*/ 286926 w 4354450"/>
              <a:gd name="connsiteY1110" fmla="*/ 236517 h 4517685"/>
              <a:gd name="connsiteX1111" fmla="*/ 281245 w 4354450"/>
              <a:gd name="connsiteY1111" fmla="*/ 264925 h 4517685"/>
              <a:gd name="connsiteX1112" fmla="*/ 275563 w 4354450"/>
              <a:gd name="connsiteY1112" fmla="*/ 272025 h 4517685"/>
              <a:gd name="connsiteX1113" fmla="*/ 281245 w 4354450"/>
              <a:gd name="connsiteY1113" fmla="*/ 279128 h 4517685"/>
              <a:gd name="connsiteX1114" fmla="*/ 275563 w 4354450"/>
              <a:gd name="connsiteY1114" fmla="*/ 286231 h 4517685"/>
              <a:gd name="connsiteX1115" fmla="*/ 275563 w 4354450"/>
              <a:gd name="connsiteY1115" fmla="*/ 307538 h 4517685"/>
              <a:gd name="connsiteX1116" fmla="*/ 275563 w 4354450"/>
              <a:gd name="connsiteY1116" fmla="*/ 328844 h 4517685"/>
              <a:gd name="connsiteX1117" fmla="*/ 257097 w 4354450"/>
              <a:gd name="connsiteY1117" fmla="*/ 293334 h 4517685"/>
              <a:gd name="connsiteX1118" fmla="*/ 269881 w 4354450"/>
              <a:gd name="connsiteY1118" fmla="*/ 264925 h 4517685"/>
              <a:gd name="connsiteX1119" fmla="*/ 275563 w 4354450"/>
              <a:gd name="connsiteY1119" fmla="*/ 236517 h 4517685"/>
              <a:gd name="connsiteX1120" fmla="*/ 269881 w 4354450"/>
              <a:gd name="connsiteY1120" fmla="*/ 201005 h 4517685"/>
              <a:gd name="connsiteX1121" fmla="*/ 306812 w 4354450"/>
              <a:gd name="connsiteY1121" fmla="*/ 193904 h 4517685"/>
              <a:gd name="connsiteX1122" fmla="*/ 312494 w 4354450"/>
              <a:gd name="connsiteY1122" fmla="*/ 222313 h 4517685"/>
              <a:gd name="connsiteX1123" fmla="*/ 312494 w 4354450"/>
              <a:gd name="connsiteY1123" fmla="*/ 193904 h 4517685"/>
              <a:gd name="connsiteX1124" fmla="*/ 318176 w 4354450"/>
              <a:gd name="connsiteY1124" fmla="*/ 172597 h 4517685"/>
              <a:gd name="connsiteX1125" fmla="*/ 323857 w 4354450"/>
              <a:gd name="connsiteY1125" fmla="*/ 158391 h 4517685"/>
              <a:gd name="connsiteX1126" fmla="*/ 305391 w 4354450"/>
              <a:gd name="connsiteY1126" fmla="*/ 137087 h 4517685"/>
              <a:gd name="connsiteX1127" fmla="*/ 261359 w 4354450"/>
              <a:gd name="connsiteY1127" fmla="*/ 179700 h 4517685"/>
              <a:gd name="connsiteX1128" fmla="*/ 237211 w 4354450"/>
              <a:gd name="connsiteY1128" fmla="*/ 306116 h 4517685"/>
              <a:gd name="connsiteX1129" fmla="*/ 224428 w 4354450"/>
              <a:gd name="connsiteY1129" fmla="*/ 284811 h 4517685"/>
              <a:gd name="connsiteX1130" fmla="*/ 224428 w 4354450"/>
              <a:gd name="connsiteY1130" fmla="*/ 256403 h 4517685"/>
              <a:gd name="connsiteX1131" fmla="*/ 230109 w 4354450"/>
              <a:gd name="connsiteY1131" fmla="*/ 249300 h 4517685"/>
              <a:gd name="connsiteX1132" fmla="*/ 224428 w 4354450"/>
              <a:gd name="connsiteY1132" fmla="*/ 213790 h 4517685"/>
              <a:gd name="connsiteX1133" fmla="*/ 211643 w 4354450"/>
              <a:gd name="connsiteY1133" fmla="*/ 178279 h 4517685"/>
              <a:gd name="connsiteX1134" fmla="*/ 205961 w 4354450"/>
              <a:gd name="connsiteY1134" fmla="*/ 242197 h 4517685"/>
              <a:gd name="connsiteX1135" fmla="*/ 200280 w 4354450"/>
              <a:gd name="connsiteY1135" fmla="*/ 270607 h 4517685"/>
              <a:gd name="connsiteX1136" fmla="*/ 213064 w 4354450"/>
              <a:gd name="connsiteY1136" fmla="*/ 306116 h 4517685"/>
              <a:gd name="connsiteX1137" fmla="*/ 194598 w 4354450"/>
              <a:gd name="connsiteY1137" fmla="*/ 341628 h 4517685"/>
              <a:gd name="connsiteX1138" fmla="*/ 200280 w 4354450"/>
              <a:gd name="connsiteY1138" fmla="*/ 355833 h 4517685"/>
              <a:gd name="connsiteX1139" fmla="*/ 237211 w 4354450"/>
              <a:gd name="connsiteY1139" fmla="*/ 355833 h 4517685"/>
              <a:gd name="connsiteX1140" fmla="*/ 218746 w 4354450"/>
              <a:gd name="connsiteY1140" fmla="*/ 391343 h 4517685"/>
              <a:gd name="connsiteX1141" fmla="*/ 224428 w 4354450"/>
              <a:gd name="connsiteY1141" fmla="*/ 433954 h 4517685"/>
              <a:gd name="connsiteX1142" fmla="*/ 218746 w 4354450"/>
              <a:gd name="connsiteY1142" fmla="*/ 448158 h 4517685"/>
              <a:gd name="connsiteX1143" fmla="*/ 224428 w 4354450"/>
              <a:gd name="connsiteY1143" fmla="*/ 455263 h 4517685"/>
              <a:gd name="connsiteX1144" fmla="*/ 211643 w 4354450"/>
              <a:gd name="connsiteY1144" fmla="*/ 497876 h 4517685"/>
              <a:gd name="connsiteX1145" fmla="*/ 217325 w 4354450"/>
              <a:gd name="connsiteY1145" fmla="*/ 512080 h 4517685"/>
              <a:gd name="connsiteX1146" fmla="*/ 217325 w 4354450"/>
              <a:gd name="connsiteY1146" fmla="*/ 540488 h 4517685"/>
              <a:gd name="connsiteX1147" fmla="*/ 211643 w 4354450"/>
              <a:gd name="connsiteY1147" fmla="*/ 547590 h 4517685"/>
              <a:gd name="connsiteX1148" fmla="*/ 217325 w 4354450"/>
              <a:gd name="connsiteY1148" fmla="*/ 575997 h 4517685"/>
              <a:gd name="connsiteX1149" fmla="*/ 211643 w 4354450"/>
              <a:gd name="connsiteY1149" fmla="*/ 583100 h 4517685"/>
              <a:gd name="connsiteX1150" fmla="*/ 217325 w 4354450"/>
              <a:gd name="connsiteY1150" fmla="*/ 597304 h 4517685"/>
              <a:gd name="connsiteX1151" fmla="*/ 198860 w 4354450"/>
              <a:gd name="connsiteY1151" fmla="*/ 611508 h 4517685"/>
              <a:gd name="connsiteX1152" fmla="*/ 193178 w 4354450"/>
              <a:gd name="connsiteY1152" fmla="*/ 639917 h 4517685"/>
              <a:gd name="connsiteX1153" fmla="*/ 174712 w 4354450"/>
              <a:gd name="connsiteY1153" fmla="*/ 618610 h 4517685"/>
              <a:gd name="connsiteX1154" fmla="*/ 169030 w 4354450"/>
              <a:gd name="connsiteY1154" fmla="*/ 647018 h 4517685"/>
              <a:gd name="connsiteX1155" fmla="*/ 156247 w 4354450"/>
              <a:gd name="connsiteY1155" fmla="*/ 696734 h 4517685"/>
              <a:gd name="connsiteX1156" fmla="*/ 150565 w 4354450"/>
              <a:gd name="connsiteY1156" fmla="*/ 682530 h 4517685"/>
              <a:gd name="connsiteX1157" fmla="*/ 169030 w 4354450"/>
              <a:gd name="connsiteY1157" fmla="*/ 725143 h 4517685"/>
              <a:gd name="connsiteX1158" fmla="*/ 134940 w 4354450"/>
              <a:gd name="connsiteY1158" fmla="*/ 781960 h 4517685"/>
              <a:gd name="connsiteX1159" fmla="*/ 164770 w 4354450"/>
              <a:gd name="connsiteY1159" fmla="*/ 810368 h 4517685"/>
              <a:gd name="connsiteX1160" fmla="*/ 140622 w 4354450"/>
              <a:gd name="connsiteY1160" fmla="*/ 803265 h 4517685"/>
              <a:gd name="connsiteX1161" fmla="*/ 129258 w 4354450"/>
              <a:gd name="connsiteY1161" fmla="*/ 868606 h 4517685"/>
              <a:gd name="connsiteX1162" fmla="*/ 123576 w 4354450"/>
              <a:gd name="connsiteY1162" fmla="*/ 897015 h 4517685"/>
              <a:gd name="connsiteX1163" fmla="*/ 129258 w 4354450"/>
              <a:gd name="connsiteY1163" fmla="*/ 932525 h 4517685"/>
              <a:gd name="connsiteX1164" fmla="*/ 142043 w 4354450"/>
              <a:gd name="connsiteY1164" fmla="*/ 882811 h 4517685"/>
              <a:gd name="connsiteX1165" fmla="*/ 147724 w 4354450"/>
              <a:gd name="connsiteY1165" fmla="*/ 818891 h 4517685"/>
              <a:gd name="connsiteX1166" fmla="*/ 160508 w 4354450"/>
              <a:gd name="connsiteY1166" fmla="*/ 861504 h 4517685"/>
              <a:gd name="connsiteX1167" fmla="*/ 154826 w 4354450"/>
              <a:gd name="connsiteY1167" fmla="*/ 897015 h 4517685"/>
              <a:gd name="connsiteX1168" fmla="*/ 142043 w 4354450"/>
              <a:gd name="connsiteY1168" fmla="*/ 918321 h 4517685"/>
              <a:gd name="connsiteX1169" fmla="*/ 154826 w 4354450"/>
              <a:gd name="connsiteY1169" fmla="*/ 932525 h 4517685"/>
              <a:gd name="connsiteX1170" fmla="*/ 149144 w 4354450"/>
              <a:gd name="connsiteY1170" fmla="*/ 960934 h 4517685"/>
              <a:gd name="connsiteX1171" fmla="*/ 130679 w 4354450"/>
              <a:gd name="connsiteY1171" fmla="*/ 946729 h 4517685"/>
              <a:gd name="connsiteX1172" fmla="*/ 136361 w 4354450"/>
              <a:gd name="connsiteY1172" fmla="*/ 968037 h 4517685"/>
              <a:gd name="connsiteX1173" fmla="*/ 117895 w 4354450"/>
              <a:gd name="connsiteY1173" fmla="*/ 996445 h 4517685"/>
              <a:gd name="connsiteX1174" fmla="*/ 112213 w 4354450"/>
              <a:gd name="connsiteY1174" fmla="*/ 1003546 h 4517685"/>
              <a:gd name="connsiteX1175" fmla="*/ 116475 w 4354450"/>
              <a:gd name="connsiteY1175" fmla="*/ 1026273 h 4517685"/>
              <a:gd name="connsiteX1176" fmla="*/ 106531 w 4354450"/>
              <a:gd name="connsiteY1176" fmla="*/ 1043318 h 4517685"/>
              <a:gd name="connsiteX1177" fmla="*/ 113634 w 4354450"/>
              <a:gd name="connsiteY1177" fmla="*/ 1058942 h 4517685"/>
              <a:gd name="connsiteX1178" fmla="*/ 98009 w 4354450"/>
              <a:gd name="connsiteY1178" fmla="*/ 1064624 h 4517685"/>
              <a:gd name="connsiteX1179" fmla="*/ 85226 w 4354450"/>
              <a:gd name="connsiteY1179" fmla="*/ 1093033 h 4517685"/>
              <a:gd name="connsiteX1180" fmla="*/ 90907 w 4354450"/>
              <a:gd name="connsiteY1180" fmla="*/ 1142748 h 4517685"/>
              <a:gd name="connsiteX1181" fmla="*/ 103690 w 4354450"/>
              <a:gd name="connsiteY1181" fmla="*/ 1171157 h 4517685"/>
              <a:gd name="connsiteX1182" fmla="*/ 82385 w 4354450"/>
              <a:gd name="connsiteY1182" fmla="*/ 1168316 h 4517685"/>
              <a:gd name="connsiteX1183" fmla="*/ 59658 w 4354450"/>
              <a:gd name="connsiteY1183" fmla="*/ 1281950 h 4517685"/>
              <a:gd name="connsiteX1184" fmla="*/ 71021 w 4354450"/>
              <a:gd name="connsiteY1184" fmla="*/ 1118600 h 4517685"/>
              <a:gd name="connsiteX1185" fmla="*/ 69600 w 4354450"/>
              <a:gd name="connsiteY1185" fmla="*/ 1080249 h 4517685"/>
              <a:gd name="connsiteX1186" fmla="*/ 66759 w 4354450"/>
              <a:gd name="connsiteY1186" fmla="*/ 1061783 h 4517685"/>
              <a:gd name="connsiteX1187" fmla="*/ 72441 w 4354450"/>
              <a:gd name="connsiteY1187" fmla="*/ 1046159 h 4517685"/>
              <a:gd name="connsiteX1188" fmla="*/ 69600 w 4354450"/>
              <a:gd name="connsiteY1188" fmla="*/ 1027694 h 4517685"/>
              <a:gd name="connsiteX1189" fmla="*/ 69600 w 4354450"/>
              <a:gd name="connsiteY1189" fmla="*/ 1013490 h 4517685"/>
              <a:gd name="connsiteX1190" fmla="*/ 75282 w 4354450"/>
              <a:gd name="connsiteY1190" fmla="*/ 977979 h 4517685"/>
              <a:gd name="connsiteX1191" fmla="*/ 69600 w 4354450"/>
              <a:gd name="connsiteY1191" fmla="*/ 970877 h 4517685"/>
              <a:gd name="connsiteX1192" fmla="*/ 75282 w 4354450"/>
              <a:gd name="connsiteY1192" fmla="*/ 963774 h 4517685"/>
              <a:gd name="connsiteX1193" fmla="*/ 62499 w 4354450"/>
              <a:gd name="connsiteY1193" fmla="*/ 935366 h 4517685"/>
              <a:gd name="connsiteX1194" fmla="*/ 93748 w 4354450"/>
              <a:gd name="connsiteY1194" fmla="*/ 928265 h 4517685"/>
              <a:gd name="connsiteX1195" fmla="*/ 93748 w 4354450"/>
              <a:gd name="connsiteY1195" fmla="*/ 823151 h 4517685"/>
              <a:gd name="connsiteX1196" fmla="*/ 88066 w 4354450"/>
              <a:gd name="connsiteY1196" fmla="*/ 794743 h 4517685"/>
              <a:gd name="connsiteX1197" fmla="*/ 100850 w 4354450"/>
              <a:gd name="connsiteY1197" fmla="*/ 766334 h 4517685"/>
              <a:gd name="connsiteX1198" fmla="*/ 69600 w 4354450"/>
              <a:gd name="connsiteY1198" fmla="*/ 766334 h 4517685"/>
              <a:gd name="connsiteX1199" fmla="*/ 82385 w 4354450"/>
              <a:gd name="connsiteY1199" fmla="*/ 716620 h 4517685"/>
              <a:gd name="connsiteX1200" fmla="*/ 105112 w 4354450"/>
              <a:gd name="connsiteY1200" fmla="*/ 716620 h 4517685"/>
              <a:gd name="connsiteX1201" fmla="*/ 86645 w 4354450"/>
              <a:gd name="connsiteY1201" fmla="*/ 695313 h 4517685"/>
              <a:gd name="connsiteX1202" fmla="*/ 92327 w 4354450"/>
              <a:gd name="connsiteY1202" fmla="*/ 624291 h 4517685"/>
              <a:gd name="connsiteX1203" fmla="*/ 61078 w 4354450"/>
              <a:gd name="connsiteY1203" fmla="*/ 624291 h 4517685"/>
              <a:gd name="connsiteX1204" fmla="*/ 61078 w 4354450"/>
              <a:gd name="connsiteY1204" fmla="*/ 581679 h 4517685"/>
              <a:gd name="connsiteX1205" fmla="*/ 66759 w 4354450"/>
              <a:gd name="connsiteY1205" fmla="*/ 574577 h 4517685"/>
              <a:gd name="connsiteX1206" fmla="*/ 66759 w 4354450"/>
              <a:gd name="connsiteY1206" fmla="*/ 546170 h 4517685"/>
              <a:gd name="connsiteX1207" fmla="*/ 85226 w 4354450"/>
              <a:gd name="connsiteY1207" fmla="*/ 546170 h 4517685"/>
              <a:gd name="connsiteX1208" fmla="*/ 79544 w 4354450"/>
              <a:gd name="connsiteY1208" fmla="*/ 539067 h 4517685"/>
              <a:gd name="connsiteX1209" fmla="*/ 73862 w 4354450"/>
              <a:gd name="connsiteY1209" fmla="*/ 531966 h 4517685"/>
              <a:gd name="connsiteX1210" fmla="*/ 79544 w 4354450"/>
              <a:gd name="connsiteY1210" fmla="*/ 482250 h 4517685"/>
              <a:gd name="connsiteX1211" fmla="*/ 92327 w 4354450"/>
              <a:gd name="connsiteY1211" fmla="*/ 418332 h 4517685"/>
              <a:gd name="connsiteX1212" fmla="*/ 98009 w 4354450"/>
              <a:gd name="connsiteY1212" fmla="*/ 468046 h 4517685"/>
              <a:gd name="connsiteX1213" fmla="*/ 85226 w 4354450"/>
              <a:gd name="connsiteY1213" fmla="*/ 475149 h 4517685"/>
              <a:gd name="connsiteX1214" fmla="*/ 116475 w 4354450"/>
              <a:gd name="connsiteY1214" fmla="*/ 482250 h 4517685"/>
              <a:gd name="connsiteX1215" fmla="*/ 129258 w 4354450"/>
              <a:gd name="connsiteY1215" fmla="*/ 489353 h 4517685"/>
              <a:gd name="connsiteX1216" fmla="*/ 134940 w 4354450"/>
              <a:gd name="connsiteY1216" fmla="*/ 468046 h 4517685"/>
              <a:gd name="connsiteX1217" fmla="*/ 116475 w 4354450"/>
              <a:gd name="connsiteY1217" fmla="*/ 475149 h 4517685"/>
              <a:gd name="connsiteX1218" fmla="*/ 103690 w 4354450"/>
              <a:gd name="connsiteY1218" fmla="*/ 453840 h 4517685"/>
              <a:gd name="connsiteX1219" fmla="*/ 103690 w 4354450"/>
              <a:gd name="connsiteY1219" fmla="*/ 425433 h 4517685"/>
              <a:gd name="connsiteX1220" fmla="*/ 129258 w 4354450"/>
              <a:gd name="connsiteY1220" fmla="*/ 389922 h 4517685"/>
              <a:gd name="connsiteX1221" fmla="*/ 123576 w 4354450"/>
              <a:gd name="connsiteY1221" fmla="*/ 411229 h 4517685"/>
              <a:gd name="connsiteX1222" fmla="*/ 105112 w 4354450"/>
              <a:gd name="connsiteY1222" fmla="*/ 354412 h 4517685"/>
              <a:gd name="connsiteX1223" fmla="*/ 86645 w 4354450"/>
              <a:gd name="connsiteY1223" fmla="*/ 389922 h 4517685"/>
              <a:gd name="connsiteX1224" fmla="*/ 80964 w 4354450"/>
              <a:gd name="connsiteY1224" fmla="*/ 375719 h 4517685"/>
              <a:gd name="connsiteX1225" fmla="*/ 86645 w 4354450"/>
              <a:gd name="connsiteY1225" fmla="*/ 368614 h 4517685"/>
              <a:gd name="connsiteX1226" fmla="*/ 105112 w 4354450"/>
              <a:gd name="connsiteY1226" fmla="*/ 311797 h 4517685"/>
              <a:gd name="connsiteX1227" fmla="*/ 105112 w 4354450"/>
              <a:gd name="connsiteY1227" fmla="*/ 276289 h 4517685"/>
              <a:gd name="connsiteX1228" fmla="*/ 99430 w 4354450"/>
              <a:gd name="connsiteY1228" fmla="*/ 269184 h 4517685"/>
              <a:gd name="connsiteX1229" fmla="*/ 105112 w 4354450"/>
              <a:gd name="connsiteY1229" fmla="*/ 191063 h 4517685"/>
              <a:gd name="connsiteX1230" fmla="*/ 123576 w 4354450"/>
              <a:gd name="connsiteY1230" fmla="*/ 176859 h 4517685"/>
              <a:gd name="connsiteX1231" fmla="*/ 123576 w 4354450"/>
              <a:gd name="connsiteY1231" fmla="*/ 148450 h 4517685"/>
              <a:gd name="connsiteX1232" fmla="*/ 123576 w 4354450"/>
              <a:gd name="connsiteY1232" fmla="*/ 105837 h 4517685"/>
              <a:gd name="connsiteX1233" fmla="*/ 136361 w 4354450"/>
              <a:gd name="connsiteY1233" fmla="*/ 91632 h 4517685"/>
              <a:gd name="connsiteX1234" fmla="*/ 130679 w 4354450"/>
              <a:gd name="connsiteY1234" fmla="*/ 56120 h 4517685"/>
              <a:gd name="connsiteX1235" fmla="*/ 143462 w 4354450"/>
              <a:gd name="connsiteY1235" fmla="*/ 41917 h 4517685"/>
              <a:gd name="connsiteX1236" fmla="*/ 130679 w 4354450"/>
              <a:gd name="connsiteY1236" fmla="*/ 20610 h 4517685"/>
              <a:gd name="connsiteX1237" fmla="*/ 142220 w 4354450"/>
              <a:gd name="connsiteY1237" fmla="*/ 2323 h 4517685"/>
              <a:gd name="connsiteX1238" fmla="*/ 112992 w 4354450"/>
              <a:gd name="connsiteY1238" fmla="*/ 0 h 4517685"/>
              <a:gd name="connsiteX1239" fmla="*/ 121281 w 4354450"/>
              <a:gd name="connsiteY1239" fmla="*/ 0 h 4517685"/>
              <a:gd name="connsiteX1240" fmla="*/ 119848 w 4354450"/>
              <a:gd name="connsiteY1240" fmla="*/ 10668 h 4517685"/>
              <a:gd name="connsiteX1241" fmla="*/ 99430 w 4354450"/>
              <a:gd name="connsiteY1241" fmla="*/ 34815 h 4517685"/>
              <a:gd name="connsiteX1242" fmla="*/ 108662 w 4354450"/>
              <a:gd name="connsiteY1242" fmla="*/ 13154 h 451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Lst>
            <a:rect l="l" t="t" r="r" b="b"/>
            <a:pathLst>
              <a:path w="4354450" h="4517685">
                <a:moveTo>
                  <a:pt x="1934622" y="4493537"/>
                </a:moveTo>
                <a:cubicBezTo>
                  <a:pt x="1951667" y="4494958"/>
                  <a:pt x="1937463" y="4514844"/>
                  <a:pt x="1934622" y="4517685"/>
                </a:cubicBezTo>
                <a:cubicBezTo>
                  <a:pt x="1917577" y="4517685"/>
                  <a:pt x="1933203" y="4497799"/>
                  <a:pt x="1934622" y="4493537"/>
                </a:cubicBezTo>
                <a:close/>
                <a:moveTo>
                  <a:pt x="2048169" y="4461800"/>
                </a:moveTo>
                <a:cubicBezTo>
                  <a:pt x="2060951" y="4459536"/>
                  <a:pt x="2084123" y="4470457"/>
                  <a:pt x="2055358" y="4469390"/>
                </a:cubicBezTo>
                <a:lnTo>
                  <a:pt x="2041153" y="4469390"/>
                </a:lnTo>
                <a:cubicBezTo>
                  <a:pt x="2040799" y="4464775"/>
                  <a:pt x="2043906" y="4462554"/>
                  <a:pt x="2048169" y="4461800"/>
                </a:cubicBezTo>
                <a:close/>
                <a:moveTo>
                  <a:pt x="2005643" y="4456607"/>
                </a:moveTo>
                <a:lnTo>
                  <a:pt x="2019848" y="4456607"/>
                </a:lnTo>
                <a:cubicBezTo>
                  <a:pt x="2018428" y="4462288"/>
                  <a:pt x="2022689" y="4462288"/>
                  <a:pt x="2026949" y="4462288"/>
                </a:cubicBezTo>
                <a:cubicBezTo>
                  <a:pt x="2029791" y="4475072"/>
                  <a:pt x="1994280" y="4472231"/>
                  <a:pt x="2005643" y="4456607"/>
                </a:cubicBezTo>
                <a:close/>
                <a:moveTo>
                  <a:pt x="1836613" y="4438141"/>
                </a:moveTo>
                <a:cubicBezTo>
                  <a:pt x="1862181" y="4435300"/>
                  <a:pt x="1865022" y="4453765"/>
                  <a:pt x="1872123" y="4469390"/>
                </a:cubicBezTo>
                <a:cubicBezTo>
                  <a:pt x="1845136" y="4470812"/>
                  <a:pt x="1842294" y="4453765"/>
                  <a:pt x="1836613" y="4438141"/>
                </a:cubicBezTo>
                <a:close/>
                <a:moveTo>
                  <a:pt x="1822409" y="4438141"/>
                </a:moveTo>
                <a:cubicBezTo>
                  <a:pt x="1835192" y="4442403"/>
                  <a:pt x="1822409" y="4449504"/>
                  <a:pt x="1822409" y="4456607"/>
                </a:cubicBezTo>
                <a:cubicBezTo>
                  <a:pt x="1809625" y="4452345"/>
                  <a:pt x="1820988" y="4445242"/>
                  <a:pt x="1822409" y="4438141"/>
                </a:cubicBezTo>
                <a:close/>
                <a:moveTo>
                  <a:pt x="1444753" y="4437031"/>
                </a:moveTo>
                <a:cubicBezTo>
                  <a:pt x="1453542" y="4438496"/>
                  <a:pt x="1455938" y="4445954"/>
                  <a:pt x="1468722" y="4443823"/>
                </a:cubicBezTo>
                <a:cubicBezTo>
                  <a:pt x="1468722" y="4462288"/>
                  <a:pt x="1431791" y="4456607"/>
                  <a:pt x="1433212" y="4438141"/>
                </a:cubicBezTo>
                <a:cubicBezTo>
                  <a:pt x="1438184" y="4436721"/>
                  <a:pt x="1441823" y="4436543"/>
                  <a:pt x="1444753" y="4437031"/>
                </a:cubicBezTo>
                <a:close/>
                <a:moveTo>
                  <a:pt x="1994635" y="4436011"/>
                </a:moveTo>
                <a:cubicBezTo>
                  <a:pt x="2003514" y="4436721"/>
                  <a:pt x="2011325" y="4440982"/>
                  <a:pt x="2005643" y="4449504"/>
                </a:cubicBezTo>
                <a:cubicBezTo>
                  <a:pt x="1992861" y="4450924"/>
                  <a:pt x="1990019" y="4442403"/>
                  <a:pt x="1977235" y="4443823"/>
                </a:cubicBezTo>
                <a:cubicBezTo>
                  <a:pt x="1975815" y="4438141"/>
                  <a:pt x="1985757" y="4435300"/>
                  <a:pt x="1994635" y="4436011"/>
                </a:cubicBezTo>
                <a:close/>
                <a:moveTo>
                  <a:pt x="1920418" y="4432459"/>
                </a:moveTo>
                <a:cubicBezTo>
                  <a:pt x="1927519" y="4436720"/>
                  <a:pt x="1936043" y="4438141"/>
                  <a:pt x="1948827" y="4438141"/>
                </a:cubicBezTo>
                <a:lnTo>
                  <a:pt x="1948827" y="4469390"/>
                </a:lnTo>
                <a:lnTo>
                  <a:pt x="1920418" y="4469390"/>
                </a:lnTo>
                <a:cubicBezTo>
                  <a:pt x="1917577" y="4458027"/>
                  <a:pt x="1926099" y="4458027"/>
                  <a:pt x="1934622" y="4456607"/>
                </a:cubicBezTo>
                <a:cubicBezTo>
                  <a:pt x="1931781" y="4448083"/>
                  <a:pt x="1911895" y="4452345"/>
                  <a:pt x="1920418" y="4432459"/>
                </a:cubicBezTo>
                <a:close/>
                <a:moveTo>
                  <a:pt x="2089449" y="4431038"/>
                </a:moveTo>
                <a:cubicBezTo>
                  <a:pt x="2093710" y="4445242"/>
                  <a:pt x="2079506" y="4443823"/>
                  <a:pt x="2068142" y="4443823"/>
                </a:cubicBezTo>
                <a:cubicBezTo>
                  <a:pt x="2070983" y="4435300"/>
                  <a:pt x="2076665" y="4431038"/>
                  <a:pt x="2089449" y="4431038"/>
                </a:cubicBezTo>
                <a:close/>
                <a:moveTo>
                  <a:pt x="2045571" y="4430950"/>
                </a:moveTo>
                <a:cubicBezTo>
                  <a:pt x="2051631" y="4428819"/>
                  <a:pt x="2060686" y="4440272"/>
                  <a:pt x="2055358" y="4450924"/>
                </a:cubicBezTo>
                <a:cubicBezTo>
                  <a:pt x="2048256" y="4449504"/>
                  <a:pt x="2051097" y="4438141"/>
                  <a:pt x="2041153" y="4438141"/>
                </a:cubicBezTo>
                <a:cubicBezTo>
                  <a:pt x="2041865" y="4433880"/>
                  <a:pt x="2043551" y="4431660"/>
                  <a:pt x="2045571" y="4430950"/>
                </a:cubicBezTo>
                <a:close/>
                <a:moveTo>
                  <a:pt x="421222" y="4428434"/>
                </a:moveTo>
                <a:lnTo>
                  <a:pt x="437137" y="4428909"/>
                </a:lnTo>
                <a:cubicBezTo>
                  <a:pt x="442818" y="4431040"/>
                  <a:pt x="445304" y="4436010"/>
                  <a:pt x="441754" y="4446664"/>
                </a:cubicBezTo>
                <a:lnTo>
                  <a:pt x="422901" y="4443836"/>
                </a:lnTo>
                <a:lnTo>
                  <a:pt x="422755" y="4442935"/>
                </a:lnTo>
                <a:close/>
                <a:moveTo>
                  <a:pt x="2322400" y="4425356"/>
                </a:moveTo>
                <a:cubicBezTo>
                  <a:pt x="2323819" y="4436720"/>
                  <a:pt x="2313877" y="4438141"/>
                  <a:pt x="2315297" y="4449504"/>
                </a:cubicBezTo>
                <a:cubicBezTo>
                  <a:pt x="2296832" y="4456607"/>
                  <a:pt x="2289729" y="4423937"/>
                  <a:pt x="2279787" y="4443823"/>
                </a:cubicBezTo>
                <a:cubicBezTo>
                  <a:pt x="2258480" y="4429618"/>
                  <a:pt x="2308195" y="4428199"/>
                  <a:pt x="2322400" y="4425356"/>
                </a:cubicBezTo>
                <a:close/>
                <a:moveTo>
                  <a:pt x="2857900" y="4419675"/>
                </a:moveTo>
                <a:cubicBezTo>
                  <a:pt x="2862162" y="4432459"/>
                  <a:pt x="2847958" y="4431038"/>
                  <a:pt x="2836595" y="4432459"/>
                </a:cubicBezTo>
                <a:cubicBezTo>
                  <a:pt x="2839435" y="4423937"/>
                  <a:pt x="2845117" y="4419675"/>
                  <a:pt x="2857900" y="4419675"/>
                </a:cubicBezTo>
                <a:close/>
                <a:moveTo>
                  <a:pt x="2809605" y="4419675"/>
                </a:moveTo>
                <a:cubicBezTo>
                  <a:pt x="2836595" y="4413994"/>
                  <a:pt x="2820969" y="4446664"/>
                  <a:pt x="2852219" y="4438141"/>
                </a:cubicBezTo>
                <a:cubicBezTo>
                  <a:pt x="2855059" y="4469390"/>
                  <a:pt x="2830913" y="4440982"/>
                  <a:pt x="2823810" y="4456607"/>
                </a:cubicBezTo>
                <a:cubicBezTo>
                  <a:pt x="2806765" y="4452345"/>
                  <a:pt x="2793981" y="4432459"/>
                  <a:pt x="2809605" y="4419675"/>
                </a:cubicBezTo>
                <a:close/>
                <a:moveTo>
                  <a:pt x="2695971" y="4419675"/>
                </a:moveTo>
                <a:cubicBezTo>
                  <a:pt x="2694552" y="4429618"/>
                  <a:pt x="2684608" y="4433879"/>
                  <a:pt x="2667563" y="4432459"/>
                </a:cubicBezTo>
                <a:cubicBezTo>
                  <a:pt x="2660461" y="4413994"/>
                  <a:pt x="2683188" y="4421096"/>
                  <a:pt x="2695971" y="4419675"/>
                </a:cubicBezTo>
                <a:close/>
                <a:moveTo>
                  <a:pt x="1018359" y="4412086"/>
                </a:moveTo>
                <a:cubicBezTo>
                  <a:pt x="1031142" y="4409822"/>
                  <a:pt x="1054313" y="4420741"/>
                  <a:pt x="1025549" y="4419675"/>
                </a:cubicBezTo>
                <a:lnTo>
                  <a:pt x="1011344" y="4419675"/>
                </a:lnTo>
                <a:cubicBezTo>
                  <a:pt x="1010989" y="4415059"/>
                  <a:pt x="1014097" y="4412840"/>
                  <a:pt x="1018359" y="4412086"/>
                </a:cubicBezTo>
                <a:close/>
                <a:moveTo>
                  <a:pt x="850325" y="4408180"/>
                </a:moveTo>
                <a:cubicBezTo>
                  <a:pt x="855275" y="4408223"/>
                  <a:pt x="859714" y="4409378"/>
                  <a:pt x="863620" y="4412573"/>
                </a:cubicBezTo>
                <a:cubicBezTo>
                  <a:pt x="862199" y="4439561"/>
                  <a:pt x="795439" y="4408311"/>
                  <a:pt x="813905" y="4449504"/>
                </a:cubicBezTo>
                <a:cubicBezTo>
                  <a:pt x="796861" y="4446664"/>
                  <a:pt x="798280" y="4426778"/>
                  <a:pt x="792599" y="4412573"/>
                </a:cubicBezTo>
                <a:cubicBezTo>
                  <a:pt x="816037" y="4417900"/>
                  <a:pt x="835478" y="4408046"/>
                  <a:pt x="850325" y="4408180"/>
                </a:cubicBezTo>
                <a:close/>
                <a:moveTo>
                  <a:pt x="3471525" y="4399790"/>
                </a:moveTo>
                <a:cubicBezTo>
                  <a:pt x="3481467" y="4402630"/>
                  <a:pt x="3477207" y="4415414"/>
                  <a:pt x="3478627" y="4423937"/>
                </a:cubicBezTo>
                <a:cubicBezTo>
                  <a:pt x="3461583" y="4426778"/>
                  <a:pt x="3463003" y="4412573"/>
                  <a:pt x="3443117" y="4418255"/>
                </a:cubicBezTo>
                <a:cubicBezTo>
                  <a:pt x="3444537" y="4405470"/>
                  <a:pt x="3474365" y="4416834"/>
                  <a:pt x="3471525" y="4399790"/>
                </a:cubicBezTo>
                <a:close/>
                <a:moveTo>
                  <a:pt x="1843715" y="4399790"/>
                </a:moveTo>
                <a:cubicBezTo>
                  <a:pt x="1854013" y="4399435"/>
                  <a:pt x="1865022" y="4400500"/>
                  <a:pt x="1870702" y="4401210"/>
                </a:cubicBezTo>
                <a:cubicBezTo>
                  <a:pt x="1869283" y="4401210"/>
                  <a:pt x="1873545" y="4411152"/>
                  <a:pt x="1877805" y="4406892"/>
                </a:cubicBezTo>
                <a:cubicBezTo>
                  <a:pt x="1884907" y="4398369"/>
                  <a:pt x="1883487" y="4404051"/>
                  <a:pt x="1884907" y="4412573"/>
                </a:cubicBezTo>
                <a:cubicBezTo>
                  <a:pt x="1865022" y="4421096"/>
                  <a:pt x="1833773" y="4421096"/>
                  <a:pt x="1820988" y="4406892"/>
                </a:cubicBezTo>
                <a:cubicBezTo>
                  <a:pt x="1823829" y="4401920"/>
                  <a:pt x="1833418" y="4400145"/>
                  <a:pt x="1843715" y="4399790"/>
                </a:cubicBezTo>
                <a:close/>
                <a:moveTo>
                  <a:pt x="424759" y="4399532"/>
                </a:moveTo>
                <a:lnTo>
                  <a:pt x="434651" y="4402630"/>
                </a:lnTo>
                <a:cubicBezTo>
                  <a:pt x="440333" y="4408311"/>
                  <a:pt x="457378" y="4404051"/>
                  <a:pt x="455958" y="4415414"/>
                </a:cubicBezTo>
                <a:cubicBezTo>
                  <a:pt x="449566" y="4418255"/>
                  <a:pt x="440689" y="4418965"/>
                  <a:pt x="432521" y="4420209"/>
                </a:cubicBezTo>
                <a:lnTo>
                  <a:pt x="420867" y="4425066"/>
                </a:lnTo>
                <a:lnTo>
                  <a:pt x="420447" y="4421096"/>
                </a:lnTo>
                <a:cubicBezTo>
                  <a:pt x="420447" y="4414704"/>
                  <a:pt x="421868" y="4410797"/>
                  <a:pt x="423287" y="4406892"/>
                </a:cubicBezTo>
                <a:close/>
                <a:moveTo>
                  <a:pt x="1680366" y="4394107"/>
                </a:moveTo>
                <a:cubicBezTo>
                  <a:pt x="1688889" y="4395528"/>
                  <a:pt x="1687468" y="4405470"/>
                  <a:pt x="1687468" y="4412573"/>
                </a:cubicBezTo>
                <a:cubicBezTo>
                  <a:pt x="1681786" y="4409732"/>
                  <a:pt x="1676104" y="4406892"/>
                  <a:pt x="1666162" y="4406892"/>
                </a:cubicBezTo>
                <a:cubicBezTo>
                  <a:pt x="1667582" y="4399790"/>
                  <a:pt x="1680366" y="4402630"/>
                  <a:pt x="1680366" y="4394107"/>
                </a:cubicBezTo>
                <a:close/>
                <a:moveTo>
                  <a:pt x="1335200" y="4394107"/>
                </a:moveTo>
                <a:cubicBezTo>
                  <a:pt x="1323837" y="4408311"/>
                  <a:pt x="1359348" y="4411152"/>
                  <a:pt x="1356507" y="4399789"/>
                </a:cubicBezTo>
                <a:cubicBezTo>
                  <a:pt x="1352245" y="4399789"/>
                  <a:pt x="1347985" y="4399789"/>
                  <a:pt x="1349405" y="4394107"/>
                </a:cubicBezTo>
                <a:close/>
                <a:moveTo>
                  <a:pt x="2414727" y="4387006"/>
                </a:moveTo>
                <a:cubicBezTo>
                  <a:pt x="2426090" y="4398369"/>
                  <a:pt x="2410466" y="4432459"/>
                  <a:pt x="2436034" y="4431038"/>
                </a:cubicBezTo>
                <a:cubicBezTo>
                  <a:pt x="2421829" y="4445242"/>
                  <a:pt x="2392000" y="4445242"/>
                  <a:pt x="2379217" y="4429618"/>
                </a:cubicBezTo>
                <a:cubicBezTo>
                  <a:pt x="2377795" y="4401210"/>
                  <a:pt x="2399103" y="4432459"/>
                  <a:pt x="2407625" y="4416834"/>
                </a:cubicBezTo>
                <a:cubicBezTo>
                  <a:pt x="2404785" y="4408311"/>
                  <a:pt x="2389159" y="4412573"/>
                  <a:pt x="2379217" y="4411152"/>
                </a:cubicBezTo>
                <a:cubicBezTo>
                  <a:pt x="2380637" y="4394107"/>
                  <a:pt x="2387738" y="4382744"/>
                  <a:pt x="2414727" y="4387006"/>
                </a:cubicBezTo>
                <a:close/>
                <a:moveTo>
                  <a:pt x="2012745" y="4382744"/>
                </a:moveTo>
                <a:cubicBezTo>
                  <a:pt x="2022689" y="4384165"/>
                  <a:pt x="2018428" y="4396948"/>
                  <a:pt x="2019848" y="4406892"/>
                </a:cubicBezTo>
                <a:cubicBezTo>
                  <a:pt x="2009904" y="4405470"/>
                  <a:pt x="1999962" y="4405470"/>
                  <a:pt x="1998541" y="4413994"/>
                </a:cubicBezTo>
                <a:cubicBezTo>
                  <a:pt x="1978656" y="4405470"/>
                  <a:pt x="2021269" y="4401210"/>
                  <a:pt x="2012745" y="4382744"/>
                </a:cubicBezTo>
                <a:close/>
                <a:moveTo>
                  <a:pt x="1306792" y="4382744"/>
                </a:moveTo>
                <a:cubicBezTo>
                  <a:pt x="1301110" y="4401208"/>
                  <a:pt x="1288327" y="4389846"/>
                  <a:pt x="1271282" y="4388425"/>
                </a:cubicBezTo>
                <a:cubicBezTo>
                  <a:pt x="1259918" y="4421096"/>
                  <a:pt x="1312473" y="4396948"/>
                  <a:pt x="1320996" y="4412573"/>
                </a:cubicBezTo>
                <a:cubicBezTo>
                  <a:pt x="1322417" y="4396948"/>
                  <a:pt x="1322417" y="4382744"/>
                  <a:pt x="1306792" y="4382744"/>
                </a:cubicBezTo>
                <a:close/>
                <a:moveTo>
                  <a:pt x="923811" y="4373868"/>
                </a:moveTo>
                <a:cubicBezTo>
                  <a:pt x="929671" y="4374577"/>
                  <a:pt x="936062" y="4376352"/>
                  <a:pt x="947424" y="4378483"/>
                </a:cubicBezTo>
                <a:cubicBezTo>
                  <a:pt x="947424" y="4392687"/>
                  <a:pt x="950267" y="4392687"/>
                  <a:pt x="943164" y="4396948"/>
                </a:cubicBezTo>
                <a:cubicBezTo>
                  <a:pt x="924699" y="4396948"/>
                  <a:pt x="934641" y="4392687"/>
                  <a:pt x="916175" y="4392687"/>
                </a:cubicBezTo>
                <a:cubicBezTo>
                  <a:pt x="911914" y="4382744"/>
                  <a:pt x="900551" y="4389846"/>
                  <a:pt x="903392" y="4375642"/>
                </a:cubicBezTo>
                <a:cubicBezTo>
                  <a:pt x="912626" y="4373513"/>
                  <a:pt x="917953" y="4373158"/>
                  <a:pt x="923811" y="4373868"/>
                </a:cubicBezTo>
                <a:close/>
                <a:moveTo>
                  <a:pt x="1565313" y="4371737"/>
                </a:moveTo>
                <a:cubicBezTo>
                  <a:pt x="1575965" y="4373511"/>
                  <a:pt x="1588749" y="4379903"/>
                  <a:pt x="1596561" y="4382744"/>
                </a:cubicBezTo>
                <a:cubicBezTo>
                  <a:pt x="1593719" y="4395528"/>
                  <a:pt x="1561051" y="4384165"/>
                  <a:pt x="1546846" y="4388425"/>
                </a:cubicBezTo>
                <a:cubicBezTo>
                  <a:pt x="1546136" y="4372801"/>
                  <a:pt x="1554659" y="4369960"/>
                  <a:pt x="1565313" y="4371737"/>
                </a:cubicBezTo>
                <a:close/>
                <a:moveTo>
                  <a:pt x="2272684" y="4368539"/>
                </a:moveTo>
                <a:cubicBezTo>
                  <a:pt x="2282628" y="4371382"/>
                  <a:pt x="2284047" y="4379903"/>
                  <a:pt x="2293991" y="4381324"/>
                </a:cubicBezTo>
                <a:cubicBezTo>
                  <a:pt x="2293991" y="4394107"/>
                  <a:pt x="2271264" y="4385586"/>
                  <a:pt x="2272684" y="4399790"/>
                </a:cubicBezTo>
                <a:cubicBezTo>
                  <a:pt x="2258480" y="4396948"/>
                  <a:pt x="2267002" y="4375642"/>
                  <a:pt x="2244275" y="4381324"/>
                </a:cubicBezTo>
                <a:cubicBezTo>
                  <a:pt x="2240015" y="4364279"/>
                  <a:pt x="2278366" y="4385586"/>
                  <a:pt x="2272684" y="4368539"/>
                </a:cubicBezTo>
                <a:close/>
                <a:moveTo>
                  <a:pt x="1095150" y="4362858"/>
                </a:moveTo>
                <a:cubicBezTo>
                  <a:pt x="1105093" y="4365698"/>
                  <a:pt x="1100831" y="4378483"/>
                  <a:pt x="1102251" y="4387006"/>
                </a:cubicBezTo>
                <a:cubicBezTo>
                  <a:pt x="1090888" y="4381324"/>
                  <a:pt x="1086626" y="4371382"/>
                  <a:pt x="1095150" y="4362858"/>
                </a:cubicBezTo>
                <a:close/>
                <a:moveTo>
                  <a:pt x="1242873" y="4358597"/>
                </a:moveTo>
                <a:cubicBezTo>
                  <a:pt x="1241453" y="4369960"/>
                  <a:pt x="1267021" y="4358597"/>
                  <a:pt x="1271282" y="4364279"/>
                </a:cubicBezTo>
                <a:cubicBezTo>
                  <a:pt x="1278385" y="4372801"/>
                  <a:pt x="1274123" y="4364279"/>
                  <a:pt x="1285486" y="4364279"/>
                </a:cubicBezTo>
                <a:cubicBezTo>
                  <a:pt x="1295430" y="4364279"/>
                  <a:pt x="1298271" y="4369960"/>
                  <a:pt x="1306793" y="4369960"/>
                </a:cubicBezTo>
                <a:cubicBezTo>
                  <a:pt x="1320997" y="4369960"/>
                  <a:pt x="1340883" y="4352915"/>
                  <a:pt x="1335202" y="4382744"/>
                </a:cubicBezTo>
                <a:cubicBezTo>
                  <a:pt x="1353668" y="4384165"/>
                  <a:pt x="1340883" y="4358597"/>
                  <a:pt x="1363610" y="4364279"/>
                </a:cubicBezTo>
                <a:cubicBezTo>
                  <a:pt x="1362191" y="4372801"/>
                  <a:pt x="1374974" y="4398369"/>
                  <a:pt x="1377815" y="4382744"/>
                </a:cubicBezTo>
                <a:cubicBezTo>
                  <a:pt x="1399120" y="4388425"/>
                  <a:pt x="1369292" y="4398369"/>
                  <a:pt x="1377815" y="4413994"/>
                </a:cubicBezTo>
                <a:cubicBezTo>
                  <a:pt x="1390599" y="4412573"/>
                  <a:pt x="1436053" y="4392687"/>
                  <a:pt x="1434632" y="4419675"/>
                </a:cubicBezTo>
                <a:cubicBezTo>
                  <a:pt x="1427529" y="4426778"/>
                  <a:pt x="1393440" y="4411152"/>
                  <a:pt x="1384916" y="4419675"/>
                </a:cubicBezTo>
                <a:cubicBezTo>
                  <a:pt x="1376395" y="4428199"/>
                  <a:pt x="1379236" y="4416834"/>
                  <a:pt x="1363610" y="4419675"/>
                </a:cubicBezTo>
                <a:cubicBezTo>
                  <a:pt x="1360769" y="4419675"/>
                  <a:pt x="1355088" y="4425356"/>
                  <a:pt x="1356507" y="4425356"/>
                </a:cubicBezTo>
                <a:cubicBezTo>
                  <a:pt x="1350827" y="4425356"/>
                  <a:pt x="1349406" y="4418255"/>
                  <a:pt x="1342303" y="4419675"/>
                </a:cubicBezTo>
                <a:cubicBezTo>
                  <a:pt x="1325259" y="4421096"/>
                  <a:pt x="1325259" y="4429618"/>
                  <a:pt x="1313895" y="4419675"/>
                </a:cubicBezTo>
                <a:cubicBezTo>
                  <a:pt x="1313895" y="4419675"/>
                  <a:pt x="1308214" y="4419675"/>
                  <a:pt x="1306793" y="4419675"/>
                </a:cubicBezTo>
                <a:cubicBezTo>
                  <a:pt x="1285486" y="4421096"/>
                  <a:pt x="1257077" y="4431038"/>
                  <a:pt x="1228669" y="4419675"/>
                </a:cubicBezTo>
                <a:cubicBezTo>
                  <a:pt x="1227249" y="4406892"/>
                  <a:pt x="1234352" y="4399790"/>
                  <a:pt x="1249976" y="4401210"/>
                </a:cubicBezTo>
                <a:cubicBezTo>
                  <a:pt x="1248557" y="4394107"/>
                  <a:pt x="1237193" y="4396948"/>
                  <a:pt x="1228669" y="4395528"/>
                </a:cubicBezTo>
                <a:cubicBezTo>
                  <a:pt x="1237193" y="4387006"/>
                  <a:pt x="1231510" y="4385586"/>
                  <a:pt x="1228669" y="4377062"/>
                </a:cubicBezTo>
                <a:lnTo>
                  <a:pt x="1186056" y="4377062"/>
                </a:lnTo>
                <a:cubicBezTo>
                  <a:pt x="1184637" y="4369960"/>
                  <a:pt x="1205943" y="4355756"/>
                  <a:pt x="1207363" y="4371382"/>
                </a:cubicBezTo>
                <a:lnTo>
                  <a:pt x="1216761" y="4366882"/>
                </a:lnTo>
                <a:lnTo>
                  <a:pt x="1217305" y="4367118"/>
                </a:lnTo>
                <a:lnTo>
                  <a:pt x="1217180" y="4366683"/>
                </a:lnTo>
                <a:lnTo>
                  <a:pt x="1224053" y="4363391"/>
                </a:lnTo>
                <a:cubicBezTo>
                  <a:pt x="1229025" y="4360373"/>
                  <a:pt x="1234352" y="4357887"/>
                  <a:pt x="1242873" y="4358597"/>
                </a:cubicBezTo>
                <a:close/>
                <a:moveTo>
                  <a:pt x="1159069" y="4357177"/>
                </a:moveTo>
                <a:cubicBezTo>
                  <a:pt x="1171852" y="4369960"/>
                  <a:pt x="1183217" y="4375642"/>
                  <a:pt x="1173273" y="4394107"/>
                </a:cubicBezTo>
                <a:cubicBezTo>
                  <a:pt x="1163331" y="4385586"/>
                  <a:pt x="1147705" y="4367120"/>
                  <a:pt x="1159069" y="4357177"/>
                </a:cubicBezTo>
                <a:close/>
                <a:moveTo>
                  <a:pt x="1708775" y="4351494"/>
                </a:moveTo>
                <a:cubicBezTo>
                  <a:pt x="1715876" y="4355756"/>
                  <a:pt x="1720138" y="4362858"/>
                  <a:pt x="1722979" y="4369960"/>
                </a:cubicBezTo>
                <a:cubicBezTo>
                  <a:pt x="1741444" y="4371382"/>
                  <a:pt x="1728659" y="4345812"/>
                  <a:pt x="1751388" y="4351494"/>
                </a:cubicBezTo>
                <a:cubicBezTo>
                  <a:pt x="1748547" y="4362858"/>
                  <a:pt x="1757068" y="4364279"/>
                  <a:pt x="1765592" y="4364279"/>
                </a:cubicBezTo>
                <a:cubicBezTo>
                  <a:pt x="1762751" y="4375642"/>
                  <a:pt x="1745706" y="4375642"/>
                  <a:pt x="1744285" y="4388425"/>
                </a:cubicBezTo>
                <a:cubicBezTo>
                  <a:pt x="1735762" y="4384165"/>
                  <a:pt x="1725819" y="4381324"/>
                  <a:pt x="1708775" y="4382744"/>
                </a:cubicBezTo>
                <a:lnTo>
                  <a:pt x="1708775" y="4369960"/>
                </a:lnTo>
                <a:cubicBezTo>
                  <a:pt x="1697410" y="4364279"/>
                  <a:pt x="1678945" y="4381324"/>
                  <a:pt x="1694571" y="4382744"/>
                </a:cubicBezTo>
                <a:cubicBezTo>
                  <a:pt x="1694571" y="4396948"/>
                  <a:pt x="1674685" y="4379903"/>
                  <a:pt x="1680366" y="4369960"/>
                </a:cubicBezTo>
                <a:cubicBezTo>
                  <a:pt x="1690309" y="4364279"/>
                  <a:pt x="1707354" y="4364279"/>
                  <a:pt x="1708775" y="4351494"/>
                </a:cubicBezTo>
                <a:close/>
                <a:moveTo>
                  <a:pt x="1553947" y="4350074"/>
                </a:moveTo>
                <a:lnTo>
                  <a:pt x="1568152" y="4350074"/>
                </a:lnTo>
                <a:lnTo>
                  <a:pt x="1568152" y="4362858"/>
                </a:lnTo>
                <a:lnTo>
                  <a:pt x="1553947" y="4362858"/>
                </a:lnTo>
                <a:close/>
                <a:moveTo>
                  <a:pt x="1046854" y="4350074"/>
                </a:moveTo>
                <a:lnTo>
                  <a:pt x="1046854" y="4362858"/>
                </a:lnTo>
                <a:cubicBezTo>
                  <a:pt x="1053957" y="4362858"/>
                  <a:pt x="1052537" y="4354335"/>
                  <a:pt x="1053957" y="4350074"/>
                </a:cubicBezTo>
                <a:cubicBezTo>
                  <a:pt x="1078105" y="4367120"/>
                  <a:pt x="1031230" y="4372801"/>
                  <a:pt x="1039753" y="4392687"/>
                </a:cubicBezTo>
                <a:cubicBezTo>
                  <a:pt x="1034071" y="4389846"/>
                  <a:pt x="1028389" y="4387006"/>
                  <a:pt x="1018445" y="4387006"/>
                </a:cubicBezTo>
                <a:cubicBezTo>
                  <a:pt x="1015605" y="4375642"/>
                  <a:pt x="1024129" y="4375642"/>
                  <a:pt x="1032650" y="4374221"/>
                </a:cubicBezTo>
                <a:cubicBezTo>
                  <a:pt x="1035492" y="4360017"/>
                  <a:pt x="999981" y="4378483"/>
                  <a:pt x="1011344" y="4355756"/>
                </a:cubicBezTo>
                <a:cubicBezTo>
                  <a:pt x="1031230" y="4361438"/>
                  <a:pt x="1029809" y="4347234"/>
                  <a:pt x="1046854" y="4350074"/>
                </a:cubicBezTo>
                <a:close/>
                <a:moveTo>
                  <a:pt x="1434632" y="4344393"/>
                </a:moveTo>
                <a:cubicBezTo>
                  <a:pt x="1454518" y="4340131"/>
                  <a:pt x="1474404" y="4352915"/>
                  <a:pt x="1498550" y="4348653"/>
                </a:cubicBezTo>
                <a:cubicBezTo>
                  <a:pt x="1501391" y="4360017"/>
                  <a:pt x="1492870" y="4361438"/>
                  <a:pt x="1484346" y="4361438"/>
                </a:cubicBezTo>
                <a:cubicBezTo>
                  <a:pt x="1485767" y="4381324"/>
                  <a:pt x="1519857" y="4372801"/>
                  <a:pt x="1541163" y="4374221"/>
                </a:cubicBezTo>
                <a:cubicBezTo>
                  <a:pt x="1539743" y="4394107"/>
                  <a:pt x="1525539" y="4402630"/>
                  <a:pt x="1519857" y="4418255"/>
                </a:cubicBezTo>
                <a:lnTo>
                  <a:pt x="1455937" y="4418255"/>
                </a:lnTo>
                <a:cubicBezTo>
                  <a:pt x="1450257" y="4396948"/>
                  <a:pt x="1423268" y="4392687"/>
                  <a:pt x="1392019" y="4394107"/>
                </a:cubicBezTo>
                <a:cubicBezTo>
                  <a:pt x="1392019" y="4377062"/>
                  <a:pt x="1387757" y="4367120"/>
                  <a:pt x="1406223" y="4362858"/>
                </a:cubicBezTo>
                <a:cubicBezTo>
                  <a:pt x="1409064" y="4361438"/>
                  <a:pt x="1417587" y="4364279"/>
                  <a:pt x="1420427" y="4362858"/>
                </a:cubicBezTo>
                <a:cubicBezTo>
                  <a:pt x="1424689" y="4360017"/>
                  <a:pt x="1430370" y="4345812"/>
                  <a:pt x="1434632" y="4344393"/>
                </a:cubicBezTo>
                <a:close/>
                <a:moveTo>
                  <a:pt x="2286888" y="4325926"/>
                </a:moveTo>
                <a:cubicBezTo>
                  <a:pt x="2286888" y="4328767"/>
                  <a:pt x="2285467" y="4333029"/>
                  <a:pt x="2279785" y="4331608"/>
                </a:cubicBezTo>
                <a:lnTo>
                  <a:pt x="2279785" y="4344391"/>
                </a:lnTo>
                <a:cubicBezTo>
                  <a:pt x="2284046" y="4344391"/>
                  <a:pt x="2288308" y="4344391"/>
                  <a:pt x="2286888" y="4350074"/>
                </a:cubicBezTo>
                <a:lnTo>
                  <a:pt x="2301093" y="4350074"/>
                </a:lnTo>
                <a:cubicBezTo>
                  <a:pt x="2301093" y="4347234"/>
                  <a:pt x="2302512" y="4342972"/>
                  <a:pt x="2308194" y="4344391"/>
                </a:cubicBezTo>
                <a:lnTo>
                  <a:pt x="2308194" y="4331608"/>
                </a:lnTo>
                <a:cubicBezTo>
                  <a:pt x="2303932" y="4331608"/>
                  <a:pt x="2299671" y="4331608"/>
                  <a:pt x="2301093" y="4325926"/>
                </a:cubicBezTo>
                <a:close/>
                <a:moveTo>
                  <a:pt x="1201681" y="4325926"/>
                </a:moveTo>
                <a:cubicBezTo>
                  <a:pt x="1200260" y="4333029"/>
                  <a:pt x="1203101" y="4337290"/>
                  <a:pt x="1208785" y="4337290"/>
                </a:cubicBezTo>
                <a:cubicBezTo>
                  <a:pt x="1203101" y="4350074"/>
                  <a:pt x="1171852" y="4334449"/>
                  <a:pt x="1159069" y="4331608"/>
                </a:cubicBezTo>
                <a:cubicBezTo>
                  <a:pt x="1169013" y="4318825"/>
                  <a:pt x="1183217" y="4338711"/>
                  <a:pt x="1201681" y="4325926"/>
                </a:cubicBezTo>
                <a:close/>
                <a:moveTo>
                  <a:pt x="1575255" y="4320935"/>
                </a:moveTo>
                <a:lnTo>
                  <a:pt x="1586618" y="4321488"/>
                </a:lnTo>
                <a:lnTo>
                  <a:pt x="1596561" y="4321797"/>
                </a:lnTo>
                <a:lnTo>
                  <a:pt x="1596561" y="4333029"/>
                </a:lnTo>
                <a:lnTo>
                  <a:pt x="1575255" y="4333029"/>
                </a:lnTo>
                <a:close/>
                <a:moveTo>
                  <a:pt x="1102251" y="4320245"/>
                </a:moveTo>
                <a:cubicBezTo>
                  <a:pt x="1115035" y="4318825"/>
                  <a:pt x="1117875" y="4327348"/>
                  <a:pt x="1130660" y="4325926"/>
                </a:cubicBezTo>
                <a:cubicBezTo>
                  <a:pt x="1136342" y="4342973"/>
                  <a:pt x="1097991" y="4321666"/>
                  <a:pt x="1102251" y="4338711"/>
                </a:cubicBezTo>
                <a:cubicBezTo>
                  <a:pt x="1089467" y="4334449"/>
                  <a:pt x="1100831" y="4327348"/>
                  <a:pt x="1102251" y="4320245"/>
                </a:cubicBezTo>
                <a:close/>
                <a:moveTo>
                  <a:pt x="1266587" y="4315860"/>
                </a:moveTo>
                <a:lnTo>
                  <a:pt x="1272348" y="4323442"/>
                </a:lnTo>
                <a:cubicBezTo>
                  <a:pt x="1272703" y="4328059"/>
                  <a:pt x="1271993" y="4333741"/>
                  <a:pt x="1272703" y="4338711"/>
                </a:cubicBezTo>
                <a:cubicBezTo>
                  <a:pt x="1286907" y="4341552"/>
                  <a:pt x="1302531" y="4318825"/>
                  <a:pt x="1301111" y="4344393"/>
                </a:cubicBezTo>
                <a:cubicBezTo>
                  <a:pt x="1278385" y="4350074"/>
                  <a:pt x="1264180" y="4340131"/>
                  <a:pt x="1251397" y="4338711"/>
                </a:cubicBezTo>
                <a:cubicBezTo>
                  <a:pt x="1237193" y="4337290"/>
                  <a:pt x="1228669" y="4345812"/>
                  <a:pt x="1215886" y="4338711"/>
                </a:cubicBezTo>
                <a:cubicBezTo>
                  <a:pt x="1214466" y="4325928"/>
                  <a:pt x="1224763" y="4323442"/>
                  <a:pt x="1236482" y="4322377"/>
                </a:cubicBezTo>
                <a:lnTo>
                  <a:pt x="1245532" y="4321521"/>
                </a:lnTo>
                <a:lnTo>
                  <a:pt x="1245693" y="4321666"/>
                </a:lnTo>
                <a:lnTo>
                  <a:pt x="1246582" y="4321421"/>
                </a:lnTo>
                <a:lnTo>
                  <a:pt x="1253839" y="4320735"/>
                </a:lnTo>
                <a:lnTo>
                  <a:pt x="1259080" y="4317985"/>
                </a:lnTo>
                <a:lnTo>
                  <a:pt x="1265069" y="4316339"/>
                </a:lnTo>
                <a:close/>
                <a:moveTo>
                  <a:pt x="968731" y="4307462"/>
                </a:moveTo>
                <a:cubicBezTo>
                  <a:pt x="990037" y="4318825"/>
                  <a:pt x="1005663" y="4298939"/>
                  <a:pt x="1025549" y="4313143"/>
                </a:cubicBezTo>
                <a:cubicBezTo>
                  <a:pt x="1034071" y="4341552"/>
                  <a:pt x="990037" y="4323086"/>
                  <a:pt x="982936" y="4338711"/>
                </a:cubicBezTo>
                <a:cubicBezTo>
                  <a:pt x="972992" y="4333029"/>
                  <a:pt x="972992" y="4318825"/>
                  <a:pt x="968731" y="4307462"/>
                </a:cubicBezTo>
                <a:close/>
                <a:moveTo>
                  <a:pt x="694590" y="4259167"/>
                </a:moveTo>
                <a:cubicBezTo>
                  <a:pt x="696009" y="4259167"/>
                  <a:pt x="690328" y="4264849"/>
                  <a:pt x="687487" y="4264849"/>
                </a:cubicBezTo>
                <a:cubicBezTo>
                  <a:pt x="661919" y="4269109"/>
                  <a:pt x="633511" y="4254905"/>
                  <a:pt x="616465" y="4270531"/>
                </a:cubicBezTo>
                <a:cubicBezTo>
                  <a:pt x="633511" y="4270531"/>
                  <a:pt x="637773" y="4280473"/>
                  <a:pt x="659078" y="4276212"/>
                </a:cubicBezTo>
                <a:cubicBezTo>
                  <a:pt x="661919" y="4288995"/>
                  <a:pt x="678964" y="4267690"/>
                  <a:pt x="680385" y="4288995"/>
                </a:cubicBezTo>
                <a:lnTo>
                  <a:pt x="680385" y="4325926"/>
                </a:lnTo>
                <a:cubicBezTo>
                  <a:pt x="735781" y="4317404"/>
                  <a:pt x="785495" y="4342972"/>
                  <a:pt x="829529" y="4327348"/>
                </a:cubicBezTo>
                <a:cubicBezTo>
                  <a:pt x="836633" y="4303200"/>
                  <a:pt x="803962" y="4323086"/>
                  <a:pt x="794019" y="4321666"/>
                </a:cubicBezTo>
                <a:cubicBezTo>
                  <a:pt x="781235" y="4320245"/>
                  <a:pt x="769871" y="4307462"/>
                  <a:pt x="758508" y="4308881"/>
                </a:cubicBezTo>
                <a:cubicBezTo>
                  <a:pt x="755667" y="4308881"/>
                  <a:pt x="747145" y="4328767"/>
                  <a:pt x="744304" y="4314563"/>
                </a:cubicBezTo>
                <a:cubicBezTo>
                  <a:pt x="747145" y="4307462"/>
                  <a:pt x="751407" y="4300359"/>
                  <a:pt x="758508" y="4296098"/>
                </a:cubicBezTo>
                <a:cubicBezTo>
                  <a:pt x="788336" y="4294677"/>
                  <a:pt x="786917" y="4304621"/>
                  <a:pt x="808224" y="4296098"/>
                </a:cubicBezTo>
                <a:cubicBezTo>
                  <a:pt x="825267" y="4274791"/>
                  <a:pt x="788336" y="4291836"/>
                  <a:pt x="779815" y="4283314"/>
                </a:cubicBezTo>
                <a:cubicBezTo>
                  <a:pt x="776973" y="4280473"/>
                  <a:pt x="782655" y="4267690"/>
                  <a:pt x="779815" y="4264849"/>
                </a:cubicBezTo>
                <a:cubicBezTo>
                  <a:pt x="774132" y="4262008"/>
                  <a:pt x="757087" y="4269109"/>
                  <a:pt x="758508" y="4259167"/>
                </a:cubicBezTo>
                <a:cubicBezTo>
                  <a:pt x="742883" y="4254905"/>
                  <a:pt x="731519" y="4263428"/>
                  <a:pt x="715895" y="4264849"/>
                </a:cubicBezTo>
                <a:cubicBezTo>
                  <a:pt x="707373" y="4266268"/>
                  <a:pt x="705951" y="4259167"/>
                  <a:pt x="694590" y="4259167"/>
                </a:cubicBezTo>
                <a:close/>
                <a:moveTo>
                  <a:pt x="294028" y="3669689"/>
                </a:moveTo>
                <a:cubicBezTo>
                  <a:pt x="306812" y="3671110"/>
                  <a:pt x="295449" y="3700940"/>
                  <a:pt x="312494" y="3698097"/>
                </a:cubicBezTo>
                <a:cubicBezTo>
                  <a:pt x="311073" y="3706621"/>
                  <a:pt x="296869" y="3703781"/>
                  <a:pt x="288346" y="3705200"/>
                </a:cubicBezTo>
                <a:cubicBezTo>
                  <a:pt x="285505" y="3688155"/>
                  <a:pt x="299709" y="3689576"/>
                  <a:pt x="294028" y="3669689"/>
                </a:cubicBezTo>
                <a:close/>
                <a:moveTo>
                  <a:pt x="120825" y="3095793"/>
                </a:moveTo>
                <a:cubicBezTo>
                  <a:pt x="123755" y="3096282"/>
                  <a:pt x="126062" y="3097259"/>
                  <a:pt x="126417" y="3098678"/>
                </a:cubicBezTo>
                <a:cubicBezTo>
                  <a:pt x="127838" y="3102939"/>
                  <a:pt x="117895" y="3107201"/>
                  <a:pt x="113634" y="3105780"/>
                </a:cubicBezTo>
                <a:cubicBezTo>
                  <a:pt x="97654" y="3097257"/>
                  <a:pt x="112037" y="3094328"/>
                  <a:pt x="120825" y="3095793"/>
                </a:cubicBezTo>
                <a:close/>
                <a:moveTo>
                  <a:pt x="281245" y="3063167"/>
                </a:moveTo>
                <a:cubicBezTo>
                  <a:pt x="289767" y="3066008"/>
                  <a:pt x="294028" y="3071689"/>
                  <a:pt x="294028" y="3084474"/>
                </a:cubicBezTo>
                <a:cubicBezTo>
                  <a:pt x="281245" y="3087313"/>
                  <a:pt x="282664" y="3074530"/>
                  <a:pt x="281245" y="3063167"/>
                </a:cubicBezTo>
                <a:close/>
                <a:moveTo>
                  <a:pt x="283264" y="3027989"/>
                </a:moveTo>
                <a:cubicBezTo>
                  <a:pt x="287104" y="3028722"/>
                  <a:pt x="290832" y="3030853"/>
                  <a:pt x="294028" y="3034758"/>
                </a:cubicBezTo>
                <a:cubicBezTo>
                  <a:pt x="299709" y="3061747"/>
                  <a:pt x="267040" y="3046122"/>
                  <a:pt x="275563" y="3077371"/>
                </a:cubicBezTo>
                <a:cubicBezTo>
                  <a:pt x="244314" y="3080212"/>
                  <a:pt x="272722" y="3056065"/>
                  <a:pt x="257097" y="3048962"/>
                </a:cubicBezTo>
                <a:cubicBezTo>
                  <a:pt x="258518" y="3040440"/>
                  <a:pt x="264554" y="3032984"/>
                  <a:pt x="271835" y="3029609"/>
                </a:cubicBezTo>
                <a:cubicBezTo>
                  <a:pt x="275474" y="3027922"/>
                  <a:pt x="279425" y="3027257"/>
                  <a:pt x="283264" y="3027989"/>
                </a:cubicBezTo>
                <a:close/>
                <a:moveTo>
                  <a:pt x="82385" y="2942431"/>
                </a:moveTo>
                <a:lnTo>
                  <a:pt x="95168" y="2942431"/>
                </a:lnTo>
                <a:lnTo>
                  <a:pt x="95168" y="2956636"/>
                </a:lnTo>
                <a:lnTo>
                  <a:pt x="82385" y="2956636"/>
                </a:lnTo>
                <a:close/>
                <a:moveTo>
                  <a:pt x="65340" y="2894137"/>
                </a:moveTo>
                <a:lnTo>
                  <a:pt x="83804" y="2894137"/>
                </a:lnTo>
                <a:lnTo>
                  <a:pt x="83804" y="2915442"/>
                </a:lnTo>
                <a:cubicBezTo>
                  <a:pt x="72441" y="2916862"/>
                  <a:pt x="72441" y="2908341"/>
                  <a:pt x="65340" y="2908341"/>
                </a:cubicBezTo>
                <a:close/>
                <a:moveTo>
                  <a:pt x="290832" y="2893781"/>
                </a:moveTo>
                <a:cubicBezTo>
                  <a:pt x="296691" y="2897776"/>
                  <a:pt x="292963" y="2912957"/>
                  <a:pt x="294028" y="2922545"/>
                </a:cubicBezTo>
                <a:cubicBezTo>
                  <a:pt x="282664" y="2919704"/>
                  <a:pt x="279823" y="2909761"/>
                  <a:pt x="281245" y="2894137"/>
                </a:cubicBezTo>
                <a:cubicBezTo>
                  <a:pt x="285861" y="2892361"/>
                  <a:pt x="288879" y="2892450"/>
                  <a:pt x="290832" y="2893781"/>
                </a:cubicBezTo>
                <a:close/>
                <a:moveTo>
                  <a:pt x="282664" y="2604370"/>
                </a:moveTo>
                <a:cubicBezTo>
                  <a:pt x="311073" y="2602948"/>
                  <a:pt x="279823" y="2624256"/>
                  <a:pt x="295449" y="2632778"/>
                </a:cubicBezTo>
                <a:cubicBezTo>
                  <a:pt x="303971" y="2629937"/>
                  <a:pt x="299709" y="2614312"/>
                  <a:pt x="301131" y="2604370"/>
                </a:cubicBezTo>
                <a:cubicBezTo>
                  <a:pt x="318176" y="2605789"/>
                  <a:pt x="329539" y="2612892"/>
                  <a:pt x="325277" y="2639880"/>
                </a:cubicBezTo>
                <a:cubicBezTo>
                  <a:pt x="313914" y="2651243"/>
                  <a:pt x="279823" y="2635619"/>
                  <a:pt x="281245" y="2661186"/>
                </a:cubicBezTo>
                <a:cubicBezTo>
                  <a:pt x="267040" y="2646982"/>
                  <a:pt x="267040" y="2618574"/>
                  <a:pt x="282664" y="2604370"/>
                </a:cubicBezTo>
                <a:close/>
                <a:moveTo>
                  <a:pt x="278359" y="2500612"/>
                </a:moveTo>
                <a:cubicBezTo>
                  <a:pt x="284885" y="2506271"/>
                  <a:pt x="286217" y="2536899"/>
                  <a:pt x="288346" y="2547552"/>
                </a:cubicBezTo>
                <a:cubicBezTo>
                  <a:pt x="276983" y="2548972"/>
                  <a:pt x="275563" y="2539030"/>
                  <a:pt x="264200" y="2540449"/>
                </a:cubicBezTo>
                <a:cubicBezTo>
                  <a:pt x="257097" y="2521984"/>
                  <a:pt x="289767" y="2514882"/>
                  <a:pt x="269881" y="2504939"/>
                </a:cubicBezTo>
                <a:cubicBezTo>
                  <a:pt x="273433" y="2499613"/>
                  <a:pt x="276185" y="2498725"/>
                  <a:pt x="278359" y="2500612"/>
                </a:cubicBezTo>
                <a:close/>
                <a:moveTo>
                  <a:pt x="330959" y="2470849"/>
                </a:moveTo>
                <a:cubicBezTo>
                  <a:pt x="348004" y="2466587"/>
                  <a:pt x="326698" y="2504939"/>
                  <a:pt x="343743" y="2499258"/>
                </a:cubicBezTo>
                <a:cubicBezTo>
                  <a:pt x="340903" y="2509200"/>
                  <a:pt x="332380" y="2510621"/>
                  <a:pt x="330959" y="2520563"/>
                </a:cubicBezTo>
                <a:cubicBezTo>
                  <a:pt x="319595" y="2519144"/>
                  <a:pt x="326698" y="2496417"/>
                  <a:pt x="312494" y="2499258"/>
                </a:cubicBezTo>
                <a:cubicBezTo>
                  <a:pt x="315335" y="2485053"/>
                  <a:pt x="336641" y="2493576"/>
                  <a:pt x="330959" y="2470849"/>
                </a:cubicBezTo>
                <a:close/>
                <a:moveTo>
                  <a:pt x="268460" y="2294715"/>
                </a:moveTo>
                <a:cubicBezTo>
                  <a:pt x="276983" y="2297556"/>
                  <a:pt x="281245" y="2303239"/>
                  <a:pt x="281245" y="2316022"/>
                </a:cubicBezTo>
                <a:cubicBezTo>
                  <a:pt x="268460" y="2318863"/>
                  <a:pt x="269881" y="2306080"/>
                  <a:pt x="268460" y="2294715"/>
                </a:cubicBezTo>
                <a:close/>
                <a:moveTo>
                  <a:pt x="275563" y="2266306"/>
                </a:moveTo>
                <a:cubicBezTo>
                  <a:pt x="292608" y="2269147"/>
                  <a:pt x="275563" y="2287613"/>
                  <a:pt x="262778" y="2280510"/>
                </a:cubicBezTo>
                <a:cubicBezTo>
                  <a:pt x="264200" y="2273409"/>
                  <a:pt x="275563" y="2276250"/>
                  <a:pt x="275563" y="2266306"/>
                </a:cubicBezTo>
                <a:close/>
                <a:moveTo>
                  <a:pt x="244314" y="2266306"/>
                </a:moveTo>
                <a:cubicBezTo>
                  <a:pt x="261359" y="2264886"/>
                  <a:pt x="242892" y="2318863"/>
                  <a:pt x="244314" y="2280510"/>
                </a:cubicBezTo>
                <a:close/>
                <a:moveTo>
                  <a:pt x="11363" y="2257783"/>
                </a:moveTo>
                <a:cubicBezTo>
                  <a:pt x="25568" y="2262046"/>
                  <a:pt x="15624" y="2328805"/>
                  <a:pt x="11363" y="2350112"/>
                </a:cubicBezTo>
                <a:cubicBezTo>
                  <a:pt x="1420" y="2340168"/>
                  <a:pt x="-1421" y="2317443"/>
                  <a:pt x="1420" y="2293295"/>
                </a:cubicBezTo>
                <a:cubicBezTo>
                  <a:pt x="7101" y="2293295"/>
                  <a:pt x="9942" y="2264886"/>
                  <a:pt x="11363" y="2257783"/>
                </a:cubicBezTo>
                <a:close/>
                <a:moveTo>
                  <a:pt x="247821" y="2229732"/>
                </a:moveTo>
                <a:cubicBezTo>
                  <a:pt x="250085" y="2228045"/>
                  <a:pt x="253191" y="2227955"/>
                  <a:pt x="257097" y="2230796"/>
                </a:cubicBezTo>
                <a:lnTo>
                  <a:pt x="257097" y="2245001"/>
                </a:lnTo>
                <a:cubicBezTo>
                  <a:pt x="251415" y="2243579"/>
                  <a:pt x="251415" y="2247841"/>
                  <a:pt x="251415" y="2252102"/>
                </a:cubicBezTo>
                <a:cubicBezTo>
                  <a:pt x="241828" y="2254233"/>
                  <a:pt x="241030" y="2234791"/>
                  <a:pt x="247821" y="2229732"/>
                </a:cubicBezTo>
                <a:close/>
                <a:moveTo>
                  <a:pt x="305591" y="2218723"/>
                </a:moveTo>
                <a:cubicBezTo>
                  <a:pt x="311252" y="2221919"/>
                  <a:pt x="317111" y="2244291"/>
                  <a:pt x="330959" y="2237897"/>
                </a:cubicBezTo>
                <a:cubicBezTo>
                  <a:pt x="329539" y="2247841"/>
                  <a:pt x="316755" y="2243579"/>
                  <a:pt x="306812" y="2245001"/>
                </a:cubicBezTo>
                <a:cubicBezTo>
                  <a:pt x="306812" y="2235058"/>
                  <a:pt x="308232" y="2225115"/>
                  <a:pt x="299709" y="2223693"/>
                </a:cubicBezTo>
                <a:cubicBezTo>
                  <a:pt x="301840" y="2218723"/>
                  <a:pt x="303705" y="2217657"/>
                  <a:pt x="305591" y="2218723"/>
                </a:cubicBezTo>
                <a:close/>
                <a:moveTo>
                  <a:pt x="269881" y="2202388"/>
                </a:moveTo>
                <a:cubicBezTo>
                  <a:pt x="279823" y="2200967"/>
                  <a:pt x="279823" y="2242159"/>
                  <a:pt x="264200" y="2230796"/>
                </a:cubicBezTo>
                <a:cubicBezTo>
                  <a:pt x="262778" y="2218013"/>
                  <a:pt x="271301" y="2215171"/>
                  <a:pt x="269881" y="2202388"/>
                </a:cubicBezTo>
                <a:close/>
                <a:moveTo>
                  <a:pt x="199194" y="2152384"/>
                </a:moveTo>
                <a:cubicBezTo>
                  <a:pt x="201124" y="2151474"/>
                  <a:pt x="203744" y="2151874"/>
                  <a:pt x="206495" y="2152851"/>
                </a:cubicBezTo>
                <a:cubicBezTo>
                  <a:pt x="211999" y="2154803"/>
                  <a:pt x="218036" y="2159065"/>
                  <a:pt x="220166" y="2159775"/>
                </a:cubicBezTo>
                <a:cubicBezTo>
                  <a:pt x="218746" y="2178241"/>
                  <a:pt x="198860" y="2162616"/>
                  <a:pt x="196019" y="2159775"/>
                </a:cubicBezTo>
                <a:cubicBezTo>
                  <a:pt x="196019" y="2155514"/>
                  <a:pt x="197263" y="2153294"/>
                  <a:pt x="199194" y="2152384"/>
                </a:cubicBezTo>
                <a:close/>
                <a:moveTo>
                  <a:pt x="270281" y="2143795"/>
                </a:moveTo>
                <a:cubicBezTo>
                  <a:pt x="272811" y="2143085"/>
                  <a:pt x="276273" y="2143440"/>
                  <a:pt x="281245" y="2145570"/>
                </a:cubicBezTo>
                <a:cubicBezTo>
                  <a:pt x="276983" y="2152672"/>
                  <a:pt x="275563" y="2161196"/>
                  <a:pt x="275563" y="2173979"/>
                </a:cubicBezTo>
                <a:lnTo>
                  <a:pt x="244314" y="2173979"/>
                </a:lnTo>
                <a:lnTo>
                  <a:pt x="244314" y="2145570"/>
                </a:lnTo>
                <a:cubicBezTo>
                  <a:pt x="255677" y="2142730"/>
                  <a:pt x="255677" y="2151252"/>
                  <a:pt x="257097" y="2159775"/>
                </a:cubicBezTo>
                <a:cubicBezTo>
                  <a:pt x="263489" y="2157644"/>
                  <a:pt x="262690" y="2145926"/>
                  <a:pt x="270281" y="2143795"/>
                </a:cubicBezTo>
                <a:close/>
                <a:moveTo>
                  <a:pt x="19886" y="2142730"/>
                </a:moveTo>
                <a:cubicBezTo>
                  <a:pt x="24146" y="2169717"/>
                  <a:pt x="14204" y="2161196"/>
                  <a:pt x="0" y="2165457"/>
                </a:cubicBezTo>
                <a:cubicBezTo>
                  <a:pt x="5682" y="2141308"/>
                  <a:pt x="1420" y="2158353"/>
                  <a:pt x="19886" y="2142730"/>
                </a:cubicBezTo>
                <a:close/>
                <a:moveTo>
                  <a:pt x="275563" y="2061766"/>
                </a:moveTo>
                <a:cubicBezTo>
                  <a:pt x="278404" y="2087332"/>
                  <a:pt x="259937" y="2091594"/>
                  <a:pt x="244314" y="2097276"/>
                </a:cubicBezTo>
                <a:cubicBezTo>
                  <a:pt x="242892" y="2070287"/>
                  <a:pt x="259937" y="2067446"/>
                  <a:pt x="275563" y="2061766"/>
                </a:cubicBezTo>
                <a:close/>
                <a:moveTo>
                  <a:pt x="305391" y="2047562"/>
                </a:moveTo>
                <a:cubicBezTo>
                  <a:pt x="315335" y="2053242"/>
                  <a:pt x="312494" y="2085912"/>
                  <a:pt x="311073" y="2097276"/>
                </a:cubicBezTo>
                <a:cubicBezTo>
                  <a:pt x="311073" y="2095855"/>
                  <a:pt x="301131" y="2100117"/>
                  <a:pt x="305391" y="2104379"/>
                </a:cubicBezTo>
                <a:cubicBezTo>
                  <a:pt x="313914" y="2111480"/>
                  <a:pt x="308232" y="2110059"/>
                  <a:pt x="299709" y="2111480"/>
                </a:cubicBezTo>
                <a:cubicBezTo>
                  <a:pt x="292608" y="2090174"/>
                  <a:pt x="291187" y="2060345"/>
                  <a:pt x="305391" y="2047562"/>
                </a:cubicBezTo>
                <a:close/>
                <a:moveTo>
                  <a:pt x="335553" y="1906761"/>
                </a:moveTo>
                <a:cubicBezTo>
                  <a:pt x="338328" y="1905696"/>
                  <a:pt x="341257" y="1905518"/>
                  <a:pt x="343743" y="1906938"/>
                </a:cubicBezTo>
                <a:cubicBezTo>
                  <a:pt x="349425" y="1916881"/>
                  <a:pt x="349425" y="1933927"/>
                  <a:pt x="362208" y="1935347"/>
                </a:cubicBezTo>
                <a:cubicBezTo>
                  <a:pt x="357948" y="1942448"/>
                  <a:pt x="350845" y="1946710"/>
                  <a:pt x="343743" y="1949551"/>
                </a:cubicBezTo>
                <a:cubicBezTo>
                  <a:pt x="342322" y="1968016"/>
                  <a:pt x="367890" y="1955233"/>
                  <a:pt x="362208" y="1977960"/>
                </a:cubicBezTo>
                <a:cubicBezTo>
                  <a:pt x="350845" y="1975119"/>
                  <a:pt x="349425" y="1983642"/>
                  <a:pt x="349425" y="1992164"/>
                </a:cubicBezTo>
                <a:cubicBezTo>
                  <a:pt x="338062" y="1989323"/>
                  <a:pt x="338062" y="1972278"/>
                  <a:pt x="325277" y="1970857"/>
                </a:cubicBezTo>
                <a:cubicBezTo>
                  <a:pt x="329539" y="1962336"/>
                  <a:pt x="332380" y="1952392"/>
                  <a:pt x="330959" y="1935347"/>
                </a:cubicBezTo>
                <a:lnTo>
                  <a:pt x="343743" y="1935347"/>
                </a:lnTo>
                <a:cubicBezTo>
                  <a:pt x="348004" y="1922564"/>
                  <a:pt x="330959" y="1904098"/>
                  <a:pt x="330959" y="1921143"/>
                </a:cubicBezTo>
                <a:cubicBezTo>
                  <a:pt x="320306" y="1921143"/>
                  <a:pt x="327230" y="1909957"/>
                  <a:pt x="335553" y="1906761"/>
                </a:cubicBezTo>
                <a:close/>
                <a:moveTo>
                  <a:pt x="306812" y="1892734"/>
                </a:moveTo>
                <a:cubicBezTo>
                  <a:pt x="313914" y="1894155"/>
                  <a:pt x="311073" y="1906938"/>
                  <a:pt x="319595" y="1906938"/>
                </a:cubicBezTo>
                <a:cubicBezTo>
                  <a:pt x="318176" y="1915461"/>
                  <a:pt x="308232" y="1912620"/>
                  <a:pt x="301131" y="1914040"/>
                </a:cubicBezTo>
                <a:cubicBezTo>
                  <a:pt x="303971" y="1908360"/>
                  <a:pt x="306812" y="1902676"/>
                  <a:pt x="306812" y="1892734"/>
                </a:cubicBezTo>
                <a:close/>
                <a:moveTo>
                  <a:pt x="95168" y="1843018"/>
                </a:moveTo>
                <a:cubicBezTo>
                  <a:pt x="115054" y="1860064"/>
                  <a:pt x="73862" y="1871427"/>
                  <a:pt x="95168" y="1843018"/>
                </a:cubicBezTo>
                <a:close/>
                <a:moveTo>
                  <a:pt x="380675" y="1800406"/>
                </a:moveTo>
                <a:lnTo>
                  <a:pt x="385193" y="1800406"/>
                </a:lnTo>
                <a:lnTo>
                  <a:pt x="390439" y="1804845"/>
                </a:lnTo>
                <a:lnTo>
                  <a:pt x="393458" y="1801827"/>
                </a:lnTo>
                <a:lnTo>
                  <a:pt x="393458" y="1821713"/>
                </a:lnTo>
                <a:lnTo>
                  <a:pt x="380675" y="1821713"/>
                </a:lnTo>
                <a:close/>
                <a:moveTo>
                  <a:pt x="102271" y="1800406"/>
                </a:moveTo>
                <a:cubicBezTo>
                  <a:pt x="109372" y="1801827"/>
                  <a:pt x="105112" y="1807509"/>
                  <a:pt x="102271" y="1807509"/>
                </a:cubicBezTo>
                <a:cubicBezTo>
                  <a:pt x="109372" y="1816031"/>
                  <a:pt x="106531" y="1837338"/>
                  <a:pt x="89486" y="1835917"/>
                </a:cubicBezTo>
                <a:cubicBezTo>
                  <a:pt x="96589" y="1818872"/>
                  <a:pt x="88066" y="1817451"/>
                  <a:pt x="102271" y="1800406"/>
                </a:cubicBezTo>
                <a:close/>
                <a:moveTo>
                  <a:pt x="45454" y="1793304"/>
                </a:moveTo>
                <a:cubicBezTo>
                  <a:pt x="55396" y="1806089"/>
                  <a:pt x="41192" y="1899836"/>
                  <a:pt x="45454" y="1938188"/>
                </a:cubicBezTo>
                <a:cubicBezTo>
                  <a:pt x="36931" y="1950973"/>
                  <a:pt x="44032" y="1938188"/>
                  <a:pt x="21306" y="1948132"/>
                </a:cubicBezTo>
                <a:cubicBezTo>
                  <a:pt x="18465" y="1966596"/>
                  <a:pt x="29828" y="1970857"/>
                  <a:pt x="45454" y="1969437"/>
                </a:cubicBezTo>
                <a:cubicBezTo>
                  <a:pt x="45454" y="1989323"/>
                  <a:pt x="32669" y="1990744"/>
                  <a:pt x="21306" y="1986482"/>
                </a:cubicBezTo>
                <a:cubicBezTo>
                  <a:pt x="17045" y="1986482"/>
                  <a:pt x="22727" y="2046140"/>
                  <a:pt x="14204" y="2044719"/>
                </a:cubicBezTo>
                <a:cubicBezTo>
                  <a:pt x="8523" y="2041878"/>
                  <a:pt x="9942" y="1992164"/>
                  <a:pt x="12783" y="1970857"/>
                </a:cubicBezTo>
                <a:cubicBezTo>
                  <a:pt x="14204" y="1958074"/>
                  <a:pt x="15624" y="1936768"/>
                  <a:pt x="14204" y="1919723"/>
                </a:cubicBezTo>
                <a:cubicBezTo>
                  <a:pt x="19886" y="1916881"/>
                  <a:pt x="25568" y="1933927"/>
                  <a:pt x="26987" y="1933927"/>
                </a:cubicBezTo>
                <a:cubicBezTo>
                  <a:pt x="36931" y="1933927"/>
                  <a:pt x="28409" y="1885631"/>
                  <a:pt x="32669" y="1881371"/>
                </a:cubicBezTo>
                <a:cubicBezTo>
                  <a:pt x="44032" y="1872848"/>
                  <a:pt x="38351" y="1816031"/>
                  <a:pt x="45454" y="1793304"/>
                </a:cubicBezTo>
                <a:close/>
                <a:moveTo>
                  <a:pt x="349425" y="1779100"/>
                </a:moveTo>
                <a:lnTo>
                  <a:pt x="362208" y="1779100"/>
                </a:lnTo>
                <a:lnTo>
                  <a:pt x="362208" y="1793304"/>
                </a:lnTo>
                <a:lnTo>
                  <a:pt x="349425" y="1793304"/>
                </a:lnTo>
                <a:close/>
                <a:moveTo>
                  <a:pt x="325277" y="1771997"/>
                </a:moveTo>
                <a:cubicBezTo>
                  <a:pt x="356527" y="1771997"/>
                  <a:pt x="336641" y="1806089"/>
                  <a:pt x="330959" y="1821713"/>
                </a:cubicBezTo>
                <a:cubicBezTo>
                  <a:pt x="318176" y="1818872"/>
                  <a:pt x="329539" y="1786201"/>
                  <a:pt x="325277" y="1771997"/>
                </a:cubicBezTo>
                <a:close/>
                <a:moveTo>
                  <a:pt x="275563" y="1659784"/>
                </a:moveTo>
                <a:cubicBezTo>
                  <a:pt x="281245" y="1679670"/>
                  <a:pt x="267040" y="1678250"/>
                  <a:pt x="269881" y="1695295"/>
                </a:cubicBezTo>
                <a:cubicBezTo>
                  <a:pt x="249995" y="1693874"/>
                  <a:pt x="255677" y="1656943"/>
                  <a:pt x="275563" y="1659784"/>
                </a:cubicBezTo>
                <a:close/>
                <a:moveTo>
                  <a:pt x="98587" y="1659429"/>
                </a:moveTo>
                <a:cubicBezTo>
                  <a:pt x="99607" y="1659164"/>
                  <a:pt x="100851" y="1661205"/>
                  <a:pt x="102271" y="1666887"/>
                </a:cubicBezTo>
                <a:lnTo>
                  <a:pt x="102271" y="1702397"/>
                </a:lnTo>
                <a:cubicBezTo>
                  <a:pt x="106531" y="1727965"/>
                  <a:pt x="124998" y="1760634"/>
                  <a:pt x="102271" y="1780521"/>
                </a:cubicBezTo>
                <a:cubicBezTo>
                  <a:pt x="89486" y="1781941"/>
                  <a:pt x="109372" y="1764896"/>
                  <a:pt x="102271" y="1759214"/>
                </a:cubicBezTo>
                <a:cubicBezTo>
                  <a:pt x="98009" y="1754952"/>
                  <a:pt x="95168" y="1747851"/>
                  <a:pt x="96589" y="1737908"/>
                </a:cubicBezTo>
                <a:cubicBezTo>
                  <a:pt x="96589" y="1739328"/>
                  <a:pt x="106531" y="1735067"/>
                  <a:pt x="102271" y="1730805"/>
                </a:cubicBezTo>
                <a:cubicBezTo>
                  <a:pt x="99430" y="1726543"/>
                  <a:pt x="93748" y="1713760"/>
                  <a:pt x="96589" y="1688193"/>
                </a:cubicBezTo>
                <a:cubicBezTo>
                  <a:pt x="95169" y="1683932"/>
                  <a:pt x="95169" y="1672924"/>
                  <a:pt x="96234" y="1665821"/>
                </a:cubicBezTo>
                <a:cubicBezTo>
                  <a:pt x="96768" y="1662270"/>
                  <a:pt x="97566" y="1659696"/>
                  <a:pt x="98587" y="1659429"/>
                </a:cubicBezTo>
                <a:close/>
                <a:moveTo>
                  <a:pt x="58237" y="1624274"/>
                </a:moveTo>
                <a:cubicBezTo>
                  <a:pt x="69600" y="1638478"/>
                  <a:pt x="53976" y="1637057"/>
                  <a:pt x="58237" y="1659784"/>
                </a:cubicBezTo>
                <a:cubicBezTo>
                  <a:pt x="49714" y="1656943"/>
                  <a:pt x="53976" y="1637057"/>
                  <a:pt x="34090" y="1645580"/>
                </a:cubicBezTo>
                <a:cubicBezTo>
                  <a:pt x="39772" y="1654102"/>
                  <a:pt x="38351" y="1659784"/>
                  <a:pt x="26987" y="1659784"/>
                </a:cubicBezTo>
                <a:cubicBezTo>
                  <a:pt x="25568" y="1634216"/>
                  <a:pt x="35510" y="1622853"/>
                  <a:pt x="58237" y="1624274"/>
                </a:cubicBezTo>
                <a:close/>
                <a:moveTo>
                  <a:pt x="319595" y="1617171"/>
                </a:moveTo>
                <a:cubicBezTo>
                  <a:pt x="336641" y="1617171"/>
                  <a:pt x="346584" y="1612909"/>
                  <a:pt x="350845" y="1631375"/>
                </a:cubicBezTo>
                <a:cubicBezTo>
                  <a:pt x="352266" y="1634216"/>
                  <a:pt x="349425" y="1642739"/>
                  <a:pt x="350845" y="1645580"/>
                </a:cubicBezTo>
                <a:cubicBezTo>
                  <a:pt x="353686" y="1649842"/>
                  <a:pt x="367890" y="1655522"/>
                  <a:pt x="369311" y="1659784"/>
                </a:cubicBezTo>
                <a:cubicBezTo>
                  <a:pt x="373572" y="1681091"/>
                  <a:pt x="360789" y="1699556"/>
                  <a:pt x="365049" y="1723704"/>
                </a:cubicBezTo>
                <a:cubicBezTo>
                  <a:pt x="353686" y="1726543"/>
                  <a:pt x="352266" y="1718021"/>
                  <a:pt x="352266" y="1709500"/>
                </a:cubicBezTo>
                <a:cubicBezTo>
                  <a:pt x="332380" y="1710919"/>
                  <a:pt x="340903" y="1745010"/>
                  <a:pt x="339481" y="1766317"/>
                </a:cubicBezTo>
                <a:cubicBezTo>
                  <a:pt x="319595" y="1764896"/>
                  <a:pt x="311073" y="1750691"/>
                  <a:pt x="295449" y="1745010"/>
                </a:cubicBezTo>
                <a:lnTo>
                  <a:pt x="295449" y="1681091"/>
                </a:lnTo>
                <a:cubicBezTo>
                  <a:pt x="316755" y="1675408"/>
                  <a:pt x="321017" y="1648421"/>
                  <a:pt x="319595" y="1617171"/>
                </a:cubicBezTo>
                <a:close/>
                <a:moveTo>
                  <a:pt x="37286" y="1515255"/>
                </a:moveTo>
                <a:cubicBezTo>
                  <a:pt x="41903" y="1517031"/>
                  <a:pt x="48295" y="1521292"/>
                  <a:pt x="58237" y="1519161"/>
                </a:cubicBezTo>
                <a:cubicBezTo>
                  <a:pt x="58237" y="1536208"/>
                  <a:pt x="35510" y="1534786"/>
                  <a:pt x="26987" y="1526264"/>
                </a:cubicBezTo>
                <a:cubicBezTo>
                  <a:pt x="29828" y="1514191"/>
                  <a:pt x="32669" y="1513479"/>
                  <a:pt x="37286" y="1515255"/>
                </a:cubicBezTo>
                <a:close/>
                <a:moveTo>
                  <a:pt x="374993" y="1441038"/>
                </a:moveTo>
                <a:cubicBezTo>
                  <a:pt x="399139" y="1439618"/>
                  <a:pt x="384935" y="1482231"/>
                  <a:pt x="399139" y="1490752"/>
                </a:cubicBezTo>
                <a:cubicBezTo>
                  <a:pt x="397720" y="1500696"/>
                  <a:pt x="384935" y="1496436"/>
                  <a:pt x="374993" y="1497855"/>
                </a:cubicBezTo>
                <a:cubicBezTo>
                  <a:pt x="372152" y="1512060"/>
                  <a:pt x="394879" y="1527684"/>
                  <a:pt x="369311" y="1526264"/>
                </a:cubicBezTo>
                <a:cubicBezTo>
                  <a:pt x="363629" y="1503537"/>
                  <a:pt x="373572" y="1489333"/>
                  <a:pt x="374993" y="1476548"/>
                </a:cubicBezTo>
                <a:cubicBezTo>
                  <a:pt x="376413" y="1462344"/>
                  <a:pt x="367890" y="1453823"/>
                  <a:pt x="374993" y="1441038"/>
                </a:cubicBezTo>
                <a:close/>
                <a:moveTo>
                  <a:pt x="336641" y="1412630"/>
                </a:moveTo>
                <a:cubicBezTo>
                  <a:pt x="343743" y="1411210"/>
                  <a:pt x="357948" y="1432516"/>
                  <a:pt x="342322" y="1433935"/>
                </a:cubicBezTo>
                <a:cubicBezTo>
                  <a:pt x="345163" y="1448140"/>
                  <a:pt x="356527" y="1452402"/>
                  <a:pt x="355107" y="1469447"/>
                </a:cubicBezTo>
                <a:cubicBezTo>
                  <a:pt x="343743" y="1468027"/>
                  <a:pt x="355107" y="1493595"/>
                  <a:pt x="349425" y="1497855"/>
                </a:cubicBezTo>
                <a:cubicBezTo>
                  <a:pt x="340903" y="1504957"/>
                  <a:pt x="349425" y="1500696"/>
                  <a:pt x="349425" y="1512060"/>
                </a:cubicBezTo>
                <a:cubicBezTo>
                  <a:pt x="349425" y="1522003"/>
                  <a:pt x="343743" y="1524844"/>
                  <a:pt x="343743" y="1533365"/>
                </a:cubicBezTo>
                <a:cubicBezTo>
                  <a:pt x="343743" y="1547570"/>
                  <a:pt x="360789" y="1567457"/>
                  <a:pt x="330959" y="1561774"/>
                </a:cubicBezTo>
                <a:cubicBezTo>
                  <a:pt x="329539" y="1580240"/>
                  <a:pt x="355107" y="1567457"/>
                  <a:pt x="349425" y="1590182"/>
                </a:cubicBezTo>
                <a:cubicBezTo>
                  <a:pt x="340903" y="1588763"/>
                  <a:pt x="315335" y="1601546"/>
                  <a:pt x="330959" y="1604387"/>
                </a:cubicBezTo>
                <a:cubicBezTo>
                  <a:pt x="325277" y="1625694"/>
                  <a:pt x="315335" y="1595866"/>
                  <a:pt x="299709" y="1604387"/>
                </a:cubicBezTo>
                <a:cubicBezTo>
                  <a:pt x="301131" y="1617171"/>
                  <a:pt x="321017" y="1662625"/>
                  <a:pt x="294028" y="1661204"/>
                </a:cubicBezTo>
                <a:cubicBezTo>
                  <a:pt x="286926" y="1654102"/>
                  <a:pt x="302550" y="1620012"/>
                  <a:pt x="294028" y="1611490"/>
                </a:cubicBezTo>
                <a:cubicBezTo>
                  <a:pt x="285505" y="1602967"/>
                  <a:pt x="296869" y="1605808"/>
                  <a:pt x="294028" y="1590182"/>
                </a:cubicBezTo>
                <a:cubicBezTo>
                  <a:pt x="294028" y="1587341"/>
                  <a:pt x="288346" y="1581661"/>
                  <a:pt x="288346" y="1583081"/>
                </a:cubicBezTo>
                <a:cubicBezTo>
                  <a:pt x="288346" y="1577399"/>
                  <a:pt x="295449" y="1575978"/>
                  <a:pt x="294028" y="1568877"/>
                </a:cubicBezTo>
                <a:cubicBezTo>
                  <a:pt x="292608" y="1551832"/>
                  <a:pt x="284085" y="1551832"/>
                  <a:pt x="294028" y="1540468"/>
                </a:cubicBezTo>
                <a:cubicBezTo>
                  <a:pt x="294028" y="1540468"/>
                  <a:pt x="294028" y="1534786"/>
                  <a:pt x="294028" y="1533365"/>
                </a:cubicBezTo>
                <a:cubicBezTo>
                  <a:pt x="292608" y="1510640"/>
                  <a:pt x="282664" y="1482231"/>
                  <a:pt x="294028" y="1455242"/>
                </a:cubicBezTo>
                <a:cubicBezTo>
                  <a:pt x="306812" y="1453823"/>
                  <a:pt x="313914" y="1460924"/>
                  <a:pt x="312494" y="1476548"/>
                </a:cubicBezTo>
                <a:cubicBezTo>
                  <a:pt x="319595" y="1475128"/>
                  <a:pt x="316755" y="1463765"/>
                  <a:pt x="318176" y="1455242"/>
                </a:cubicBezTo>
                <a:cubicBezTo>
                  <a:pt x="326698" y="1463765"/>
                  <a:pt x="328118" y="1458083"/>
                  <a:pt x="336641" y="1455242"/>
                </a:cubicBezTo>
                <a:close/>
                <a:moveTo>
                  <a:pt x="58237" y="1405527"/>
                </a:moveTo>
                <a:cubicBezTo>
                  <a:pt x="48295" y="1419731"/>
                  <a:pt x="58237" y="1414049"/>
                  <a:pt x="58237" y="1433935"/>
                </a:cubicBezTo>
                <a:cubicBezTo>
                  <a:pt x="39772" y="1445299"/>
                  <a:pt x="39772" y="1395584"/>
                  <a:pt x="58237" y="1405527"/>
                </a:cubicBezTo>
                <a:close/>
                <a:moveTo>
                  <a:pt x="382094" y="1384221"/>
                </a:moveTo>
                <a:cubicBezTo>
                  <a:pt x="394879" y="1394165"/>
                  <a:pt x="374993" y="1408369"/>
                  <a:pt x="387776" y="1426834"/>
                </a:cubicBezTo>
                <a:cubicBezTo>
                  <a:pt x="380675" y="1425414"/>
                  <a:pt x="376413" y="1428254"/>
                  <a:pt x="376413" y="1433935"/>
                </a:cubicBezTo>
                <a:cubicBezTo>
                  <a:pt x="363629" y="1428254"/>
                  <a:pt x="379253" y="1397006"/>
                  <a:pt x="382094" y="1384221"/>
                </a:cubicBezTo>
                <a:close/>
                <a:moveTo>
                  <a:pt x="347761" y="1380248"/>
                </a:moveTo>
                <a:cubicBezTo>
                  <a:pt x="351023" y="1380226"/>
                  <a:pt x="354042" y="1381380"/>
                  <a:pt x="356527" y="1384221"/>
                </a:cubicBezTo>
                <a:cubicBezTo>
                  <a:pt x="343743" y="1398425"/>
                  <a:pt x="338062" y="1409789"/>
                  <a:pt x="319595" y="1398425"/>
                </a:cubicBezTo>
                <a:cubicBezTo>
                  <a:pt x="323857" y="1393453"/>
                  <a:pt x="330604" y="1387062"/>
                  <a:pt x="337529" y="1383334"/>
                </a:cubicBezTo>
                <a:cubicBezTo>
                  <a:pt x="340991" y="1381469"/>
                  <a:pt x="344498" y="1380270"/>
                  <a:pt x="347761" y="1380248"/>
                </a:cubicBezTo>
                <a:close/>
                <a:moveTo>
                  <a:pt x="378678" y="1323231"/>
                </a:moveTo>
                <a:cubicBezTo>
                  <a:pt x="380054" y="1322521"/>
                  <a:pt x="381563" y="1322788"/>
                  <a:pt x="383161" y="1323498"/>
                </a:cubicBezTo>
                <a:cubicBezTo>
                  <a:pt x="386356" y="1324918"/>
                  <a:pt x="389907" y="1328114"/>
                  <a:pt x="393458" y="1328824"/>
                </a:cubicBezTo>
                <a:cubicBezTo>
                  <a:pt x="394879" y="1341608"/>
                  <a:pt x="386356" y="1344449"/>
                  <a:pt x="387776" y="1357232"/>
                </a:cubicBezTo>
                <a:cubicBezTo>
                  <a:pt x="370731" y="1361494"/>
                  <a:pt x="392038" y="1323143"/>
                  <a:pt x="374993" y="1328824"/>
                </a:cubicBezTo>
                <a:cubicBezTo>
                  <a:pt x="376058" y="1325628"/>
                  <a:pt x="377301" y="1323941"/>
                  <a:pt x="378678" y="1323231"/>
                </a:cubicBezTo>
                <a:close/>
                <a:moveTo>
                  <a:pt x="336286" y="1317817"/>
                </a:moveTo>
                <a:cubicBezTo>
                  <a:pt x="340548" y="1316395"/>
                  <a:pt x="345165" y="1317462"/>
                  <a:pt x="349425" y="1321722"/>
                </a:cubicBezTo>
                <a:cubicBezTo>
                  <a:pt x="348004" y="1330245"/>
                  <a:pt x="335221" y="1327404"/>
                  <a:pt x="325277" y="1328824"/>
                </a:cubicBezTo>
                <a:cubicBezTo>
                  <a:pt x="328118" y="1323142"/>
                  <a:pt x="332025" y="1319236"/>
                  <a:pt x="336286" y="1317817"/>
                </a:cubicBezTo>
                <a:close/>
                <a:moveTo>
                  <a:pt x="83804" y="1314619"/>
                </a:moveTo>
                <a:cubicBezTo>
                  <a:pt x="96589" y="1320301"/>
                  <a:pt x="105112" y="1331664"/>
                  <a:pt x="102271" y="1357232"/>
                </a:cubicBezTo>
                <a:cubicBezTo>
                  <a:pt x="82385" y="1357232"/>
                  <a:pt x="86645" y="1331664"/>
                  <a:pt x="83804" y="1314619"/>
                </a:cubicBezTo>
                <a:close/>
                <a:moveTo>
                  <a:pt x="294028" y="1236497"/>
                </a:moveTo>
                <a:cubicBezTo>
                  <a:pt x="311073" y="1235075"/>
                  <a:pt x="292608" y="1289052"/>
                  <a:pt x="294028" y="1250701"/>
                </a:cubicBezTo>
                <a:close/>
                <a:moveTo>
                  <a:pt x="346052" y="1235432"/>
                </a:moveTo>
                <a:cubicBezTo>
                  <a:pt x="347739" y="1233745"/>
                  <a:pt x="350845" y="1233656"/>
                  <a:pt x="356527" y="1236497"/>
                </a:cubicBezTo>
                <a:cubicBezTo>
                  <a:pt x="350845" y="1256383"/>
                  <a:pt x="365049" y="1254963"/>
                  <a:pt x="362208" y="1272007"/>
                </a:cubicBezTo>
                <a:lnTo>
                  <a:pt x="349425" y="1272007"/>
                </a:lnTo>
                <a:cubicBezTo>
                  <a:pt x="349425" y="1279109"/>
                  <a:pt x="357948" y="1277688"/>
                  <a:pt x="362208" y="1279109"/>
                </a:cubicBezTo>
                <a:cubicBezTo>
                  <a:pt x="346584" y="1303256"/>
                  <a:pt x="340903" y="1257802"/>
                  <a:pt x="319595" y="1264905"/>
                </a:cubicBezTo>
                <a:cubicBezTo>
                  <a:pt x="322436" y="1259223"/>
                  <a:pt x="325277" y="1253542"/>
                  <a:pt x="325277" y="1243598"/>
                </a:cubicBezTo>
                <a:cubicBezTo>
                  <a:pt x="336641" y="1240759"/>
                  <a:pt x="336641" y="1249280"/>
                  <a:pt x="338062" y="1257802"/>
                </a:cubicBezTo>
                <a:cubicBezTo>
                  <a:pt x="348715" y="1259933"/>
                  <a:pt x="340991" y="1240492"/>
                  <a:pt x="346052" y="1235432"/>
                </a:cubicBezTo>
                <a:close/>
                <a:moveTo>
                  <a:pt x="102271" y="1229394"/>
                </a:moveTo>
                <a:cubicBezTo>
                  <a:pt x="92327" y="1253542"/>
                  <a:pt x="103690" y="1256383"/>
                  <a:pt x="102271" y="1286211"/>
                </a:cubicBezTo>
                <a:cubicBezTo>
                  <a:pt x="90907" y="1284791"/>
                  <a:pt x="76703" y="1227974"/>
                  <a:pt x="102271" y="1229394"/>
                </a:cubicBezTo>
                <a:close/>
                <a:moveTo>
                  <a:pt x="403483" y="1194260"/>
                </a:moveTo>
                <a:lnTo>
                  <a:pt x="403401" y="1195305"/>
                </a:lnTo>
                <a:lnTo>
                  <a:pt x="404723" y="1194289"/>
                </a:lnTo>
                <a:lnTo>
                  <a:pt x="401138" y="1208953"/>
                </a:lnTo>
                <a:cubicBezTo>
                  <a:pt x="401270" y="1223269"/>
                  <a:pt x="409793" y="1235787"/>
                  <a:pt x="399139" y="1250701"/>
                </a:cubicBezTo>
                <a:cubicBezTo>
                  <a:pt x="370731" y="1259223"/>
                  <a:pt x="389197" y="1215189"/>
                  <a:pt x="373572" y="1208088"/>
                </a:cubicBezTo>
                <a:cubicBezTo>
                  <a:pt x="376413" y="1203118"/>
                  <a:pt x="381384" y="1200632"/>
                  <a:pt x="387066" y="1198856"/>
                </a:cubicBezTo>
                <a:close/>
                <a:moveTo>
                  <a:pt x="89486" y="1193884"/>
                </a:moveTo>
                <a:lnTo>
                  <a:pt x="102271" y="1193884"/>
                </a:lnTo>
                <a:lnTo>
                  <a:pt x="102271" y="1208088"/>
                </a:lnTo>
                <a:lnTo>
                  <a:pt x="89486" y="1208088"/>
                </a:lnTo>
                <a:close/>
                <a:moveTo>
                  <a:pt x="338062" y="1129964"/>
                </a:moveTo>
                <a:cubicBezTo>
                  <a:pt x="342322" y="1148430"/>
                  <a:pt x="339481" y="1151271"/>
                  <a:pt x="335221" y="1173998"/>
                </a:cubicBezTo>
                <a:cubicBezTo>
                  <a:pt x="321017" y="1173998"/>
                  <a:pt x="321017" y="1175417"/>
                  <a:pt x="316755" y="1169737"/>
                </a:cubicBezTo>
                <a:cubicBezTo>
                  <a:pt x="316755" y="1151271"/>
                  <a:pt x="321017" y="1161213"/>
                  <a:pt x="321017" y="1142748"/>
                </a:cubicBezTo>
                <a:cubicBezTo>
                  <a:pt x="330959" y="1138488"/>
                  <a:pt x="323857" y="1127124"/>
                  <a:pt x="338062" y="1129964"/>
                </a:cubicBezTo>
                <a:close/>
                <a:moveTo>
                  <a:pt x="299709" y="1017751"/>
                </a:moveTo>
                <a:cubicBezTo>
                  <a:pt x="292608" y="1049000"/>
                  <a:pt x="312494" y="1073147"/>
                  <a:pt x="299709" y="1088772"/>
                </a:cubicBezTo>
                <a:cubicBezTo>
                  <a:pt x="274142" y="1087351"/>
                  <a:pt x="305391" y="1022011"/>
                  <a:pt x="262778" y="1039058"/>
                </a:cubicBezTo>
                <a:cubicBezTo>
                  <a:pt x="265619" y="1022011"/>
                  <a:pt x="285505" y="1023432"/>
                  <a:pt x="299709" y="1017751"/>
                </a:cubicBezTo>
                <a:close/>
                <a:moveTo>
                  <a:pt x="190337" y="1017751"/>
                </a:moveTo>
                <a:cubicBezTo>
                  <a:pt x="203120" y="1017751"/>
                  <a:pt x="190337" y="1033375"/>
                  <a:pt x="190337" y="1031955"/>
                </a:cubicBezTo>
                <a:cubicBezTo>
                  <a:pt x="193178" y="1044738"/>
                  <a:pt x="211643" y="1040478"/>
                  <a:pt x="203120" y="1067466"/>
                </a:cubicBezTo>
                <a:cubicBezTo>
                  <a:pt x="188916" y="1070307"/>
                  <a:pt x="190337" y="1054682"/>
                  <a:pt x="171871" y="1060364"/>
                </a:cubicBezTo>
                <a:cubicBezTo>
                  <a:pt x="177553" y="1044738"/>
                  <a:pt x="181815" y="1029114"/>
                  <a:pt x="190337" y="1017751"/>
                </a:cubicBezTo>
                <a:close/>
                <a:moveTo>
                  <a:pt x="142043" y="1010649"/>
                </a:moveTo>
                <a:cubicBezTo>
                  <a:pt x="167610" y="1014910"/>
                  <a:pt x="150565" y="1043318"/>
                  <a:pt x="160508" y="1053262"/>
                </a:cubicBezTo>
                <a:cubicBezTo>
                  <a:pt x="156247" y="1060364"/>
                  <a:pt x="149144" y="1064624"/>
                  <a:pt x="142043" y="1067466"/>
                </a:cubicBezTo>
                <a:cubicBezTo>
                  <a:pt x="156247" y="1083090"/>
                  <a:pt x="139202" y="1095875"/>
                  <a:pt x="142043" y="1117181"/>
                </a:cubicBezTo>
                <a:cubicBezTo>
                  <a:pt x="129258" y="1121441"/>
                  <a:pt x="120736" y="1070307"/>
                  <a:pt x="129258" y="1060364"/>
                </a:cubicBezTo>
                <a:cubicBezTo>
                  <a:pt x="134940" y="1054682"/>
                  <a:pt x="130679" y="1053262"/>
                  <a:pt x="129258" y="1039058"/>
                </a:cubicBezTo>
                <a:cubicBezTo>
                  <a:pt x="127838" y="1031955"/>
                  <a:pt x="129258" y="1024854"/>
                  <a:pt x="129258" y="1017751"/>
                </a:cubicBezTo>
                <a:cubicBezTo>
                  <a:pt x="136361" y="1019170"/>
                  <a:pt x="140622" y="1016329"/>
                  <a:pt x="142043" y="1010649"/>
                </a:cubicBezTo>
                <a:close/>
                <a:moveTo>
                  <a:pt x="154826" y="983660"/>
                </a:moveTo>
                <a:lnTo>
                  <a:pt x="173292" y="983660"/>
                </a:lnTo>
                <a:cubicBezTo>
                  <a:pt x="169030" y="989342"/>
                  <a:pt x="166189" y="996445"/>
                  <a:pt x="173292" y="997865"/>
                </a:cubicBezTo>
                <a:cubicBezTo>
                  <a:pt x="176133" y="1010649"/>
                  <a:pt x="149144" y="999286"/>
                  <a:pt x="154826" y="983660"/>
                </a:cubicBezTo>
                <a:close/>
                <a:moveTo>
                  <a:pt x="210223" y="975138"/>
                </a:moveTo>
                <a:cubicBezTo>
                  <a:pt x="223006" y="973717"/>
                  <a:pt x="213064" y="1000705"/>
                  <a:pt x="215905" y="1010649"/>
                </a:cubicBezTo>
                <a:cubicBezTo>
                  <a:pt x="204542" y="1004966"/>
                  <a:pt x="200280" y="986501"/>
                  <a:pt x="210223" y="975138"/>
                </a:cubicBezTo>
                <a:close/>
                <a:moveTo>
                  <a:pt x="443172" y="841616"/>
                </a:moveTo>
                <a:cubicBezTo>
                  <a:pt x="443172" y="858661"/>
                  <a:pt x="433230" y="862923"/>
                  <a:pt x="437490" y="884229"/>
                </a:cubicBezTo>
                <a:cubicBezTo>
                  <a:pt x="424707" y="887070"/>
                  <a:pt x="446013" y="904115"/>
                  <a:pt x="424707" y="905536"/>
                </a:cubicBezTo>
                <a:lnTo>
                  <a:pt x="387776" y="905536"/>
                </a:lnTo>
                <a:cubicBezTo>
                  <a:pt x="394877" y="960932"/>
                  <a:pt x="370731" y="1010648"/>
                  <a:pt x="386355" y="1054680"/>
                </a:cubicBezTo>
                <a:cubicBezTo>
                  <a:pt x="410503" y="1061783"/>
                  <a:pt x="390617" y="1029113"/>
                  <a:pt x="392036" y="1019170"/>
                </a:cubicBezTo>
                <a:cubicBezTo>
                  <a:pt x="393458" y="1006386"/>
                  <a:pt x="406241" y="995022"/>
                  <a:pt x="404821" y="983659"/>
                </a:cubicBezTo>
                <a:cubicBezTo>
                  <a:pt x="404821" y="980818"/>
                  <a:pt x="384935" y="972295"/>
                  <a:pt x="399139" y="969455"/>
                </a:cubicBezTo>
                <a:cubicBezTo>
                  <a:pt x="406241" y="972295"/>
                  <a:pt x="413344" y="976558"/>
                  <a:pt x="417604" y="983659"/>
                </a:cubicBezTo>
                <a:cubicBezTo>
                  <a:pt x="419025" y="1013489"/>
                  <a:pt x="409082" y="1012068"/>
                  <a:pt x="417604" y="1033375"/>
                </a:cubicBezTo>
                <a:cubicBezTo>
                  <a:pt x="438911" y="1050418"/>
                  <a:pt x="421866" y="1013489"/>
                  <a:pt x="430389" y="1004966"/>
                </a:cubicBezTo>
                <a:cubicBezTo>
                  <a:pt x="433230" y="1002125"/>
                  <a:pt x="446013" y="1007806"/>
                  <a:pt x="448854" y="1004966"/>
                </a:cubicBezTo>
                <a:cubicBezTo>
                  <a:pt x="451694" y="999284"/>
                  <a:pt x="444593" y="982239"/>
                  <a:pt x="454535" y="983659"/>
                </a:cubicBezTo>
                <a:cubicBezTo>
                  <a:pt x="458797" y="968035"/>
                  <a:pt x="450275" y="956671"/>
                  <a:pt x="448854" y="941046"/>
                </a:cubicBezTo>
                <a:cubicBezTo>
                  <a:pt x="447434" y="932524"/>
                  <a:pt x="454535" y="931104"/>
                  <a:pt x="454535" y="919740"/>
                </a:cubicBezTo>
                <a:cubicBezTo>
                  <a:pt x="454535" y="921160"/>
                  <a:pt x="448854" y="915478"/>
                  <a:pt x="448854" y="912638"/>
                </a:cubicBezTo>
                <a:cubicBezTo>
                  <a:pt x="444593" y="887070"/>
                  <a:pt x="458797" y="858661"/>
                  <a:pt x="443172" y="841616"/>
                </a:cubicBezTo>
                <a:close/>
                <a:moveTo>
                  <a:pt x="225847" y="834515"/>
                </a:moveTo>
                <a:cubicBezTo>
                  <a:pt x="231529" y="854402"/>
                  <a:pt x="217325" y="852981"/>
                  <a:pt x="220166" y="870026"/>
                </a:cubicBezTo>
                <a:cubicBezTo>
                  <a:pt x="208802" y="871447"/>
                  <a:pt x="207382" y="823151"/>
                  <a:pt x="225847" y="834515"/>
                </a:cubicBezTo>
                <a:close/>
                <a:moveTo>
                  <a:pt x="75106" y="823151"/>
                </a:moveTo>
                <a:cubicBezTo>
                  <a:pt x="80254" y="822796"/>
                  <a:pt x="85935" y="828123"/>
                  <a:pt x="76703" y="840196"/>
                </a:cubicBezTo>
                <a:cubicBezTo>
                  <a:pt x="65340" y="829543"/>
                  <a:pt x="69957" y="823506"/>
                  <a:pt x="75106" y="823151"/>
                </a:cubicBezTo>
                <a:close/>
                <a:moveTo>
                  <a:pt x="76703" y="790482"/>
                </a:moveTo>
                <a:cubicBezTo>
                  <a:pt x="99430" y="811788"/>
                  <a:pt x="58237" y="814629"/>
                  <a:pt x="76703" y="790482"/>
                </a:cubicBezTo>
                <a:close/>
                <a:moveTo>
                  <a:pt x="194598" y="700994"/>
                </a:moveTo>
                <a:cubicBezTo>
                  <a:pt x="215905" y="705257"/>
                  <a:pt x="198860" y="727983"/>
                  <a:pt x="194598" y="743607"/>
                </a:cubicBezTo>
                <a:cubicBezTo>
                  <a:pt x="180394" y="740767"/>
                  <a:pt x="190337" y="705257"/>
                  <a:pt x="194598" y="700994"/>
                </a:cubicBezTo>
                <a:close/>
                <a:moveTo>
                  <a:pt x="100850" y="578838"/>
                </a:moveTo>
                <a:cubicBezTo>
                  <a:pt x="107951" y="632814"/>
                  <a:pt x="83804" y="573158"/>
                  <a:pt x="76702" y="607246"/>
                </a:cubicBezTo>
                <a:cubicBezTo>
                  <a:pt x="79542" y="617190"/>
                  <a:pt x="100850" y="608668"/>
                  <a:pt x="102269" y="621451"/>
                </a:cubicBezTo>
                <a:cubicBezTo>
                  <a:pt x="102269" y="632814"/>
                  <a:pt x="99428" y="647018"/>
                  <a:pt x="107951" y="649859"/>
                </a:cubicBezTo>
                <a:cubicBezTo>
                  <a:pt x="122155" y="634235"/>
                  <a:pt x="110792" y="615769"/>
                  <a:pt x="107951" y="600145"/>
                </a:cubicBezTo>
                <a:cubicBezTo>
                  <a:pt x="106530" y="598724"/>
                  <a:pt x="116474" y="594463"/>
                  <a:pt x="113633" y="585941"/>
                </a:cubicBezTo>
                <a:cubicBezTo>
                  <a:pt x="112213" y="583100"/>
                  <a:pt x="100850" y="581679"/>
                  <a:pt x="100850" y="578838"/>
                </a:cubicBezTo>
                <a:close/>
                <a:moveTo>
                  <a:pt x="92372" y="556467"/>
                </a:moveTo>
                <a:cubicBezTo>
                  <a:pt x="86113" y="561527"/>
                  <a:pt x="86645" y="580969"/>
                  <a:pt x="95168" y="578838"/>
                </a:cubicBezTo>
                <a:cubicBezTo>
                  <a:pt x="95168" y="574577"/>
                  <a:pt x="96588" y="570315"/>
                  <a:pt x="100850" y="571736"/>
                </a:cubicBezTo>
                <a:lnTo>
                  <a:pt x="100850" y="557532"/>
                </a:lnTo>
                <a:cubicBezTo>
                  <a:pt x="97299" y="554691"/>
                  <a:pt x="94458" y="554779"/>
                  <a:pt x="92372" y="556467"/>
                </a:cubicBezTo>
                <a:close/>
                <a:moveTo>
                  <a:pt x="455956" y="546170"/>
                </a:moveTo>
                <a:cubicBezTo>
                  <a:pt x="460219" y="584520"/>
                  <a:pt x="448855" y="615769"/>
                  <a:pt x="455956" y="638496"/>
                </a:cubicBezTo>
                <a:cubicBezTo>
                  <a:pt x="477264" y="641337"/>
                  <a:pt x="467320" y="611508"/>
                  <a:pt x="468741" y="602986"/>
                </a:cubicBezTo>
                <a:cubicBezTo>
                  <a:pt x="471582" y="585941"/>
                  <a:pt x="473002" y="580259"/>
                  <a:pt x="474423" y="567476"/>
                </a:cubicBezTo>
                <a:cubicBezTo>
                  <a:pt x="463059" y="566055"/>
                  <a:pt x="470161" y="543328"/>
                  <a:pt x="455956" y="546170"/>
                </a:cubicBezTo>
                <a:close/>
                <a:moveTo>
                  <a:pt x="419025" y="526284"/>
                </a:moveTo>
                <a:cubicBezTo>
                  <a:pt x="413345" y="553273"/>
                  <a:pt x="409083" y="605827"/>
                  <a:pt x="406242" y="631394"/>
                </a:cubicBezTo>
                <a:cubicBezTo>
                  <a:pt x="403401" y="658383"/>
                  <a:pt x="401982" y="674007"/>
                  <a:pt x="400561" y="688211"/>
                </a:cubicBezTo>
                <a:cubicBezTo>
                  <a:pt x="397720" y="716620"/>
                  <a:pt x="407663" y="715200"/>
                  <a:pt x="406242" y="737927"/>
                </a:cubicBezTo>
                <a:cubicBezTo>
                  <a:pt x="406242" y="746450"/>
                  <a:pt x="401982" y="749289"/>
                  <a:pt x="400561" y="759233"/>
                </a:cubicBezTo>
                <a:cubicBezTo>
                  <a:pt x="399141" y="770596"/>
                  <a:pt x="401982" y="781960"/>
                  <a:pt x="394879" y="787641"/>
                </a:cubicBezTo>
                <a:cubicBezTo>
                  <a:pt x="420447" y="797584"/>
                  <a:pt x="387776" y="830254"/>
                  <a:pt x="413345" y="837357"/>
                </a:cubicBezTo>
                <a:lnTo>
                  <a:pt x="413345" y="801846"/>
                </a:lnTo>
                <a:cubicBezTo>
                  <a:pt x="424707" y="803267"/>
                  <a:pt x="426128" y="791902"/>
                  <a:pt x="431810" y="787641"/>
                </a:cubicBezTo>
                <a:cubicBezTo>
                  <a:pt x="441754" y="787641"/>
                  <a:pt x="436072" y="807527"/>
                  <a:pt x="444595" y="808948"/>
                </a:cubicBezTo>
                <a:cubicBezTo>
                  <a:pt x="450275" y="799005"/>
                  <a:pt x="450275" y="781960"/>
                  <a:pt x="463059" y="780540"/>
                </a:cubicBezTo>
                <a:cubicBezTo>
                  <a:pt x="458799" y="803267"/>
                  <a:pt x="475842" y="791902"/>
                  <a:pt x="475842" y="780540"/>
                </a:cubicBezTo>
                <a:cubicBezTo>
                  <a:pt x="455958" y="786222"/>
                  <a:pt x="463059" y="760654"/>
                  <a:pt x="444595" y="766336"/>
                </a:cubicBezTo>
                <a:cubicBezTo>
                  <a:pt x="437492" y="772017"/>
                  <a:pt x="427549" y="776278"/>
                  <a:pt x="413345" y="773437"/>
                </a:cubicBezTo>
                <a:cubicBezTo>
                  <a:pt x="423287" y="760654"/>
                  <a:pt x="417606" y="732245"/>
                  <a:pt x="419025" y="709519"/>
                </a:cubicBezTo>
                <a:cubicBezTo>
                  <a:pt x="441754" y="699575"/>
                  <a:pt x="437492" y="698154"/>
                  <a:pt x="468741" y="702416"/>
                </a:cubicBezTo>
                <a:cubicBezTo>
                  <a:pt x="473003" y="681110"/>
                  <a:pt x="451696" y="688211"/>
                  <a:pt x="455958" y="666906"/>
                </a:cubicBezTo>
                <a:cubicBezTo>
                  <a:pt x="464479" y="665485"/>
                  <a:pt x="471582" y="664063"/>
                  <a:pt x="468741" y="652702"/>
                </a:cubicBezTo>
                <a:cubicBezTo>
                  <a:pt x="461638" y="649859"/>
                  <a:pt x="457378" y="642758"/>
                  <a:pt x="444595" y="645599"/>
                </a:cubicBezTo>
                <a:cubicBezTo>
                  <a:pt x="446014" y="671166"/>
                  <a:pt x="446014" y="695314"/>
                  <a:pt x="419025" y="688211"/>
                </a:cubicBezTo>
                <a:cubicBezTo>
                  <a:pt x="421868" y="659803"/>
                  <a:pt x="421868" y="666906"/>
                  <a:pt x="419025" y="638497"/>
                </a:cubicBezTo>
                <a:cubicBezTo>
                  <a:pt x="427549" y="638497"/>
                  <a:pt x="433230" y="635655"/>
                  <a:pt x="437492" y="631394"/>
                </a:cubicBezTo>
                <a:cubicBezTo>
                  <a:pt x="434651" y="602986"/>
                  <a:pt x="434651" y="610089"/>
                  <a:pt x="437492" y="581680"/>
                </a:cubicBezTo>
                <a:cubicBezTo>
                  <a:pt x="430390" y="580259"/>
                  <a:pt x="420447" y="583100"/>
                  <a:pt x="419025" y="574577"/>
                </a:cubicBezTo>
                <a:cubicBezTo>
                  <a:pt x="420447" y="566055"/>
                  <a:pt x="428969" y="567477"/>
                  <a:pt x="437492" y="567477"/>
                </a:cubicBezTo>
                <a:cubicBezTo>
                  <a:pt x="431810" y="551852"/>
                  <a:pt x="433230" y="529125"/>
                  <a:pt x="419025" y="526284"/>
                </a:cubicBezTo>
                <a:close/>
                <a:moveTo>
                  <a:pt x="95168" y="514919"/>
                </a:moveTo>
                <a:cubicBezTo>
                  <a:pt x="78123" y="549010"/>
                  <a:pt x="115054" y="531964"/>
                  <a:pt x="95168" y="514919"/>
                </a:cubicBezTo>
                <a:close/>
                <a:moveTo>
                  <a:pt x="356527" y="510657"/>
                </a:moveTo>
                <a:cubicBezTo>
                  <a:pt x="376413" y="504975"/>
                  <a:pt x="376413" y="580259"/>
                  <a:pt x="356527" y="574577"/>
                </a:cubicBezTo>
                <a:cubicBezTo>
                  <a:pt x="366470" y="563215"/>
                  <a:pt x="350845" y="539067"/>
                  <a:pt x="356527" y="510657"/>
                </a:cubicBezTo>
                <a:close/>
                <a:moveTo>
                  <a:pt x="419025" y="496454"/>
                </a:moveTo>
                <a:cubicBezTo>
                  <a:pt x="404821" y="510659"/>
                  <a:pt x="426127" y="523443"/>
                  <a:pt x="437490" y="531966"/>
                </a:cubicBezTo>
                <a:cubicBezTo>
                  <a:pt x="440331" y="509239"/>
                  <a:pt x="430389" y="503557"/>
                  <a:pt x="419025" y="496454"/>
                </a:cubicBezTo>
                <a:close/>
                <a:moveTo>
                  <a:pt x="474421" y="468046"/>
                </a:moveTo>
                <a:cubicBezTo>
                  <a:pt x="446013" y="469466"/>
                  <a:pt x="454535" y="520601"/>
                  <a:pt x="468740" y="531966"/>
                </a:cubicBezTo>
                <a:cubicBezTo>
                  <a:pt x="468740" y="507818"/>
                  <a:pt x="478683" y="496454"/>
                  <a:pt x="474421" y="468046"/>
                </a:cubicBezTo>
                <a:close/>
                <a:moveTo>
                  <a:pt x="205961" y="425433"/>
                </a:moveTo>
                <a:cubicBezTo>
                  <a:pt x="183234" y="418333"/>
                  <a:pt x="191757" y="448161"/>
                  <a:pt x="187496" y="460946"/>
                </a:cubicBezTo>
                <a:cubicBezTo>
                  <a:pt x="187496" y="463787"/>
                  <a:pt x="183234" y="462366"/>
                  <a:pt x="181815" y="468047"/>
                </a:cubicBezTo>
                <a:cubicBezTo>
                  <a:pt x="173292" y="507818"/>
                  <a:pt x="176133" y="553271"/>
                  <a:pt x="176133" y="601565"/>
                </a:cubicBezTo>
                <a:cubicBezTo>
                  <a:pt x="217325" y="605827"/>
                  <a:pt x="160508" y="529125"/>
                  <a:pt x="205961" y="530545"/>
                </a:cubicBezTo>
                <a:cubicBezTo>
                  <a:pt x="197439" y="490774"/>
                  <a:pt x="207382" y="472308"/>
                  <a:pt x="205961" y="425433"/>
                </a:cubicBezTo>
                <a:close/>
                <a:moveTo>
                  <a:pt x="281245" y="411229"/>
                </a:moveTo>
                <a:cubicBezTo>
                  <a:pt x="288346" y="418332"/>
                  <a:pt x="284085" y="443899"/>
                  <a:pt x="275563" y="453840"/>
                </a:cubicBezTo>
                <a:cubicBezTo>
                  <a:pt x="252836" y="455263"/>
                  <a:pt x="274142" y="448158"/>
                  <a:pt x="269881" y="432536"/>
                </a:cubicBezTo>
                <a:cubicBezTo>
                  <a:pt x="258518" y="439637"/>
                  <a:pt x="261359" y="460945"/>
                  <a:pt x="238632" y="453840"/>
                </a:cubicBezTo>
                <a:cubicBezTo>
                  <a:pt x="237211" y="448158"/>
                  <a:pt x="240051" y="446740"/>
                  <a:pt x="244314" y="446740"/>
                </a:cubicBezTo>
                <a:cubicBezTo>
                  <a:pt x="262778" y="442478"/>
                  <a:pt x="259937" y="412650"/>
                  <a:pt x="281245" y="411229"/>
                </a:cubicBezTo>
                <a:close/>
                <a:moveTo>
                  <a:pt x="205961" y="361514"/>
                </a:moveTo>
                <a:cubicBezTo>
                  <a:pt x="184656" y="362934"/>
                  <a:pt x="196019" y="401290"/>
                  <a:pt x="181815" y="411232"/>
                </a:cubicBezTo>
                <a:cubicBezTo>
                  <a:pt x="190337" y="414070"/>
                  <a:pt x="194599" y="421174"/>
                  <a:pt x="205961" y="418333"/>
                </a:cubicBezTo>
                <a:cubicBezTo>
                  <a:pt x="211643" y="389926"/>
                  <a:pt x="191757" y="377138"/>
                  <a:pt x="205961" y="361514"/>
                </a:cubicBezTo>
                <a:close/>
                <a:moveTo>
                  <a:pt x="113633" y="297596"/>
                </a:moveTo>
                <a:cubicBezTo>
                  <a:pt x="113633" y="317482"/>
                  <a:pt x="95168" y="333106"/>
                  <a:pt x="107951" y="347312"/>
                </a:cubicBezTo>
                <a:lnTo>
                  <a:pt x="126417" y="347312"/>
                </a:lnTo>
                <a:cubicBezTo>
                  <a:pt x="117895" y="334527"/>
                  <a:pt x="124996" y="306119"/>
                  <a:pt x="113633" y="297596"/>
                </a:cubicBezTo>
                <a:close/>
                <a:moveTo>
                  <a:pt x="478683" y="270609"/>
                </a:moveTo>
                <a:cubicBezTo>
                  <a:pt x="461638" y="273448"/>
                  <a:pt x="444593" y="274871"/>
                  <a:pt x="434649" y="284813"/>
                </a:cubicBezTo>
                <a:cubicBezTo>
                  <a:pt x="438911" y="294754"/>
                  <a:pt x="458797" y="286231"/>
                  <a:pt x="460217" y="299017"/>
                </a:cubicBezTo>
                <a:cubicBezTo>
                  <a:pt x="434649" y="303278"/>
                  <a:pt x="460217" y="327424"/>
                  <a:pt x="454535" y="334527"/>
                </a:cubicBezTo>
                <a:cubicBezTo>
                  <a:pt x="443172" y="348731"/>
                  <a:pt x="455956" y="344469"/>
                  <a:pt x="454535" y="362934"/>
                </a:cubicBezTo>
                <a:cubicBezTo>
                  <a:pt x="454535" y="364355"/>
                  <a:pt x="448854" y="362934"/>
                  <a:pt x="448854" y="370037"/>
                </a:cubicBezTo>
                <a:cubicBezTo>
                  <a:pt x="448854" y="382822"/>
                  <a:pt x="460217" y="387082"/>
                  <a:pt x="443172" y="391343"/>
                </a:cubicBezTo>
                <a:lnTo>
                  <a:pt x="443172" y="341628"/>
                </a:lnTo>
                <a:cubicBezTo>
                  <a:pt x="428968" y="335945"/>
                  <a:pt x="426127" y="367196"/>
                  <a:pt x="421866" y="384241"/>
                </a:cubicBezTo>
                <a:cubicBezTo>
                  <a:pt x="420445" y="405550"/>
                  <a:pt x="417604" y="438218"/>
                  <a:pt x="434649" y="441060"/>
                </a:cubicBezTo>
                <a:cubicBezTo>
                  <a:pt x="436070" y="428274"/>
                  <a:pt x="438911" y="416913"/>
                  <a:pt x="447434" y="412650"/>
                </a:cubicBezTo>
                <a:cubicBezTo>
                  <a:pt x="465899" y="414070"/>
                  <a:pt x="458797" y="442478"/>
                  <a:pt x="460217" y="462366"/>
                </a:cubicBezTo>
                <a:cubicBezTo>
                  <a:pt x="481524" y="466628"/>
                  <a:pt x="471580" y="431118"/>
                  <a:pt x="473002" y="419754"/>
                </a:cubicBezTo>
                <a:cubicBezTo>
                  <a:pt x="474421" y="409808"/>
                  <a:pt x="478683" y="409808"/>
                  <a:pt x="478683" y="398446"/>
                </a:cubicBezTo>
                <a:cubicBezTo>
                  <a:pt x="480103" y="389922"/>
                  <a:pt x="473002" y="388502"/>
                  <a:pt x="473002" y="377140"/>
                </a:cubicBezTo>
                <a:cubicBezTo>
                  <a:pt x="473002" y="370037"/>
                  <a:pt x="473002" y="362934"/>
                  <a:pt x="473002" y="355833"/>
                </a:cubicBezTo>
                <a:cubicBezTo>
                  <a:pt x="475842" y="331686"/>
                  <a:pt x="475842" y="343048"/>
                  <a:pt x="473002" y="327424"/>
                </a:cubicBezTo>
                <a:cubicBezTo>
                  <a:pt x="471580" y="323162"/>
                  <a:pt x="474421" y="317482"/>
                  <a:pt x="473002" y="313220"/>
                </a:cubicBezTo>
                <a:cubicBezTo>
                  <a:pt x="470161" y="300435"/>
                  <a:pt x="468740" y="297596"/>
                  <a:pt x="473002" y="291914"/>
                </a:cubicBezTo>
                <a:cubicBezTo>
                  <a:pt x="477262" y="287654"/>
                  <a:pt x="471580" y="272025"/>
                  <a:pt x="478683" y="270609"/>
                </a:cubicBezTo>
                <a:close/>
                <a:moveTo>
                  <a:pt x="119316" y="240782"/>
                </a:moveTo>
                <a:cubicBezTo>
                  <a:pt x="124998" y="264927"/>
                  <a:pt x="110793" y="267769"/>
                  <a:pt x="113634" y="290495"/>
                </a:cubicBezTo>
                <a:cubicBezTo>
                  <a:pt x="130679" y="297596"/>
                  <a:pt x="124998" y="272030"/>
                  <a:pt x="124998" y="262088"/>
                </a:cubicBezTo>
                <a:cubicBezTo>
                  <a:pt x="126417" y="252142"/>
                  <a:pt x="133520" y="237937"/>
                  <a:pt x="119316" y="240782"/>
                </a:cubicBezTo>
                <a:close/>
                <a:moveTo>
                  <a:pt x="126417" y="169758"/>
                </a:moveTo>
                <a:cubicBezTo>
                  <a:pt x="122155" y="185381"/>
                  <a:pt x="132099" y="192483"/>
                  <a:pt x="133519" y="205266"/>
                </a:cubicBezTo>
                <a:cubicBezTo>
                  <a:pt x="133519" y="206687"/>
                  <a:pt x="120736" y="212369"/>
                  <a:pt x="120736" y="219470"/>
                </a:cubicBezTo>
                <a:cubicBezTo>
                  <a:pt x="119314" y="215210"/>
                  <a:pt x="127837" y="227993"/>
                  <a:pt x="126417" y="226575"/>
                </a:cubicBezTo>
                <a:cubicBezTo>
                  <a:pt x="129258" y="230835"/>
                  <a:pt x="130678" y="236517"/>
                  <a:pt x="139200" y="233674"/>
                </a:cubicBezTo>
                <a:cubicBezTo>
                  <a:pt x="151985" y="222311"/>
                  <a:pt x="164768" y="159814"/>
                  <a:pt x="126417" y="169758"/>
                </a:cubicBezTo>
                <a:close/>
                <a:moveTo>
                  <a:pt x="393458" y="165495"/>
                </a:moveTo>
                <a:cubicBezTo>
                  <a:pt x="377832" y="166914"/>
                  <a:pt x="370731" y="175439"/>
                  <a:pt x="369310" y="193904"/>
                </a:cubicBezTo>
                <a:lnTo>
                  <a:pt x="393458" y="193904"/>
                </a:lnTo>
                <a:close/>
                <a:moveTo>
                  <a:pt x="249995" y="73167"/>
                </a:moveTo>
                <a:cubicBezTo>
                  <a:pt x="232950" y="61804"/>
                  <a:pt x="232950" y="104416"/>
                  <a:pt x="244314" y="101579"/>
                </a:cubicBezTo>
                <a:cubicBezTo>
                  <a:pt x="255677" y="87371"/>
                  <a:pt x="240051" y="87371"/>
                  <a:pt x="249995" y="73167"/>
                </a:cubicBezTo>
                <a:close/>
                <a:moveTo>
                  <a:pt x="486806" y="49996"/>
                </a:moveTo>
                <a:cubicBezTo>
                  <a:pt x="484276" y="48755"/>
                  <a:pt x="480458" y="49020"/>
                  <a:pt x="474421" y="51860"/>
                </a:cubicBezTo>
                <a:cubicBezTo>
                  <a:pt x="480103" y="78849"/>
                  <a:pt x="458797" y="71747"/>
                  <a:pt x="461638" y="94473"/>
                </a:cubicBezTo>
                <a:cubicBezTo>
                  <a:pt x="474421" y="98733"/>
                  <a:pt x="481524" y="108677"/>
                  <a:pt x="494307" y="115780"/>
                </a:cubicBezTo>
                <a:cubicBezTo>
                  <a:pt x="501410" y="93053"/>
                  <a:pt x="474421" y="110096"/>
                  <a:pt x="481524" y="87371"/>
                </a:cubicBezTo>
                <a:cubicBezTo>
                  <a:pt x="491466" y="87371"/>
                  <a:pt x="497148" y="81690"/>
                  <a:pt x="499989" y="73165"/>
                </a:cubicBezTo>
                <a:cubicBezTo>
                  <a:pt x="490402" y="71036"/>
                  <a:pt x="494397" y="53725"/>
                  <a:pt x="486806" y="49996"/>
                </a:cubicBezTo>
                <a:close/>
                <a:moveTo>
                  <a:pt x="163347" y="36236"/>
                </a:moveTo>
                <a:cubicBezTo>
                  <a:pt x="149143" y="33395"/>
                  <a:pt x="144882" y="61804"/>
                  <a:pt x="144882" y="64644"/>
                </a:cubicBezTo>
                <a:cubicBezTo>
                  <a:pt x="144882" y="71746"/>
                  <a:pt x="139200" y="70325"/>
                  <a:pt x="139200" y="71746"/>
                </a:cubicBezTo>
                <a:cubicBezTo>
                  <a:pt x="136360" y="83109"/>
                  <a:pt x="139200" y="107257"/>
                  <a:pt x="139200" y="121465"/>
                </a:cubicBezTo>
                <a:cubicBezTo>
                  <a:pt x="137781" y="134245"/>
                  <a:pt x="123576" y="156973"/>
                  <a:pt x="144882" y="156973"/>
                </a:cubicBezTo>
                <a:cubicBezTo>
                  <a:pt x="154824" y="145610"/>
                  <a:pt x="147723" y="122881"/>
                  <a:pt x="150564" y="107257"/>
                </a:cubicBezTo>
                <a:cubicBezTo>
                  <a:pt x="153405" y="94473"/>
                  <a:pt x="160508" y="85951"/>
                  <a:pt x="163347" y="71746"/>
                </a:cubicBezTo>
                <a:cubicBezTo>
                  <a:pt x="163347" y="71746"/>
                  <a:pt x="157667" y="64644"/>
                  <a:pt x="157667" y="57541"/>
                </a:cubicBezTo>
                <a:cubicBezTo>
                  <a:pt x="157667" y="54702"/>
                  <a:pt x="169029" y="46178"/>
                  <a:pt x="163347" y="36236"/>
                </a:cubicBezTo>
                <a:close/>
                <a:moveTo>
                  <a:pt x="142319" y="0"/>
                </a:moveTo>
                <a:lnTo>
                  <a:pt x="251415" y="0"/>
                </a:lnTo>
                <a:lnTo>
                  <a:pt x="251415" y="9250"/>
                </a:lnTo>
                <a:cubicBezTo>
                  <a:pt x="249285" y="39078"/>
                  <a:pt x="259938" y="16172"/>
                  <a:pt x="258207" y="2856"/>
                </a:cubicBezTo>
                <a:lnTo>
                  <a:pt x="255724" y="0"/>
                </a:lnTo>
                <a:lnTo>
                  <a:pt x="293654" y="0"/>
                </a:lnTo>
                <a:lnTo>
                  <a:pt x="293895" y="2769"/>
                </a:lnTo>
                <a:cubicBezTo>
                  <a:pt x="300686" y="11290"/>
                  <a:pt x="320660" y="4632"/>
                  <a:pt x="323856" y="16351"/>
                </a:cubicBezTo>
                <a:cubicBezTo>
                  <a:pt x="316755" y="17771"/>
                  <a:pt x="319595" y="23453"/>
                  <a:pt x="318174" y="30554"/>
                </a:cubicBezTo>
                <a:cubicBezTo>
                  <a:pt x="313914" y="49020"/>
                  <a:pt x="308232" y="60384"/>
                  <a:pt x="318174" y="73167"/>
                </a:cubicBezTo>
                <a:cubicBezTo>
                  <a:pt x="302550" y="71746"/>
                  <a:pt x="292607" y="76008"/>
                  <a:pt x="294028" y="94473"/>
                </a:cubicBezTo>
                <a:cubicBezTo>
                  <a:pt x="321015" y="84530"/>
                  <a:pt x="306811" y="121465"/>
                  <a:pt x="329538" y="114359"/>
                </a:cubicBezTo>
                <a:cubicBezTo>
                  <a:pt x="333799" y="84530"/>
                  <a:pt x="338060" y="39522"/>
                  <a:pt x="337528" y="4499"/>
                </a:cubicBezTo>
                <a:lnTo>
                  <a:pt x="337190" y="0"/>
                </a:lnTo>
                <a:lnTo>
                  <a:pt x="396763" y="0"/>
                </a:lnTo>
                <a:lnTo>
                  <a:pt x="399139" y="3565"/>
                </a:lnTo>
                <a:cubicBezTo>
                  <a:pt x="403134" y="5163"/>
                  <a:pt x="405880" y="4814"/>
                  <a:pt x="407622" y="3304"/>
                </a:cubicBezTo>
                <a:lnTo>
                  <a:pt x="408743" y="0"/>
                </a:lnTo>
                <a:lnTo>
                  <a:pt x="481660" y="0"/>
                </a:lnTo>
                <a:lnTo>
                  <a:pt x="478862" y="12621"/>
                </a:lnTo>
                <a:cubicBezTo>
                  <a:pt x="478684" y="24517"/>
                  <a:pt x="482235" y="37656"/>
                  <a:pt x="487206" y="37656"/>
                </a:cubicBezTo>
                <a:cubicBezTo>
                  <a:pt x="482945" y="21677"/>
                  <a:pt x="490669" y="18481"/>
                  <a:pt x="492999" y="8294"/>
                </a:cubicBezTo>
                <a:lnTo>
                  <a:pt x="492930" y="0"/>
                </a:lnTo>
                <a:lnTo>
                  <a:pt x="4354450" y="0"/>
                </a:lnTo>
                <a:lnTo>
                  <a:pt x="4354450" y="4300201"/>
                </a:lnTo>
                <a:lnTo>
                  <a:pt x="4343668" y="4299649"/>
                </a:lnTo>
                <a:cubicBezTo>
                  <a:pt x="4333725" y="4300004"/>
                  <a:pt x="4323782" y="4300360"/>
                  <a:pt x="4315259" y="4290417"/>
                </a:cubicBezTo>
                <a:cubicBezTo>
                  <a:pt x="4308157" y="4296098"/>
                  <a:pt x="4312418" y="4313143"/>
                  <a:pt x="4293953" y="4308881"/>
                </a:cubicBezTo>
                <a:cubicBezTo>
                  <a:pt x="4295373" y="4287576"/>
                  <a:pt x="4265545" y="4306040"/>
                  <a:pt x="4244237" y="4303200"/>
                </a:cubicBezTo>
                <a:cubicBezTo>
                  <a:pt x="4241397" y="4303200"/>
                  <a:pt x="4239977" y="4303200"/>
                  <a:pt x="4237136" y="4303200"/>
                </a:cubicBezTo>
                <a:cubicBezTo>
                  <a:pt x="4232874" y="4303200"/>
                  <a:pt x="4228613" y="4297518"/>
                  <a:pt x="4230033" y="4297518"/>
                </a:cubicBezTo>
                <a:cubicBezTo>
                  <a:pt x="4214409" y="4297518"/>
                  <a:pt x="4204465" y="4304621"/>
                  <a:pt x="4187421" y="4303200"/>
                </a:cubicBezTo>
                <a:cubicBezTo>
                  <a:pt x="4174637" y="4303200"/>
                  <a:pt x="4171797" y="4297518"/>
                  <a:pt x="4159012" y="4297518"/>
                </a:cubicBezTo>
                <a:cubicBezTo>
                  <a:pt x="4150489" y="4297518"/>
                  <a:pt x="4147649" y="4301780"/>
                  <a:pt x="4137706" y="4303200"/>
                </a:cubicBezTo>
                <a:cubicBezTo>
                  <a:pt x="4096513" y="4308881"/>
                  <a:pt x="4065263" y="4298939"/>
                  <a:pt x="4052481" y="4315984"/>
                </a:cubicBezTo>
                <a:cubicBezTo>
                  <a:pt x="4032595" y="4301780"/>
                  <a:pt x="3886289" y="4325926"/>
                  <a:pt x="3864983" y="4313143"/>
                </a:cubicBezTo>
                <a:cubicBezTo>
                  <a:pt x="3855041" y="4313143"/>
                  <a:pt x="3857881" y="4324507"/>
                  <a:pt x="3850778" y="4325926"/>
                </a:cubicBezTo>
                <a:cubicBezTo>
                  <a:pt x="3845098" y="4303200"/>
                  <a:pt x="3795383" y="4313143"/>
                  <a:pt x="3786859" y="4325926"/>
                </a:cubicBezTo>
                <a:cubicBezTo>
                  <a:pt x="3772655" y="4325926"/>
                  <a:pt x="3778337" y="4308881"/>
                  <a:pt x="3758451" y="4313143"/>
                </a:cubicBezTo>
                <a:cubicBezTo>
                  <a:pt x="3758451" y="4333029"/>
                  <a:pt x="3734305" y="4320245"/>
                  <a:pt x="3722940" y="4325926"/>
                </a:cubicBezTo>
                <a:cubicBezTo>
                  <a:pt x="3718679" y="4328769"/>
                  <a:pt x="3722940" y="4345812"/>
                  <a:pt x="3708735" y="4338711"/>
                </a:cubicBezTo>
                <a:cubicBezTo>
                  <a:pt x="3693111" y="4335870"/>
                  <a:pt x="3686010" y="4334449"/>
                  <a:pt x="3673225" y="4333029"/>
                </a:cubicBezTo>
                <a:cubicBezTo>
                  <a:pt x="3660443" y="4331608"/>
                  <a:pt x="3651919" y="4338711"/>
                  <a:pt x="3644817" y="4338711"/>
                </a:cubicBezTo>
                <a:cubicBezTo>
                  <a:pt x="3646238" y="4338711"/>
                  <a:pt x="3640557" y="4333029"/>
                  <a:pt x="3637714" y="4333029"/>
                </a:cubicBezTo>
                <a:cubicBezTo>
                  <a:pt x="3620671" y="4328769"/>
                  <a:pt x="3607886" y="4335870"/>
                  <a:pt x="3595101" y="4333029"/>
                </a:cubicBezTo>
                <a:cubicBezTo>
                  <a:pt x="3565273" y="4360017"/>
                  <a:pt x="3519819" y="4347234"/>
                  <a:pt x="3489991" y="4327348"/>
                </a:cubicBezTo>
                <a:cubicBezTo>
                  <a:pt x="3489991" y="4331608"/>
                  <a:pt x="3488570" y="4333029"/>
                  <a:pt x="3482888" y="4333029"/>
                </a:cubicBezTo>
                <a:cubicBezTo>
                  <a:pt x="3477207" y="4333029"/>
                  <a:pt x="3475787" y="4327348"/>
                  <a:pt x="3475787" y="4327348"/>
                </a:cubicBezTo>
                <a:cubicBezTo>
                  <a:pt x="3445957" y="4323086"/>
                  <a:pt x="3431753" y="4333029"/>
                  <a:pt x="3411867" y="4333029"/>
                </a:cubicBezTo>
                <a:cubicBezTo>
                  <a:pt x="3397663" y="4333029"/>
                  <a:pt x="3389140" y="4328769"/>
                  <a:pt x="3376357" y="4327348"/>
                </a:cubicBezTo>
                <a:cubicBezTo>
                  <a:pt x="3369254" y="4325926"/>
                  <a:pt x="3367833" y="4333029"/>
                  <a:pt x="3362153" y="4333029"/>
                </a:cubicBezTo>
                <a:cubicBezTo>
                  <a:pt x="3353629" y="4334449"/>
                  <a:pt x="3352209" y="4324507"/>
                  <a:pt x="3340845" y="4327348"/>
                </a:cubicBezTo>
                <a:cubicBezTo>
                  <a:pt x="3333744" y="4333029"/>
                  <a:pt x="3338005" y="4350074"/>
                  <a:pt x="3319540" y="4345812"/>
                </a:cubicBezTo>
                <a:cubicBezTo>
                  <a:pt x="3305335" y="4342973"/>
                  <a:pt x="3301073" y="4331608"/>
                  <a:pt x="3284029" y="4333029"/>
                </a:cubicBezTo>
                <a:cubicBezTo>
                  <a:pt x="3262723" y="4348653"/>
                  <a:pt x="3215848" y="4358597"/>
                  <a:pt x="3184599" y="4345812"/>
                </a:cubicBezTo>
                <a:cubicBezTo>
                  <a:pt x="3173235" y="4347234"/>
                  <a:pt x="3178917" y="4361438"/>
                  <a:pt x="3163293" y="4358597"/>
                </a:cubicBezTo>
                <a:lnTo>
                  <a:pt x="3163293" y="4340131"/>
                </a:lnTo>
                <a:cubicBezTo>
                  <a:pt x="3140565" y="4344393"/>
                  <a:pt x="3116418" y="4345812"/>
                  <a:pt x="3099373" y="4352915"/>
                </a:cubicBezTo>
                <a:cubicBezTo>
                  <a:pt x="3096532" y="4344393"/>
                  <a:pt x="3089431" y="4340131"/>
                  <a:pt x="3078067" y="4340131"/>
                </a:cubicBezTo>
                <a:cubicBezTo>
                  <a:pt x="3061022" y="4345812"/>
                  <a:pt x="3066703" y="4354335"/>
                  <a:pt x="3056760" y="4345812"/>
                </a:cubicBezTo>
                <a:cubicBezTo>
                  <a:pt x="3046817" y="4337290"/>
                  <a:pt x="3022669" y="4351494"/>
                  <a:pt x="3021250" y="4351494"/>
                </a:cubicBezTo>
                <a:cubicBezTo>
                  <a:pt x="3001364" y="4355756"/>
                  <a:pt x="3005625" y="4358597"/>
                  <a:pt x="2992841" y="4364279"/>
                </a:cubicBezTo>
                <a:cubicBezTo>
                  <a:pt x="2990001" y="4355756"/>
                  <a:pt x="2982897" y="4351494"/>
                  <a:pt x="2971535" y="4351494"/>
                </a:cubicBezTo>
                <a:cubicBezTo>
                  <a:pt x="2970113" y="4358597"/>
                  <a:pt x="2972955" y="4368539"/>
                  <a:pt x="2964433" y="4369960"/>
                </a:cubicBezTo>
                <a:cubicBezTo>
                  <a:pt x="2947388" y="4372801"/>
                  <a:pt x="2968693" y="4341552"/>
                  <a:pt x="2943126" y="4351494"/>
                </a:cubicBezTo>
                <a:cubicBezTo>
                  <a:pt x="2937444" y="4355756"/>
                  <a:pt x="2920399" y="4377062"/>
                  <a:pt x="2921820" y="4351494"/>
                </a:cubicBezTo>
                <a:cubicBezTo>
                  <a:pt x="2899092" y="4354335"/>
                  <a:pt x="2890571" y="4369960"/>
                  <a:pt x="2865003" y="4369960"/>
                </a:cubicBezTo>
                <a:cubicBezTo>
                  <a:pt x="2865003" y="4360017"/>
                  <a:pt x="2863582" y="4351494"/>
                  <a:pt x="2857900" y="4345812"/>
                </a:cubicBezTo>
                <a:cubicBezTo>
                  <a:pt x="2826651" y="4348653"/>
                  <a:pt x="2815287" y="4338711"/>
                  <a:pt x="2793981" y="4340131"/>
                </a:cubicBezTo>
                <a:cubicBezTo>
                  <a:pt x="2782618" y="4341552"/>
                  <a:pt x="2784038" y="4357177"/>
                  <a:pt x="2765573" y="4358597"/>
                </a:cubicBezTo>
                <a:cubicBezTo>
                  <a:pt x="2764152" y="4358597"/>
                  <a:pt x="2754210" y="4347234"/>
                  <a:pt x="2744266" y="4352915"/>
                </a:cubicBezTo>
                <a:cubicBezTo>
                  <a:pt x="2742845" y="4361438"/>
                  <a:pt x="2747107" y="4375642"/>
                  <a:pt x="2737165" y="4377062"/>
                </a:cubicBezTo>
                <a:lnTo>
                  <a:pt x="2701653" y="4377062"/>
                </a:lnTo>
                <a:cubicBezTo>
                  <a:pt x="2700232" y="4355756"/>
                  <a:pt x="2677507" y="4391266"/>
                  <a:pt x="2680347" y="4371382"/>
                </a:cubicBezTo>
                <a:cubicBezTo>
                  <a:pt x="2681767" y="4362858"/>
                  <a:pt x="2691711" y="4361438"/>
                  <a:pt x="2694552" y="4352915"/>
                </a:cubicBezTo>
                <a:cubicBezTo>
                  <a:pt x="2644836" y="4342973"/>
                  <a:pt x="2634894" y="4369960"/>
                  <a:pt x="2602223" y="4377062"/>
                </a:cubicBezTo>
                <a:lnTo>
                  <a:pt x="2602223" y="4358597"/>
                </a:lnTo>
                <a:cubicBezTo>
                  <a:pt x="2572393" y="4354335"/>
                  <a:pt x="2609326" y="4379903"/>
                  <a:pt x="2580917" y="4377062"/>
                </a:cubicBezTo>
                <a:cubicBezTo>
                  <a:pt x="2583758" y="4377062"/>
                  <a:pt x="2566713" y="4364279"/>
                  <a:pt x="2566713" y="4364279"/>
                </a:cubicBezTo>
                <a:cubicBezTo>
                  <a:pt x="2558189" y="4357177"/>
                  <a:pt x="2561031" y="4352915"/>
                  <a:pt x="2545406" y="4351494"/>
                </a:cubicBezTo>
                <a:cubicBezTo>
                  <a:pt x="2524100" y="4350074"/>
                  <a:pt x="2532623" y="4357177"/>
                  <a:pt x="2502793" y="4364279"/>
                </a:cubicBezTo>
                <a:cubicBezTo>
                  <a:pt x="2501372" y="4355756"/>
                  <a:pt x="2505634" y="4341552"/>
                  <a:pt x="2495692" y="4340131"/>
                </a:cubicBezTo>
                <a:cubicBezTo>
                  <a:pt x="2488589" y="4367120"/>
                  <a:pt x="2477225" y="4348653"/>
                  <a:pt x="2453079" y="4345812"/>
                </a:cubicBezTo>
                <a:cubicBezTo>
                  <a:pt x="2450238" y="4352915"/>
                  <a:pt x="2445976" y="4360017"/>
                  <a:pt x="2438875" y="4364279"/>
                </a:cubicBezTo>
                <a:cubicBezTo>
                  <a:pt x="2414727" y="4378483"/>
                  <a:pt x="2416146" y="4355756"/>
                  <a:pt x="2403363" y="4358597"/>
                </a:cubicBezTo>
                <a:cubicBezTo>
                  <a:pt x="2400523" y="4360017"/>
                  <a:pt x="2403363" y="4378483"/>
                  <a:pt x="2389159" y="4371382"/>
                </a:cubicBezTo>
                <a:cubicBezTo>
                  <a:pt x="2387738" y="4361438"/>
                  <a:pt x="2396262" y="4341552"/>
                  <a:pt x="2374955" y="4347234"/>
                </a:cubicBezTo>
                <a:cubicBezTo>
                  <a:pt x="2350808" y="4341552"/>
                  <a:pt x="2363591" y="4369960"/>
                  <a:pt x="2346546" y="4371382"/>
                </a:cubicBezTo>
                <a:cubicBezTo>
                  <a:pt x="2345125" y="4364279"/>
                  <a:pt x="2335183" y="4365698"/>
                  <a:pt x="2325241" y="4365698"/>
                </a:cubicBezTo>
                <a:cubicBezTo>
                  <a:pt x="2320979" y="4365698"/>
                  <a:pt x="2316717" y="4371382"/>
                  <a:pt x="2318137" y="4371382"/>
                </a:cubicBezTo>
                <a:cubicBezTo>
                  <a:pt x="2311036" y="4371382"/>
                  <a:pt x="2309615" y="4365698"/>
                  <a:pt x="2303933" y="4365698"/>
                </a:cubicBezTo>
                <a:cubicBezTo>
                  <a:pt x="2293991" y="4364279"/>
                  <a:pt x="2288308" y="4371382"/>
                  <a:pt x="2282628" y="4371382"/>
                </a:cubicBezTo>
                <a:cubicBezTo>
                  <a:pt x="2282628" y="4371382"/>
                  <a:pt x="2276946" y="4358597"/>
                  <a:pt x="2275525" y="4358597"/>
                </a:cubicBezTo>
                <a:cubicBezTo>
                  <a:pt x="2265583" y="4354335"/>
                  <a:pt x="2249957" y="4367120"/>
                  <a:pt x="2247116" y="4358597"/>
                </a:cubicBezTo>
                <a:cubicBezTo>
                  <a:pt x="2247116" y="4350074"/>
                  <a:pt x="2249957" y="4345812"/>
                  <a:pt x="2254219" y="4340131"/>
                </a:cubicBezTo>
                <a:cubicBezTo>
                  <a:pt x="2210185" y="4338711"/>
                  <a:pt x="2203084" y="4335870"/>
                  <a:pt x="2161891" y="4340131"/>
                </a:cubicBezTo>
                <a:cubicBezTo>
                  <a:pt x="2164731" y="4364279"/>
                  <a:pt x="2144845" y="4344393"/>
                  <a:pt x="2140583" y="4345812"/>
                </a:cubicBezTo>
                <a:cubicBezTo>
                  <a:pt x="2132062" y="4347234"/>
                  <a:pt x="2130641" y="4369960"/>
                  <a:pt x="2119278" y="4364279"/>
                </a:cubicBezTo>
                <a:cubicBezTo>
                  <a:pt x="2100813" y="4348653"/>
                  <a:pt x="2083766" y="4364279"/>
                  <a:pt x="2062461" y="4358597"/>
                </a:cubicBezTo>
                <a:cubicBezTo>
                  <a:pt x="2039734" y="4351494"/>
                  <a:pt x="2046837" y="4334449"/>
                  <a:pt x="2034052" y="4345812"/>
                </a:cubicBezTo>
                <a:cubicBezTo>
                  <a:pt x="2015587" y="4361438"/>
                  <a:pt x="2014166" y="4341552"/>
                  <a:pt x="1998541" y="4345812"/>
                </a:cubicBezTo>
                <a:cubicBezTo>
                  <a:pt x="1988599" y="4348653"/>
                  <a:pt x="1992861" y="4360017"/>
                  <a:pt x="1977235" y="4358597"/>
                </a:cubicBezTo>
                <a:cubicBezTo>
                  <a:pt x="1975815" y="4348653"/>
                  <a:pt x="1978656" y="4337290"/>
                  <a:pt x="1963031" y="4340131"/>
                </a:cubicBezTo>
                <a:cubicBezTo>
                  <a:pt x="1948827" y="4342973"/>
                  <a:pt x="1961611" y="4368539"/>
                  <a:pt x="1934622" y="4358597"/>
                </a:cubicBezTo>
                <a:cubicBezTo>
                  <a:pt x="1923259" y="4358597"/>
                  <a:pt x="1930362" y="4341552"/>
                  <a:pt x="1920418" y="4340131"/>
                </a:cubicBezTo>
                <a:cubicBezTo>
                  <a:pt x="1918998" y="4331608"/>
                  <a:pt x="1904794" y="4333029"/>
                  <a:pt x="1899111" y="4327348"/>
                </a:cubicBezTo>
                <a:cubicBezTo>
                  <a:pt x="1892009" y="4335870"/>
                  <a:pt x="1894850" y="4345812"/>
                  <a:pt x="1884907" y="4351494"/>
                </a:cubicBezTo>
                <a:cubicBezTo>
                  <a:pt x="1879226" y="4354335"/>
                  <a:pt x="1866442" y="4350074"/>
                  <a:pt x="1863601" y="4357177"/>
                </a:cubicBezTo>
                <a:cubicBezTo>
                  <a:pt x="1853657" y="4369960"/>
                  <a:pt x="1882065" y="4379903"/>
                  <a:pt x="1863601" y="4381324"/>
                </a:cubicBezTo>
                <a:cubicBezTo>
                  <a:pt x="1852237" y="4381324"/>
                  <a:pt x="1838033" y="4384165"/>
                  <a:pt x="1835192" y="4375642"/>
                </a:cubicBezTo>
                <a:cubicBezTo>
                  <a:pt x="1839453" y="4362858"/>
                  <a:pt x="1846556" y="4384165"/>
                  <a:pt x="1856498" y="4369960"/>
                </a:cubicBezTo>
                <a:cubicBezTo>
                  <a:pt x="1839453" y="4355756"/>
                  <a:pt x="1872123" y="4334449"/>
                  <a:pt x="1842294" y="4333029"/>
                </a:cubicBezTo>
                <a:cubicBezTo>
                  <a:pt x="1818147" y="4335870"/>
                  <a:pt x="1859340" y="4357177"/>
                  <a:pt x="1835192" y="4358597"/>
                </a:cubicBezTo>
                <a:cubicBezTo>
                  <a:pt x="1823829" y="4338711"/>
                  <a:pt x="1812465" y="4318825"/>
                  <a:pt x="1785477" y="4314565"/>
                </a:cubicBezTo>
                <a:cubicBezTo>
                  <a:pt x="1772693" y="4314565"/>
                  <a:pt x="1779796" y="4334449"/>
                  <a:pt x="1764171" y="4333029"/>
                </a:cubicBezTo>
                <a:cubicBezTo>
                  <a:pt x="1754227" y="4331608"/>
                  <a:pt x="1748547" y="4335870"/>
                  <a:pt x="1742864" y="4338711"/>
                </a:cubicBezTo>
                <a:cubicBezTo>
                  <a:pt x="1725819" y="4333029"/>
                  <a:pt x="1725819" y="4340131"/>
                  <a:pt x="1714455" y="4333029"/>
                </a:cubicBezTo>
                <a:cubicBezTo>
                  <a:pt x="1697410" y="4323086"/>
                  <a:pt x="1697410" y="4331608"/>
                  <a:pt x="1678945" y="4333029"/>
                </a:cubicBezTo>
                <a:cubicBezTo>
                  <a:pt x="1677525" y="4323086"/>
                  <a:pt x="1680366" y="4311722"/>
                  <a:pt x="1664741" y="4314565"/>
                </a:cubicBezTo>
                <a:cubicBezTo>
                  <a:pt x="1663321" y="4321666"/>
                  <a:pt x="1666162" y="4331608"/>
                  <a:pt x="1657638" y="4333029"/>
                </a:cubicBezTo>
                <a:cubicBezTo>
                  <a:pt x="1654797" y="4324507"/>
                  <a:pt x="1649117" y="4320245"/>
                  <a:pt x="1636332" y="4320245"/>
                </a:cubicBezTo>
                <a:cubicBezTo>
                  <a:pt x="1637753" y="4333029"/>
                  <a:pt x="1630651" y="4340131"/>
                  <a:pt x="1615025" y="4338711"/>
                </a:cubicBezTo>
                <a:cubicBezTo>
                  <a:pt x="1616447" y="4324507"/>
                  <a:pt x="1627810" y="4320245"/>
                  <a:pt x="1607924" y="4314565"/>
                </a:cubicBezTo>
                <a:cubicBezTo>
                  <a:pt x="1608280" y="4319181"/>
                  <a:pt x="1605705" y="4321223"/>
                  <a:pt x="1601667" y="4321955"/>
                </a:cubicBezTo>
                <a:lnTo>
                  <a:pt x="1596561" y="4321797"/>
                </a:lnTo>
                <a:lnTo>
                  <a:pt x="1596561" y="4320245"/>
                </a:lnTo>
                <a:lnTo>
                  <a:pt x="1575255" y="4320245"/>
                </a:lnTo>
                <a:lnTo>
                  <a:pt x="1575255" y="4320935"/>
                </a:lnTo>
                <a:lnTo>
                  <a:pt x="1571571" y="4320756"/>
                </a:lnTo>
                <a:cubicBezTo>
                  <a:pt x="1567531" y="4321311"/>
                  <a:pt x="1564956" y="4323087"/>
                  <a:pt x="1565311" y="4327348"/>
                </a:cubicBezTo>
                <a:cubicBezTo>
                  <a:pt x="1572413" y="4327348"/>
                  <a:pt x="1573833" y="4338711"/>
                  <a:pt x="1565311" y="4340131"/>
                </a:cubicBezTo>
                <a:cubicBezTo>
                  <a:pt x="1548266" y="4342973"/>
                  <a:pt x="1569571" y="4311722"/>
                  <a:pt x="1544004" y="4321666"/>
                </a:cubicBezTo>
                <a:cubicBezTo>
                  <a:pt x="1531221" y="4320245"/>
                  <a:pt x="1521279" y="4323086"/>
                  <a:pt x="1515595" y="4327348"/>
                </a:cubicBezTo>
                <a:cubicBezTo>
                  <a:pt x="1504233" y="4328769"/>
                  <a:pt x="1509915" y="4342973"/>
                  <a:pt x="1494289" y="4340131"/>
                </a:cubicBezTo>
                <a:cubicBezTo>
                  <a:pt x="1499971" y="4320245"/>
                  <a:pt x="1499971" y="4327348"/>
                  <a:pt x="1487187" y="4315984"/>
                </a:cubicBezTo>
                <a:cubicBezTo>
                  <a:pt x="1464461" y="4310302"/>
                  <a:pt x="1472983" y="4331608"/>
                  <a:pt x="1458778" y="4334449"/>
                </a:cubicBezTo>
                <a:cubicBezTo>
                  <a:pt x="1434632" y="4330188"/>
                  <a:pt x="1428950" y="4341552"/>
                  <a:pt x="1416165" y="4347234"/>
                </a:cubicBezTo>
                <a:cubicBezTo>
                  <a:pt x="1420427" y="4330188"/>
                  <a:pt x="1382077" y="4351494"/>
                  <a:pt x="1387757" y="4334449"/>
                </a:cubicBezTo>
                <a:cubicBezTo>
                  <a:pt x="1396281" y="4333029"/>
                  <a:pt x="1404803" y="4331608"/>
                  <a:pt x="1401961" y="4321666"/>
                </a:cubicBezTo>
                <a:cubicBezTo>
                  <a:pt x="1396281" y="4320245"/>
                  <a:pt x="1393440" y="4315984"/>
                  <a:pt x="1394860" y="4308881"/>
                </a:cubicBezTo>
                <a:cubicBezTo>
                  <a:pt x="1386337" y="4306040"/>
                  <a:pt x="1379236" y="4301780"/>
                  <a:pt x="1373553" y="4296098"/>
                </a:cubicBezTo>
                <a:lnTo>
                  <a:pt x="1330940" y="4296098"/>
                </a:lnTo>
                <a:cubicBezTo>
                  <a:pt x="1326679" y="4308881"/>
                  <a:pt x="1311055" y="4303200"/>
                  <a:pt x="1302531" y="4308881"/>
                </a:cubicBezTo>
                <a:cubicBezTo>
                  <a:pt x="1298271" y="4311722"/>
                  <a:pt x="1303952" y="4323086"/>
                  <a:pt x="1295430" y="4321666"/>
                </a:cubicBezTo>
                <a:cubicBezTo>
                  <a:pt x="1293300" y="4313143"/>
                  <a:pt x="1289038" y="4310392"/>
                  <a:pt x="1283646" y="4310480"/>
                </a:cubicBezTo>
                <a:lnTo>
                  <a:pt x="1266587" y="4315860"/>
                </a:lnTo>
                <a:lnTo>
                  <a:pt x="1265601" y="4314565"/>
                </a:lnTo>
                <a:lnTo>
                  <a:pt x="1259080" y="4317985"/>
                </a:lnTo>
                <a:lnTo>
                  <a:pt x="1246582" y="4321421"/>
                </a:lnTo>
                <a:lnTo>
                  <a:pt x="1245532" y="4321521"/>
                </a:lnTo>
                <a:lnTo>
                  <a:pt x="1231510" y="4308881"/>
                </a:lnTo>
                <a:cubicBezTo>
                  <a:pt x="1244294" y="4307462"/>
                  <a:pt x="1267021" y="4314565"/>
                  <a:pt x="1259918" y="4296098"/>
                </a:cubicBezTo>
                <a:cubicBezTo>
                  <a:pt x="1227249" y="4300360"/>
                  <a:pt x="1221567" y="4294677"/>
                  <a:pt x="1203101" y="4314565"/>
                </a:cubicBezTo>
                <a:cubicBezTo>
                  <a:pt x="1203101" y="4306040"/>
                  <a:pt x="1200260" y="4301780"/>
                  <a:pt x="1196000" y="4296098"/>
                </a:cubicBezTo>
                <a:cubicBezTo>
                  <a:pt x="1186056" y="4296098"/>
                  <a:pt x="1177535" y="4296098"/>
                  <a:pt x="1167591" y="4296098"/>
                </a:cubicBezTo>
                <a:cubicBezTo>
                  <a:pt x="1163331" y="4296098"/>
                  <a:pt x="1159069" y="4290417"/>
                  <a:pt x="1160489" y="4290417"/>
                </a:cubicBezTo>
                <a:cubicBezTo>
                  <a:pt x="1143443" y="4288995"/>
                  <a:pt x="1132080" y="4297518"/>
                  <a:pt x="1117875" y="4296098"/>
                </a:cubicBezTo>
                <a:cubicBezTo>
                  <a:pt x="1105093" y="4296098"/>
                  <a:pt x="1102251" y="4290417"/>
                  <a:pt x="1089467" y="4290417"/>
                </a:cubicBezTo>
                <a:cubicBezTo>
                  <a:pt x="1073843" y="4288995"/>
                  <a:pt x="1056798" y="4296098"/>
                  <a:pt x="1039753" y="4296098"/>
                </a:cubicBezTo>
                <a:cubicBezTo>
                  <a:pt x="1031230" y="4296098"/>
                  <a:pt x="1028389" y="4291836"/>
                  <a:pt x="1018445" y="4290417"/>
                </a:cubicBezTo>
                <a:cubicBezTo>
                  <a:pt x="1001401" y="4288995"/>
                  <a:pt x="974413" y="4290417"/>
                  <a:pt x="968731" y="4290417"/>
                </a:cubicBezTo>
                <a:cubicBezTo>
                  <a:pt x="964471" y="4290417"/>
                  <a:pt x="960209" y="4284735"/>
                  <a:pt x="961629" y="4284735"/>
                </a:cubicBezTo>
                <a:cubicBezTo>
                  <a:pt x="947424" y="4284735"/>
                  <a:pt x="933220" y="4290417"/>
                  <a:pt x="919016" y="4290417"/>
                </a:cubicBezTo>
                <a:cubicBezTo>
                  <a:pt x="906233" y="4290417"/>
                  <a:pt x="903392" y="4284735"/>
                  <a:pt x="890607" y="4284735"/>
                </a:cubicBezTo>
                <a:cubicBezTo>
                  <a:pt x="877824" y="4284735"/>
                  <a:pt x="874983" y="4288995"/>
                  <a:pt x="862199" y="4290417"/>
                </a:cubicBezTo>
                <a:cubicBezTo>
                  <a:pt x="850837" y="4290417"/>
                  <a:pt x="818166" y="4276212"/>
                  <a:pt x="819586" y="4296098"/>
                </a:cubicBezTo>
                <a:cubicBezTo>
                  <a:pt x="832370" y="4306040"/>
                  <a:pt x="842314" y="4290417"/>
                  <a:pt x="855097" y="4301780"/>
                </a:cubicBezTo>
                <a:cubicBezTo>
                  <a:pt x="877824" y="4320245"/>
                  <a:pt x="913335" y="4296098"/>
                  <a:pt x="947424" y="4301780"/>
                </a:cubicBezTo>
                <a:cubicBezTo>
                  <a:pt x="948845" y="4310302"/>
                  <a:pt x="958788" y="4311722"/>
                  <a:pt x="961629" y="4320245"/>
                </a:cubicBezTo>
                <a:cubicBezTo>
                  <a:pt x="936062" y="4310302"/>
                  <a:pt x="957368" y="4341552"/>
                  <a:pt x="940323" y="4338711"/>
                </a:cubicBezTo>
                <a:cubicBezTo>
                  <a:pt x="933220" y="4341552"/>
                  <a:pt x="936062" y="4335870"/>
                  <a:pt x="933220" y="4333029"/>
                </a:cubicBezTo>
                <a:cubicBezTo>
                  <a:pt x="919016" y="4318825"/>
                  <a:pt x="877824" y="4331608"/>
                  <a:pt x="855097" y="4327348"/>
                </a:cubicBezTo>
                <a:cubicBezTo>
                  <a:pt x="845153" y="4335870"/>
                  <a:pt x="847994" y="4354335"/>
                  <a:pt x="847994" y="4371382"/>
                </a:cubicBezTo>
                <a:cubicBezTo>
                  <a:pt x="838052" y="4381324"/>
                  <a:pt x="805381" y="4371382"/>
                  <a:pt x="805381" y="4389846"/>
                </a:cubicBezTo>
                <a:cubicBezTo>
                  <a:pt x="821007" y="4401210"/>
                  <a:pt x="852256" y="4395528"/>
                  <a:pt x="855097" y="4402630"/>
                </a:cubicBezTo>
                <a:cubicBezTo>
                  <a:pt x="852256" y="4412573"/>
                  <a:pt x="799701" y="4408311"/>
                  <a:pt x="798280" y="4408311"/>
                </a:cubicBezTo>
                <a:cubicBezTo>
                  <a:pt x="785497" y="4398369"/>
                  <a:pt x="772713" y="4412573"/>
                  <a:pt x="769871" y="4402630"/>
                </a:cubicBezTo>
                <a:cubicBezTo>
                  <a:pt x="761349" y="4374221"/>
                  <a:pt x="769871" y="4381324"/>
                  <a:pt x="776973" y="4358597"/>
                </a:cubicBezTo>
                <a:cubicBezTo>
                  <a:pt x="741463" y="4362858"/>
                  <a:pt x="703111" y="4355756"/>
                  <a:pt x="686067" y="4352915"/>
                </a:cubicBezTo>
                <a:cubicBezTo>
                  <a:pt x="656237" y="4348653"/>
                  <a:pt x="644874" y="4358597"/>
                  <a:pt x="629250" y="4358597"/>
                </a:cubicBezTo>
                <a:cubicBezTo>
                  <a:pt x="612205" y="4358597"/>
                  <a:pt x="600840" y="4350074"/>
                  <a:pt x="586636" y="4352915"/>
                </a:cubicBezTo>
                <a:cubicBezTo>
                  <a:pt x="585216" y="4352915"/>
                  <a:pt x="576693" y="4358597"/>
                  <a:pt x="579534" y="4358597"/>
                </a:cubicBezTo>
                <a:cubicBezTo>
                  <a:pt x="569592" y="4358597"/>
                  <a:pt x="569592" y="4351494"/>
                  <a:pt x="558227" y="4352915"/>
                </a:cubicBezTo>
                <a:cubicBezTo>
                  <a:pt x="549705" y="4352915"/>
                  <a:pt x="541184" y="4355756"/>
                  <a:pt x="529819" y="4358597"/>
                </a:cubicBezTo>
                <a:cubicBezTo>
                  <a:pt x="518455" y="4361438"/>
                  <a:pt x="504251" y="4357177"/>
                  <a:pt x="508513" y="4371382"/>
                </a:cubicBezTo>
                <a:cubicBezTo>
                  <a:pt x="511354" y="4384165"/>
                  <a:pt x="539762" y="4372801"/>
                  <a:pt x="536922" y="4389846"/>
                </a:cubicBezTo>
                <a:cubicBezTo>
                  <a:pt x="524139" y="4391266"/>
                  <a:pt x="501410" y="4384165"/>
                  <a:pt x="508513" y="4402630"/>
                </a:cubicBezTo>
                <a:cubicBezTo>
                  <a:pt x="518455" y="4412573"/>
                  <a:pt x="544023" y="4409732"/>
                  <a:pt x="551126" y="4421096"/>
                </a:cubicBezTo>
                <a:cubicBezTo>
                  <a:pt x="555388" y="4398369"/>
                  <a:pt x="599420" y="4389846"/>
                  <a:pt x="622147" y="4402630"/>
                </a:cubicBezTo>
                <a:cubicBezTo>
                  <a:pt x="632089" y="4392687"/>
                  <a:pt x="632089" y="4374221"/>
                  <a:pt x="643454" y="4365698"/>
                </a:cubicBezTo>
                <a:cubicBezTo>
                  <a:pt x="646294" y="4385586"/>
                  <a:pt x="688906" y="4371382"/>
                  <a:pt x="693169" y="4389846"/>
                </a:cubicBezTo>
                <a:cubicBezTo>
                  <a:pt x="686067" y="4399790"/>
                  <a:pt x="667601" y="4399790"/>
                  <a:pt x="664760" y="4413994"/>
                </a:cubicBezTo>
                <a:cubicBezTo>
                  <a:pt x="696009" y="4431038"/>
                  <a:pt x="730100" y="4421096"/>
                  <a:pt x="784076" y="4419675"/>
                </a:cubicBezTo>
                <a:cubicBezTo>
                  <a:pt x="774132" y="4429618"/>
                  <a:pt x="769871" y="4443823"/>
                  <a:pt x="748565" y="4443823"/>
                </a:cubicBezTo>
                <a:cubicBezTo>
                  <a:pt x="731519" y="4439561"/>
                  <a:pt x="718736" y="4443823"/>
                  <a:pt x="713054" y="4438141"/>
                </a:cubicBezTo>
                <a:cubicBezTo>
                  <a:pt x="707373" y="4432459"/>
                  <a:pt x="649135" y="4436720"/>
                  <a:pt x="642033" y="4438141"/>
                </a:cubicBezTo>
                <a:cubicBezTo>
                  <a:pt x="633511" y="4439561"/>
                  <a:pt x="632089" y="4445242"/>
                  <a:pt x="620726" y="4443823"/>
                </a:cubicBezTo>
                <a:cubicBezTo>
                  <a:pt x="613625" y="4443823"/>
                  <a:pt x="612205" y="4439561"/>
                  <a:pt x="606522" y="4438141"/>
                </a:cubicBezTo>
                <a:cubicBezTo>
                  <a:pt x="582375" y="4432459"/>
                  <a:pt x="561068" y="4440982"/>
                  <a:pt x="556807" y="4425356"/>
                </a:cubicBezTo>
                <a:cubicBezTo>
                  <a:pt x="541184" y="4423937"/>
                  <a:pt x="529819" y="4436720"/>
                  <a:pt x="528399" y="4438141"/>
                </a:cubicBezTo>
                <a:cubicBezTo>
                  <a:pt x="524139" y="4442403"/>
                  <a:pt x="515614" y="4429618"/>
                  <a:pt x="507092" y="4432459"/>
                </a:cubicBezTo>
                <a:cubicBezTo>
                  <a:pt x="504251" y="4433879"/>
                  <a:pt x="508513" y="4448083"/>
                  <a:pt x="499990" y="4445242"/>
                </a:cubicBezTo>
                <a:cubicBezTo>
                  <a:pt x="448855" y="4438141"/>
                  <a:pt x="481526" y="4382744"/>
                  <a:pt x="492888" y="4358597"/>
                </a:cubicBezTo>
                <a:cubicBezTo>
                  <a:pt x="475842" y="4354335"/>
                  <a:pt x="468741" y="4341552"/>
                  <a:pt x="457378" y="4333029"/>
                </a:cubicBezTo>
                <a:lnTo>
                  <a:pt x="419030" y="4335955"/>
                </a:lnTo>
                <a:lnTo>
                  <a:pt x="418316" y="4318115"/>
                </a:lnTo>
                <a:lnTo>
                  <a:pt x="415114" y="4308507"/>
                </a:lnTo>
                <a:lnTo>
                  <a:pt x="438024" y="4310835"/>
                </a:lnTo>
                <a:cubicBezTo>
                  <a:pt x="447079" y="4311722"/>
                  <a:pt x="454537" y="4312434"/>
                  <a:pt x="461638" y="4313143"/>
                </a:cubicBezTo>
                <a:cubicBezTo>
                  <a:pt x="490047" y="4315984"/>
                  <a:pt x="488627" y="4306040"/>
                  <a:pt x="511352" y="4307462"/>
                </a:cubicBezTo>
                <a:cubicBezTo>
                  <a:pt x="519876" y="4307462"/>
                  <a:pt x="522716" y="4311722"/>
                  <a:pt x="532660" y="4313143"/>
                </a:cubicBezTo>
                <a:cubicBezTo>
                  <a:pt x="544023" y="4314563"/>
                  <a:pt x="555386" y="4311722"/>
                  <a:pt x="561068" y="4318825"/>
                </a:cubicBezTo>
                <a:cubicBezTo>
                  <a:pt x="571010" y="4293257"/>
                  <a:pt x="603681" y="4325926"/>
                  <a:pt x="610782" y="4300359"/>
                </a:cubicBezTo>
                <a:lnTo>
                  <a:pt x="575272" y="4300359"/>
                </a:lnTo>
                <a:cubicBezTo>
                  <a:pt x="576693" y="4288995"/>
                  <a:pt x="565329" y="4287576"/>
                  <a:pt x="561068" y="4281894"/>
                </a:cubicBezTo>
                <a:cubicBezTo>
                  <a:pt x="561068" y="4271950"/>
                  <a:pt x="580954" y="4277632"/>
                  <a:pt x="582374" y="4269109"/>
                </a:cubicBezTo>
                <a:cubicBezTo>
                  <a:pt x="572431" y="4263428"/>
                  <a:pt x="555386" y="4263428"/>
                  <a:pt x="553965" y="4250645"/>
                </a:cubicBezTo>
                <a:cubicBezTo>
                  <a:pt x="576693" y="4254905"/>
                  <a:pt x="565329" y="4237860"/>
                  <a:pt x="553965" y="4237860"/>
                </a:cubicBezTo>
                <a:cubicBezTo>
                  <a:pt x="559648" y="4257746"/>
                  <a:pt x="534081" y="4250645"/>
                  <a:pt x="539761" y="4269109"/>
                </a:cubicBezTo>
                <a:cubicBezTo>
                  <a:pt x="545444" y="4276212"/>
                  <a:pt x="549705" y="4286154"/>
                  <a:pt x="546864" y="4300359"/>
                </a:cubicBezTo>
                <a:cubicBezTo>
                  <a:pt x="534081" y="4290417"/>
                  <a:pt x="505672" y="4296098"/>
                  <a:pt x="482944" y="4294677"/>
                </a:cubicBezTo>
                <a:cubicBezTo>
                  <a:pt x="473002" y="4271950"/>
                  <a:pt x="471580" y="4276212"/>
                  <a:pt x="475842" y="4244963"/>
                </a:cubicBezTo>
                <a:cubicBezTo>
                  <a:pt x="454535" y="4240701"/>
                  <a:pt x="461638" y="4262008"/>
                  <a:pt x="440331" y="4257746"/>
                </a:cubicBezTo>
                <a:cubicBezTo>
                  <a:pt x="438911" y="4249223"/>
                  <a:pt x="437490" y="4242122"/>
                  <a:pt x="426127" y="4244963"/>
                </a:cubicBezTo>
                <a:cubicBezTo>
                  <a:pt x="423286" y="4252064"/>
                  <a:pt x="416185" y="4256326"/>
                  <a:pt x="419025" y="4269109"/>
                </a:cubicBezTo>
                <a:cubicBezTo>
                  <a:pt x="444593" y="4267690"/>
                  <a:pt x="468740" y="4267690"/>
                  <a:pt x="461638" y="4294677"/>
                </a:cubicBezTo>
                <a:cubicBezTo>
                  <a:pt x="433230" y="4291836"/>
                  <a:pt x="440331" y="4291836"/>
                  <a:pt x="411922" y="4294677"/>
                </a:cubicBezTo>
                <a:lnTo>
                  <a:pt x="407915" y="4284259"/>
                </a:lnTo>
                <a:lnTo>
                  <a:pt x="411460" y="4257759"/>
                </a:lnTo>
                <a:lnTo>
                  <a:pt x="411922" y="4257746"/>
                </a:lnTo>
                <a:lnTo>
                  <a:pt x="411606" y="4256662"/>
                </a:lnTo>
                <a:lnTo>
                  <a:pt x="412301" y="4251466"/>
                </a:lnTo>
                <a:cubicBezTo>
                  <a:pt x="412101" y="4200929"/>
                  <a:pt x="400915" y="4114638"/>
                  <a:pt x="410503" y="4098659"/>
                </a:cubicBezTo>
                <a:cubicBezTo>
                  <a:pt x="410503" y="4088716"/>
                  <a:pt x="399139" y="4091557"/>
                  <a:pt x="397720" y="4084455"/>
                </a:cubicBezTo>
                <a:cubicBezTo>
                  <a:pt x="420447" y="4078774"/>
                  <a:pt x="410503" y="4029058"/>
                  <a:pt x="397720" y="4020535"/>
                </a:cubicBezTo>
                <a:cubicBezTo>
                  <a:pt x="397720" y="4006331"/>
                  <a:pt x="414765" y="4012013"/>
                  <a:pt x="410503" y="3992127"/>
                </a:cubicBezTo>
                <a:cubicBezTo>
                  <a:pt x="390617" y="3992127"/>
                  <a:pt x="403401" y="3967979"/>
                  <a:pt x="397720" y="3956617"/>
                </a:cubicBezTo>
                <a:cubicBezTo>
                  <a:pt x="394879" y="3952355"/>
                  <a:pt x="377834" y="3956617"/>
                  <a:pt x="384935" y="3942412"/>
                </a:cubicBezTo>
                <a:cubicBezTo>
                  <a:pt x="387776" y="3926787"/>
                  <a:pt x="389197" y="3919686"/>
                  <a:pt x="390617" y="3906901"/>
                </a:cubicBezTo>
                <a:cubicBezTo>
                  <a:pt x="392038" y="3894118"/>
                  <a:pt x="384935" y="3885595"/>
                  <a:pt x="384935" y="3878492"/>
                </a:cubicBezTo>
                <a:cubicBezTo>
                  <a:pt x="384935" y="3879914"/>
                  <a:pt x="390617" y="3874232"/>
                  <a:pt x="390617" y="3871391"/>
                </a:cubicBezTo>
                <a:cubicBezTo>
                  <a:pt x="394879" y="3854344"/>
                  <a:pt x="387776" y="3841561"/>
                  <a:pt x="390617" y="3828778"/>
                </a:cubicBezTo>
                <a:cubicBezTo>
                  <a:pt x="363629" y="3798948"/>
                  <a:pt x="376413" y="3753495"/>
                  <a:pt x="396299" y="3723667"/>
                </a:cubicBezTo>
                <a:cubicBezTo>
                  <a:pt x="392038" y="3723667"/>
                  <a:pt x="390617" y="3722245"/>
                  <a:pt x="390617" y="3716564"/>
                </a:cubicBezTo>
                <a:cubicBezTo>
                  <a:pt x="390617" y="3710882"/>
                  <a:pt x="396299" y="3709462"/>
                  <a:pt x="396299" y="3709462"/>
                </a:cubicBezTo>
                <a:cubicBezTo>
                  <a:pt x="400561" y="3679633"/>
                  <a:pt x="390617" y="3665428"/>
                  <a:pt x="390617" y="3645542"/>
                </a:cubicBezTo>
                <a:cubicBezTo>
                  <a:pt x="390617" y="3631338"/>
                  <a:pt x="394879" y="3622815"/>
                  <a:pt x="396299" y="3610032"/>
                </a:cubicBezTo>
                <a:cubicBezTo>
                  <a:pt x="397720" y="3602929"/>
                  <a:pt x="390617" y="3601510"/>
                  <a:pt x="390617" y="3595828"/>
                </a:cubicBezTo>
                <a:cubicBezTo>
                  <a:pt x="389197" y="3587305"/>
                  <a:pt x="399139" y="3585884"/>
                  <a:pt x="396299" y="3574521"/>
                </a:cubicBezTo>
                <a:cubicBezTo>
                  <a:pt x="390617" y="3567419"/>
                  <a:pt x="373572" y="3571680"/>
                  <a:pt x="377834" y="3553215"/>
                </a:cubicBezTo>
                <a:cubicBezTo>
                  <a:pt x="380675" y="3539011"/>
                  <a:pt x="392038" y="3534749"/>
                  <a:pt x="390617" y="3517704"/>
                </a:cubicBezTo>
                <a:cubicBezTo>
                  <a:pt x="374993" y="3496398"/>
                  <a:pt x="365049" y="3449523"/>
                  <a:pt x="377834" y="3418274"/>
                </a:cubicBezTo>
                <a:cubicBezTo>
                  <a:pt x="376413" y="3406910"/>
                  <a:pt x="362208" y="3412592"/>
                  <a:pt x="365049" y="3396968"/>
                </a:cubicBezTo>
                <a:lnTo>
                  <a:pt x="383515" y="3396968"/>
                </a:lnTo>
                <a:cubicBezTo>
                  <a:pt x="379253" y="3374241"/>
                  <a:pt x="377834" y="3350093"/>
                  <a:pt x="370731" y="3333048"/>
                </a:cubicBezTo>
                <a:cubicBezTo>
                  <a:pt x="379253" y="3330207"/>
                  <a:pt x="383515" y="3323106"/>
                  <a:pt x="383515" y="3311742"/>
                </a:cubicBezTo>
                <a:cubicBezTo>
                  <a:pt x="377834" y="3294697"/>
                  <a:pt x="369311" y="3300378"/>
                  <a:pt x="377834" y="3290435"/>
                </a:cubicBezTo>
                <a:cubicBezTo>
                  <a:pt x="386356" y="3280493"/>
                  <a:pt x="372152" y="3256345"/>
                  <a:pt x="372152" y="3254925"/>
                </a:cubicBezTo>
                <a:cubicBezTo>
                  <a:pt x="367890" y="3235039"/>
                  <a:pt x="365049" y="3239300"/>
                  <a:pt x="359367" y="3226517"/>
                </a:cubicBezTo>
                <a:cubicBezTo>
                  <a:pt x="367890" y="3223676"/>
                  <a:pt x="372152" y="3216573"/>
                  <a:pt x="372152" y="3205210"/>
                </a:cubicBezTo>
                <a:cubicBezTo>
                  <a:pt x="365049" y="3203790"/>
                  <a:pt x="355107" y="3206631"/>
                  <a:pt x="353686" y="3198108"/>
                </a:cubicBezTo>
                <a:cubicBezTo>
                  <a:pt x="350845" y="3181063"/>
                  <a:pt x="382094" y="3202369"/>
                  <a:pt x="372152" y="3176801"/>
                </a:cubicBezTo>
                <a:cubicBezTo>
                  <a:pt x="367890" y="3171119"/>
                  <a:pt x="346584" y="3154074"/>
                  <a:pt x="372152" y="3155495"/>
                </a:cubicBezTo>
                <a:cubicBezTo>
                  <a:pt x="369311" y="3132768"/>
                  <a:pt x="353686" y="3124246"/>
                  <a:pt x="353686" y="3098678"/>
                </a:cubicBezTo>
                <a:cubicBezTo>
                  <a:pt x="363629" y="3098678"/>
                  <a:pt x="372152" y="3097257"/>
                  <a:pt x="377834" y="3091575"/>
                </a:cubicBezTo>
                <a:cubicBezTo>
                  <a:pt x="374993" y="3060326"/>
                  <a:pt x="384935" y="3048962"/>
                  <a:pt x="383515" y="3027657"/>
                </a:cubicBezTo>
                <a:cubicBezTo>
                  <a:pt x="382094" y="3016292"/>
                  <a:pt x="366470" y="3017713"/>
                  <a:pt x="365049" y="2999248"/>
                </a:cubicBezTo>
                <a:cubicBezTo>
                  <a:pt x="365049" y="2997827"/>
                  <a:pt x="376413" y="2987883"/>
                  <a:pt x="370731" y="2977941"/>
                </a:cubicBezTo>
                <a:cubicBezTo>
                  <a:pt x="362208" y="2976521"/>
                  <a:pt x="348004" y="2980782"/>
                  <a:pt x="346584" y="2970840"/>
                </a:cubicBezTo>
                <a:lnTo>
                  <a:pt x="346584" y="2935328"/>
                </a:lnTo>
                <a:cubicBezTo>
                  <a:pt x="367890" y="2933909"/>
                  <a:pt x="332380" y="2911182"/>
                  <a:pt x="352266" y="2914023"/>
                </a:cubicBezTo>
                <a:cubicBezTo>
                  <a:pt x="360789" y="2915442"/>
                  <a:pt x="362208" y="2925386"/>
                  <a:pt x="370731" y="2928227"/>
                </a:cubicBezTo>
                <a:cubicBezTo>
                  <a:pt x="380675" y="2878511"/>
                  <a:pt x="353686" y="2868569"/>
                  <a:pt x="346584" y="2835898"/>
                </a:cubicBezTo>
                <a:lnTo>
                  <a:pt x="365049" y="2835898"/>
                </a:lnTo>
                <a:cubicBezTo>
                  <a:pt x="369311" y="2806070"/>
                  <a:pt x="343743" y="2843001"/>
                  <a:pt x="346584" y="2814593"/>
                </a:cubicBezTo>
                <a:cubicBezTo>
                  <a:pt x="346584" y="2817432"/>
                  <a:pt x="359367" y="2800389"/>
                  <a:pt x="359367" y="2800389"/>
                </a:cubicBezTo>
                <a:cubicBezTo>
                  <a:pt x="366470" y="2791866"/>
                  <a:pt x="370731" y="2794707"/>
                  <a:pt x="372152" y="2779081"/>
                </a:cubicBezTo>
                <a:cubicBezTo>
                  <a:pt x="373572" y="2757776"/>
                  <a:pt x="366470" y="2766298"/>
                  <a:pt x="359367" y="2736469"/>
                </a:cubicBezTo>
                <a:cubicBezTo>
                  <a:pt x="367890" y="2735049"/>
                  <a:pt x="382094" y="2739309"/>
                  <a:pt x="383515" y="2729367"/>
                </a:cubicBezTo>
                <a:cubicBezTo>
                  <a:pt x="356527" y="2722264"/>
                  <a:pt x="374993" y="2710901"/>
                  <a:pt x="377834" y="2686754"/>
                </a:cubicBezTo>
                <a:cubicBezTo>
                  <a:pt x="370731" y="2683914"/>
                  <a:pt x="363629" y="2679651"/>
                  <a:pt x="359367" y="2672550"/>
                </a:cubicBezTo>
                <a:cubicBezTo>
                  <a:pt x="345163" y="2648402"/>
                  <a:pt x="367890" y="2649823"/>
                  <a:pt x="365049" y="2637038"/>
                </a:cubicBezTo>
                <a:cubicBezTo>
                  <a:pt x="363629" y="2634198"/>
                  <a:pt x="345163" y="2637038"/>
                  <a:pt x="352266" y="2622834"/>
                </a:cubicBezTo>
                <a:cubicBezTo>
                  <a:pt x="362208" y="2621414"/>
                  <a:pt x="382094" y="2629937"/>
                  <a:pt x="376413" y="2608630"/>
                </a:cubicBezTo>
                <a:cubicBezTo>
                  <a:pt x="382094" y="2584483"/>
                  <a:pt x="353686" y="2597267"/>
                  <a:pt x="352266" y="2580221"/>
                </a:cubicBezTo>
                <a:cubicBezTo>
                  <a:pt x="359367" y="2578802"/>
                  <a:pt x="357948" y="2568858"/>
                  <a:pt x="357948" y="2558916"/>
                </a:cubicBezTo>
                <a:cubicBezTo>
                  <a:pt x="357948" y="2554654"/>
                  <a:pt x="352266" y="2550393"/>
                  <a:pt x="352266" y="2551813"/>
                </a:cubicBezTo>
                <a:cubicBezTo>
                  <a:pt x="352266" y="2544712"/>
                  <a:pt x="357948" y="2543290"/>
                  <a:pt x="357948" y="2537608"/>
                </a:cubicBezTo>
                <a:cubicBezTo>
                  <a:pt x="359367" y="2527666"/>
                  <a:pt x="352266" y="2521984"/>
                  <a:pt x="352266" y="2516303"/>
                </a:cubicBezTo>
                <a:cubicBezTo>
                  <a:pt x="352266" y="2516303"/>
                  <a:pt x="365049" y="2510621"/>
                  <a:pt x="365049" y="2509200"/>
                </a:cubicBezTo>
                <a:cubicBezTo>
                  <a:pt x="369311" y="2499258"/>
                  <a:pt x="356527" y="2483632"/>
                  <a:pt x="365049" y="2480792"/>
                </a:cubicBezTo>
                <a:cubicBezTo>
                  <a:pt x="373572" y="2480792"/>
                  <a:pt x="377834" y="2483632"/>
                  <a:pt x="383515" y="2487894"/>
                </a:cubicBezTo>
                <a:cubicBezTo>
                  <a:pt x="384935" y="2443860"/>
                  <a:pt x="387776" y="2436759"/>
                  <a:pt x="383515" y="2395566"/>
                </a:cubicBezTo>
                <a:cubicBezTo>
                  <a:pt x="359367" y="2398407"/>
                  <a:pt x="379253" y="2378521"/>
                  <a:pt x="377834" y="2374260"/>
                </a:cubicBezTo>
                <a:cubicBezTo>
                  <a:pt x="376413" y="2365736"/>
                  <a:pt x="353686" y="2364316"/>
                  <a:pt x="359367" y="2352953"/>
                </a:cubicBezTo>
                <a:cubicBezTo>
                  <a:pt x="374993" y="2334488"/>
                  <a:pt x="359367" y="2317443"/>
                  <a:pt x="365049" y="2296136"/>
                </a:cubicBezTo>
                <a:cubicBezTo>
                  <a:pt x="372152" y="2273409"/>
                  <a:pt x="389197" y="2280510"/>
                  <a:pt x="377834" y="2267727"/>
                </a:cubicBezTo>
                <a:cubicBezTo>
                  <a:pt x="362208" y="2249262"/>
                  <a:pt x="382094" y="2247841"/>
                  <a:pt x="377834" y="2232217"/>
                </a:cubicBezTo>
                <a:cubicBezTo>
                  <a:pt x="374993" y="2222273"/>
                  <a:pt x="363629" y="2226534"/>
                  <a:pt x="365049" y="2210910"/>
                </a:cubicBezTo>
                <a:cubicBezTo>
                  <a:pt x="374993" y="2209489"/>
                  <a:pt x="386356" y="2212330"/>
                  <a:pt x="383515" y="2196706"/>
                </a:cubicBezTo>
                <a:cubicBezTo>
                  <a:pt x="380675" y="2182502"/>
                  <a:pt x="355107" y="2195285"/>
                  <a:pt x="365049" y="2168297"/>
                </a:cubicBezTo>
                <a:cubicBezTo>
                  <a:pt x="365049" y="2156934"/>
                  <a:pt x="382094" y="2164037"/>
                  <a:pt x="383515" y="2154093"/>
                </a:cubicBezTo>
                <a:cubicBezTo>
                  <a:pt x="392038" y="2152672"/>
                  <a:pt x="390617" y="2138467"/>
                  <a:pt x="396299" y="2132787"/>
                </a:cubicBezTo>
                <a:cubicBezTo>
                  <a:pt x="387776" y="2125684"/>
                  <a:pt x="377834" y="2128525"/>
                  <a:pt x="372152" y="2118583"/>
                </a:cubicBezTo>
                <a:cubicBezTo>
                  <a:pt x="369311" y="2112900"/>
                  <a:pt x="373572" y="2100117"/>
                  <a:pt x="366470" y="2097276"/>
                </a:cubicBezTo>
                <a:cubicBezTo>
                  <a:pt x="353686" y="2087332"/>
                  <a:pt x="343743" y="2115741"/>
                  <a:pt x="342322" y="2097276"/>
                </a:cubicBezTo>
                <a:cubicBezTo>
                  <a:pt x="342322" y="2085912"/>
                  <a:pt x="339481" y="2071708"/>
                  <a:pt x="348004" y="2068867"/>
                </a:cubicBezTo>
                <a:cubicBezTo>
                  <a:pt x="360789" y="2073128"/>
                  <a:pt x="339481" y="2080231"/>
                  <a:pt x="353686" y="2090174"/>
                </a:cubicBezTo>
                <a:cubicBezTo>
                  <a:pt x="367890" y="2073128"/>
                  <a:pt x="389197" y="2105798"/>
                  <a:pt x="390617" y="2075970"/>
                </a:cubicBezTo>
                <a:cubicBezTo>
                  <a:pt x="387776" y="2051822"/>
                  <a:pt x="366470" y="2093015"/>
                  <a:pt x="365049" y="2068867"/>
                </a:cubicBezTo>
                <a:cubicBezTo>
                  <a:pt x="384935" y="2057504"/>
                  <a:pt x="404821" y="2046140"/>
                  <a:pt x="409083" y="2019153"/>
                </a:cubicBezTo>
                <a:cubicBezTo>
                  <a:pt x="409083" y="2006368"/>
                  <a:pt x="389197" y="2013470"/>
                  <a:pt x="390617" y="1997846"/>
                </a:cubicBezTo>
                <a:cubicBezTo>
                  <a:pt x="392038" y="1987902"/>
                  <a:pt x="387776" y="1982220"/>
                  <a:pt x="384935" y="1976540"/>
                </a:cubicBezTo>
                <a:cubicBezTo>
                  <a:pt x="390617" y="1959494"/>
                  <a:pt x="383515" y="1959494"/>
                  <a:pt x="390617" y="1948132"/>
                </a:cubicBezTo>
                <a:cubicBezTo>
                  <a:pt x="400561" y="1931085"/>
                  <a:pt x="392038" y="1931085"/>
                  <a:pt x="390617" y="1912620"/>
                </a:cubicBezTo>
                <a:cubicBezTo>
                  <a:pt x="400561" y="1911199"/>
                  <a:pt x="411924" y="1914040"/>
                  <a:pt x="409083" y="1898416"/>
                </a:cubicBezTo>
                <a:cubicBezTo>
                  <a:pt x="401980" y="1896995"/>
                  <a:pt x="392038" y="1899836"/>
                  <a:pt x="390617" y="1891315"/>
                </a:cubicBezTo>
                <a:cubicBezTo>
                  <a:pt x="399139" y="1888472"/>
                  <a:pt x="403401" y="1882790"/>
                  <a:pt x="403401" y="1870007"/>
                </a:cubicBezTo>
                <a:cubicBezTo>
                  <a:pt x="390617" y="1871427"/>
                  <a:pt x="383515" y="1864326"/>
                  <a:pt x="384935" y="1848702"/>
                </a:cubicBezTo>
                <a:cubicBezTo>
                  <a:pt x="399139" y="1850121"/>
                  <a:pt x="403401" y="1861485"/>
                  <a:pt x="409083" y="1841599"/>
                </a:cubicBezTo>
                <a:cubicBezTo>
                  <a:pt x="390617" y="1843018"/>
                  <a:pt x="413344" y="1797565"/>
                  <a:pt x="396299" y="1798986"/>
                </a:cubicBezTo>
                <a:lnTo>
                  <a:pt x="393458" y="1801827"/>
                </a:lnTo>
                <a:lnTo>
                  <a:pt x="393458" y="1800406"/>
                </a:lnTo>
                <a:lnTo>
                  <a:pt x="385193" y="1800406"/>
                </a:lnTo>
                <a:lnTo>
                  <a:pt x="383515" y="1798986"/>
                </a:lnTo>
                <a:cubicBezTo>
                  <a:pt x="380675" y="1781941"/>
                  <a:pt x="411924" y="1803247"/>
                  <a:pt x="401980" y="1777680"/>
                </a:cubicBezTo>
                <a:cubicBezTo>
                  <a:pt x="403401" y="1764896"/>
                  <a:pt x="400561" y="1754952"/>
                  <a:pt x="396299" y="1749272"/>
                </a:cubicBezTo>
                <a:cubicBezTo>
                  <a:pt x="394879" y="1737908"/>
                  <a:pt x="380675" y="1743589"/>
                  <a:pt x="383515" y="1727965"/>
                </a:cubicBezTo>
                <a:cubicBezTo>
                  <a:pt x="403401" y="1733646"/>
                  <a:pt x="396299" y="1733646"/>
                  <a:pt x="407662" y="1720863"/>
                </a:cubicBezTo>
                <a:cubicBezTo>
                  <a:pt x="413344" y="1698135"/>
                  <a:pt x="392038" y="1706659"/>
                  <a:pt x="389197" y="1692455"/>
                </a:cubicBezTo>
                <a:cubicBezTo>
                  <a:pt x="393458" y="1668307"/>
                  <a:pt x="382094" y="1662625"/>
                  <a:pt x="376413" y="1649842"/>
                </a:cubicBezTo>
                <a:cubicBezTo>
                  <a:pt x="393458" y="1654102"/>
                  <a:pt x="372152" y="1615750"/>
                  <a:pt x="389197" y="1621433"/>
                </a:cubicBezTo>
                <a:cubicBezTo>
                  <a:pt x="390617" y="1629954"/>
                  <a:pt x="392038" y="1638478"/>
                  <a:pt x="401980" y="1635638"/>
                </a:cubicBezTo>
                <a:cubicBezTo>
                  <a:pt x="403401" y="1629954"/>
                  <a:pt x="407662" y="1627113"/>
                  <a:pt x="414765" y="1628535"/>
                </a:cubicBezTo>
                <a:cubicBezTo>
                  <a:pt x="417606" y="1620012"/>
                  <a:pt x="421866" y="1612909"/>
                  <a:pt x="427548" y="1607229"/>
                </a:cubicBezTo>
                <a:lnTo>
                  <a:pt x="427548" y="1564616"/>
                </a:lnTo>
                <a:cubicBezTo>
                  <a:pt x="414765" y="1560354"/>
                  <a:pt x="420447" y="1544729"/>
                  <a:pt x="414765" y="1536208"/>
                </a:cubicBezTo>
                <a:cubicBezTo>
                  <a:pt x="411924" y="1531946"/>
                  <a:pt x="400561" y="1537627"/>
                  <a:pt x="401980" y="1529105"/>
                </a:cubicBezTo>
                <a:cubicBezTo>
                  <a:pt x="436070" y="1520582"/>
                  <a:pt x="377834" y="1477969"/>
                  <a:pt x="414765" y="1465186"/>
                </a:cubicBezTo>
                <a:cubicBezTo>
                  <a:pt x="416185" y="1477969"/>
                  <a:pt x="409083" y="1500696"/>
                  <a:pt x="427548" y="1493595"/>
                </a:cubicBezTo>
                <a:cubicBezTo>
                  <a:pt x="423287" y="1460924"/>
                  <a:pt x="428969" y="1455242"/>
                  <a:pt x="409083" y="1436778"/>
                </a:cubicBezTo>
                <a:cubicBezTo>
                  <a:pt x="417606" y="1436778"/>
                  <a:pt x="421866" y="1433935"/>
                  <a:pt x="427548" y="1429675"/>
                </a:cubicBezTo>
                <a:cubicBezTo>
                  <a:pt x="427548" y="1419731"/>
                  <a:pt x="427548" y="1411210"/>
                  <a:pt x="427548" y="1401266"/>
                </a:cubicBezTo>
                <a:cubicBezTo>
                  <a:pt x="427548" y="1397006"/>
                  <a:pt x="433230" y="1392744"/>
                  <a:pt x="433230" y="1394165"/>
                </a:cubicBezTo>
                <a:cubicBezTo>
                  <a:pt x="434651" y="1377118"/>
                  <a:pt x="426128" y="1365756"/>
                  <a:pt x="427548" y="1351552"/>
                </a:cubicBezTo>
                <a:cubicBezTo>
                  <a:pt x="427548" y="1338767"/>
                  <a:pt x="433230" y="1335927"/>
                  <a:pt x="433230" y="1323143"/>
                </a:cubicBezTo>
                <a:cubicBezTo>
                  <a:pt x="434651" y="1307518"/>
                  <a:pt x="427548" y="1290473"/>
                  <a:pt x="427548" y="1273428"/>
                </a:cubicBezTo>
                <a:cubicBezTo>
                  <a:pt x="427548" y="1264905"/>
                  <a:pt x="431810" y="1262064"/>
                  <a:pt x="433230" y="1252122"/>
                </a:cubicBezTo>
                <a:cubicBezTo>
                  <a:pt x="434651" y="1235075"/>
                  <a:pt x="433230" y="1208088"/>
                  <a:pt x="433230" y="1202406"/>
                </a:cubicBezTo>
                <a:cubicBezTo>
                  <a:pt x="433230" y="1198146"/>
                  <a:pt x="438911" y="1193884"/>
                  <a:pt x="438911" y="1195305"/>
                </a:cubicBezTo>
                <a:cubicBezTo>
                  <a:pt x="438911" y="1181101"/>
                  <a:pt x="433230" y="1166896"/>
                  <a:pt x="433230" y="1152692"/>
                </a:cubicBezTo>
                <a:cubicBezTo>
                  <a:pt x="433230" y="1139907"/>
                  <a:pt x="438911" y="1137067"/>
                  <a:pt x="438911" y="1124284"/>
                </a:cubicBezTo>
                <a:cubicBezTo>
                  <a:pt x="438911" y="1111499"/>
                  <a:pt x="434651" y="1108658"/>
                  <a:pt x="433230" y="1095875"/>
                </a:cubicBezTo>
                <a:cubicBezTo>
                  <a:pt x="433230" y="1084512"/>
                  <a:pt x="447434" y="1051841"/>
                  <a:pt x="427548" y="1053262"/>
                </a:cubicBezTo>
                <a:cubicBezTo>
                  <a:pt x="417606" y="1066045"/>
                  <a:pt x="433230" y="1075988"/>
                  <a:pt x="421866" y="1088772"/>
                </a:cubicBezTo>
                <a:cubicBezTo>
                  <a:pt x="403401" y="1111499"/>
                  <a:pt x="427548" y="1147009"/>
                  <a:pt x="421866" y="1181101"/>
                </a:cubicBezTo>
                <a:lnTo>
                  <a:pt x="404723" y="1194289"/>
                </a:lnTo>
                <a:lnTo>
                  <a:pt x="404821" y="1193884"/>
                </a:lnTo>
                <a:lnTo>
                  <a:pt x="403483" y="1194260"/>
                </a:lnTo>
                <a:lnTo>
                  <a:pt x="404311" y="1183587"/>
                </a:lnTo>
                <a:cubicBezTo>
                  <a:pt x="399851" y="1177993"/>
                  <a:pt x="382806" y="1186782"/>
                  <a:pt x="384935" y="1173998"/>
                </a:cubicBezTo>
                <a:cubicBezTo>
                  <a:pt x="382094" y="1166896"/>
                  <a:pt x="387776" y="1169737"/>
                  <a:pt x="390617" y="1166896"/>
                </a:cubicBezTo>
                <a:cubicBezTo>
                  <a:pt x="404821" y="1152692"/>
                  <a:pt x="392038" y="1111499"/>
                  <a:pt x="396299" y="1088772"/>
                </a:cubicBezTo>
                <a:cubicBezTo>
                  <a:pt x="387776" y="1078828"/>
                  <a:pt x="369311" y="1081671"/>
                  <a:pt x="352266" y="1081671"/>
                </a:cubicBezTo>
                <a:cubicBezTo>
                  <a:pt x="342322" y="1071727"/>
                  <a:pt x="352266" y="1039058"/>
                  <a:pt x="333800" y="1039058"/>
                </a:cubicBezTo>
                <a:cubicBezTo>
                  <a:pt x="322436" y="1054682"/>
                  <a:pt x="328118" y="1085931"/>
                  <a:pt x="321017" y="1088772"/>
                </a:cubicBezTo>
                <a:cubicBezTo>
                  <a:pt x="311073" y="1085931"/>
                  <a:pt x="315335" y="1033375"/>
                  <a:pt x="315335" y="1031955"/>
                </a:cubicBezTo>
                <a:cubicBezTo>
                  <a:pt x="325277" y="1019170"/>
                  <a:pt x="311073" y="1006387"/>
                  <a:pt x="321017" y="1003546"/>
                </a:cubicBezTo>
                <a:cubicBezTo>
                  <a:pt x="349425" y="995024"/>
                  <a:pt x="342322" y="1003546"/>
                  <a:pt x="365049" y="1010649"/>
                </a:cubicBezTo>
                <a:cubicBezTo>
                  <a:pt x="360789" y="975138"/>
                  <a:pt x="367890" y="936786"/>
                  <a:pt x="370731" y="919740"/>
                </a:cubicBezTo>
                <a:cubicBezTo>
                  <a:pt x="374993" y="889912"/>
                  <a:pt x="365049" y="878549"/>
                  <a:pt x="365049" y="862923"/>
                </a:cubicBezTo>
                <a:cubicBezTo>
                  <a:pt x="365049" y="845878"/>
                  <a:pt x="373572" y="834515"/>
                  <a:pt x="370731" y="820311"/>
                </a:cubicBezTo>
                <a:cubicBezTo>
                  <a:pt x="370731" y="818891"/>
                  <a:pt x="365049" y="810368"/>
                  <a:pt x="365049" y="813209"/>
                </a:cubicBezTo>
                <a:cubicBezTo>
                  <a:pt x="365049" y="803265"/>
                  <a:pt x="372152" y="803265"/>
                  <a:pt x="370731" y="791902"/>
                </a:cubicBezTo>
                <a:cubicBezTo>
                  <a:pt x="370731" y="783379"/>
                  <a:pt x="367890" y="774857"/>
                  <a:pt x="365049" y="763493"/>
                </a:cubicBezTo>
                <a:cubicBezTo>
                  <a:pt x="362208" y="752130"/>
                  <a:pt x="366470" y="737926"/>
                  <a:pt x="352266" y="742188"/>
                </a:cubicBezTo>
                <a:cubicBezTo>
                  <a:pt x="339481" y="745028"/>
                  <a:pt x="350845" y="773437"/>
                  <a:pt x="333800" y="770596"/>
                </a:cubicBezTo>
                <a:cubicBezTo>
                  <a:pt x="332380" y="757812"/>
                  <a:pt x="339481" y="735085"/>
                  <a:pt x="321017" y="742188"/>
                </a:cubicBezTo>
                <a:cubicBezTo>
                  <a:pt x="311073" y="752130"/>
                  <a:pt x="313914" y="777698"/>
                  <a:pt x="302550" y="784801"/>
                </a:cubicBezTo>
                <a:cubicBezTo>
                  <a:pt x="325277" y="789061"/>
                  <a:pt x="333800" y="833095"/>
                  <a:pt x="321017" y="855822"/>
                </a:cubicBezTo>
                <a:cubicBezTo>
                  <a:pt x="330959" y="865764"/>
                  <a:pt x="349425" y="865764"/>
                  <a:pt x="357948" y="877128"/>
                </a:cubicBezTo>
                <a:cubicBezTo>
                  <a:pt x="338062" y="879968"/>
                  <a:pt x="352266" y="922581"/>
                  <a:pt x="333800" y="926843"/>
                </a:cubicBezTo>
                <a:cubicBezTo>
                  <a:pt x="323857" y="919740"/>
                  <a:pt x="323857" y="901276"/>
                  <a:pt x="309653" y="898435"/>
                </a:cubicBezTo>
                <a:cubicBezTo>
                  <a:pt x="292608" y="929684"/>
                  <a:pt x="302550" y="963774"/>
                  <a:pt x="303971" y="1017751"/>
                </a:cubicBezTo>
                <a:cubicBezTo>
                  <a:pt x="294028" y="1007807"/>
                  <a:pt x="279823" y="1003546"/>
                  <a:pt x="279823" y="982241"/>
                </a:cubicBezTo>
                <a:cubicBezTo>
                  <a:pt x="284085" y="965194"/>
                  <a:pt x="279823" y="952411"/>
                  <a:pt x="285505" y="946729"/>
                </a:cubicBezTo>
                <a:cubicBezTo>
                  <a:pt x="291187" y="941048"/>
                  <a:pt x="286926" y="882811"/>
                  <a:pt x="285505" y="875708"/>
                </a:cubicBezTo>
                <a:cubicBezTo>
                  <a:pt x="284085" y="867185"/>
                  <a:pt x="278404" y="865764"/>
                  <a:pt x="279823" y="854402"/>
                </a:cubicBezTo>
                <a:cubicBezTo>
                  <a:pt x="279823" y="847299"/>
                  <a:pt x="284085" y="845878"/>
                  <a:pt x="285505" y="840196"/>
                </a:cubicBezTo>
                <a:cubicBezTo>
                  <a:pt x="291187" y="816050"/>
                  <a:pt x="282664" y="794743"/>
                  <a:pt x="298290" y="790482"/>
                </a:cubicBezTo>
                <a:cubicBezTo>
                  <a:pt x="299709" y="774857"/>
                  <a:pt x="286926" y="763493"/>
                  <a:pt x="285505" y="762074"/>
                </a:cubicBezTo>
                <a:cubicBezTo>
                  <a:pt x="281245" y="757812"/>
                  <a:pt x="294028" y="749289"/>
                  <a:pt x="291187" y="740767"/>
                </a:cubicBezTo>
                <a:cubicBezTo>
                  <a:pt x="289767" y="737926"/>
                  <a:pt x="275563" y="742188"/>
                  <a:pt x="278404" y="733665"/>
                </a:cubicBezTo>
                <a:cubicBezTo>
                  <a:pt x="285505" y="682530"/>
                  <a:pt x="340903" y="715199"/>
                  <a:pt x="365049" y="726562"/>
                </a:cubicBezTo>
                <a:cubicBezTo>
                  <a:pt x="369311" y="709517"/>
                  <a:pt x="382094" y="702416"/>
                  <a:pt x="390617" y="691052"/>
                </a:cubicBezTo>
                <a:cubicBezTo>
                  <a:pt x="384935" y="658382"/>
                  <a:pt x="387776" y="642758"/>
                  <a:pt x="390617" y="598724"/>
                </a:cubicBezTo>
                <a:cubicBezTo>
                  <a:pt x="386356" y="587360"/>
                  <a:pt x="369311" y="575997"/>
                  <a:pt x="377834" y="563215"/>
                </a:cubicBezTo>
                <a:cubicBezTo>
                  <a:pt x="380675" y="558953"/>
                  <a:pt x="399139" y="567476"/>
                  <a:pt x="396299" y="556112"/>
                </a:cubicBezTo>
                <a:cubicBezTo>
                  <a:pt x="389197" y="554691"/>
                  <a:pt x="379253" y="557534"/>
                  <a:pt x="377834" y="549010"/>
                </a:cubicBezTo>
                <a:cubicBezTo>
                  <a:pt x="379253" y="536226"/>
                  <a:pt x="399139" y="557534"/>
                  <a:pt x="396299" y="527702"/>
                </a:cubicBezTo>
                <a:cubicBezTo>
                  <a:pt x="396299" y="517760"/>
                  <a:pt x="384935" y="520602"/>
                  <a:pt x="383515" y="513498"/>
                </a:cubicBezTo>
                <a:cubicBezTo>
                  <a:pt x="384935" y="499295"/>
                  <a:pt x="400561" y="499295"/>
                  <a:pt x="401980" y="485091"/>
                </a:cubicBezTo>
                <a:cubicBezTo>
                  <a:pt x="383515" y="460945"/>
                  <a:pt x="404821" y="431115"/>
                  <a:pt x="407662" y="406967"/>
                </a:cubicBezTo>
                <a:cubicBezTo>
                  <a:pt x="409083" y="398446"/>
                  <a:pt x="400561" y="397023"/>
                  <a:pt x="401980" y="385661"/>
                </a:cubicBezTo>
                <a:cubicBezTo>
                  <a:pt x="403401" y="370037"/>
                  <a:pt x="426128" y="335945"/>
                  <a:pt x="401980" y="335945"/>
                </a:cubicBezTo>
                <a:cubicBezTo>
                  <a:pt x="383515" y="345889"/>
                  <a:pt x="404821" y="399865"/>
                  <a:pt x="370731" y="392764"/>
                </a:cubicBezTo>
                <a:cubicBezTo>
                  <a:pt x="377834" y="351569"/>
                  <a:pt x="382094" y="337367"/>
                  <a:pt x="376413" y="293334"/>
                </a:cubicBezTo>
                <a:cubicBezTo>
                  <a:pt x="386356" y="293334"/>
                  <a:pt x="394879" y="291913"/>
                  <a:pt x="400561" y="286231"/>
                </a:cubicBezTo>
                <a:cubicBezTo>
                  <a:pt x="406242" y="263504"/>
                  <a:pt x="384935" y="272025"/>
                  <a:pt x="382094" y="257823"/>
                </a:cubicBezTo>
                <a:cubicBezTo>
                  <a:pt x="394879" y="243618"/>
                  <a:pt x="376413" y="242197"/>
                  <a:pt x="376413" y="229414"/>
                </a:cubicBezTo>
                <a:cubicBezTo>
                  <a:pt x="374993" y="220890"/>
                  <a:pt x="384935" y="219472"/>
                  <a:pt x="382094" y="208108"/>
                </a:cubicBezTo>
                <a:cubicBezTo>
                  <a:pt x="353686" y="205268"/>
                  <a:pt x="367890" y="242197"/>
                  <a:pt x="363629" y="264925"/>
                </a:cubicBezTo>
                <a:cubicBezTo>
                  <a:pt x="360789" y="283389"/>
                  <a:pt x="350845" y="311797"/>
                  <a:pt x="350845" y="314640"/>
                </a:cubicBezTo>
                <a:cubicBezTo>
                  <a:pt x="350845" y="317481"/>
                  <a:pt x="359367" y="313220"/>
                  <a:pt x="356527" y="321741"/>
                </a:cubicBezTo>
                <a:cubicBezTo>
                  <a:pt x="355107" y="323162"/>
                  <a:pt x="343743" y="326003"/>
                  <a:pt x="343743" y="328844"/>
                </a:cubicBezTo>
                <a:cubicBezTo>
                  <a:pt x="343743" y="321741"/>
                  <a:pt x="336641" y="323162"/>
                  <a:pt x="338062" y="335945"/>
                </a:cubicBezTo>
                <a:lnTo>
                  <a:pt x="338062" y="350151"/>
                </a:lnTo>
                <a:cubicBezTo>
                  <a:pt x="339481" y="362933"/>
                  <a:pt x="359367" y="341628"/>
                  <a:pt x="356527" y="371457"/>
                </a:cubicBezTo>
                <a:cubicBezTo>
                  <a:pt x="348004" y="368614"/>
                  <a:pt x="346584" y="362933"/>
                  <a:pt x="338062" y="371457"/>
                </a:cubicBezTo>
                <a:cubicBezTo>
                  <a:pt x="345163" y="397023"/>
                  <a:pt x="332380" y="419751"/>
                  <a:pt x="332380" y="442478"/>
                </a:cubicBezTo>
                <a:cubicBezTo>
                  <a:pt x="332380" y="441059"/>
                  <a:pt x="338062" y="446740"/>
                  <a:pt x="338062" y="449581"/>
                </a:cubicBezTo>
                <a:cubicBezTo>
                  <a:pt x="343743" y="477990"/>
                  <a:pt x="340903" y="524863"/>
                  <a:pt x="338062" y="547590"/>
                </a:cubicBezTo>
                <a:cubicBezTo>
                  <a:pt x="338062" y="554691"/>
                  <a:pt x="332380" y="556112"/>
                  <a:pt x="332380" y="561793"/>
                </a:cubicBezTo>
                <a:cubicBezTo>
                  <a:pt x="332380" y="573156"/>
                  <a:pt x="340903" y="573156"/>
                  <a:pt x="332380" y="583100"/>
                </a:cubicBezTo>
                <a:cubicBezTo>
                  <a:pt x="319595" y="598724"/>
                  <a:pt x="332380" y="601565"/>
                  <a:pt x="332380" y="618610"/>
                </a:cubicBezTo>
                <a:cubicBezTo>
                  <a:pt x="332380" y="617190"/>
                  <a:pt x="326698" y="622872"/>
                  <a:pt x="326698" y="625713"/>
                </a:cubicBezTo>
                <a:cubicBezTo>
                  <a:pt x="322436" y="648439"/>
                  <a:pt x="332380" y="655541"/>
                  <a:pt x="321017" y="668325"/>
                </a:cubicBezTo>
                <a:cubicBezTo>
                  <a:pt x="315335" y="674007"/>
                  <a:pt x="319595" y="691052"/>
                  <a:pt x="308232" y="689631"/>
                </a:cubicBezTo>
                <a:cubicBezTo>
                  <a:pt x="302550" y="676848"/>
                  <a:pt x="305391" y="654121"/>
                  <a:pt x="295449" y="647018"/>
                </a:cubicBezTo>
                <a:cubicBezTo>
                  <a:pt x="296869" y="665485"/>
                  <a:pt x="298290" y="682530"/>
                  <a:pt x="276983" y="675427"/>
                </a:cubicBezTo>
                <a:cubicBezTo>
                  <a:pt x="284085" y="644177"/>
                  <a:pt x="286926" y="597304"/>
                  <a:pt x="289767" y="577420"/>
                </a:cubicBezTo>
                <a:cubicBezTo>
                  <a:pt x="292608" y="549010"/>
                  <a:pt x="292608" y="536226"/>
                  <a:pt x="295449" y="520602"/>
                </a:cubicBezTo>
                <a:cubicBezTo>
                  <a:pt x="296869" y="516339"/>
                  <a:pt x="294028" y="510657"/>
                  <a:pt x="295449" y="506398"/>
                </a:cubicBezTo>
                <a:cubicBezTo>
                  <a:pt x="295449" y="504975"/>
                  <a:pt x="301131" y="496453"/>
                  <a:pt x="301131" y="499295"/>
                </a:cubicBezTo>
                <a:cubicBezTo>
                  <a:pt x="302550" y="487932"/>
                  <a:pt x="294028" y="475149"/>
                  <a:pt x="295449" y="463785"/>
                </a:cubicBezTo>
                <a:cubicBezTo>
                  <a:pt x="295449" y="455263"/>
                  <a:pt x="299709" y="452422"/>
                  <a:pt x="301131" y="442478"/>
                </a:cubicBezTo>
                <a:cubicBezTo>
                  <a:pt x="305391" y="411229"/>
                  <a:pt x="302550" y="392764"/>
                  <a:pt x="301131" y="385661"/>
                </a:cubicBezTo>
                <a:cubicBezTo>
                  <a:pt x="295449" y="364355"/>
                  <a:pt x="306812" y="357251"/>
                  <a:pt x="306812" y="350151"/>
                </a:cubicBezTo>
                <a:cubicBezTo>
                  <a:pt x="306812" y="345889"/>
                  <a:pt x="312494" y="343047"/>
                  <a:pt x="312494" y="343047"/>
                </a:cubicBezTo>
                <a:cubicBezTo>
                  <a:pt x="313914" y="334526"/>
                  <a:pt x="306812" y="321741"/>
                  <a:pt x="306812" y="307538"/>
                </a:cubicBezTo>
                <a:cubicBezTo>
                  <a:pt x="306812" y="300434"/>
                  <a:pt x="311073" y="299016"/>
                  <a:pt x="312494" y="293334"/>
                </a:cubicBezTo>
                <a:cubicBezTo>
                  <a:pt x="316755" y="266345"/>
                  <a:pt x="303971" y="266345"/>
                  <a:pt x="299709" y="257823"/>
                </a:cubicBezTo>
                <a:cubicBezTo>
                  <a:pt x="295449" y="249300"/>
                  <a:pt x="302550" y="230835"/>
                  <a:pt x="286926" y="236517"/>
                </a:cubicBezTo>
                <a:cubicBezTo>
                  <a:pt x="269881" y="233676"/>
                  <a:pt x="281245" y="260663"/>
                  <a:pt x="281245" y="264925"/>
                </a:cubicBezTo>
                <a:cubicBezTo>
                  <a:pt x="281245" y="270607"/>
                  <a:pt x="275563" y="272025"/>
                  <a:pt x="275563" y="272025"/>
                </a:cubicBezTo>
                <a:cubicBezTo>
                  <a:pt x="274142" y="279128"/>
                  <a:pt x="281245" y="277707"/>
                  <a:pt x="281245" y="279128"/>
                </a:cubicBezTo>
                <a:cubicBezTo>
                  <a:pt x="282664" y="284811"/>
                  <a:pt x="275563" y="286231"/>
                  <a:pt x="275563" y="286231"/>
                </a:cubicBezTo>
                <a:cubicBezTo>
                  <a:pt x="275563" y="299016"/>
                  <a:pt x="282664" y="304697"/>
                  <a:pt x="275563" y="307538"/>
                </a:cubicBezTo>
                <a:cubicBezTo>
                  <a:pt x="272722" y="320321"/>
                  <a:pt x="284085" y="326003"/>
                  <a:pt x="275563" y="328844"/>
                </a:cubicBezTo>
                <a:cubicBezTo>
                  <a:pt x="252836" y="335945"/>
                  <a:pt x="269881" y="297594"/>
                  <a:pt x="257097" y="293334"/>
                </a:cubicBezTo>
                <a:cubicBezTo>
                  <a:pt x="257097" y="279128"/>
                  <a:pt x="274142" y="284811"/>
                  <a:pt x="269881" y="264925"/>
                </a:cubicBezTo>
                <a:cubicBezTo>
                  <a:pt x="268460" y="252141"/>
                  <a:pt x="271301" y="242197"/>
                  <a:pt x="275563" y="236517"/>
                </a:cubicBezTo>
                <a:cubicBezTo>
                  <a:pt x="255677" y="229414"/>
                  <a:pt x="272722" y="223732"/>
                  <a:pt x="269881" y="201005"/>
                </a:cubicBezTo>
                <a:cubicBezTo>
                  <a:pt x="291187" y="213790"/>
                  <a:pt x="285505" y="196745"/>
                  <a:pt x="306812" y="193904"/>
                </a:cubicBezTo>
                <a:cubicBezTo>
                  <a:pt x="309653" y="208108"/>
                  <a:pt x="286926" y="225152"/>
                  <a:pt x="312494" y="222313"/>
                </a:cubicBezTo>
                <a:cubicBezTo>
                  <a:pt x="330959" y="218050"/>
                  <a:pt x="306812" y="206687"/>
                  <a:pt x="312494" y="193904"/>
                </a:cubicBezTo>
                <a:cubicBezTo>
                  <a:pt x="338062" y="201005"/>
                  <a:pt x="316755" y="168336"/>
                  <a:pt x="318176" y="172597"/>
                </a:cubicBezTo>
                <a:cubicBezTo>
                  <a:pt x="315335" y="166914"/>
                  <a:pt x="323857" y="158391"/>
                  <a:pt x="323857" y="158391"/>
                </a:cubicBezTo>
                <a:cubicBezTo>
                  <a:pt x="321017" y="141348"/>
                  <a:pt x="318176" y="134246"/>
                  <a:pt x="305391" y="137087"/>
                </a:cubicBezTo>
                <a:cubicBezTo>
                  <a:pt x="313914" y="189642"/>
                  <a:pt x="282664" y="174018"/>
                  <a:pt x="261359" y="179700"/>
                </a:cubicBezTo>
                <a:cubicBezTo>
                  <a:pt x="241473" y="216629"/>
                  <a:pt x="267040" y="272025"/>
                  <a:pt x="237211" y="306116"/>
                </a:cubicBezTo>
                <a:cubicBezTo>
                  <a:pt x="228688" y="303276"/>
                  <a:pt x="224428" y="296175"/>
                  <a:pt x="224428" y="284811"/>
                </a:cubicBezTo>
                <a:cubicBezTo>
                  <a:pt x="224428" y="274866"/>
                  <a:pt x="224428" y="266345"/>
                  <a:pt x="224428" y="256403"/>
                </a:cubicBezTo>
                <a:cubicBezTo>
                  <a:pt x="224428" y="252141"/>
                  <a:pt x="230109" y="249300"/>
                  <a:pt x="230109" y="249300"/>
                </a:cubicBezTo>
                <a:cubicBezTo>
                  <a:pt x="231529" y="239358"/>
                  <a:pt x="224428" y="222313"/>
                  <a:pt x="224428" y="213790"/>
                </a:cubicBezTo>
                <a:cubicBezTo>
                  <a:pt x="223006" y="198163"/>
                  <a:pt x="237211" y="169756"/>
                  <a:pt x="211643" y="178279"/>
                </a:cubicBezTo>
                <a:cubicBezTo>
                  <a:pt x="215905" y="208108"/>
                  <a:pt x="208802" y="227994"/>
                  <a:pt x="205961" y="242197"/>
                </a:cubicBezTo>
                <a:cubicBezTo>
                  <a:pt x="204542" y="252141"/>
                  <a:pt x="208802" y="269184"/>
                  <a:pt x="200280" y="270607"/>
                </a:cubicBezTo>
                <a:cubicBezTo>
                  <a:pt x="196019" y="291913"/>
                  <a:pt x="217325" y="284811"/>
                  <a:pt x="213064" y="306116"/>
                </a:cubicBezTo>
                <a:cubicBezTo>
                  <a:pt x="201701" y="313220"/>
                  <a:pt x="191757" y="318902"/>
                  <a:pt x="194598" y="341628"/>
                </a:cubicBezTo>
                <a:cubicBezTo>
                  <a:pt x="198860" y="343047"/>
                  <a:pt x="201701" y="347310"/>
                  <a:pt x="200280" y="355833"/>
                </a:cubicBezTo>
                <a:cubicBezTo>
                  <a:pt x="223006" y="355833"/>
                  <a:pt x="217325" y="364355"/>
                  <a:pt x="237211" y="355833"/>
                </a:cubicBezTo>
                <a:cubicBezTo>
                  <a:pt x="235791" y="372878"/>
                  <a:pt x="215905" y="368614"/>
                  <a:pt x="218746" y="391343"/>
                </a:cubicBezTo>
                <a:cubicBezTo>
                  <a:pt x="213064" y="406967"/>
                  <a:pt x="223006" y="418332"/>
                  <a:pt x="224428" y="433954"/>
                </a:cubicBezTo>
                <a:cubicBezTo>
                  <a:pt x="225847" y="441059"/>
                  <a:pt x="218746" y="442478"/>
                  <a:pt x="218746" y="448158"/>
                </a:cubicBezTo>
                <a:cubicBezTo>
                  <a:pt x="218746" y="446740"/>
                  <a:pt x="224428" y="452422"/>
                  <a:pt x="224428" y="455263"/>
                </a:cubicBezTo>
                <a:cubicBezTo>
                  <a:pt x="228688" y="477990"/>
                  <a:pt x="213064" y="483671"/>
                  <a:pt x="211643" y="497876"/>
                </a:cubicBezTo>
                <a:cubicBezTo>
                  <a:pt x="211643" y="496453"/>
                  <a:pt x="217325" y="507816"/>
                  <a:pt x="217325" y="512080"/>
                </a:cubicBezTo>
                <a:cubicBezTo>
                  <a:pt x="218746" y="520602"/>
                  <a:pt x="217325" y="531966"/>
                  <a:pt x="217325" y="540488"/>
                </a:cubicBezTo>
                <a:cubicBezTo>
                  <a:pt x="217325" y="546170"/>
                  <a:pt x="211643" y="547590"/>
                  <a:pt x="211643" y="547590"/>
                </a:cubicBezTo>
                <a:cubicBezTo>
                  <a:pt x="208802" y="560373"/>
                  <a:pt x="215905" y="564634"/>
                  <a:pt x="217325" y="575997"/>
                </a:cubicBezTo>
                <a:cubicBezTo>
                  <a:pt x="217325" y="574577"/>
                  <a:pt x="211643" y="578838"/>
                  <a:pt x="211643" y="583100"/>
                </a:cubicBezTo>
                <a:cubicBezTo>
                  <a:pt x="210223" y="588782"/>
                  <a:pt x="218746" y="593042"/>
                  <a:pt x="217325" y="597304"/>
                </a:cubicBezTo>
                <a:cubicBezTo>
                  <a:pt x="215905" y="601565"/>
                  <a:pt x="200280" y="607246"/>
                  <a:pt x="198860" y="611508"/>
                </a:cubicBezTo>
                <a:cubicBezTo>
                  <a:pt x="196019" y="620031"/>
                  <a:pt x="203120" y="638496"/>
                  <a:pt x="193178" y="639917"/>
                </a:cubicBezTo>
                <a:cubicBezTo>
                  <a:pt x="171871" y="651280"/>
                  <a:pt x="188916" y="615769"/>
                  <a:pt x="174712" y="618610"/>
                </a:cubicBezTo>
                <a:cubicBezTo>
                  <a:pt x="176133" y="632814"/>
                  <a:pt x="167610" y="634235"/>
                  <a:pt x="169030" y="647018"/>
                </a:cubicBezTo>
                <a:cubicBezTo>
                  <a:pt x="157667" y="655541"/>
                  <a:pt x="176133" y="685371"/>
                  <a:pt x="156247" y="696734"/>
                </a:cubicBezTo>
                <a:cubicBezTo>
                  <a:pt x="154826" y="691052"/>
                  <a:pt x="156247" y="682530"/>
                  <a:pt x="150565" y="682530"/>
                </a:cubicBezTo>
                <a:cubicBezTo>
                  <a:pt x="142043" y="713779"/>
                  <a:pt x="174712" y="698154"/>
                  <a:pt x="169030" y="725143"/>
                </a:cubicBezTo>
                <a:cubicBezTo>
                  <a:pt x="159088" y="747869"/>
                  <a:pt x="137781" y="753551"/>
                  <a:pt x="134940" y="781960"/>
                </a:cubicBezTo>
                <a:cubicBezTo>
                  <a:pt x="143462" y="796164"/>
                  <a:pt x="164770" y="786220"/>
                  <a:pt x="164770" y="810368"/>
                </a:cubicBezTo>
                <a:cubicBezTo>
                  <a:pt x="153406" y="811788"/>
                  <a:pt x="151985" y="801846"/>
                  <a:pt x="140622" y="803265"/>
                </a:cubicBezTo>
                <a:cubicBezTo>
                  <a:pt x="140622" y="838777"/>
                  <a:pt x="123576" y="840196"/>
                  <a:pt x="129258" y="868606"/>
                </a:cubicBezTo>
                <a:cubicBezTo>
                  <a:pt x="117895" y="885652"/>
                  <a:pt x="120736" y="884231"/>
                  <a:pt x="123576" y="897015"/>
                </a:cubicBezTo>
                <a:cubicBezTo>
                  <a:pt x="126417" y="911219"/>
                  <a:pt x="116475" y="933945"/>
                  <a:pt x="129258" y="932525"/>
                </a:cubicBezTo>
                <a:cubicBezTo>
                  <a:pt x="134940" y="918321"/>
                  <a:pt x="139202" y="904116"/>
                  <a:pt x="142043" y="882811"/>
                </a:cubicBezTo>
                <a:cubicBezTo>
                  <a:pt x="143462" y="860083"/>
                  <a:pt x="134940" y="833095"/>
                  <a:pt x="147724" y="818891"/>
                </a:cubicBezTo>
                <a:cubicBezTo>
                  <a:pt x="161929" y="821732"/>
                  <a:pt x="147724" y="857242"/>
                  <a:pt x="160508" y="861504"/>
                </a:cubicBezTo>
                <a:cubicBezTo>
                  <a:pt x="137781" y="865764"/>
                  <a:pt x="157667" y="884231"/>
                  <a:pt x="154826" y="897015"/>
                </a:cubicBezTo>
                <a:cubicBezTo>
                  <a:pt x="151985" y="906957"/>
                  <a:pt x="144884" y="909798"/>
                  <a:pt x="142043" y="918321"/>
                </a:cubicBezTo>
                <a:cubicBezTo>
                  <a:pt x="150565" y="919740"/>
                  <a:pt x="157667" y="921162"/>
                  <a:pt x="154826" y="932525"/>
                </a:cubicBezTo>
                <a:cubicBezTo>
                  <a:pt x="154826" y="943888"/>
                  <a:pt x="157667" y="958093"/>
                  <a:pt x="149144" y="960934"/>
                </a:cubicBezTo>
                <a:cubicBezTo>
                  <a:pt x="140622" y="959512"/>
                  <a:pt x="139202" y="949570"/>
                  <a:pt x="130679" y="946729"/>
                </a:cubicBezTo>
                <a:cubicBezTo>
                  <a:pt x="129258" y="956673"/>
                  <a:pt x="133520" y="962353"/>
                  <a:pt x="136361" y="968037"/>
                </a:cubicBezTo>
                <a:cubicBezTo>
                  <a:pt x="120736" y="972297"/>
                  <a:pt x="109372" y="989342"/>
                  <a:pt x="117895" y="996445"/>
                </a:cubicBezTo>
                <a:cubicBezTo>
                  <a:pt x="123576" y="1000705"/>
                  <a:pt x="112213" y="1003546"/>
                  <a:pt x="112213" y="1003546"/>
                </a:cubicBezTo>
                <a:cubicBezTo>
                  <a:pt x="106531" y="1014910"/>
                  <a:pt x="113634" y="1014910"/>
                  <a:pt x="116475" y="1026273"/>
                </a:cubicBezTo>
                <a:cubicBezTo>
                  <a:pt x="117895" y="1036216"/>
                  <a:pt x="106531" y="1037637"/>
                  <a:pt x="106531" y="1043318"/>
                </a:cubicBezTo>
                <a:cubicBezTo>
                  <a:pt x="105112" y="1050420"/>
                  <a:pt x="113634" y="1053262"/>
                  <a:pt x="113634" y="1058942"/>
                </a:cubicBezTo>
                <a:cubicBezTo>
                  <a:pt x="105112" y="1060364"/>
                  <a:pt x="110793" y="1067466"/>
                  <a:pt x="98009" y="1064624"/>
                </a:cubicBezTo>
                <a:cubicBezTo>
                  <a:pt x="96589" y="1077409"/>
                  <a:pt x="103690" y="1100136"/>
                  <a:pt x="85226" y="1093033"/>
                </a:cubicBezTo>
                <a:cubicBezTo>
                  <a:pt x="92327" y="1108658"/>
                  <a:pt x="86645" y="1127124"/>
                  <a:pt x="90907" y="1142748"/>
                </a:cubicBezTo>
                <a:cubicBezTo>
                  <a:pt x="93748" y="1154112"/>
                  <a:pt x="107952" y="1158372"/>
                  <a:pt x="103690" y="1171157"/>
                </a:cubicBezTo>
                <a:cubicBezTo>
                  <a:pt x="88066" y="1173998"/>
                  <a:pt x="89486" y="1161213"/>
                  <a:pt x="82385" y="1168316"/>
                </a:cubicBezTo>
                <a:cubicBezTo>
                  <a:pt x="58237" y="1195305"/>
                  <a:pt x="72441" y="1286211"/>
                  <a:pt x="59658" y="1281950"/>
                </a:cubicBezTo>
                <a:cubicBezTo>
                  <a:pt x="49714" y="1281950"/>
                  <a:pt x="69600" y="1122862"/>
                  <a:pt x="71021" y="1118600"/>
                </a:cubicBezTo>
                <a:cubicBezTo>
                  <a:pt x="73862" y="1111499"/>
                  <a:pt x="71021" y="1091613"/>
                  <a:pt x="69600" y="1080249"/>
                </a:cubicBezTo>
                <a:cubicBezTo>
                  <a:pt x="68180" y="1078828"/>
                  <a:pt x="66759" y="1063204"/>
                  <a:pt x="66759" y="1061783"/>
                </a:cubicBezTo>
                <a:cubicBezTo>
                  <a:pt x="63918" y="1036216"/>
                  <a:pt x="72441" y="1057523"/>
                  <a:pt x="72441" y="1046159"/>
                </a:cubicBezTo>
                <a:cubicBezTo>
                  <a:pt x="73862" y="1031955"/>
                  <a:pt x="62499" y="1034796"/>
                  <a:pt x="69600" y="1027694"/>
                </a:cubicBezTo>
                <a:cubicBezTo>
                  <a:pt x="71021" y="1026273"/>
                  <a:pt x="69600" y="1014910"/>
                  <a:pt x="69600" y="1013490"/>
                </a:cubicBezTo>
                <a:cubicBezTo>
                  <a:pt x="71021" y="993603"/>
                  <a:pt x="75282" y="985082"/>
                  <a:pt x="75282" y="977979"/>
                </a:cubicBezTo>
                <a:cubicBezTo>
                  <a:pt x="75282" y="977979"/>
                  <a:pt x="69600" y="976558"/>
                  <a:pt x="69600" y="970877"/>
                </a:cubicBezTo>
                <a:cubicBezTo>
                  <a:pt x="69600" y="968037"/>
                  <a:pt x="75282" y="960934"/>
                  <a:pt x="75282" y="963774"/>
                </a:cubicBezTo>
                <a:cubicBezTo>
                  <a:pt x="73862" y="949570"/>
                  <a:pt x="66759" y="945308"/>
                  <a:pt x="62499" y="935366"/>
                </a:cubicBezTo>
                <a:cubicBezTo>
                  <a:pt x="76703" y="938207"/>
                  <a:pt x="86645" y="933945"/>
                  <a:pt x="93748" y="928265"/>
                </a:cubicBezTo>
                <a:cubicBezTo>
                  <a:pt x="78123" y="895594"/>
                  <a:pt x="92327" y="843037"/>
                  <a:pt x="93748" y="823151"/>
                </a:cubicBezTo>
                <a:cubicBezTo>
                  <a:pt x="95168" y="810368"/>
                  <a:pt x="86645" y="806106"/>
                  <a:pt x="88066" y="794743"/>
                </a:cubicBezTo>
                <a:cubicBezTo>
                  <a:pt x="90907" y="781960"/>
                  <a:pt x="106531" y="777698"/>
                  <a:pt x="100850" y="766334"/>
                </a:cubicBezTo>
                <a:cubicBezTo>
                  <a:pt x="85226" y="757812"/>
                  <a:pt x="75282" y="787641"/>
                  <a:pt x="69600" y="766334"/>
                </a:cubicBezTo>
                <a:cubicBezTo>
                  <a:pt x="76703" y="740767"/>
                  <a:pt x="78123" y="733665"/>
                  <a:pt x="82385" y="716620"/>
                </a:cubicBezTo>
                <a:lnTo>
                  <a:pt x="105112" y="716620"/>
                </a:lnTo>
                <a:cubicBezTo>
                  <a:pt x="115054" y="691052"/>
                  <a:pt x="83804" y="712358"/>
                  <a:pt x="86645" y="695313"/>
                </a:cubicBezTo>
                <a:cubicBezTo>
                  <a:pt x="88066" y="655541"/>
                  <a:pt x="86645" y="654121"/>
                  <a:pt x="92327" y="624291"/>
                </a:cubicBezTo>
                <a:cubicBezTo>
                  <a:pt x="76703" y="615769"/>
                  <a:pt x="62499" y="639917"/>
                  <a:pt x="61078" y="624291"/>
                </a:cubicBezTo>
                <a:cubicBezTo>
                  <a:pt x="62499" y="607246"/>
                  <a:pt x="59658" y="588782"/>
                  <a:pt x="61078" y="581679"/>
                </a:cubicBezTo>
                <a:cubicBezTo>
                  <a:pt x="61078" y="580259"/>
                  <a:pt x="66759" y="571736"/>
                  <a:pt x="66759" y="574577"/>
                </a:cubicBezTo>
                <a:cubicBezTo>
                  <a:pt x="66759" y="567476"/>
                  <a:pt x="53976" y="547590"/>
                  <a:pt x="66759" y="546170"/>
                </a:cubicBezTo>
                <a:cubicBezTo>
                  <a:pt x="73862" y="547590"/>
                  <a:pt x="80964" y="558953"/>
                  <a:pt x="85226" y="546170"/>
                </a:cubicBezTo>
                <a:cubicBezTo>
                  <a:pt x="78123" y="544748"/>
                  <a:pt x="72441" y="546170"/>
                  <a:pt x="79544" y="539067"/>
                </a:cubicBezTo>
                <a:cubicBezTo>
                  <a:pt x="83804" y="534805"/>
                  <a:pt x="73862" y="530545"/>
                  <a:pt x="73862" y="531966"/>
                </a:cubicBezTo>
                <a:cubicBezTo>
                  <a:pt x="69600" y="504975"/>
                  <a:pt x="78123" y="497876"/>
                  <a:pt x="79544" y="482250"/>
                </a:cubicBezTo>
                <a:cubicBezTo>
                  <a:pt x="82385" y="458104"/>
                  <a:pt x="72441" y="419751"/>
                  <a:pt x="92327" y="418332"/>
                </a:cubicBezTo>
                <a:cubicBezTo>
                  <a:pt x="96589" y="435377"/>
                  <a:pt x="95168" y="436796"/>
                  <a:pt x="98009" y="468046"/>
                </a:cubicBezTo>
                <a:cubicBezTo>
                  <a:pt x="89486" y="466626"/>
                  <a:pt x="85226" y="456682"/>
                  <a:pt x="85226" y="475149"/>
                </a:cubicBezTo>
                <a:cubicBezTo>
                  <a:pt x="85226" y="487932"/>
                  <a:pt x="109372" y="482250"/>
                  <a:pt x="116475" y="482250"/>
                </a:cubicBezTo>
                <a:cubicBezTo>
                  <a:pt x="122157" y="482250"/>
                  <a:pt x="126417" y="490771"/>
                  <a:pt x="129258" y="489353"/>
                </a:cubicBezTo>
                <a:cubicBezTo>
                  <a:pt x="130679" y="487932"/>
                  <a:pt x="134940" y="473728"/>
                  <a:pt x="134940" y="468046"/>
                </a:cubicBezTo>
                <a:cubicBezTo>
                  <a:pt x="120736" y="453840"/>
                  <a:pt x="127838" y="469467"/>
                  <a:pt x="116475" y="475149"/>
                </a:cubicBezTo>
                <a:cubicBezTo>
                  <a:pt x="115054" y="465204"/>
                  <a:pt x="106531" y="463785"/>
                  <a:pt x="103690" y="453840"/>
                </a:cubicBezTo>
                <a:cubicBezTo>
                  <a:pt x="103690" y="433954"/>
                  <a:pt x="113634" y="439637"/>
                  <a:pt x="103690" y="425433"/>
                </a:cubicBezTo>
                <a:cubicBezTo>
                  <a:pt x="120736" y="426854"/>
                  <a:pt x="150565" y="408388"/>
                  <a:pt x="129258" y="389922"/>
                </a:cubicBezTo>
                <a:cubicBezTo>
                  <a:pt x="129258" y="398446"/>
                  <a:pt x="130679" y="409808"/>
                  <a:pt x="123576" y="411229"/>
                </a:cubicBezTo>
                <a:cubicBezTo>
                  <a:pt x="109372" y="394184"/>
                  <a:pt x="137781" y="362933"/>
                  <a:pt x="105112" y="354412"/>
                </a:cubicBezTo>
                <a:cubicBezTo>
                  <a:pt x="106531" y="374298"/>
                  <a:pt x="106531" y="392764"/>
                  <a:pt x="86645" y="389922"/>
                </a:cubicBezTo>
                <a:cubicBezTo>
                  <a:pt x="86645" y="382820"/>
                  <a:pt x="82385" y="381401"/>
                  <a:pt x="80964" y="375719"/>
                </a:cubicBezTo>
                <a:cubicBezTo>
                  <a:pt x="78123" y="368614"/>
                  <a:pt x="83804" y="371457"/>
                  <a:pt x="86645" y="368614"/>
                </a:cubicBezTo>
                <a:cubicBezTo>
                  <a:pt x="99430" y="355833"/>
                  <a:pt x="93748" y="323162"/>
                  <a:pt x="105112" y="311797"/>
                </a:cubicBezTo>
                <a:cubicBezTo>
                  <a:pt x="86645" y="310379"/>
                  <a:pt x="106531" y="267766"/>
                  <a:pt x="105112" y="276289"/>
                </a:cubicBezTo>
                <a:cubicBezTo>
                  <a:pt x="106531" y="272025"/>
                  <a:pt x="99430" y="266345"/>
                  <a:pt x="99430" y="269184"/>
                </a:cubicBezTo>
                <a:cubicBezTo>
                  <a:pt x="103690" y="240777"/>
                  <a:pt x="112213" y="219472"/>
                  <a:pt x="105112" y="191063"/>
                </a:cubicBezTo>
                <a:cubicBezTo>
                  <a:pt x="115054" y="191063"/>
                  <a:pt x="120736" y="185381"/>
                  <a:pt x="123576" y="176859"/>
                </a:cubicBezTo>
                <a:cubicBezTo>
                  <a:pt x="110793" y="172597"/>
                  <a:pt x="123576" y="158391"/>
                  <a:pt x="123576" y="148450"/>
                </a:cubicBezTo>
                <a:cubicBezTo>
                  <a:pt x="124998" y="135666"/>
                  <a:pt x="120736" y="120042"/>
                  <a:pt x="123576" y="105837"/>
                </a:cubicBezTo>
                <a:cubicBezTo>
                  <a:pt x="124998" y="98735"/>
                  <a:pt x="136361" y="94473"/>
                  <a:pt x="136361" y="91632"/>
                </a:cubicBezTo>
                <a:cubicBezTo>
                  <a:pt x="137781" y="78849"/>
                  <a:pt x="127838" y="67484"/>
                  <a:pt x="130679" y="56120"/>
                </a:cubicBezTo>
                <a:cubicBezTo>
                  <a:pt x="132099" y="53281"/>
                  <a:pt x="150565" y="56120"/>
                  <a:pt x="143462" y="41917"/>
                </a:cubicBezTo>
                <a:cubicBezTo>
                  <a:pt x="142043" y="30554"/>
                  <a:pt x="127838" y="36236"/>
                  <a:pt x="130679" y="20610"/>
                </a:cubicBezTo>
                <a:cubicBezTo>
                  <a:pt x="144173" y="25582"/>
                  <a:pt x="143108" y="13864"/>
                  <a:pt x="142220" y="2323"/>
                </a:cubicBezTo>
                <a:close/>
                <a:moveTo>
                  <a:pt x="112992" y="0"/>
                </a:moveTo>
                <a:lnTo>
                  <a:pt x="121281" y="0"/>
                </a:lnTo>
                <a:lnTo>
                  <a:pt x="119848" y="10668"/>
                </a:lnTo>
                <a:cubicBezTo>
                  <a:pt x="116120" y="23452"/>
                  <a:pt x="108663" y="34815"/>
                  <a:pt x="99430" y="34815"/>
                </a:cubicBezTo>
                <a:cubicBezTo>
                  <a:pt x="101560" y="27003"/>
                  <a:pt x="105111" y="20611"/>
                  <a:pt x="108662" y="13154"/>
                </a:cubicBezTo>
                <a:close/>
              </a:path>
            </a:pathLst>
          </a:custGeom>
          <a:solidFill>
            <a:schemeClr val="bg2"/>
          </a:solidFill>
        </p:spPr>
        <p:txBody>
          <a:bodyPr wrap="square">
            <a:noAutofit/>
          </a:bodyPr>
          <a:lstStyle>
            <a:lvl1pPr algn="ctr">
              <a:defRPr>
                <a:solidFill>
                  <a:schemeClr val="bg1"/>
                </a:solidFill>
              </a:defRPr>
            </a:lvl1pPr>
          </a:lstStyle>
          <a:p>
            <a:endParaRPr lang="en-GB"/>
          </a:p>
        </p:txBody>
      </p:sp>
    </p:spTree>
    <p:extLst>
      <p:ext uri="{BB962C8B-B14F-4D97-AF65-F5344CB8AC3E}">
        <p14:creationId xmlns:p14="http://schemas.microsoft.com/office/powerpoint/2010/main" val="359543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7 images">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EF6C47D-445D-4A0B-8CAA-6B7770BAAE4D}"/>
              </a:ext>
            </a:extLst>
          </p:cNvPr>
          <p:cNvGraphicFramePr>
            <a:graphicFrameLocks noChangeAspect="1"/>
          </p:cNvGraphicFramePr>
          <p:nvPr userDrawn="1">
            <p:custDataLst>
              <p:tags r:id="rId1"/>
            </p:custDataLst>
            <p:extLst>
              <p:ext uri="{D42A27DB-BD31-4B8C-83A1-F6EECF244321}">
                <p14:modId xmlns:p14="http://schemas.microsoft.com/office/powerpoint/2010/main" val="314394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Object 17" hidden="1">
                        <a:extLst>
                          <a:ext uri="{FF2B5EF4-FFF2-40B4-BE49-F238E27FC236}">
                            <a16:creationId xmlns:a16="http://schemas.microsoft.com/office/drawing/2014/main" id="{5EF6C47D-445D-4A0B-8CAA-6B7770BAAE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5B78C9-8AC6-4F68-9306-8A7F166C0284}"/>
              </a:ext>
            </a:extLst>
          </p:cNvPr>
          <p:cNvSpPr>
            <a:spLocks noGrp="1"/>
          </p:cNvSpPr>
          <p:nvPr>
            <p:ph type="title"/>
          </p:nvPr>
        </p:nvSpPr>
        <p:spPr>
          <a:xfrm>
            <a:off x="515937" y="512764"/>
            <a:ext cx="11160125" cy="10512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C8033DA0-7CDA-4C4C-8611-3887E231EDBA}"/>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88176FB2-7891-4B26-9381-0F159B59740B}"/>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9" name="Picture Placeholder 8">
            <a:extLst>
              <a:ext uri="{FF2B5EF4-FFF2-40B4-BE49-F238E27FC236}">
                <a16:creationId xmlns:a16="http://schemas.microsoft.com/office/drawing/2014/main" id="{CAC110F7-9742-4A6B-9AF4-38FF1EA7BBB4}"/>
              </a:ext>
            </a:extLst>
          </p:cNvPr>
          <p:cNvSpPr>
            <a:spLocks noGrp="1"/>
          </p:cNvSpPr>
          <p:nvPr>
            <p:ph type="pic" sz="quarter" idx="12"/>
          </p:nvPr>
        </p:nvSpPr>
        <p:spPr>
          <a:xfrm>
            <a:off x="515936" y="2060574"/>
            <a:ext cx="2655744" cy="2001784"/>
          </a:xfrm>
          <a:solidFill>
            <a:schemeClr val="bg2"/>
          </a:solidFill>
        </p:spPr>
        <p:txBody>
          <a:bodyPr/>
          <a:lstStyle>
            <a:lvl1pPr>
              <a:defRPr>
                <a:solidFill>
                  <a:schemeClr val="bg1"/>
                </a:solidFill>
              </a:defRPr>
            </a:lvl1pPr>
          </a:lstStyle>
          <a:p>
            <a:endParaRPr lang="en-GB"/>
          </a:p>
        </p:txBody>
      </p:sp>
      <p:sp>
        <p:nvSpPr>
          <p:cNvPr id="10" name="Picture Placeholder 8">
            <a:extLst>
              <a:ext uri="{FF2B5EF4-FFF2-40B4-BE49-F238E27FC236}">
                <a16:creationId xmlns:a16="http://schemas.microsoft.com/office/drawing/2014/main" id="{6EDFC300-C4F6-4F03-AA49-77107004BB60}"/>
              </a:ext>
            </a:extLst>
          </p:cNvPr>
          <p:cNvSpPr>
            <a:spLocks noGrp="1"/>
          </p:cNvSpPr>
          <p:nvPr>
            <p:ph type="pic" sz="quarter" idx="13"/>
          </p:nvPr>
        </p:nvSpPr>
        <p:spPr>
          <a:xfrm>
            <a:off x="515936" y="4235504"/>
            <a:ext cx="2655744" cy="2001784"/>
          </a:xfrm>
          <a:solidFill>
            <a:schemeClr val="bg2"/>
          </a:solidFill>
        </p:spPr>
        <p:txBody>
          <a:bodyPr/>
          <a:lstStyle>
            <a:lvl1pPr>
              <a:defRPr>
                <a:solidFill>
                  <a:schemeClr val="bg1"/>
                </a:solidFill>
              </a:defRPr>
            </a:lvl1pPr>
          </a:lstStyle>
          <a:p>
            <a:endParaRPr lang="en-GB"/>
          </a:p>
        </p:txBody>
      </p:sp>
      <p:sp>
        <p:nvSpPr>
          <p:cNvPr id="11" name="Picture Placeholder 8">
            <a:extLst>
              <a:ext uri="{FF2B5EF4-FFF2-40B4-BE49-F238E27FC236}">
                <a16:creationId xmlns:a16="http://schemas.microsoft.com/office/drawing/2014/main" id="{37D6BD9A-A4E6-4619-A173-931F41EC171B}"/>
              </a:ext>
            </a:extLst>
          </p:cNvPr>
          <p:cNvSpPr>
            <a:spLocks noGrp="1"/>
          </p:cNvSpPr>
          <p:nvPr>
            <p:ph type="pic" sz="quarter" idx="14"/>
          </p:nvPr>
        </p:nvSpPr>
        <p:spPr>
          <a:xfrm>
            <a:off x="3350730" y="2060574"/>
            <a:ext cx="2655744" cy="2001784"/>
          </a:xfrm>
          <a:solidFill>
            <a:schemeClr val="bg2"/>
          </a:solidFill>
        </p:spPr>
        <p:txBody>
          <a:bodyPr/>
          <a:lstStyle>
            <a:lvl1pPr>
              <a:defRPr>
                <a:solidFill>
                  <a:schemeClr val="bg1"/>
                </a:solidFill>
              </a:defRPr>
            </a:lvl1pPr>
          </a:lstStyle>
          <a:p>
            <a:endParaRPr lang="en-GB"/>
          </a:p>
        </p:txBody>
      </p:sp>
      <p:sp>
        <p:nvSpPr>
          <p:cNvPr id="13" name="Picture Placeholder 8">
            <a:extLst>
              <a:ext uri="{FF2B5EF4-FFF2-40B4-BE49-F238E27FC236}">
                <a16:creationId xmlns:a16="http://schemas.microsoft.com/office/drawing/2014/main" id="{A6E479E6-F3E2-4C3C-93F0-287C64CA00AA}"/>
              </a:ext>
            </a:extLst>
          </p:cNvPr>
          <p:cNvSpPr>
            <a:spLocks noGrp="1"/>
          </p:cNvSpPr>
          <p:nvPr>
            <p:ph type="pic" sz="quarter" idx="16"/>
          </p:nvPr>
        </p:nvSpPr>
        <p:spPr>
          <a:xfrm>
            <a:off x="6185524" y="2060574"/>
            <a:ext cx="2655744" cy="2001784"/>
          </a:xfrm>
          <a:solidFill>
            <a:schemeClr val="bg2"/>
          </a:solidFill>
        </p:spPr>
        <p:txBody>
          <a:bodyPr/>
          <a:lstStyle>
            <a:lvl1pPr>
              <a:defRPr>
                <a:solidFill>
                  <a:schemeClr val="bg1"/>
                </a:solidFill>
              </a:defRPr>
            </a:lvl1pPr>
          </a:lstStyle>
          <a:p>
            <a:endParaRPr lang="en-GB"/>
          </a:p>
        </p:txBody>
      </p:sp>
      <p:sp>
        <p:nvSpPr>
          <p:cNvPr id="15" name="Picture Placeholder 8">
            <a:extLst>
              <a:ext uri="{FF2B5EF4-FFF2-40B4-BE49-F238E27FC236}">
                <a16:creationId xmlns:a16="http://schemas.microsoft.com/office/drawing/2014/main" id="{AEF4E040-982F-4CF7-A477-0A683560CE37}"/>
              </a:ext>
            </a:extLst>
          </p:cNvPr>
          <p:cNvSpPr>
            <a:spLocks noGrp="1"/>
          </p:cNvSpPr>
          <p:nvPr>
            <p:ph type="pic" sz="quarter" idx="18"/>
          </p:nvPr>
        </p:nvSpPr>
        <p:spPr>
          <a:xfrm>
            <a:off x="9020318" y="2060574"/>
            <a:ext cx="2655744" cy="2001784"/>
          </a:xfrm>
          <a:solidFill>
            <a:schemeClr val="bg2"/>
          </a:solidFill>
        </p:spPr>
        <p:txBody>
          <a:bodyPr/>
          <a:lstStyle>
            <a:lvl1pPr>
              <a:defRPr>
                <a:solidFill>
                  <a:schemeClr val="bg1"/>
                </a:solidFill>
              </a:defRPr>
            </a:lvl1pPr>
          </a:lstStyle>
          <a:p>
            <a:endParaRPr lang="en-GB"/>
          </a:p>
        </p:txBody>
      </p:sp>
      <p:sp>
        <p:nvSpPr>
          <p:cNvPr id="19" name="Picture Placeholder 8">
            <a:extLst>
              <a:ext uri="{FF2B5EF4-FFF2-40B4-BE49-F238E27FC236}">
                <a16:creationId xmlns:a16="http://schemas.microsoft.com/office/drawing/2014/main" id="{769C2424-C993-4175-A612-4D849BF550FC}"/>
              </a:ext>
            </a:extLst>
          </p:cNvPr>
          <p:cNvSpPr>
            <a:spLocks noGrp="1"/>
          </p:cNvSpPr>
          <p:nvPr>
            <p:ph type="pic" sz="quarter" idx="19"/>
          </p:nvPr>
        </p:nvSpPr>
        <p:spPr>
          <a:xfrm>
            <a:off x="9020318" y="4235504"/>
            <a:ext cx="2655744" cy="2001784"/>
          </a:xfrm>
          <a:solidFill>
            <a:schemeClr val="bg2"/>
          </a:solidFill>
        </p:spPr>
        <p:txBody>
          <a:bodyPr/>
          <a:lstStyle>
            <a:lvl1pPr>
              <a:defRPr>
                <a:solidFill>
                  <a:schemeClr val="bg1"/>
                </a:solidFill>
              </a:defRPr>
            </a:lvl1pPr>
          </a:lstStyle>
          <a:p>
            <a:endParaRPr lang="en-GB"/>
          </a:p>
        </p:txBody>
      </p:sp>
      <p:sp>
        <p:nvSpPr>
          <p:cNvPr id="20" name="Picture Placeholder 8">
            <a:extLst>
              <a:ext uri="{FF2B5EF4-FFF2-40B4-BE49-F238E27FC236}">
                <a16:creationId xmlns:a16="http://schemas.microsoft.com/office/drawing/2014/main" id="{477CE318-64D5-432A-B1E6-28A251E459F9}"/>
              </a:ext>
            </a:extLst>
          </p:cNvPr>
          <p:cNvSpPr>
            <a:spLocks noGrp="1"/>
          </p:cNvSpPr>
          <p:nvPr>
            <p:ph type="pic" sz="quarter" idx="20"/>
          </p:nvPr>
        </p:nvSpPr>
        <p:spPr>
          <a:xfrm>
            <a:off x="3350730" y="4235504"/>
            <a:ext cx="5490538" cy="2001784"/>
          </a:xfrm>
          <a:solidFill>
            <a:schemeClr val="bg2"/>
          </a:solidFill>
        </p:spPr>
        <p:txBody>
          <a:bodyPr/>
          <a:lstStyle>
            <a:lvl1pPr>
              <a:defRPr>
                <a:solidFill>
                  <a:schemeClr val="bg1"/>
                </a:solidFill>
              </a:defRPr>
            </a:lvl1pPr>
          </a:lstStyle>
          <a:p>
            <a:endParaRPr lang="en-GB"/>
          </a:p>
        </p:txBody>
      </p:sp>
      <p:sp>
        <p:nvSpPr>
          <p:cNvPr id="23" name="Text Placeholder 22">
            <a:extLst>
              <a:ext uri="{FF2B5EF4-FFF2-40B4-BE49-F238E27FC236}">
                <a16:creationId xmlns:a16="http://schemas.microsoft.com/office/drawing/2014/main" id="{1C6AA629-54CF-4B8E-9B02-969F1037B97A}"/>
              </a:ext>
            </a:extLst>
          </p:cNvPr>
          <p:cNvSpPr>
            <a:spLocks noGrp="1"/>
          </p:cNvSpPr>
          <p:nvPr>
            <p:ph type="body" sz="quarter" idx="21" hasCustomPrompt="1"/>
          </p:nvPr>
        </p:nvSpPr>
        <p:spPr>
          <a:xfrm>
            <a:off x="515936"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1" name="Text Placeholder 22">
            <a:extLst>
              <a:ext uri="{FF2B5EF4-FFF2-40B4-BE49-F238E27FC236}">
                <a16:creationId xmlns:a16="http://schemas.microsoft.com/office/drawing/2014/main" id="{801E7A13-8AE0-4531-801C-3262F244AE6D}"/>
              </a:ext>
            </a:extLst>
          </p:cNvPr>
          <p:cNvSpPr>
            <a:spLocks noGrp="1"/>
          </p:cNvSpPr>
          <p:nvPr>
            <p:ph type="body" sz="quarter" idx="22" hasCustomPrompt="1"/>
          </p:nvPr>
        </p:nvSpPr>
        <p:spPr>
          <a:xfrm>
            <a:off x="3350730"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2" name="Text Placeholder 22">
            <a:extLst>
              <a:ext uri="{FF2B5EF4-FFF2-40B4-BE49-F238E27FC236}">
                <a16:creationId xmlns:a16="http://schemas.microsoft.com/office/drawing/2014/main" id="{D9743C33-990D-4D71-A19F-4E94C0BAFBEF}"/>
              </a:ext>
            </a:extLst>
          </p:cNvPr>
          <p:cNvSpPr>
            <a:spLocks noGrp="1"/>
          </p:cNvSpPr>
          <p:nvPr>
            <p:ph type="body" sz="quarter" idx="23" hasCustomPrompt="1"/>
          </p:nvPr>
        </p:nvSpPr>
        <p:spPr>
          <a:xfrm>
            <a:off x="6185524"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3" name="Text Placeholder 22">
            <a:extLst>
              <a:ext uri="{FF2B5EF4-FFF2-40B4-BE49-F238E27FC236}">
                <a16:creationId xmlns:a16="http://schemas.microsoft.com/office/drawing/2014/main" id="{BEF39AD2-1ACF-48ED-ACFB-C70EDD96163C}"/>
              </a:ext>
            </a:extLst>
          </p:cNvPr>
          <p:cNvSpPr>
            <a:spLocks noGrp="1"/>
          </p:cNvSpPr>
          <p:nvPr>
            <p:ph type="body" sz="quarter" idx="24" hasCustomPrompt="1"/>
          </p:nvPr>
        </p:nvSpPr>
        <p:spPr>
          <a:xfrm>
            <a:off x="9020318"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4" name="Text Placeholder 22">
            <a:extLst>
              <a:ext uri="{FF2B5EF4-FFF2-40B4-BE49-F238E27FC236}">
                <a16:creationId xmlns:a16="http://schemas.microsoft.com/office/drawing/2014/main" id="{4795C488-7BED-4951-8972-A22319B206E0}"/>
              </a:ext>
            </a:extLst>
          </p:cNvPr>
          <p:cNvSpPr>
            <a:spLocks noGrp="1"/>
          </p:cNvSpPr>
          <p:nvPr>
            <p:ph type="body" sz="quarter" idx="25" hasCustomPrompt="1"/>
          </p:nvPr>
        </p:nvSpPr>
        <p:spPr>
          <a:xfrm>
            <a:off x="515936"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5" name="Text Placeholder 22">
            <a:extLst>
              <a:ext uri="{FF2B5EF4-FFF2-40B4-BE49-F238E27FC236}">
                <a16:creationId xmlns:a16="http://schemas.microsoft.com/office/drawing/2014/main" id="{4E833356-F3BD-4C1B-8E1A-AB9F2960C5D3}"/>
              </a:ext>
            </a:extLst>
          </p:cNvPr>
          <p:cNvSpPr>
            <a:spLocks noGrp="1"/>
          </p:cNvSpPr>
          <p:nvPr>
            <p:ph type="body" sz="quarter" idx="26" hasCustomPrompt="1"/>
          </p:nvPr>
        </p:nvSpPr>
        <p:spPr>
          <a:xfrm>
            <a:off x="3350730"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6" name="Text Placeholder 22">
            <a:extLst>
              <a:ext uri="{FF2B5EF4-FFF2-40B4-BE49-F238E27FC236}">
                <a16:creationId xmlns:a16="http://schemas.microsoft.com/office/drawing/2014/main" id="{74AD9EF1-EED0-4F6C-931B-2B080C978E94}"/>
              </a:ext>
            </a:extLst>
          </p:cNvPr>
          <p:cNvSpPr>
            <a:spLocks noGrp="1"/>
          </p:cNvSpPr>
          <p:nvPr>
            <p:ph type="body" sz="quarter" idx="27" hasCustomPrompt="1"/>
          </p:nvPr>
        </p:nvSpPr>
        <p:spPr>
          <a:xfrm>
            <a:off x="9020318"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Tree>
    <p:extLst>
      <p:ext uri="{BB962C8B-B14F-4D97-AF65-F5344CB8AC3E}">
        <p14:creationId xmlns:p14="http://schemas.microsoft.com/office/powerpoint/2010/main" val="2849405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 images">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EF6C47D-445D-4A0B-8CAA-6B7770BAAE4D}"/>
              </a:ext>
            </a:extLst>
          </p:cNvPr>
          <p:cNvGraphicFramePr>
            <a:graphicFrameLocks noChangeAspect="1"/>
          </p:cNvGraphicFramePr>
          <p:nvPr userDrawn="1">
            <p:custDataLst>
              <p:tags r:id="rId1"/>
            </p:custDataLst>
            <p:extLst>
              <p:ext uri="{D42A27DB-BD31-4B8C-83A1-F6EECF244321}">
                <p14:modId xmlns:p14="http://schemas.microsoft.com/office/powerpoint/2010/main" val="2420245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Object 17" hidden="1">
                        <a:extLst>
                          <a:ext uri="{FF2B5EF4-FFF2-40B4-BE49-F238E27FC236}">
                            <a16:creationId xmlns:a16="http://schemas.microsoft.com/office/drawing/2014/main" id="{5EF6C47D-445D-4A0B-8CAA-6B7770BAAE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8">
            <a:extLst>
              <a:ext uri="{FF2B5EF4-FFF2-40B4-BE49-F238E27FC236}">
                <a16:creationId xmlns:a16="http://schemas.microsoft.com/office/drawing/2014/main" id="{769C2424-C993-4175-A612-4D849BF550FC}"/>
              </a:ext>
            </a:extLst>
          </p:cNvPr>
          <p:cNvSpPr>
            <a:spLocks noGrp="1"/>
          </p:cNvSpPr>
          <p:nvPr>
            <p:ph type="pic" sz="quarter" idx="19"/>
          </p:nvPr>
        </p:nvSpPr>
        <p:spPr>
          <a:xfrm>
            <a:off x="9020318" y="4235504"/>
            <a:ext cx="2655744" cy="2001784"/>
          </a:xfrm>
          <a:solidFill>
            <a:schemeClr val="bg2"/>
          </a:solidFill>
        </p:spPr>
        <p:txBody>
          <a:bodyPr/>
          <a:lstStyle>
            <a:lvl1pPr>
              <a:defRPr>
                <a:solidFill>
                  <a:schemeClr val="bg1"/>
                </a:solidFill>
              </a:defRPr>
            </a:lvl1pPr>
          </a:lstStyle>
          <a:p>
            <a:endParaRPr lang="en-GB"/>
          </a:p>
        </p:txBody>
      </p:sp>
      <p:sp>
        <p:nvSpPr>
          <p:cNvPr id="21" name="Picture Placeholder 8">
            <a:extLst>
              <a:ext uri="{FF2B5EF4-FFF2-40B4-BE49-F238E27FC236}">
                <a16:creationId xmlns:a16="http://schemas.microsoft.com/office/drawing/2014/main" id="{96FF7C91-3C8E-49FC-A099-3DDC5EE4F150}"/>
              </a:ext>
            </a:extLst>
          </p:cNvPr>
          <p:cNvSpPr>
            <a:spLocks noGrp="1"/>
          </p:cNvSpPr>
          <p:nvPr>
            <p:ph type="pic" sz="quarter" idx="28"/>
          </p:nvPr>
        </p:nvSpPr>
        <p:spPr>
          <a:xfrm>
            <a:off x="3350730" y="4235504"/>
            <a:ext cx="2655744" cy="2001784"/>
          </a:xfrm>
          <a:solidFill>
            <a:schemeClr val="bg2"/>
          </a:solidFill>
        </p:spPr>
        <p:txBody>
          <a:bodyPr/>
          <a:lstStyle>
            <a:lvl1pPr>
              <a:defRPr>
                <a:solidFill>
                  <a:schemeClr val="bg1"/>
                </a:solidFill>
              </a:defRPr>
            </a:lvl1pPr>
          </a:lstStyle>
          <a:p>
            <a:endParaRPr lang="en-GB"/>
          </a:p>
        </p:txBody>
      </p:sp>
      <p:sp>
        <p:nvSpPr>
          <p:cNvPr id="22" name="Picture Placeholder 8">
            <a:extLst>
              <a:ext uri="{FF2B5EF4-FFF2-40B4-BE49-F238E27FC236}">
                <a16:creationId xmlns:a16="http://schemas.microsoft.com/office/drawing/2014/main" id="{3A2D57F6-A4E8-4000-89AE-2C4C4728D14A}"/>
              </a:ext>
            </a:extLst>
          </p:cNvPr>
          <p:cNvSpPr>
            <a:spLocks noGrp="1"/>
          </p:cNvSpPr>
          <p:nvPr>
            <p:ph type="pic" sz="quarter" idx="29"/>
          </p:nvPr>
        </p:nvSpPr>
        <p:spPr>
          <a:xfrm>
            <a:off x="6185524" y="4235504"/>
            <a:ext cx="2655744" cy="2001784"/>
          </a:xfrm>
          <a:solidFill>
            <a:schemeClr val="bg2"/>
          </a:solidFill>
        </p:spPr>
        <p:txBody>
          <a:bodyPr/>
          <a:lstStyle>
            <a:lvl1pPr>
              <a:defRPr>
                <a:solidFill>
                  <a:schemeClr val="bg1"/>
                </a:solidFill>
              </a:defRPr>
            </a:lvl1pPr>
          </a:lstStyle>
          <a:p>
            <a:endParaRPr lang="en-GB"/>
          </a:p>
        </p:txBody>
      </p:sp>
      <p:sp>
        <p:nvSpPr>
          <p:cNvPr id="2" name="Title 1">
            <a:extLst>
              <a:ext uri="{FF2B5EF4-FFF2-40B4-BE49-F238E27FC236}">
                <a16:creationId xmlns:a16="http://schemas.microsoft.com/office/drawing/2014/main" id="{435B78C9-8AC6-4F68-9306-8A7F166C0284}"/>
              </a:ext>
            </a:extLst>
          </p:cNvPr>
          <p:cNvSpPr>
            <a:spLocks noGrp="1"/>
          </p:cNvSpPr>
          <p:nvPr>
            <p:ph type="title"/>
          </p:nvPr>
        </p:nvSpPr>
        <p:spPr>
          <a:xfrm>
            <a:off x="515937" y="512764"/>
            <a:ext cx="11160125" cy="10512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C8033DA0-7CDA-4C4C-8611-3887E231EDBA}"/>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88176FB2-7891-4B26-9381-0F159B59740B}"/>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9" name="Picture Placeholder 8">
            <a:extLst>
              <a:ext uri="{FF2B5EF4-FFF2-40B4-BE49-F238E27FC236}">
                <a16:creationId xmlns:a16="http://schemas.microsoft.com/office/drawing/2014/main" id="{CAC110F7-9742-4A6B-9AF4-38FF1EA7BBB4}"/>
              </a:ext>
            </a:extLst>
          </p:cNvPr>
          <p:cNvSpPr>
            <a:spLocks noGrp="1"/>
          </p:cNvSpPr>
          <p:nvPr>
            <p:ph type="pic" sz="quarter" idx="12"/>
          </p:nvPr>
        </p:nvSpPr>
        <p:spPr>
          <a:xfrm>
            <a:off x="515936" y="2060574"/>
            <a:ext cx="2655744" cy="2001784"/>
          </a:xfrm>
          <a:solidFill>
            <a:schemeClr val="bg2"/>
          </a:solidFill>
        </p:spPr>
        <p:txBody>
          <a:bodyPr/>
          <a:lstStyle>
            <a:lvl1pPr>
              <a:defRPr>
                <a:solidFill>
                  <a:schemeClr val="bg1"/>
                </a:solidFill>
              </a:defRPr>
            </a:lvl1pPr>
          </a:lstStyle>
          <a:p>
            <a:endParaRPr lang="en-GB"/>
          </a:p>
        </p:txBody>
      </p:sp>
      <p:sp>
        <p:nvSpPr>
          <p:cNvPr id="10" name="Picture Placeholder 8">
            <a:extLst>
              <a:ext uri="{FF2B5EF4-FFF2-40B4-BE49-F238E27FC236}">
                <a16:creationId xmlns:a16="http://schemas.microsoft.com/office/drawing/2014/main" id="{6EDFC300-C4F6-4F03-AA49-77107004BB60}"/>
              </a:ext>
            </a:extLst>
          </p:cNvPr>
          <p:cNvSpPr>
            <a:spLocks noGrp="1"/>
          </p:cNvSpPr>
          <p:nvPr>
            <p:ph type="pic" sz="quarter" idx="13"/>
          </p:nvPr>
        </p:nvSpPr>
        <p:spPr>
          <a:xfrm>
            <a:off x="515936" y="4235504"/>
            <a:ext cx="2655744" cy="2001784"/>
          </a:xfrm>
          <a:solidFill>
            <a:schemeClr val="bg2"/>
          </a:solidFill>
        </p:spPr>
        <p:txBody>
          <a:bodyPr/>
          <a:lstStyle>
            <a:lvl1pPr>
              <a:defRPr>
                <a:solidFill>
                  <a:schemeClr val="bg1"/>
                </a:solidFill>
              </a:defRPr>
            </a:lvl1pPr>
          </a:lstStyle>
          <a:p>
            <a:endParaRPr lang="en-GB"/>
          </a:p>
        </p:txBody>
      </p:sp>
      <p:sp>
        <p:nvSpPr>
          <p:cNvPr id="11" name="Picture Placeholder 8">
            <a:extLst>
              <a:ext uri="{FF2B5EF4-FFF2-40B4-BE49-F238E27FC236}">
                <a16:creationId xmlns:a16="http://schemas.microsoft.com/office/drawing/2014/main" id="{37D6BD9A-A4E6-4619-A173-931F41EC171B}"/>
              </a:ext>
            </a:extLst>
          </p:cNvPr>
          <p:cNvSpPr>
            <a:spLocks noGrp="1"/>
          </p:cNvSpPr>
          <p:nvPr>
            <p:ph type="pic" sz="quarter" idx="14"/>
          </p:nvPr>
        </p:nvSpPr>
        <p:spPr>
          <a:xfrm>
            <a:off x="3350730" y="2060574"/>
            <a:ext cx="2655744" cy="2001784"/>
          </a:xfrm>
          <a:solidFill>
            <a:schemeClr val="bg2"/>
          </a:solidFill>
        </p:spPr>
        <p:txBody>
          <a:bodyPr/>
          <a:lstStyle>
            <a:lvl1pPr>
              <a:defRPr>
                <a:solidFill>
                  <a:schemeClr val="bg1"/>
                </a:solidFill>
              </a:defRPr>
            </a:lvl1pPr>
          </a:lstStyle>
          <a:p>
            <a:endParaRPr lang="en-GB"/>
          </a:p>
        </p:txBody>
      </p:sp>
      <p:sp>
        <p:nvSpPr>
          <p:cNvPr id="13" name="Picture Placeholder 8">
            <a:extLst>
              <a:ext uri="{FF2B5EF4-FFF2-40B4-BE49-F238E27FC236}">
                <a16:creationId xmlns:a16="http://schemas.microsoft.com/office/drawing/2014/main" id="{A6E479E6-F3E2-4C3C-93F0-287C64CA00AA}"/>
              </a:ext>
            </a:extLst>
          </p:cNvPr>
          <p:cNvSpPr>
            <a:spLocks noGrp="1"/>
          </p:cNvSpPr>
          <p:nvPr>
            <p:ph type="pic" sz="quarter" idx="16"/>
          </p:nvPr>
        </p:nvSpPr>
        <p:spPr>
          <a:xfrm>
            <a:off x="6185524" y="2060574"/>
            <a:ext cx="2655744" cy="2001784"/>
          </a:xfrm>
          <a:solidFill>
            <a:schemeClr val="bg2"/>
          </a:solidFill>
        </p:spPr>
        <p:txBody>
          <a:bodyPr/>
          <a:lstStyle>
            <a:lvl1pPr>
              <a:defRPr>
                <a:solidFill>
                  <a:schemeClr val="bg1"/>
                </a:solidFill>
              </a:defRPr>
            </a:lvl1pPr>
          </a:lstStyle>
          <a:p>
            <a:endParaRPr lang="en-GB"/>
          </a:p>
        </p:txBody>
      </p:sp>
      <p:sp>
        <p:nvSpPr>
          <p:cNvPr id="15" name="Picture Placeholder 8">
            <a:extLst>
              <a:ext uri="{FF2B5EF4-FFF2-40B4-BE49-F238E27FC236}">
                <a16:creationId xmlns:a16="http://schemas.microsoft.com/office/drawing/2014/main" id="{AEF4E040-982F-4CF7-A477-0A683560CE37}"/>
              </a:ext>
            </a:extLst>
          </p:cNvPr>
          <p:cNvSpPr>
            <a:spLocks noGrp="1"/>
          </p:cNvSpPr>
          <p:nvPr>
            <p:ph type="pic" sz="quarter" idx="18"/>
          </p:nvPr>
        </p:nvSpPr>
        <p:spPr>
          <a:xfrm>
            <a:off x="9020318" y="2060574"/>
            <a:ext cx="2655744" cy="2001784"/>
          </a:xfrm>
          <a:solidFill>
            <a:schemeClr val="bg2"/>
          </a:solidFill>
        </p:spPr>
        <p:txBody>
          <a:bodyPr/>
          <a:lstStyle>
            <a:lvl1pPr>
              <a:defRPr>
                <a:solidFill>
                  <a:schemeClr val="bg1"/>
                </a:solidFill>
              </a:defRPr>
            </a:lvl1pPr>
          </a:lstStyle>
          <a:p>
            <a:endParaRPr lang="en-GB"/>
          </a:p>
        </p:txBody>
      </p:sp>
      <p:sp>
        <p:nvSpPr>
          <p:cNvPr id="31" name="Text Placeholder 22">
            <a:extLst>
              <a:ext uri="{FF2B5EF4-FFF2-40B4-BE49-F238E27FC236}">
                <a16:creationId xmlns:a16="http://schemas.microsoft.com/office/drawing/2014/main" id="{A56E24CA-5EB9-4468-8C82-9F0773697264}"/>
              </a:ext>
            </a:extLst>
          </p:cNvPr>
          <p:cNvSpPr>
            <a:spLocks noGrp="1"/>
          </p:cNvSpPr>
          <p:nvPr>
            <p:ph type="body" sz="quarter" idx="21" hasCustomPrompt="1"/>
          </p:nvPr>
        </p:nvSpPr>
        <p:spPr>
          <a:xfrm>
            <a:off x="515936"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2" name="Text Placeholder 22">
            <a:extLst>
              <a:ext uri="{FF2B5EF4-FFF2-40B4-BE49-F238E27FC236}">
                <a16:creationId xmlns:a16="http://schemas.microsoft.com/office/drawing/2014/main" id="{3D812E6A-6D54-4E65-B902-40F153212C15}"/>
              </a:ext>
            </a:extLst>
          </p:cNvPr>
          <p:cNvSpPr>
            <a:spLocks noGrp="1"/>
          </p:cNvSpPr>
          <p:nvPr>
            <p:ph type="body" sz="quarter" idx="22" hasCustomPrompt="1"/>
          </p:nvPr>
        </p:nvSpPr>
        <p:spPr>
          <a:xfrm>
            <a:off x="3350730"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3" name="Text Placeholder 22">
            <a:extLst>
              <a:ext uri="{FF2B5EF4-FFF2-40B4-BE49-F238E27FC236}">
                <a16:creationId xmlns:a16="http://schemas.microsoft.com/office/drawing/2014/main" id="{95A0F0F0-68AD-4772-A6E9-905AFA0E527B}"/>
              </a:ext>
            </a:extLst>
          </p:cNvPr>
          <p:cNvSpPr>
            <a:spLocks noGrp="1"/>
          </p:cNvSpPr>
          <p:nvPr>
            <p:ph type="body" sz="quarter" idx="23" hasCustomPrompt="1"/>
          </p:nvPr>
        </p:nvSpPr>
        <p:spPr>
          <a:xfrm>
            <a:off x="6185524"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4" name="Text Placeholder 22">
            <a:extLst>
              <a:ext uri="{FF2B5EF4-FFF2-40B4-BE49-F238E27FC236}">
                <a16:creationId xmlns:a16="http://schemas.microsoft.com/office/drawing/2014/main" id="{86D9AF39-39D6-4B6F-A280-AC7DDAFFCDDB}"/>
              </a:ext>
            </a:extLst>
          </p:cNvPr>
          <p:cNvSpPr>
            <a:spLocks noGrp="1"/>
          </p:cNvSpPr>
          <p:nvPr>
            <p:ph type="body" sz="quarter" idx="24" hasCustomPrompt="1"/>
          </p:nvPr>
        </p:nvSpPr>
        <p:spPr>
          <a:xfrm>
            <a:off x="9020318" y="370235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5" name="Text Placeholder 22">
            <a:extLst>
              <a:ext uri="{FF2B5EF4-FFF2-40B4-BE49-F238E27FC236}">
                <a16:creationId xmlns:a16="http://schemas.microsoft.com/office/drawing/2014/main" id="{8997620A-339F-41E4-84B4-6A5B81317171}"/>
              </a:ext>
            </a:extLst>
          </p:cNvPr>
          <p:cNvSpPr>
            <a:spLocks noGrp="1"/>
          </p:cNvSpPr>
          <p:nvPr>
            <p:ph type="body" sz="quarter" idx="30" hasCustomPrompt="1"/>
          </p:nvPr>
        </p:nvSpPr>
        <p:spPr>
          <a:xfrm>
            <a:off x="515936"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6" name="Text Placeholder 22">
            <a:extLst>
              <a:ext uri="{FF2B5EF4-FFF2-40B4-BE49-F238E27FC236}">
                <a16:creationId xmlns:a16="http://schemas.microsoft.com/office/drawing/2014/main" id="{D551668A-F3B4-4AB8-B2AF-5B9D5356A26C}"/>
              </a:ext>
            </a:extLst>
          </p:cNvPr>
          <p:cNvSpPr>
            <a:spLocks noGrp="1"/>
          </p:cNvSpPr>
          <p:nvPr>
            <p:ph type="body" sz="quarter" idx="31" hasCustomPrompt="1"/>
          </p:nvPr>
        </p:nvSpPr>
        <p:spPr>
          <a:xfrm>
            <a:off x="3350730"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7" name="Text Placeholder 22">
            <a:extLst>
              <a:ext uri="{FF2B5EF4-FFF2-40B4-BE49-F238E27FC236}">
                <a16:creationId xmlns:a16="http://schemas.microsoft.com/office/drawing/2014/main" id="{A428A01C-31B8-44B1-9532-24BE5D9A0906}"/>
              </a:ext>
            </a:extLst>
          </p:cNvPr>
          <p:cNvSpPr>
            <a:spLocks noGrp="1"/>
          </p:cNvSpPr>
          <p:nvPr>
            <p:ph type="body" sz="quarter" idx="32" hasCustomPrompt="1"/>
          </p:nvPr>
        </p:nvSpPr>
        <p:spPr>
          <a:xfrm>
            <a:off x="6185524"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
        <p:nvSpPr>
          <p:cNvPr id="38" name="Text Placeholder 22">
            <a:extLst>
              <a:ext uri="{FF2B5EF4-FFF2-40B4-BE49-F238E27FC236}">
                <a16:creationId xmlns:a16="http://schemas.microsoft.com/office/drawing/2014/main" id="{BD192BDE-C9C5-43EA-BFF3-4FD6EB099288}"/>
              </a:ext>
            </a:extLst>
          </p:cNvPr>
          <p:cNvSpPr>
            <a:spLocks noGrp="1"/>
          </p:cNvSpPr>
          <p:nvPr>
            <p:ph type="body" sz="quarter" idx="33" hasCustomPrompt="1"/>
          </p:nvPr>
        </p:nvSpPr>
        <p:spPr>
          <a:xfrm>
            <a:off x="9020318" y="5877288"/>
            <a:ext cx="360000" cy="360000"/>
          </a:xfrm>
          <a:solidFill>
            <a:schemeClr val="accent1"/>
          </a:solidFill>
        </p:spPr>
        <p:txBody>
          <a:bodyPr wrap="square" lIns="72000" tIns="72000" rIns="72000" bIns="72000" anchor="ctr">
            <a:noAutofit/>
          </a:bodyPr>
          <a:lstStyle>
            <a:lvl1pPr algn="ctr">
              <a:defRPr sz="1400" b="1">
                <a:solidFill>
                  <a:schemeClr val="bg1"/>
                </a:solidFill>
              </a:defRPr>
            </a:lvl1pPr>
          </a:lstStyle>
          <a:p>
            <a:pPr lvl="0"/>
            <a:r>
              <a:rPr lang="en-US"/>
              <a:t>##</a:t>
            </a:r>
            <a:endParaRPr lang="en-GB"/>
          </a:p>
        </p:txBody>
      </p:sp>
    </p:spTree>
    <p:extLst>
      <p:ext uri="{BB962C8B-B14F-4D97-AF65-F5344CB8AC3E}">
        <p14:creationId xmlns:p14="http://schemas.microsoft.com/office/powerpoint/2010/main" val="98458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column + Orange panel">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1BD21BE-013F-4149-B408-BD8D5FC3F524}"/>
              </a:ext>
            </a:extLst>
          </p:cNvPr>
          <p:cNvGraphicFramePr>
            <a:graphicFrameLocks noChangeAspect="1"/>
          </p:cNvGraphicFramePr>
          <p:nvPr userDrawn="1">
            <p:custDataLst>
              <p:tags r:id="rId1"/>
            </p:custDataLst>
            <p:extLst>
              <p:ext uri="{D42A27DB-BD31-4B8C-83A1-F6EECF244321}">
                <p14:modId xmlns:p14="http://schemas.microsoft.com/office/powerpoint/2010/main" val="1774199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F1BD21BE-013F-4149-B408-BD8D5FC3F5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D0FEC0B1-2574-4370-9DC2-39C862B6943A}"/>
              </a:ext>
            </a:extLst>
          </p:cNvPr>
          <p:cNvPicPr>
            <a:picLocks noChangeAspect="1"/>
          </p:cNvPicPr>
          <p:nvPr userDrawn="1"/>
        </p:nvPicPr>
        <p:blipFill>
          <a:blip r:embed="rId5"/>
          <a:stretch>
            <a:fillRect/>
          </a:stretch>
        </p:blipFill>
        <p:spPr>
          <a:xfrm>
            <a:off x="515938" y="1756782"/>
            <a:ext cx="3584759" cy="4529721"/>
          </a:xfrm>
          <a:prstGeom prst="rect">
            <a:avLst/>
          </a:prstGeom>
        </p:spPr>
      </p:pic>
      <p:sp>
        <p:nvSpPr>
          <p:cNvPr id="2" name="Title 1">
            <a:extLst>
              <a:ext uri="{FF2B5EF4-FFF2-40B4-BE49-F238E27FC236}">
                <a16:creationId xmlns:a16="http://schemas.microsoft.com/office/drawing/2014/main" id="{E615DDF6-DA9D-4ADC-B54F-D729636EE14E}"/>
              </a:ext>
            </a:extLst>
          </p:cNvPr>
          <p:cNvSpPr>
            <a:spLocks noGrp="1"/>
          </p:cNvSpPr>
          <p:nvPr>
            <p:ph type="title"/>
          </p:nvPr>
        </p:nvSpPr>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42924728-DE25-4639-84F8-72C33BA74969}"/>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935929A9-A071-42A8-9A35-6606F704DD4E}"/>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5" name="Text Placeholder 14">
            <a:extLst>
              <a:ext uri="{FF2B5EF4-FFF2-40B4-BE49-F238E27FC236}">
                <a16:creationId xmlns:a16="http://schemas.microsoft.com/office/drawing/2014/main" id="{FE6E0AC4-B093-4653-A21C-44811B55F12F}"/>
              </a:ext>
            </a:extLst>
          </p:cNvPr>
          <p:cNvSpPr>
            <a:spLocks noGrp="1"/>
          </p:cNvSpPr>
          <p:nvPr>
            <p:ph type="body" sz="quarter" idx="13"/>
          </p:nvPr>
        </p:nvSpPr>
        <p:spPr>
          <a:xfrm>
            <a:off x="635000" y="2060576"/>
            <a:ext cx="3200400" cy="4010024"/>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1F7180C-B791-4938-A1DA-9452C7800B8E}"/>
              </a:ext>
            </a:extLst>
          </p:cNvPr>
          <p:cNvSpPr>
            <a:spLocks noGrp="1"/>
          </p:cNvSpPr>
          <p:nvPr>
            <p:ph idx="1"/>
          </p:nvPr>
        </p:nvSpPr>
        <p:spPr>
          <a:xfrm>
            <a:off x="4394199" y="2060575"/>
            <a:ext cx="7281863" cy="4284661"/>
          </a:xfrm>
        </p:spPr>
        <p:txBody>
          <a:bodyPr numCol="2"/>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GB"/>
          </a:p>
        </p:txBody>
      </p:sp>
    </p:spTree>
    <p:extLst>
      <p:ext uri="{BB962C8B-B14F-4D97-AF65-F5344CB8AC3E}">
        <p14:creationId xmlns:p14="http://schemas.microsoft.com/office/powerpoint/2010/main" val="289809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s + Headings Orange">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592E4C-3B17-44AD-8F33-E1D3FDB095B3}"/>
              </a:ext>
            </a:extLst>
          </p:cNvPr>
          <p:cNvGraphicFramePr>
            <a:graphicFrameLocks noChangeAspect="1"/>
          </p:cNvGraphicFramePr>
          <p:nvPr userDrawn="1">
            <p:custDataLst>
              <p:tags r:id="rId1"/>
            </p:custDataLst>
            <p:extLst>
              <p:ext uri="{D42A27DB-BD31-4B8C-83A1-F6EECF244321}">
                <p14:modId xmlns:p14="http://schemas.microsoft.com/office/powerpoint/2010/main" val="397360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1592E4C-3B17-44AD-8F33-E1D3FDB09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B182C50-7DCD-4EF9-8339-EE8B206E737A}"/>
              </a:ext>
            </a:extLst>
          </p:cNvPr>
          <p:cNvSpPr/>
          <p:nvPr userDrawn="1"/>
        </p:nvSpPr>
        <p:spPr>
          <a:xfrm>
            <a:off x="4390751" y="2317750"/>
            <a:ext cx="3395663" cy="3919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Rectangle 92">
            <a:extLst>
              <a:ext uri="{FF2B5EF4-FFF2-40B4-BE49-F238E27FC236}">
                <a16:creationId xmlns:a16="http://schemas.microsoft.com/office/drawing/2014/main" id="{158FE935-8A14-4729-ACD6-3B7AB0A39F00}"/>
              </a:ext>
            </a:extLst>
          </p:cNvPr>
          <p:cNvSpPr/>
          <p:nvPr userDrawn="1"/>
        </p:nvSpPr>
        <p:spPr>
          <a:xfrm>
            <a:off x="8284298" y="2317750"/>
            <a:ext cx="3395663" cy="3919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a:extLst>
              <a:ext uri="{FF2B5EF4-FFF2-40B4-BE49-F238E27FC236}">
                <a16:creationId xmlns:a16="http://schemas.microsoft.com/office/drawing/2014/main" id="{DE68D7C1-C200-4FC5-917F-356F2E2963F0}"/>
              </a:ext>
            </a:extLst>
          </p:cNvPr>
          <p:cNvPicPr>
            <a:picLocks noChangeAspect="1"/>
          </p:cNvPicPr>
          <p:nvPr userDrawn="1"/>
        </p:nvPicPr>
        <p:blipFill rotWithShape="1">
          <a:blip r:embed="rId5"/>
          <a:srcRect l="33076" r="33123"/>
          <a:stretch/>
        </p:blipFill>
        <p:spPr>
          <a:xfrm>
            <a:off x="4172767" y="1895770"/>
            <a:ext cx="3841354" cy="804742"/>
          </a:xfrm>
          <a:prstGeom prst="rect">
            <a:avLst/>
          </a:prstGeom>
        </p:spPr>
      </p:pic>
      <p:pic>
        <p:nvPicPr>
          <p:cNvPr id="18" name="Picture 17">
            <a:extLst>
              <a:ext uri="{FF2B5EF4-FFF2-40B4-BE49-F238E27FC236}">
                <a16:creationId xmlns:a16="http://schemas.microsoft.com/office/drawing/2014/main" id="{66FF6E70-3FAF-4E88-AC8F-D45663604788}"/>
              </a:ext>
            </a:extLst>
          </p:cNvPr>
          <p:cNvPicPr>
            <a:picLocks noChangeAspect="1"/>
          </p:cNvPicPr>
          <p:nvPr userDrawn="1"/>
        </p:nvPicPr>
        <p:blipFill rotWithShape="1">
          <a:blip r:embed="rId5"/>
          <a:srcRect l="67812" r="-70"/>
          <a:stretch/>
        </p:blipFill>
        <p:spPr>
          <a:xfrm>
            <a:off x="8120209" y="1895770"/>
            <a:ext cx="3665840" cy="804742"/>
          </a:xfrm>
          <a:prstGeom prst="rect">
            <a:avLst/>
          </a:prstGeom>
        </p:spPr>
      </p:pic>
      <p:sp>
        <p:nvSpPr>
          <p:cNvPr id="9" name="Rectangle 8">
            <a:extLst>
              <a:ext uri="{FF2B5EF4-FFF2-40B4-BE49-F238E27FC236}">
                <a16:creationId xmlns:a16="http://schemas.microsoft.com/office/drawing/2014/main" id="{87887BF1-89E4-4668-BE50-F91F9EE4328E}"/>
              </a:ext>
            </a:extLst>
          </p:cNvPr>
          <p:cNvSpPr/>
          <p:nvPr userDrawn="1"/>
        </p:nvSpPr>
        <p:spPr>
          <a:xfrm>
            <a:off x="515936" y="2317750"/>
            <a:ext cx="3395663" cy="3919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5BEC298-6365-45C6-9EA9-6438750C96BD}"/>
              </a:ext>
            </a:extLst>
          </p:cNvPr>
          <p:cNvSpPr>
            <a:spLocks noGrp="1"/>
          </p:cNvSpPr>
          <p:nvPr>
            <p:ph type="title"/>
          </p:nvPr>
        </p:nvSpPr>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DB50E14E-4EAA-484E-912F-5903B4E90010}"/>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4E12DC4F-32BD-4AF1-9BBD-B92993A97C05}"/>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97" name="Text Placeholder 14">
            <a:extLst>
              <a:ext uri="{FF2B5EF4-FFF2-40B4-BE49-F238E27FC236}">
                <a16:creationId xmlns:a16="http://schemas.microsoft.com/office/drawing/2014/main" id="{F4BA3C88-5A86-44FA-BF6F-937144379D81}"/>
              </a:ext>
            </a:extLst>
          </p:cNvPr>
          <p:cNvSpPr>
            <a:spLocks noGrp="1"/>
          </p:cNvSpPr>
          <p:nvPr>
            <p:ph type="body" sz="quarter" idx="13"/>
          </p:nvPr>
        </p:nvSpPr>
        <p:spPr>
          <a:xfrm>
            <a:off x="728660"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8" name="Text Placeholder 14">
            <a:extLst>
              <a:ext uri="{FF2B5EF4-FFF2-40B4-BE49-F238E27FC236}">
                <a16:creationId xmlns:a16="http://schemas.microsoft.com/office/drawing/2014/main" id="{21858CA4-8FEC-4A33-864D-571EDB753035}"/>
              </a:ext>
            </a:extLst>
          </p:cNvPr>
          <p:cNvSpPr>
            <a:spLocks noGrp="1"/>
          </p:cNvSpPr>
          <p:nvPr>
            <p:ph type="body" sz="quarter" idx="18"/>
          </p:nvPr>
        </p:nvSpPr>
        <p:spPr>
          <a:xfrm>
            <a:off x="4603475"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9" name="Text Placeholder 14">
            <a:extLst>
              <a:ext uri="{FF2B5EF4-FFF2-40B4-BE49-F238E27FC236}">
                <a16:creationId xmlns:a16="http://schemas.microsoft.com/office/drawing/2014/main" id="{727831F8-B860-4AFE-9289-B84269776179}"/>
              </a:ext>
            </a:extLst>
          </p:cNvPr>
          <p:cNvSpPr>
            <a:spLocks noGrp="1"/>
          </p:cNvSpPr>
          <p:nvPr>
            <p:ph type="body" sz="quarter" idx="19"/>
          </p:nvPr>
        </p:nvSpPr>
        <p:spPr>
          <a:xfrm>
            <a:off x="8497022"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2" name="Picture 21">
            <a:extLst>
              <a:ext uri="{FF2B5EF4-FFF2-40B4-BE49-F238E27FC236}">
                <a16:creationId xmlns:a16="http://schemas.microsoft.com/office/drawing/2014/main" id="{2ABE960D-067C-421C-9F7E-488EE1A6CE1D}"/>
              </a:ext>
            </a:extLst>
          </p:cNvPr>
          <p:cNvPicPr>
            <a:picLocks noChangeAspect="1"/>
          </p:cNvPicPr>
          <p:nvPr userDrawn="1"/>
        </p:nvPicPr>
        <p:blipFill rotWithShape="1">
          <a:blip r:embed="rId5"/>
          <a:srcRect r="67742"/>
          <a:stretch/>
        </p:blipFill>
        <p:spPr>
          <a:xfrm>
            <a:off x="414036" y="1895770"/>
            <a:ext cx="3665840" cy="804742"/>
          </a:xfrm>
          <a:prstGeom prst="rect">
            <a:avLst/>
          </a:prstGeom>
        </p:spPr>
      </p:pic>
      <p:sp>
        <p:nvSpPr>
          <p:cNvPr id="13" name="Text Placeholder 12">
            <a:extLst>
              <a:ext uri="{FF2B5EF4-FFF2-40B4-BE49-F238E27FC236}">
                <a16:creationId xmlns:a16="http://schemas.microsoft.com/office/drawing/2014/main" id="{766FEDC1-13D7-4D4B-AFF3-C31439183CA8}"/>
              </a:ext>
            </a:extLst>
          </p:cNvPr>
          <p:cNvSpPr>
            <a:spLocks noGrp="1"/>
          </p:cNvSpPr>
          <p:nvPr>
            <p:ph type="body" sz="quarter" idx="12"/>
          </p:nvPr>
        </p:nvSpPr>
        <p:spPr>
          <a:xfrm>
            <a:off x="728660" y="1976586"/>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
        <p:nvSpPr>
          <p:cNvPr id="19" name="Text Placeholder 12">
            <a:extLst>
              <a:ext uri="{FF2B5EF4-FFF2-40B4-BE49-F238E27FC236}">
                <a16:creationId xmlns:a16="http://schemas.microsoft.com/office/drawing/2014/main" id="{E02612CF-F8AF-4497-95EA-7333EF70EA9A}"/>
              </a:ext>
            </a:extLst>
          </p:cNvPr>
          <p:cNvSpPr>
            <a:spLocks noGrp="1"/>
          </p:cNvSpPr>
          <p:nvPr>
            <p:ph type="body" sz="quarter" idx="15"/>
          </p:nvPr>
        </p:nvSpPr>
        <p:spPr>
          <a:xfrm>
            <a:off x="4603475" y="1976586"/>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
        <p:nvSpPr>
          <p:cNvPr id="96" name="Text Placeholder 12">
            <a:extLst>
              <a:ext uri="{FF2B5EF4-FFF2-40B4-BE49-F238E27FC236}">
                <a16:creationId xmlns:a16="http://schemas.microsoft.com/office/drawing/2014/main" id="{9E19E42D-4F4E-47DE-9417-EC7BF4D1DE58}"/>
              </a:ext>
            </a:extLst>
          </p:cNvPr>
          <p:cNvSpPr>
            <a:spLocks noGrp="1"/>
          </p:cNvSpPr>
          <p:nvPr>
            <p:ph type="body" sz="quarter" idx="17"/>
          </p:nvPr>
        </p:nvSpPr>
        <p:spPr>
          <a:xfrm>
            <a:off x="8497022" y="1976586"/>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Tree>
    <p:extLst>
      <p:ext uri="{BB962C8B-B14F-4D97-AF65-F5344CB8AC3E}">
        <p14:creationId xmlns:p14="http://schemas.microsoft.com/office/powerpoint/2010/main" val="40904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s + Headings Yellow">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592E4C-3B17-44AD-8F33-E1D3FDB095B3}"/>
              </a:ext>
            </a:extLst>
          </p:cNvPr>
          <p:cNvGraphicFramePr>
            <a:graphicFrameLocks noChangeAspect="1"/>
          </p:cNvGraphicFramePr>
          <p:nvPr userDrawn="1">
            <p:custDataLst>
              <p:tags r:id="rId1"/>
            </p:custDataLst>
            <p:extLst>
              <p:ext uri="{D42A27DB-BD31-4B8C-83A1-F6EECF244321}">
                <p14:modId xmlns:p14="http://schemas.microsoft.com/office/powerpoint/2010/main" val="822811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1592E4C-3B17-44AD-8F33-E1D3FDB09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B182C50-7DCD-4EF9-8339-EE8B206E737A}"/>
              </a:ext>
            </a:extLst>
          </p:cNvPr>
          <p:cNvSpPr/>
          <p:nvPr userDrawn="1"/>
        </p:nvSpPr>
        <p:spPr>
          <a:xfrm>
            <a:off x="4390751"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Rectangle 92">
            <a:extLst>
              <a:ext uri="{FF2B5EF4-FFF2-40B4-BE49-F238E27FC236}">
                <a16:creationId xmlns:a16="http://schemas.microsoft.com/office/drawing/2014/main" id="{158FE935-8A14-4729-ACD6-3B7AB0A39F00}"/>
              </a:ext>
            </a:extLst>
          </p:cNvPr>
          <p:cNvSpPr/>
          <p:nvPr userDrawn="1"/>
        </p:nvSpPr>
        <p:spPr>
          <a:xfrm>
            <a:off x="8284298"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a:extLst>
              <a:ext uri="{FF2B5EF4-FFF2-40B4-BE49-F238E27FC236}">
                <a16:creationId xmlns:a16="http://schemas.microsoft.com/office/drawing/2014/main" id="{64992A76-4115-4B26-BEC3-785488E48ADE}"/>
              </a:ext>
            </a:extLst>
          </p:cNvPr>
          <p:cNvPicPr>
            <a:picLocks noChangeAspect="1"/>
          </p:cNvPicPr>
          <p:nvPr userDrawn="1"/>
        </p:nvPicPr>
        <p:blipFill rotWithShape="1">
          <a:blip r:embed="rId5"/>
          <a:srcRect l="32722" r="32722"/>
          <a:stretch/>
        </p:blipFill>
        <p:spPr>
          <a:xfrm>
            <a:off x="4132583" y="1895770"/>
            <a:ext cx="3926834" cy="804742"/>
          </a:xfrm>
          <a:prstGeom prst="rect">
            <a:avLst/>
          </a:prstGeom>
        </p:spPr>
      </p:pic>
      <p:pic>
        <p:nvPicPr>
          <p:cNvPr id="22" name="Picture 21">
            <a:extLst>
              <a:ext uri="{FF2B5EF4-FFF2-40B4-BE49-F238E27FC236}">
                <a16:creationId xmlns:a16="http://schemas.microsoft.com/office/drawing/2014/main" id="{1870C6DB-1055-43B8-83C1-806705623AA5}"/>
              </a:ext>
            </a:extLst>
          </p:cNvPr>
          <p:cNvPicPr>
            <a:picLocks noChangeAspect="1"/>
          </p:cNvPicPr>
          <p:nvPr userDrawn="1"/>
        </p:nvPicPr>
        <p:blipFill rotWithShape="1">
          <a:blip r:embed="rId5"/>
          <a:srcRect l="67423"/>
          <a:stretch/>
        </p:blipFill>
        <p:spPr>
          <a:xfrm>
            <a:off x="8075937" y="1895770"/>
            <a:ext cx="3702027" cy="804742"/>
          </a:xfrm>
          <a:prstGeom prst="rect">
            <a:avLst/>
          </a:prstGeom>
        </p:spPr>
      </p:pic>
      <p:sp>
        <p:nvSpPr>
          <p:cNvPr id="9" name="Rectangle 8">
            <a:extLst>
              <a:ext uri="{FF2B5EF4-FFF2-40B4-BE49-F238E27FC236}">
                <a16:creationId xmlns:a16="http://schemas.microsoft.com/office/drawing/2014/main" id="{87887BF1-89E4-4668-BE50-F91F9EE4328E}"/>
              </a:ext>
            </a:extLst>
          </p:cNvPr>
          <p:cNvSpPr/>
          <p:nvPr userDrawn="1"/>
        </p:nvSpPr>
        <p:spPr>
          <a:xfrm>
            <a:off x="515936"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5BEC298-6365-45C6-9EA9-6438750C96BD}"/>
              </a:ext>
            </a:extLst>
          </p:cNvPr>
          <p:cNvSpPr>
            <a:spLocks noGrp="1"/>
          </p:cNvSpPr>
          <p:nvPr>
            <p:ph type="title"/>
          </p:nvPr>
        </p:nvSpPr>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DB50E14E-4EAA-484E-912F-5903B4E90010}"/>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4E12DC4F-32BD-4AF1-9BBD-B92993A97C05}"/>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8" name="Text Placeholder 14">
            <a:extLst>
              <a:ext uri="{FF2B5EF4-FFF2-40B4-BE49-F238E27FC236}">
                <a16:creationId xmlns:a16="http://schemas.microsoft.com/office/drawing/2014/main" id="{746AE8BC-6BF0-4E8E-8F05-D66D8D84E22A}"/>
              </a:ext>
            </a:extLst>
          </p:cNvPr>
          <p:cNvSpPr>
            <a:spLocks noGrp="1"/>
          </p:cNvSpPr>
          <p:nvPr>
            <p:ph type="body" sz="quarter" idx="13"/>
          </p:nvPr>
        </p:nvSpPr>
        <p:spPr>
          <a:xfrm>
            <a:off x="728660"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4">
            <a:extLst>
              <a:ext uri="{FF2B5EF4-FFF2-40B4-BE49-F238E27FC236}">
                <a16:creationId xmlns:a16="http://schemas.microsoft.com/office/drawing/2014/main" id="{C863ADDF-E413-4C1E-8550-D0D11FE368B5}"/>
              </a:ext>
            </a:extLst>
          </p:cNvPr>
          <p:cNvSpPr>
            <a:spLocks noGrp="1"/>
          </p:cNvSpPr>
          <p:nvPr>
            <p:ph type="body" sz="quarter" idx="18"/>
          </p:nvPr>
        </p:nvSpPr>
        <p:spPr>
          <a:xfrm>
            <a:off x="4603475"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4">
            <a:extLst>
              <a:ext uri="{FF2B5EF4-FFF2-40B4-BE49-F238E27FC236}">
                <a16:creationId xmlns:a16="http://schemas.microsoft.com/office/drawing/2014/main" id="{1303C48E-5675-4F35-B7D9-6D1412BC037B}"/>
              </a:ext>
            </a:extLst>
          </p:cNvPr>
          <p:cNvSpPr>
            <a:spLocks noGrp="1"/>
          </p:cNvSpPr>
          <p:nvPr>
            <p:ph type="body" sz="quarter" idx="19"/>
          </p:nvPr>
        </p:nvSpPr>
        <p:spPr>
          <a:xfrm>
            <a:off x="8497022"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5" name="Picture 24">
            <a:extLst>
              <a:ext uri="{FF2B5EF4-FFF2-40B4-BE49-F238E27FC236}">
                <a16:creationId xmlns:a16="http://schemas.microsoft.com/office/drawing/2014/main" id="{BBA22BE7-A7A2-4938-B5CB-BD9111E86E1E}"/>
              </a:ext>
            </a:extLst>
          </p:cNvPr>
          <p:cNvPicPr>
            <a:picLocks noChangeAspect="1"/>
          </p:cNvPicPr>
          <p:nvPr userDrawn="1"/>
        </p:nvPicPr>
        <p:blipFill rotWithShape="1">
          <a:blip r:embed="rId5"/>
          <a:srcRect r="66985"/>
          <a:stretch/>
        </p:blipFill>
        <p:spPr>
          <a:xfrm>
            <a:off x="414036" y="1895770"/>
            <a:ext cx="3751834" cy="804742"/>
          </a:xfrm>
          <a:prstGeom prst="rect">
            <a:avLst/>
          </a:prstGeom>
        </p:spPr>
      </p:pic>
      <p:sp>
        <p:nvSpPr>
          <p:cNvPr id="13" name="Text Placeholder 12">
            <a:extLst>
              <a:ext uri="{FF2B5EF4-FFF2-40B4-BE49-F238E27FC236}">
                <a16:creationId xmlns:a16="http://schemas.microsoft.com/office/drawing/2014/main" id="{766FEDC1-13D7-4D4B-AFF3-C31439183CA8}"/>
              </a:ext>
            </a:extLst>
          </p:cNvPr>
          <p:cNvSpPr>
            <a:spLocks noGrp="1"/>
          </p:cNvSpPr>
          <p:nvPr>
            <p:ph type="body" sz="quarter" idx="12"/>
          </p:nvPr>
        </p:nvSpPr>
        <p:spPr>
          <a:xfrm>
            <a:off x="728660" y="1979763"/>
            <a:ext cx="2843336" cy="538698"/>
          </a:xfrm>
        </p:spPr>
        <p:txBody>
          <a:bodyPr anchor="ct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
        <p:nvSpPr>
          <p:cNvPr id="19" name="Text Placeholder 12">
            <a:extLst>
              <a:ext uri="{FF2B5EF4-FFF2-40B4-BE49-F238E27FC236}">
                <a16:creationId xmlns:a16="http://schemas.microsoft.com/office/drawing/2014/main" id="{E02612CF-F8AF-4497-95EA-7333EF70EA9A}"/>
              </a:ext>
            </a:extLst>
          </p:cNvPr>
          <p:cNvSpPr>
            <a:spLocks noGrp="1"/>
          </p:cNvSpPr>
          <p:nvPr>
            <p:ph type="body" sz="quarter" idx="15"/>
          </p:nvPr>
        </p:nvSpPr>
        <p:spPr>
          <a:xfrm>
            <a:off x="4603475" y="1979763"/>
            <a:ext cx="2843336" cy="538698"/>
          </a:xfrm>
        </p:spPr>
        <p:txBody>
          <a:bodyPr anchor="ct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
        <p:nvSpPr>
          <p:cNvPr id="96" name="Text Placeholder 12">
            <a:extLst>
              <a:ext uri="{FF2B5EF4-FFF2-40B4-BE49-F238E27FC236}">
                <a16:creationId xmlns:a16="http://schemas.microsoft.com/office/drawing/2014/main" id="{9E19E42D-4F4E-47DE-9417-EC7BF4D1DE58}"/>
              </a:ext>
            </a:extLst>
          </p:cNvPr>
          <p:cNvSpPr>
            <a:spLocks noGrp="1"/>
          </p:cNvSpPr>
          <p:nvPr>
            <p:ph type="body" sz="quarter" idx="17"/>
          </p:nvPr>
        </p:nvSpPr>
        <p:spPr>
          <a:xfrm>
            <a:off x="8497022" y="1979763"/>
            <a:ext cx="2843336" cy="538698"/>
          </a:xfrm>
        </p:spPr>
        <p:txBody>
          <a:bodyPr anchor="ct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Tree>
    <p:extLst>
      <p:ext uri="{BB962C8B-B14F-4D97-AF65-F5344CB8AC3E}">
        <p14:creationId xmlns:p14="http://schemas.microsoft.com/office/powerpoint/2010/main" val="93008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p:cNvSpPr>
            <a:spLocks noGrp="1"/>
          </p:cNvSpPr>
          <p:nvPr>
            <p:ph type="title"/>
          </p:nvPr>
        </p:nvSpPr>
        <p:spPr>
          <a:xfrm>
            <a:off x="733426" y="659953"/>
            <a:ext cx="7480679" cy="1325563"/>
          </a:xfrm>
        </p:spPr>
        <p:txBody>
          <a:bodyPr/>
          <a:lstStyle/>
          <a:p>
            <a:r>
              <a:rPr lang="en-US"/>
              <a:t>Click to edit Master title style</a:t>
            </a:r>
            <a:endParaRPr lang="en-GB"/>
          </a:p>
        </p:txBody>
      </p:sp>
      <p:sp>
        <p:nvSpPr>
          <p:cNvPr id="3" name="Content Placeholder 2"/>
          <p:cNvSpPr>
            <a:spLocks noGrp="1"/>
          </p:cNvSpPr>
          <p:nvPr>
            <p:ph idx="1"/>
          </p:nvPr>
        </p:nvSpPr>
        <p:spPr>
          <a:xfrm>
            <a:off x="733426" y="2138100"/>
            <a:ext cx="7480679" cy="423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6064C687-E54E-4A59-A131-5441B095AAD8}" type="datetime1">
              <a:rPr lang="en-GB" smtClean="0"/>
              <a:t>07/10/2025</a:t>
            </a:fld>
            <a:endParaRPr lang="en-GB" dirty="0"/>
          </a:p>
        </p:txBody>
      </p:sp>
      <p:sp>
        <p:nvSpPr>
          <p:cNvPr id="5" name="Footer Placeholder 4"/>
          <p:cNvSpPr>
            <a:spLocks noGrp="1"/>
          </p:cNvSpPr>
          <p:nvPr>
            <p:ph type="ftr" sz="quarter" idx="11"/>
          </p:nvPr>
        </p:nvSpPr>
        <p:spPr/>
        <p:txBody>
          <a:bodyPr/>
          <a:lstStyle/>
          <a:p>
            <a:r>
              <a:rPr lang="en-GB" dirty="0"/>
              <a:t>Presentation info in footer</a:t>
            </a:r>
          </a:p>
        </p:txBody>
      </p:sp>
      <p:sp>
        <p:nvSpPr>
          <p:cNvPr id="6" name="Slide Number Placeholder 5"/>
          <p:cNvSpPr>
            <a:spLocks noGrp="1"/>
          </p:cNvSpPr>
          <p:nvPr>
            <p:ph type="sldNum" sz="quarter" idx="12"/>
          </p:nvPr>
        </p:nvSpPr>
        <p:spPr/>
        <p:txBody>
          <a:bodyPr/>
          <a:lstStyle/>
          <a:p>
            <a:fld id="{D5361521-EF7F-456B-A25F-4EAD8E019C37}" type="slidenum">
              <a:rPr lang="en-GB" smtClean="0"/>
              <a:t>‹#›</a:t>
            </a:fld>
            <a:endParaRPr lang="en-GB" dirty="0"/>
          </a:p>
        </p:txBody>
      </p:sp>
      <p:sp>
        <p:nvSpPr>
          <p:cNvPr id="8" name="Picture Placeholder 7"/>
          <p:cNvSpPr>
            <a:spLocks noGrp="1"/>
          </p:cNvSpPr>
          <p:nvPr>
            <p:ph type="pic" sz="quarter" idx="13"/>
          </p:nvPr>
        </p:nvSpPr>
        <p:spPr>
          <a:xfrm>
            <a:off x="8689181" y="659953"/>
            <a:ext cx="3502819" cy="5712272"/>
          </a:xfrm>
        </p:spPr>
        <p:txBody>
          <a:bodyPr/>
          <a:lstStyle/>
          <a:p>
            <a:r>
              <a:rPr lang="en-US" dirty="0"/>
              <a:t>Click icon to add picture</a:t>
            </a:r>
            <a:endParaRPr lang="en-GB" dirty="0"/>
          </a:p>
        </p:txBody>
      </p:sp>
    </p:spTree>
    <p:extLst>
      <p:ext uri="{BB962C8B-B14F-4D97-AF65-F5344CB8AC3E}">
        <p14:creationId xmlns:p14="http://schemas.microsoft.com/office/powerpoint/2010/main" val="88603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lumns + Headings Blue">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592E4C-3B17-44AD-8F33-E1D3FDB095B3}"/>
              </a:ext>
            </a:extLst>
          </p:cNvPr>
          <p:cNvGraphicFramePr>
            <a:graphicFrameLocks noChangeAspect="1"/>
          </p:cNvGraphicFramePr>
          <p:nvPr userDrawn="1">
            <p:custDataLst>
              <p:tags r:id="rId1"/>
            </p:custDataLst>
            <p:extLst>
              <p:ext uri="{D42A27DB-BD31-4B8C-83A1-F6EECF244321}">
                <p14:modId xmlns:p14="http://schemas.microsoft.com/office/powerpoint/2010/main" val="900472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1592E4C-3B17-44AD-8F33-E1D3FDB09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B182C50-7DCD-4EF9-8339-EE8B206E737A}"/>
              </a:ext>
            </a:extLst>
          </p:cNvPr>
          <p:cNvSpPr/>
          <p:nvPr userDrawn="1"/>
        </p:nvSpPr>
        <p:spPr>
          <a:xfrm>
            <a:off x="4390751"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Rectangle 92">
            <a:extLst>
              <a:ext uri="{FF2B5EF4-FFF2-40B4-BE49-F238E27FC236}">
                <a16:creationId xmlns:a16="http://schemas.microsoft.com/office/drawing/2014/main" id="{158FE935-8A14-4729-ACD6-3B7AB0A39F00}"/>
              </a:ext>
            </a:extLst>
          </p:cNvPr>
          <p:cNvSpPr/>
          <p:nvPr userDrawn="1"/>
        </p:nvSpPr>
        <p:spPr>
          <a:xfrm>
            <a:off x="8284298"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3" name="Picture 22">
            <a:extLst>
              <a:ext uri="{FF2B5EF4-FFF2-40B4-BE49-F238E27FC236}">
                <a16:creationId xmlns:a16="http://schemas.microsoft.com/office/drawing/2014/main" id="{F21B471C-81D3-4FBE-A422-F968EC2643F9}"/>
              </a:ext>
            </a:extLst>
          </p:cNvPr>
          <p:cNvPicPr>
            <a:picLocks noChangeAspect="1"/>
          </p:cNvPicPr>
          <p:nvPr userDrawn="1"/>
        </p:nvPicPr>
        <p:blipFill rotWithShape="1">
          <a:blip r:embed="rId5"/>
          <a:srcRect l="32722" r="32722"/>
          <a:stretch/>
        </p:blipFill>
        <p:spPr>
          <a:xfrm>
            <a:off x="4132583" y="1895770"/>
            <a:ext cx="3926834" cy="804742"/>
          </a:xfrm>
          <a:prstGeom prst="rect">
            <a:avLst/>
          </a:prstGeom>
        </p:spPr>
      </p:pic>
      <p:pic>
        <p:nvPicPr>
          <p:cNvPr id="24" name="Picture 23">
            <a:extLst>
              <a:ext uri="{FF2B5EF4-FFF2-40B4-BE49-F238E27FC236}">
                <a16:creationId xmlns:a16="http://schemas.microsoft.com/office/drawing/2014/main" id="{764E759D-F937-4BE9-9552-19E58892E53E}"/>
              </a:ext>
            </a:extLst>
          </p:cNvPr>
          <p:cNvPicPr>
            <a:picLocks noChangeAspect="1"/>
          </p:cNvPicPr>
          <p:nvPr userDrawn="1"/>
        </p:nvPicPr>
        <p:blipFill rotWithShape="1">
          <a:blip r:embed="rId5"/>
          <a:srcRect l="67742"/>
          <a:stretch/>
        </p:blipFill>
        <p:spPr>
          <a:xfrm>
            <a:off x="8112125" y="1895770"/>
            <a:ext cx="3665839" cy="804742"/>
          </a:xfrm>
          <a:prstGeom prst="rect">
            <a:avLst/>
          </a:prstGeom>
        </p:spPr>
      </p:pic>
      <p:sp>
        <p:nvSpPr>
          <p:cNvPr id="9" name="Rectangle 8">
            <a:extLst>
              <a:ext uri="{FF2B5EF4-FFF2-40B4-BE49-F238E27FC236}">
                <a16:creationId xmlns:a16="http://schemas.microsoft.com/office/drawing/2014/main" id="{87887BF1-89E4-4668-BE50-F91F9EE4328E}"/>
              </a:ext>
            </a:extLst>
          </p:cNvPr>
          <p:cNvSpPr/>
          <p:nvPr userDrawn="1"/>
        </p:nvSpPr>
        <p:spPr>
          <a:xfrm>
            <a:off x="515936"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5BEC298-6365-45C6-9EA9-6438750C96BD}"/>
              </a:ext>
            </a:extLst>
          </p:cNvPr>
          <p:cNvSpPr>
            <a:spLocks noGrp="1"/>
          </p:cNvSpPr>
          <p:nvPr>
            <p:ph type="title"/>
          </p:nvPr>
        </p:nvSpPr>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DB50E14E-4EAA-484E-912F-5903B4E90010}"/>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4E12DC4F-32BD-4AF1-9BBD-B92993A97C05}"/>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8" name="Text Placeholder 14">
            <a:extLst>
              <a:ext uri="{FF2B5EF4-FFF2-40B4-BE49-F238E27FC236}">
                <a16:creationId xmlns:a16="http://schemas.microsoft.com/office/drawing/2014/main" id="{95B9BB66-5FB3-448B-BB50-A0D8E9BDF1EC}"/>
              </a:ext>
            </a:extLst>
          </p:cNvPr>
          <p:cNvSpPr>
            <a:spLocks noGrp="1"/>
          </p:cNvSpPr>
          <p:nvPr>
            <p:ph type="body" sz="quarter" idx="13"/>
          </p:nvPr>
        </p:nvSpPr>
        <p:spPr>
          <a:xfrm>
            <a:off x="728660"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4">
            <a:extLst>
              <a:ext uri="{FF2B5EF4-FFF2-40B4-BE49-F238E27FC236}">
                <a16:creationId xmlns:a16="http://schemas.microsoft.com/office/drawing/2014/main" id="{867415A1-D76B-4292-97EE-F5CF529A6905}"/>
              </a:ext>
            </a:extLst>
          </p:cNvPr>
          <p:cNvSpPr>
            <a:spLocks noGrp="1"/>
          </p:cNvSpPr>
          <p:nvPr>
            <p:ph type="body" sz="quarter" idx="18"/>
          </p:nvPr>
        </p:nvSpPr>
        <p:spPr>
          <a:xfrm>
            <a:off x="4603475"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4">
            <a:extLst>
              <a:ext uri="{FF2B5EF4-FFF2-40B4-BE49-F238E27FC236}">
                <a16:creationId xmlns:a16="http://schemas.microsoft.com/office/drawing/2014/main" id="{34DCE2C7-AF0F-467E-971B-4E7A6FB2B32E}"/>
              </a:ext>
            </a:extLst>
          </p:cNvPr>
          <p:cNvSpPr>
            <a:spLocks noGrp="1"/>
          </p:cNvSpPr>
          <p:nvPr>
            <p:ph type="body" sz="quarter" idx="19"/>
          </p:nvPr>
        </p:nvSpPr>
        <p:spPr>
          <a:xfrm>
            <a:off x="8497022"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2" name="Picture 21">
            <a:extLst>
              <a:ext uri="{FF2B5EF4-FFF2-40B4-BE49-F238E27FC236}">
                <a16:creationId xmlns:a16="http://schemas.microsoft.com/office/drawing/2014/main" id="{6B0C4F4F-5AD5-4D10-84DE-68A5E42B1677}"/>
              </a:ext>
            </a:extLst>
          </p:cNvPr>
          <p:cNvPicPr>
            <a:picLocks noChangeAspect="1"/>
          </p:cNvPicPr>
          <p:nvPr userDrawn="1"/>
        </p:nvPicPr>
        <p:blipFill rotWithShape="1">
          <a:blip r:embed="rId5"/>
          <a:srcRect r="67408"/>
          <a:stretch/>
        </p:blipFill>
        <p:spPr>
          <a:xfrm>
            <a:off x="414035" y="1895770"/>
            <a:ext cx="3703713" cy="804742"/>
          </a:xfrm>
          <a:prstGeom prst="rect">
            <a:avLst/>
          </a:prstGeom>
        </p:spPr>
      </p:pic>
      <p:sp>
        <p:nvSpPr>
          <p:cNvPr id="13" name="Text Placeholder 12">
            <a:extLst>
              <a:ext uri="{FF2B5EF4-FFF2-40B4-BE49-F238E27FC236}">
                <a16:creationId xmlns:a16="http://schemas.microsoft.com/office/drawing/2014/main" id="{766FEDC1-13D7-4D4B-AFF3-C31439183CA8}"/>
              </a:ext>
            </a:extLst>
          </p:cNvPr>
          <p:cNvSpPr>
            <a:spLocks noGrp="1"/>
          </p:cNvSpPr>
          <p:nvPr>
            <p:ph type="body" sz="quarter" idx="12"/>
          </p:nvPr>
        </p:nvSpPr>
        <p:spPr>
          <a:xfrm>
            <a:off x="728660"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
        <p:nvSpPr>
          <p:cNvPr id="19" name="Text Placeholder 12">
            <a:extLst>
              <a:ext uri="{FF2B5EF4-FFF2-40B4-BE49-F238E27FC236}">
                <a16:creationId xmlns:a16="http://schemas.microsoft.com/office/drawing/2014/main" id="{E02612CF-F8AF-4497-95EA-7333EF70EA9A}"/>
              </a:ext>
            </a:extLst>
          </p:cNvPr>
          <p:cNvSpPr>
            <a:spLocks noGrp="1"/>
          </p:cNvSpPr>
          <p:nvPr>
            <p:ph type="body" sz="quarter" idx="15"/>
          </p:nvPr>
        </p:nvSpPr>
        <p:spPr>
          <a:xfrm>
            <a:off x="4603475"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
        <p:nvSpPr>
          <p:cNvPr id="96" name="Text Placeholder 12">
            <a:extLst>
              <a:ext uri="{FF2B5EF4-FFF2-40B4-BE49-F238E27FC236}">
                <a16:creationId xmlns:a16="http://schemas.microsoft.com/office/drawing/2014/main" id="{9E19E42D-4F4E-47DE-9417-EC7BF4D1DE58}"/>
              </a:ext>
            </a:extLst>
          </p:cNvPr>
          <p:cNvSpPr>
            <a:spLocks noGrp="1"/>
          </p:cNvSpPr>
          <p:nvPr>
            <p:ph type="body" sz="quarter" idx="17"/>
          </p:nvPr>
        </p:nvSpPr>
        <p:spPr>
          <a:xfrm>
            <a:off x="8497022"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Tree>
    <p:extLst>
      <p:ext uri="{BB962C8B-B14F-4D97-AF65-F5344CB8AC3E}">
        <p14:creationId xmlns:p14="http://schemas.microsoft.com/office/powerpoint/2010/main" val="1932220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lumns + Headings Green">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592E4C-3B17-44AD-8F33-E1D3FDB095B3}"/>
              </a:ext>
            </a:extLst>
          </p:cNvPr>
          <p:cNvGraphicFramePr>
            <a:graphicFrameLocks noChangeAspect="1"/>
          </p:cNvGraphicFramePr>
          <p:nvPr userDrawn="1">
            <p:custDataLst>
              <p:tags r:id="rId1"/>
            </p:custDataLst>
            <p:extLst>
              <p:ext uri="{D42A27DB-BD31-4B8C-83A1-F6EECF244321}">
                <p14:modId xmlns:p14="http://schemas.microsoft.com/office/powerpoint/2010/main" val="3384448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1592E4C-3B17-44AD-8F33-E1D3FDB09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B182C50-7DCD-4EF9-8339-EE8B206E737A}"/>
              </a:ext>
            </a:extLst>
          </p:cNvPr>
          <p:cNvSpPr/>
          <p:nvPr userDrawn="1"/>
        </p:nvSpPr>
        <p:spPr>
          <a:xfrm>
            <a:off x="4390751"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Rectangle 92">
            <a:extLst>
              <a:ext uri="{FF2B5EF4-FFF2-40B4-BE49-F238E27FC236}">
                <a16:creationId xmlns:a16="http://schemas.microsoft.com/office/drawing/2014/main" id="{158FE935-8A14-4729-ACD6-3B7AB0A39F00}"/>
              </a:ext>
            </a:extLst>
          </p:cNvPr>
          <p:cNvSpPr/>
          <p:nvPr userDrawn="1"/>
        </p:nvSpPr>
        <p:spPr>
          <a:xfrm>
            <a:off x="8284298"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2" name="Picture 21">
            <a:extLst>
              <a:ext uri="{FF2B5EF4-FFF2-40B4-BE49-F238E27FC236}">
                <a16:creationId xmlns:a16="http://schemas.microsoft.com/office/drawing/2014/main" id="{DD9BD8CF-F6B5-4667-A6C9-38E69B207DEF}"/>
              </a:ext>
            </a:extLst>
          </p:cNvPr>
          <p:cNvPicPr>
            <a:picLocks noChangeAspect="1"/>
          </p:cNvPicPr>
          <p:nvPr userDrawn="1"/>
        </p:nvPicPr>
        <p:blipFill rotWithShape="1">
          <a:blip r:embed="rId5"/>
          <a:srcRect l="32772" r="33439"/>
          <a:stretch/>
        </p:blipFill>
        <p:spPr>
          <a:xfrm>
            <a:off x="4138367" y="1895770"/>
            <a:ext cx="3839568" cy="804742"/>
          </a:xfrm>
          <a:prstGeom prst="rect">
            <a:avLst/>
          </a:prstGeom>
        </p:spPr>
      </p:pic>
      <p:pic>
        <p:nvPicPr>
          <p:cNvPr id="26" name="Picture 25">
            <a:extLst>
              <a:ext uri="{FF2B5EF4-FFF2-40B4-BE49-F238E27FC236}">
                <a16:creationId xmlns:a16="http://schemas.microsoft.com/office/drawing/2014/main" id="{A0009590-8953-4AEA-9E5E-59808C181906}"/>
              </a:ext>
            </a:extLst>
          </p:cNvPr>
          <p:cNvPicPr>
            <a:picLocks noChangeAspect="1"/>
          </p:cNvPicPr>
          <p:nvPr userDrawn="1"/>
        </p:nvPicPr>
        <p:blipFill rotWithShape="1">
          <a:blip r:embed="rId5"/>
          <a:srcRect l="67423"/>
          <a:stretch/>
        </p:blipFill>
        <p:spPr>
          <a:xfrm>
            <a:off x="8075937" y="1895770"/>
            <a:ext cx="3702027" cy="804742"/>
          </a:xfrm>
          <a:prstGeom prst="rect">
            <a:avLst/>
          </a:prstGeom>
        </p:spPr>
      </p:pic>
      <p:sp>
        <p:nvSpPr>
          <p:cNvPr id="9" name="Rectangle 8">
            <a:extLst>
              <a:ext uri="{FF2B5EF4-FFF2-40B4-BE49-F238E27FC236}">
                <a16:creationId xmlns:a16="http://schemas.microsoft.com/office/drawing/2014/main" id="{87887BF1-89E4-4668-BE50-F91F9EE4328E}"/>
              </a:ext>
            </a:extLst>
          </p:cNvPr>
          <p:cNvSpPr/>
          <p:nvPr userDrawn="1"/>
        </p:nvSpPr>
        <p:spPr>
          <a:xfrm>
            <a:off x="515936"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5BEC298-6365-45C6-9EA9-6438750C96BD}"/>
              </a:ext>
            </a:extLst>
          </p:cNvPr>
          <p:cNvSpPr>
            <a:spLocks noGrp="1"/>
          </p:cNvSpPr>
          <p:nvPr>
            <p:ph type="title"/>
          </p:nvPr>
        </p:nvSpPr>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DB50E14E-4EAA-484E-912F-5903B4E90010}"/>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4E12DC4F-32BD-4AF1-9BBD-B92993A97C05}"/>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8" name="Text Placeholder 14">
            <a:extLst>
              <a:ext uri="{FF2B5EF4-FFF2-40B4-BE49-F238E27FC236}">
                <a16:creationId xmlns:a16="http://schemas.microsoft.com/office/drawing/2014/main" id="{E5123D6D-5804-40C9-89E0-CD9EF0B70A12}"/>
              </a:ext>
            </a:extLst>
          </p:cNvPr>
          <p:cNvSpPr>
            <a:spLocks noGrp="1"/>
          </p:cNvSpPr>
          <p:nvPr>
            <p:ph type="body" sz="quarter" idx="13"/>
          </p:nvPr>
        </p:nvSpPr>
        <p:spPr>
          <a:xfrm>
            <a:off x="728660"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14">
            <a:extLst>
              <a:ext uri="{FF2B5EF4-FFF2-40B4-BE49-F238E27FC236}">
                <a16:creationId xmlns:a16="http://schemas.microsoft.com/office/drawing/2014/main" id="{ECA19385-0AA7-495D-B0A3-A7039B888B40}"/>
              </a:ext>
            </a:extLst>
          </p:cNvPr>
          <p:cNvSpPr>
            <a:spLocks noGrp="1"/>
          </p:cNvSpPr>
          <p:nvPr>
            <p:ph type="body" sz="quarter" idx="18"/>
          </p:nvPr>
        </p:nvSpPr>
        <p:spPr>
          <a:xfrm>
            <a:off x="4603475"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14">
            <a:extLst>
              <a:ext uri="{FF2B5EF4-FFF2-40B4-BE49-F238E27FC236}">
                <a16:creationId xmlns:a16="http://schemas.microsoft.com/office/drawing/2014/main" id="{9925DB2A-FE04-4191-9656-56DD8DC6583C}"/>
              </a:ext>
            </a:extLst>
          </p:cNvPr>
          <p:cNvSpPr>
            <a:spLocks noGrp="1"/>
          </p:cNvSpPr>
          <p:nvPr>
            <p:ph type="body" sz="quarter" idx="19"/>
          </p:nvPr>
        </p:nvSpPr>
        <p:spPr>
          <a:xfrm>
            <a:off x="8497022"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5" name="Picture 24">
            <a:extLst>
              <a:ext uri="{FF2B5EF4-FFF2-40B4-BE49-F238E27FC236}">
                <a16:creationId xmlns:a16="http://schemas.microsoft.com/office/drawing/2014/main" id="{05B01100-2D8C-4C49-A462-18F319015D4A}"/>
              </a:ext>
            </a:extLst>
          </p:cNvPr>
          <p:cNvPicPr>
            <a:picLocks noChangeAspect="1"/>
          </p:cNvPicPr>
          <p:nvPr userDrawn="1"/>
        </p:nvPicPr>
        <p:blipFill rotWithShape="1">
          <a:blip r:embed="rId5"/>
          <a:srcRect r="67742"/>
          <a:stretch/>
        </p:blipFill>
        <p:spPr>
          <a:xfrm>
            <a:off x="414036" y="1895770"/>
            <a:ext cx="3665840" cy="804742"/>
          </a:xfrm>
          <a:prstGeom prst="rect">
            <a:avLst/>
          </a:prstGeom>
        </p:spPr>
      </p:pic>
      <p:sp>
        <p:nvSpPr>
          <p:cNvPr id="13" name="Text Placeholder 12">
            <a:extLst>
              <a:ext uri="{FF2B5EF4-FFF2-40B4-BE49-F238E27FC236}">
                <a16:creationId xmlns:a16="http://schemas.microsoft.com/office/drawing/2014/main" id="{766FEDC1-13D7-4D4B-AFF3-C31439183CA8}"/>
              </a:ext>
            </a:extLst>
          </p:cNvPr>
          <p:cNvSpPr>
            <a:spLocks noGrp="1"/>
          </p:cNvSpPr>
          <p:nvPr>
            <p:ph type="body" sz="quarter" idx="12"/>
          </p:nvPr>
        </p:nvSpPr>
        <p:spPr>
          <a:xfrm>
            <a:off x="728660"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
        <p:nvSpPr>
          <p:cNvPr id="19" name="Text Placeholder 12">
            <a:extLst>
              <a:ext uri="{FF2B5EF4-FFF2-40B4-BE49-F238E27FC236}">
                <a16:creationId xmlns:a16="http://schemas.microsoft.com/office/drawing/2014/main" id="{E02612CF-F8AF-4497-95EA-7333EF70EA9A}"/>
              </a:ext>
            </a:extLst>
          </p:cNvPr>
          <p:cNvSpPr>
            <a:spLocks noGrp="1"/>
          </p:cNvSpPr>
          <p:nvPr>
            <p:ph type="body" sz="quarter" idx="15"/>
          </p:nvPr>
        </p:nvSpPr>
        <p:spPr>
          <a:xfrm>
            <a:off x="4603475"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
        <p:nvSpPr>
          <p:cNvPr id="96" name="Text Placeholder 12">
            <a:extLst>
              <a:ext uri="{FF2B5EF4-FFF2-40B4-BE49-F238E27FC236}">
                <a16:creationId xmlns:a16="http://schemas.microsoft.com/office/drawing/2014/main" id="{9E19E42D-4F4E-47DE-9417-EC7BF4D1DE58}"/>
              </a:ext>
            </a:extLst>
          </p:cNvPr>
          <p:cNvSpPr>
            <a:spLocks noGrp="1"/>
          </p:cNvSpPr>
          <p:nvPr>
            <p:ph type="body" sz="quarter" idx="17"/>
          </p:nvPr>
        </p:nvSpPr>
        <p:spPr>
          <a:xfrm>
            <a:off x="8497022"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Tree>
    <p:extLst>
      <p:ext uri="{BB962C8B-B14F-4D97-AF65-F5344CB8AC3E}">
        <p14:creationId xmlns:p14="http://schemas.microsoft.com/office/powerpoint/2010/main" val="47475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lumns + Headings Purple">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592E4C-3B17-44AD-8F33-E1D3FDB095B3}"/>
              </a:ext>
            </a:extLst>
          </p:cNvPr>
          <p:cNvGraphicFramePr>
            <a:graphicFrameLocks noChangeAspect="1"/>
          </p:cNvGraphicFramePr>
          <p:nvPr userDrawn="1">
            <p:custDataLst>
              <p:tags r:id="rId1"/>
            </p:custDataLst>
            <p:extLst>
              <p:ext uri="{D42A27DB-BD31-4B8C-83A1-F6EECF244321}">
                <p14:modId xmlns:p14="http://schemas.microsoft.com/office/powerpoint/2010/main" val="302065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1592E4C-3B17-44AD-8F33-E1D3FDB09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B182C50-7DCD-4EF9-8339-EE8B206E737A}"/>
              </a:ext>
            </a:extLst>
          </p:cNvPr>
          <p:cNvSpPr/>
          <p:nvPr userDrawn="1"/>
        </p:nvSpPr>
        <p:spPr>
          <a:xfrm>
            <a:off x="4390751"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Rectangle 92">
            <a:extLst>
              <a:ext uri="{FF2B5EF4-FFF2-40B4-BE49-F238E27FC236}">
                <a16:creationId xmlns:a16="http://schemas.microsoft.com/office/drawing/2014/main" id="{158FE935-8A14-4729-ACD6-3B7AB0A39F00}"/>
              </a:ext>
            </a:extLst>
          </p:cNvPr>
          <p:cNvSpPr/>
          <p:nvPr userDrawn="1"/>
        </p:nvSpPr>
        <p:spPr>
          <a:xfrm>
            <a:off x="8284298"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5" name="Picture 24">
            <a:extLst>
              <a:ext uri="{FF2B5EF4-FFF2-40B4-BE49-F238E27FC236}">
                <a16:creationId xmlns:a16="http://schemas.microsoft.com/office/drawing/2014/main" id="{FA4E12D0-8BF6-4CD1-82B7-D1C8938EB919}"/>
              </a:ext>
            </a:extLst>
          </p:cNvPr>
          <p:cNvPicPr>
            <a:picLocks noChangeAspect="1"/>
          </p:cNvPicPr>
          <p:nvPr userDrawn="1"/>
        </p:nvPicPr>
        <p:blipFill rotWithShape="1">
          <a:blip r:embed="rId5"/>
          <a:srcRect l="32722" r="32722"/>
          <a:stretch/>
        </p:blipFill>
        <p:spPr>
          <a:xfrm>
            <a:off x="4132583" y="1895770"/>
            <a:ext cx="3926834" cy="804742"/>
          </a:xfrm>
          <a:prstGeom prst="rect">
            <a:avLst/>
          </a:prstGeom>
        </p:spPr>
      </p:pic>
      <p:pic>
        <p:nvPicPr>
          <p:cNvPr id="26" name="Picture 25">
            <a:extLst>
              <a:ext uri="{FF2B5EF4-FFF2-40B4-BE49-F238E27FC236}">
                <a16:creationId xmlns:a16="http://schemas.microsoft.com/office/drawing/2014/main" id="{B4DF7D25-40E5-4CDC-80DF-A1A43E7E3507}"/>
              </a:ext>
            </a:extLst>
          </p:cNvPr>
          <p:cNvPicPr>
            <a:picLocks noChangeAspect="1"/>
          </p:cNvPicPr>
          <p:nvPr userDrawn="1"/>
        </p:nvPicPr>
        <p:blipFill rotWithShape="1">
          <a:blip r:embed="rId5"/>
          <a:srcRect l="67742"/>
          <a:stretch/>
        </p:blipFill>
        <p:spPr>
          <a:xfrm>
            <a:off x="8112125" y="1895770"/>
            <a:ext cx="3665839" cy="804742"/>
          </a:xfrm>
          <a:prstGeom prst="rect">
            <a:avLst/>
          </a:prstGeom>
        </p:spPr>
      </p:pic>
      <p:sp>
        <p:nvSpPr>
          <p:cNvPr id="9" name="Rectangle 8">
            <a:extLst>
              <a:ext uri="{FF2B5EF4-FFF2-40B4-BE49-F238E27FC236}">
                <a16:creationId xmlns:a16="http://schemas.microsoft.com/office/drawing/2014/main" id="{87887BF1-89E4-4668-BE50-F91F9EE4328E}"/>
              </a:ext>
            </a:extLst>
          </p:cNvPr>
          <p:cNvSpPr/>
          <p:nvPr userDrawn="1"/>
        </p:nvSpPr>
        <p:spPr>
          <a:xfrm>
            <a:off x="515936" y="2317750"/>
            <a:ext cx="3395663" cy="392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5BEC298-6365-45C6-9EA9-6438750C96BD}"/>
              </a:ext>
            </a:extLst>
          </p:cNvPr>
          <p:cNvSpPr>
            <a:spLocks noGrp="1"/>
          </p:cNvSpPr>
          <p:nvPr>
            <p:ph type="title"/>
          </p:nvPr>
        </p:nvSpPr>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DB50E14E-4EAA-484E-912F-5903B4E90010}"/>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4E12DC4F-32BD-4AF1-9BBD-B92993A97C05}"/>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8" name="Text Placeholder 14">
            <a:extLst>
              <a:ext uri="{FF2B5EF4-FFF2-40B4-BE49-F238E27FC236}">
                <a16:creationId xmlns:a16="http://schemas.microsoft.com/office/drawing/2014/main" id="{C5A36A86-5376-4536-8C8B-0DBD07122E38}"/>
              </a:ext>
            </a:extLst>
          </p:cNvPr>
          <p:cNvSpPr>
            <a:spLocks noGrp="1"/>
          </p:cNvSpPr>
          <p:nvPr>
            <p:ph type="body" sz="quarter" idx="13"/>
          </p:nvPr>
        </p:nvSpPr>
        <p:spPr>
          <a:xfrm>
            <a:off x="728660"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14">
            <a:extLst>
              <a:ext uri="{FF2B5EF4-FFF2-40B4-BE49-F238E27FC236}">
                <a16:creationId xmlns:a16="http://schemas.microsoft.com/office/drawing/2014/main" id="{41C66A9D-9B91-4F92-AFA0-B9B9ABB2B41E}"/>
              </a:ext>
            </a:extLst>
          </p:cNvPr>
          <p:cNvSpPr>
            <a:spLocks noGrp="1"/>
          </p:cNvSpPr>
          <p:nvPr>
            <p:ph type="body" sz="quarter" idx="18"/>
          </p:nvPr>
        </p:nvSpPr>
        <p:spPr>
          <a:xfrm>
            <a:off x="4603475"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14">
            <a:extLst>
              <a:ext uri="{FF2B5EF4-FFF2-40B4-BE49-F238E27FC236}">
                <a16:creationId xmlns:a16="http://schemas.microsoft.com/office/drawing/2014/main" id="{E4CA2FE0-E103-4046-8C27-B5C74D2FE6D9}"/>
              </a:ext>
            </a:extLst>
          </p:cNvPr>
          <p:cNvSpPr>
            <a:spLocks noGrp="1"/>
          </p:cNvSpPr>
          <p:nvPr>
            <p:ph type="body" sz="quarter" idx="19"/>
          </p:nvPr>
        </p:nvSpPr>
        <p:spPr>
          <a:xfrm>
            <a:off x="8497022" y="2819400"/>
            <a:ext cx="3043240" cy="3308024"/>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a:extLst>
              <a:ext uri="{FF2B5EF4-FFF2-40B4-BE49-F238E27FC236}">
                <a16:creationId xmlns:a16="http://schemas.microsoft.com/office/drawing/2014/main" id="{0E380D5A-A874-48A7-AF03-AB6CAD501BD0}"/>
              </a:ext>
            </a:extLst>
          </p:cNvPr>
          <p:cNvPicPr>
            <a:picLocks noChangeAspect="1"/>
          </p:cNvPicPr>
          <p:nvPr userDrawn="1"/>
        </p:nvPicPr>
        <p:blipFill rotWithShape="1">
          <a:blip r:embed="rId5"/>
          <a:srcRect r="67408"/>
          <a:stretch/>
        </p:blipFill>
        <p:spPr>
          <a:xfrm>
            <a:off x="414035" y="1895770"/>
            <a:ext cx="3703713" cy="804742"/>
          </a:xfrm>
          <a:prstGeom prst="rect">
            <a:avLst/>
          </a:prstGeom>
        </p:spPr>
      </p:pic>
      <p:sp>
        <p:nvSpPr>
          <p:cNvPr id="13" name="Text Placeholder 12">
            <a:extLst>
              <a:ext uri="{FF2B5EF4-FFF2-40B4-BE49-F238E27FC236}">
                <a16:creationId xmlns:a16="http://schemas.microsoft.com/office/drawing/2014/main" id="{766FEDC1-13D7-4D4B-AFF3-C31439183CA8}"/>
              </a:ext>
            </a:extLst>
          </p:cNvPr>
          <p:cNvSpPr>
            <a:spLocks noGrp="1"/>
          </p:cNvSpPr>
          <p:nvPr>
            <p:ph type="body" sz="quarter" idx="12"/>
          </p:nvPr>
        </p:nvSpPr>
        <p:spPr>
          <a:xfrm>
            <a:off x="728660"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
        <p:nvSpPr>
          <p:cNvPr id="19" name="Text Placeholder 12">
            <a:extLst>
              <a:ext uri="{FF2B5EF4-FFF2-40B4-BE49-F238E27FC236}">
                <a16:creationId xmlns:a16="http://schemas.microsoft.com/office/drawing/2014/main" id="{E02612CF-F8AF-4497-95EA-7333EF70EA9A}"/>
              </a:ext>
            </a:extLst>
          </p:cNvPr>
          <p:cNvSpPr>
            <a:spLocks noGrp="1"/>
          </p:cNvSpPr>
          <p:nvPr>
            <p:ph type="body" sz="quarter" idx="15"/>
          </p:nvPr>
        </p:nvSpPr>
        <p:spPr>
          <a:xfrm>
            <a:off x="4603475"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
        <p:nvSpPr>
          <p:cNvPr id="96" name="Text Placeholder 12">
            <a:extLst>
              <a:ext uri="{FF2B5EF4-FFF2-40B4-BE49-F238E27FC236}">
                <a16:creationId xmlns:a16="http://schemas.microsoft.com/office/drawing/2014/main" id="{9E19E42D-4F4E-47DE-9417-EC7BF4D1DE58}"/>
              </a:ext>
            </a:extLst>
          </p:cNvPr>
          <p:cNvSpPr>
            <a:spLocks noGrp="1"/>
          </p:cNvSpPr>
          <p:nvPr>
            <p:ph type="body" sz="quarter" idx="17"/>
          </p:nvPr>
        </p:nvSpPr>
        <p:spPr>
          <a:xfrm>
            <a:off x="8497022" y="1979763"/>
            <a:ext cx="284333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Tree>
    <p:extLst>
      <p:ext uri="{BB962C8B-B14F-4D97-AF65-F5344CB8AC3E}">
        <p14:creationId xmlns:p14="http://schemas.microsoft.com/office/powerpoint/2010/main" val="116649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ange Panel + Text">
    <p:bg>
      <p:bgPr>
        <a:solidFill>
          <a:srgbClr val="F2F2F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B05123E-F903-4B4F-803F-0D4C25E29306}"/>
              </a:ext>
            </a:extLst>
          </p:cNvPr>
          <p:cNvGraphicFramePr>
            <a:graphicFrameLocks noChangeAspect="1"/>
          </p:cNvGraphicFramePr>
          <p:nvPr userDrawn="1">
            <p:custDataLst>
              <p:tags r:id="rId1"/>
            </p:custDataLst>
            <p:extLst>
              <p:ext uri="{D42A27DB-BD31-4B8C-83A1-F6EECF244321}">
                <p14:modId xmlns:p14="http://schemas.microsoft.com/office/powerpoint/2010/main" val="196541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0B05123E-F903-4B4F-803F-0D4C25E293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834B8430-DC7E-4AB0-8A42-E6D9000293D8}"/>
              </a:ext>
            </a:extLst>
          </p:cNvPr>
          <p:cNvSpPr/>
          <p:nvPr userDrawn="1"/>
        </p:nvSpPr>
        <p:spPr>
          <a:xfrm>
            <a:off x="4441178" y="1857374"/>
            <a:ext cx="7234883" cy="4379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075EF717-1A24-40CC-AFE8-38E5F5A1D0D1}"/>
              </a:ext>
            </a:extLst>
          </p:cNvPr>
          <p:cNvSpPr>
            <a:spLocks noGrp="1"/>
          </p:cNvSpPr>
          <p:nvPr>
            <p:ph type="title"/>
          </p:nvPr>
        </p:nvSpPr>
        <p:spPr>
          <a:xfrm>
            <a:off x="515937" y="512764"/>
            <a:ext cx="11160125" cy="10512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2A0297AA-A8DC-44A9-8517-2DC9A478944C}"/>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2F86E2C3-138D-48DA-B64C-138B24F53618}"/>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5" name="Text Placeholder 14">
            <a:extLst>
              <a:ext uri="{FF2B5EF4-FFF2-40B4-BE49-F238E27FC236}">
                <a16:creationId xmlns:a16="http://schemas.microsoft.com/office/drawing/2014/main" id="{D983AEEA-3222-4CE5-9CBD-AA22DE5DF671}"/>
              </a:ext>
            </a:extLst>
          </p:cNvPr>
          <p:cNvSpPr>
            <a:spLocks noGrp="1"/>
          </p:cNvSpPr>
          <p:nvPr>
            <p:ph type="body" sz="quarter" idx="18"/>
          </p:nvPr>
        </p:nvSpPr>
        <p:spPr>
          <a:xfrm>
            <a:off x="5524500" y="2060574"/>
            <a:ext cx="5943600" cy="4010025"/>
          </a:xfrm>
        </p:spPr>
        <p:txBody>
          <a:bodyPr/>
          <a:lstStyle>
            <a:lvl1pPr>
              <a:defRPr b="0">
                <a:solidFill>
                  <a:schemeClr val="tx1"/>
                </a:solidFill>
              </a:defRPr>
            </a:lvl1pPr>
            <a:lvl2pPr marL="144000" indent="-144000">
              <a:buFont typeface="Arial" panose="020B0604020202020204" pitchFamily="34" charset="0"/>
              <a:buChar char="•"/>
              <a:defRPr/>
            </a:lvl2pPr>
            <a:lvl3pPr marL="288000" indent="-144000">
              <a:buSzPct val="60000"/>
              <a:buFont typeface="Courier New" panose="02070309020205020404" pitchFamily="49" charset="0"/>
              <a:buChar char="o"/>
              <a:defRPr/>
            </a:lvl3pPr>
            <a:lvl4pPr marL="432000">
              <a:defRPr/>
            </a:lvl4pPr>
            <a:lvl5pPr marL="576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a:extLst>
              <a:ext uri="{FF2B5EF4-FFF2-40B4-BE49-F238E27FC236}">
                <a16:creationId xmlns:a16="http://schemas.microsoft.com/office/drawing/2014/main" id="{A9E3942E-CF75-4279-BBB5-417F9DB24E0B}"/>
              </a:ext>
            </a:extLst>
          </p:cNvPr>
          <p:cNvPicPr>
            <a:picLocks noChangeAspect="1"/>
          </p:cNvPicPr>
          <p:nvPr userDrawn="1"/>
        </p:nvPicPr>
        <p:blipFill>
          <a:blip r:embed="rId5"/>
          <a:stretch>
            <a:fillRect/>
          </a:stretch>
        </p:blipFill>
        <p:spPr>
          <a:xfrm>
            <a:off x="515937" y="1859981"/>
            <a:ext cx="4261473" cy="4377307"/>
          </a:xfrm>
          <a:prstGeom prst="rect">
            <a:avLst/>
          </a:prstGeom>
        </p:spPr>
      </p:pic>
      <p:sp>
        <p:nvSpPr>
          <p:cNvPr id="11" name="Text Placeholder 14">
            <a:extLst>
              <a:ext uri="{FF2B5EF4-FFF2-40B4-BE49-F238E27FC236}">
                <a16:creationId xmlns:a16="http://schemas.microsoft.com/office/drawing/2014/main" id="{C520BB6F-1B0D-47AB-96FB-A2B22B5BCAA4}"/>
              </a:ext>
            </a:extLst>
          </p:cNvPr>
          <p:cNvSpPr>
            <a:spLocks noGrp="1"/>
          </p:cNvSpPr>
          <p:nvPr>
            <p:ph type="body" sz="quarter" idx="13"/>
          </p:nvPr>
        </p:nvSpPr>
        <p:spPr>
          <a:xfrm>
            <a:off x="635000" y="2060574"/>
            <a:ext cx="3444876" cy="4010024"/>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9806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F2F2F2"/>
        </a:solidFill>
        <a:effectLst/>
      </p:bgPr>
    </p:bg>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494B0744-29C2-43D1-9372-CBDFDB8AA535}"/>
              </a:ext>
            </a:extLst>
          </p:cNvPr>
          <p:cNvGraphicFramePr>
            <a:graphicFrameLocks noChangeAspect="1"/>
          </p:cNvGraphicFramePr>
          <p:nvPr userDrawn="1">
            <p:custDataLst>
              <p:tags r:id="rId1"/>
            </p:custDataLst>
            <p:extLst>
              <p:ext uri="{D42A27DB-BD31-4B8C-83A1-F6EECF244321}">
                <p14:modId xmlns:p14="http://schemas.microsoft.com/office/powerpoint/2010/main" val="746367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9" name="Object 18" hidden="1">
                        <a:extLst>
                          <a:ext uri="{FF2B5EF4-FFF2-40B4-BE49-F238E27FC236}">
                            <a16:creationId xmlns:a16="http://schemas.microsoft.com/office/drawing/2014/main" id="{494B0744-29C2-43D1-9372-CBDFDB8AA5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E16C6E10-9D77-4E57-B51D-4A07B3B21F7F}"/>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D934CF1E-BA93-46B5-9202-75DBC7C1207E}"/>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4" name="Text Placeholder 13">
            <a:extLst>
              <a:ext uri="{FF2B5EF4-FFF2-40B4-BE49-F238E27FC236}">
                <a16:creationId xmlns:a16="http://schemas.microsoft.com/office/drawing/2014/main" id="{B4CE72BA-BF24-4FC4-B4FF-6B40DE631B8C}"/>
              </a:ext>
            </a:extLst>
          </p:cNvPr>
          <p:cNvSpPr>
            <a:spLocks noGrp="1"/>
          </p:cNvSpPr>
          <p:nvPr>
            <p:ph type="body" sz="quarter" idx="12"/>
          </p:nvPr>
        </p:nvSpPr>
        <p:spPr>
          <a:xfrm>
            <a:off x="2432458" y="1818785"/>
            <a:ext cx="6580800" cy="2762740"/>
          </a:xfrm>
        </p:spPr>
        <p:txBody>
          <a:bodyPr>
            <a:noAutofit/>
          </a:bodyPr>
          <a:lstStyle>
            <a:lvl1pPr marL="0" indent="0">
              <a:buFont typeface="Arial" panose="020B0604020202020204" pitchFamily="34" charset="0"/>
              <a:buNone/>
              <a:defRPr sz="2800" b="1">
                <a:solidFill>
                  <a:schemeClr val="tx1"/>
                </a:solidFill>
              </a:defRPr>
            </a:lvl1pPr>
            <a:lvl2pPr marL="0" indent="0">
              <a:buFont typeface="Arial" panose="020B0604020202020204" pitchFamily="34" charset="0"/>
              <a:buNone/>
              <a:defRPr sz="3200" b="1">
                <a:solidFill>
                  <a:schemeClr val="tx1"/>
                </a:solidFill>
              </a:defRPr>
            </a:lvl2pPr>
            <a:lvl3pPr marL="0" indent="0">
              <a:buNone/>
              <a:defRPr sz="3200" b="1">
                <a:solidFill>
                  <a:schemeClr val="tx1"/>
                </a:solidFill>
              </a:defRPr>
            </a:lvl3pPr>
            <a:lvl4pPr marL="0" indent="0">
              <a:buNone/>
              <a:defRPr sz="3200" b="1">
                <a:solidFill>
                  <a:schemeClr val="tx1"/>
                </a:solidFill>
              </a:defRPr>
            </a:lvl4pPr>
            <a:lvl5pPr marL="0" indent="0">
              <a:buNone/>
              <a:defRPr sz="3200" b="1">
                <a:solidFill>
                  <a:schemeClr val="tx1"/>
                </a:solidFill>
              </a:defRPr>
            </a:lvl5pPr>
          </a:lstStyle>
          <a:p>
            <a:pPr lvl="0"/>
            <a:r>
              <a:rPr lang="en-US"/>
              <a:t>Click to edit Master text styles</a:t>
            </a:r>
          </a:p>
        </p:txBody>
      </p:sp>
      <p:pic>
        <p:nvPicPr>
          <p:cNvPr id="11" name="Picture 10">
            <a:extLst>
              <a:ext uri="{FF2B5EF4-FFF2-40B4-BE49-F238E27FC236}">
                <a16:creationId xmlns:a16="http://schemas.microsoft.com/office/drawing/2014/main" id="{752A1121-665A-47F6-842E-0339C97BE350}"/>
              </a:ext>
            </a:extLst>
          </p:cNvPr>
          <p:cNvPicPr>
            <a:picLocks noChangeAspect="1"/>
          </p:cNvPicPr>
          <p:nvPr userDrawn="1"/>
        </p:nvPicPr>
        <p:blipFill>
          <a:blip r:embed="rId5"/>
          <a:stretch>
            <a:fillRect/>
          </a:stretch>
        </p:blipFill>
        <p:spPr>
          <a:xfrm>
            <a:off x="1476489" y="1641701"/>
            <a:ext cx="920576" cy="835224"/>
          </a:xfrm>
          <a:prstGeom prst="rect">
            <a:avLst/>
          </a:prstGeom>
        </p:spPr>
      </p:pic>
      <p:pic>
        <p:nvPicPr>
          <p:cNvPr id="15" name="Picture 14">
            <a:extLst>
              <a:ext uri="{FF2B5EF4-FFF2-40B4-BE49-F238E27FC236}">
                <a16:creationId xmlns:a16="http://schemas.microsoft.com/office/drawing/2014/main" id="{02B86945-53DC-4F72-90CE-1AD28E1A2A22}"/>
              </a:ext>
            </a:extLst>
          </p:cNvPr>
          <p:cNvPicPr>
            <a:picLocks noChangeAspect="1"/>
          </p:cNvPicPr>
          <p:nvPr userDrawn="1"/>
        </p:nvPicPr>
        <p:blipFill>
          <a:blip r:embed="rId6"/>
          <a:stretch>
            <a:fillRect/>
          </a:stretch>
        </p:blipFill>
        <p:spPr>
          <a:xfrm>
            <a:off x="2390775" y="4836632"/>
            <a:ext cx="4170025" cy="951058"/>
          </a:xfrm>
          <a:prstGeom prst="rect">
            <a:avLst/>
          </a:prstGeom>
        </p:spPr>
      </p:pic>
      <p:sp>
        <p:nvSpPr>
          <p:cNvPr id="16" name="Text Placeholder 12">
            <a:extLst>
              <a:ext uri="{FF2B5EF4-FFF2-40B4-BE49-F238E27FC236}">
                <a16:creationId xmlns:a16="http://schemas.microsoft.com/office/drawing/2014/main" id="{7753C91A-56B3-4349-8B7B-3DEC0EEEC621}"/>
              </a:ext>
            </a:extLst>
          </p:cNvPr>
          <p:cNvSpPr>
            <a:spLocks noGrp="1"/>
          </p:cNvSpPr>
          <p:nvPr>
            <p:ph type="body" sz="quarter" idx="13"/>
          </p:nvPr>
        </p:nvSpPr>
        <p:spPr>
          <a:xfrm>
            <a:off x="2738853" y="5001279"/>
            <a:ext cx="3562556" cy="538698"/>
          </a:xfrm>
        </p:spPr>
        <p:txBody>
          <a:bodyPr anchor="ct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GB"/>
          </a:p>
        </p:txBody>
      </p:sp>
    </p:spTree>
    <p:extLst>
      <p:ext uri="{BB962C8B-B14F-4D97-AF65-F5344CB8AC3E}">
        <p14:creationId xmlns:p14="http://schemas.microsoft.com/office/powerpoint/2010/main" val="271695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with background">
    <p:bg>
      <p:bgPr>
        <a:solidFill>
          <a:srgbClr val="F2F2F2"/>
        </a:solidFill>
        <a:effectLst/>
      </p:bgPr>
    </p:bg>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494B0744-29C2-43D1-9372-CBDFDB8AA535}"/>
              </a:ext>
            </a:extLst>
          </p:cNvPr>
          <p:cNvGraphicFramePr>
            <a:graphicFrameLocks noChangeAspect="1"/>
          </p:cNvGraphicFramePr>
          <p:nvPr userDrawn="1">
            <p:custDataLst>
              <p:tags r:id="rId1"/>
            </p:custDataLst>
            <p:extLst>
              <p:ext uri="{D42A27DB-BD31-4B8C-83A1-F6EECF244321}">
                <p14:modId xmlns:p14="http://schemas.microsoft.com/office/powerpoint/2010/main" val="217178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9" name="Object 18" hidden="1">
                        <a:extLst>
                          <a:ext uri="{FF2B5EF4-FFF2-40B4-BE49-F238E27FC236}">
                            <a16:creationId xmlns:a16="http://schemas.microsoft.com/office/drawing/2014/main" id="{494B0744-29C2-43D1-9372-CBDFDB8AA5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A3EBD72-F71C-4FCD-B8ED-DC5259B5DF08}"/>
              </a:ext>
            </a:extLst>
          </p:cNvPr>
          <p:cNvPicPr>
            <a:picLocks noChangeAspect="1"/>
          </p:cNvPicPr>
          <p:nvPr userDrawn="1"/>
        </p:nvPicPr>
        <p:blipFill>
          <a:blip r:embed="rId5"/>
          <a:stretch>
            <a:fillRect/>
          </a:stretch>
        </p:blipFill>
        <p:spPr>
          <a:xfrm>
            <a:off x="0" y="0"/>
            <a:ext cx="12192000" cy="6857999"/>
          </a:xfrm>
          <a:prstGeom prst="rect">
            <a:avLst/>
          </a:prstGeom>
        </p:spPr>
      </p:pic>
      <p:sp>
        <p:nvSpPr>
          <p:cNvPr id="3" name="Footer Placeholder 2">
            <a:extLst>
              <a:ext uri="{FF2B5EF4-FFF2-40B4-BE49-F238E27FC236}">
                <a16:creationId xmlns:a16="http://schemas.microsoft.com/office/drawing/2014/main" id="{E16C6E10-9D77-4E57-B51D-4A07B3B21F7F}"/>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D934CF1E-BA93-46B5-9202-75DBC7C1207E}"/>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4" name="Text Placeholder 13">
            <a:extLst>
              <a:ext uri="{FF2B5EF4-FFF2-40B4-BE49-F238E27FC236}">
                <a16:creationId xmlns:a16="http://schemas.microsoft.com/office/drawing/2014/main" id="{B4CE72BA-BF24-4FC4-B4FF-6B40DE631B8C}"/>
              </a:ext>
            </a:extLst>
          </p:cNvPr>
          <p:cNvSpPr>
            <a:spLocks noGrp="1"/>
          </p:cNvSpPr>
          <p:nvPr>
            <p:ph type="body" sz="quarter" idx="12"/>
          </p:nvPr>
        </p:nvSpPr>
        <p:spPr>
          <a:xfrm>
            <a:off x="2432458" y="1818785"/>
            <a:ext cx="6580800" cy="2762740"/>
          </a:xfrm>
        </p:spPr>
        <p:txBody>
          <a:bodyPr>
            <a:noAutofit/>
          </a:bodyPr>
          <a:lstStyle>
            <a:lvl1pPr marL="0" indent="0">
              <a:buFont typeface="Arial" panose="020B0604020202020204" pitchFamily="34" charset="0"/>
              <a:buNone/>
              <a:defRPr sz="2800" b="1">
                <a:solidFill>
                  <a:schemeClr val="tx1"/>
                </a:solidFill>
              </a:defRPr>
            </a:lvl1pPr>
            <a:lvl2pPr marL="0" indent="0">
              <a:buFont typeface="Arial" panose="020B0604020202020204" pitchFamily="34" charset="0"/>
              <a:buNone/>
              <a:defRPr sz="3200" b="1">
                <a:solidFill>
                  <a:schemeClr val="tx1"/>
                </a:solidFill>
              </a:defRPr>
            </a:lvl2pPr>
            <a:lvl3pPr marL="0" indent="0">
              <a:buNone/>
              <a:defRPr sz="3200" b="1">
                <a:solidFill>
                  <a:schemeClr val="tx1"/>
                </a:solidFill>
              </a:defRPr>
            </a:lvl3pPr>
            <a:lvl4pPr marL="0" indent="0">
              <a:buNone/>
              <a:defRPr sz="3200" b="1">
                <a:solidFill>
                  <a:schemeClr val="tx1"/>
                </a:solidFill>
              </a:defRPr>
            </a:lvl4pPr>
            <a:lvl5pPr marL="0" indent="0">
              <a:buNone/>
              <a:defRPr sz="3200" b="1">
                <a:solidFill>
                  <a:schemeClr val="tx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7753C91A-56B3-4349-8B7B-3DEC0EEEC621}"/>
              </a:ext>
            </a:extLst>
          </p:cNvPr>
          <p:cNvSpPr>
            <a:spLocks noGrp="1"/>
          </p:cNvSpPr>
          <p:nvPr>
            <p:ph type="body" sz="quarter" idx="13"/>
          </p:nvPr>
        </p:nvSpPr>
        <p:spPr>
          <a:xfrm>
            <a:off x="2432457" y="5001279"/>
            <a:ext cx="5679667" cy="538698"/>
          </a:xfrm>
        </p:spPr>
        <p:txBody>
          <a:bodyPr anchor="t">
            <a:normAutofit/>
          </a:bodyPr>
          <a:lstStyle>
            <a:lvl1pPr>
              <a:lnSpc>
                <a:spcPct val="100000"/>
              </a:lnSpc>
              <a:spcBef>
                <a:spcPts val="0"/>
              </a:spcBef>
              <a:defRPr sz="1400">
                <a:solidFill>
                  <a:schemeClr val="accent1"/>
                </a:solidFill>
              </a:defRPr>
            </a:lvl1pPr>
            <a:lvl2pPr>
              <a:lnSpc>
                <a:spcPct val="100000"/>
              </a:lnSpc>
              <a:spcBef>
                <a:spcPts val="0"/>
              </a:spcBef>
              <a:defRPr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endParaRPr lang="en-GB"/>
          </a:p>
        </p:txBody>
      </p:sp>
      <p:pic>
        <p:nvPicPr>
          <p:cNvPr id="9" name="Picture 8">
            <a:extLst>
              <a:ext uri="{FF2B5EF4-FFF2-40B4-BE49-F238E27FC236}">
                <a16:creationId xmlns:a16="http://schemas.microsoft.com/office/drawing/2014/main" id="{2D44BC6B-DCB5-4DD9-A36B-C3E608D5DECB}"/>
              </a:ext>
            </a:extLst>
          </p:cNvPr>
          <p:cNvPicPr>
            <a:picLocks noChangeAspect="1"/>
          </p:cNvPicPr>
          <p:nvPr userDrawn="1"/>
        </p:nvPicPr>
        <p:blipFill>
          <a:blip r:embed="rId6"/>
          <a:stretch>
            <a:fillRect/>
          </a:stretch>
        </p:blipFill>
        <p:spPr>
          <a:xfrm>
            <a:off x="1476489" y="1641701"/>
            <a:ext cx="920576" cy="835224"/>
          </a:xfrm>
          <a:prstGeom prst="rect">
            <a:avLst/>
          </a:prstGeom>
        </p:spPr>
      </p:pic>
    </p:spTree>
    <p:extLst>
      <p:ext uri="{BB962C8B-B14F-4D97-AF65-F5344CB8AC3E}">
        <p14:creationId xmlns:p14="http://schemas.microsoft.com/office/powerpoint/2010/main" val="2613788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One Content">
    <p:bg>
      <p:bgPr>
        <a:solidFill>
          <a:srgbClr val="F2F2F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FDA3EBE-8AE3-405B-98A4-16AAFCAD7AA9}"/>
              </a:ext>
            </a:extLst>
          </p:cNvPr>
          <p:cNvGraphicFramePr>
            <a:graphicFrameLocks noChangeAspect="1"/>
          </p:cNvGraphicFramePr>
          <p:nvPr userDrawn="1">
            <p:custDataLst>
              <p:tags r:id="rId1"/>
            </p:custDataLst>
            <p:extLst>
              <p:ext uri="{D42A27DB-BD31-4B8C-83A1-F6EECF244321}">
                <p14:modId xmlns:p14="http://schemas.microsoft.com/office/powerpoint/2010/main" val="647822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3FDA3EBE-8AE3-405B-98A4-16AAFCAD7A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B48E75B-4D67-40E0-829C-F0F664010464}"/>
              </a:ext>
            </a:extLst>
          </p:cNvPr>
          <p:cNvPicPr>
            <a:picLocks noChangeAspect="1"/>
          </p:cNvPicPr>
          <p:nvPr userDrawn="1"/>
        </p:nvPicPr>
        <p:blipFill>
          <a:blip r:embed="rId5"/>
          <a:stretch>
            <a:fillRect/>
          </a:stretch>
        </p:blipFill>
        <p:spPr>
          <a:xfrm>
            <a:off x="-1" y="1663810"/>
            <a:ext cx="11748010" cy="4584589"/>
          </a:xfrm>
          <a:prstGeom prst="rect">
            <a:avLst/>
          </a:prstGeom>
        </p:spPr>
      </p:pic>
      <p:sp>
        <p:nvSpPr>
          <p:cNvPr id="2" name="Title 1">
            <a:extLst>
              <a:ext uri="{FF2B5EF4-FFF2-40B4-BE49-F238E27FC236}">
                <a16:creationId xmlns:a16="http://schemas.microsoft.com/office/drawing/2014/main" id="{1F430C98-4E7D-469A-A4D8-E0BAF01C7E47}"/>
              </a:ext>
            </a:extLst>
          </p:cNvPr>
          <p:cNvSpPr>
            <a:spLocks noGrp="1"/>
          </p:cNvSpPr>
          <p:nvPr>
            <p:ph type="title"/>
          </p:nvPr>
        </p:nvSpPr>
        <p:spPr>
          <a:xfrm>
            <a:off x="515937" y="512764"/>
            <a:ext cx="11160125" cy="10512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9524AA4F-FAAB-4E50-B5B1-89C31C9F8013}"/>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D22C7419-57C1-4264-8720-3714F87EC18C}"/>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2" name="Text Placeholder 11">
            <a:extLst>
              <a:ext uri="{FF2B5EF4-FFF2-40B4-BE49-F238E27FC236}">
                <a16:creationId xmlns:a16="http://schemas.microsoft.com/office/drawing/2014/main" id="{66E735E9-A36F-4AE2-B51C-D2962E528A92}"/>
              </a:ext>
            </a:extLst>
          </p:cNvPr>
          <p:cNvSpPr>
            <a:spLocks noGrp="1"/>
          </p:cNvSpPr>
          <p:nvPr>
            <p:ph type="body" sz="quarter" idx="12"/>
          </p:nvPr>
        </p:nvSpPr>
        <p:spPr>
          <a:xfrm>
            <a:off x="515936" y="2060575"/>
            <a:ext cx="3204000" cy="396315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5">
            <a:extLst>
              <a:ext uri="{FF2B5EF4-FFF2-40B4-BE49-F238E27FC236}">
                <a16:creationId xmlns:a16="http://schemas.microsoft.com/office/drawing/2014/main" id="{C3BF2155-0DD9-4C91-985B-FEFA839D4224}"/>
              </a:ext>
            </a:extLst>
          </p:cNvPr>
          <p:cNvSpPr>
            <a:spLocks noGrp="1"/>
          </p:cNvSpPr>
          <p:nvPr>
            <p:ph sz="quarter" idx="14"/>
          </p:nvPr>
        </p:nvSpPr>
        <p:spPr>
          <a:xfrm>
            <a:off x="4365564" y="2844801"/>
            <a:ext cx="7055857" cy="3178926"/>
          </a:xfrm>
        </p:spPr>
        <p:txBody>
          <a:bodyPr/>
          <a:lstStyle>
            <a:lvl1pPr>
              <a:spcBef>
                <a:spcPts val="600"/>
              </a:spcBef>
              <a:defRPr/>
            </a:lvl1pPr>
            <a:lvl2pPr>
              <a:spcBef>
                <a:spcPts val="600"/>
              </a:spcBef>
              <a:defRPr sz="1000"/>
            </a:lvl2pPr>
            <a:lvl3pPr>
              <a:spcBef>
                <a:spcPts val="600"/>
              </a:spcBef>
              <a:defRPr sz="1000"/>
            </a:lvl3pPr>
            <a:lvl4pPr>
              <a:spcBef>
                <a:spcPts val="600"/>
              </a:spcBef>
              <a:defRPr sz="1000"/>
            </a:lvl4pPr>
            <a:lvl5pPr>
              <a:spcBef>
                <a:spcPts val="600"/>
              </a:spcBef>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0">
            <a:extLst>
              <a:ext uri="{FF2B5EF4-FFF2-40B4-BE49-F238E27FC236}">
                <a16:creationId xmlns:a16="http://schemas.microsoft.com/office/drawing/2014/main" id="{785E0B39-83F7-45DC-ADD0-3A05C045D4A2}"/>
              </a:ext>
            </a:extLst>
          </p:cNvPr>
          <p:cNvSpPr>
            <a:spLocks noGrp="1"/>
          </p:cNvSpPr>
          <p:nvPr>
            <p:ph type="body" sz="quarter" idx="15"/>
          </p:nvPr>
        </p:nvSpPr>
        <p:spPr>
          <a:xfrm>
            <a:off x="4365565" y="2060574"/>
            <a:ext cx="7052469" cy="663575"/>
          </a:xfrm>
        </p:spPr>
        <p:txBody>
          <a:bodyPr/>
          <a:lstStyle>
            <a:lvl1pPr>
              <a:spcBef>
                <a:spcPts val="0"/>
              </a:spcBef>
              <a:defRPr/>
            </a:lvl1pPr>
            <a:lvl2pPr>
              <a:spcBef>
                <a:spcPts val="0"/>
              </a:spcBef>
              <a:defRPr sz="1200"/>
            </a:lvl2pPr>
            <a:lvl3pPr>
              <a:spcBef>
                <a:spcPts val="0"/>
              </a:spcBef>
              <a:defRPr sz="1050"/>
            </a:lvl3pPr>
            <a:lvl4pPr>
              <a:spcBef>
                <a:spcPts val="0"/>
              </a:spcBef>
              <a:defRPr sz="1050"/>
            </a:lvl4pPr>
            <a:lvl5pPr>
              <a:spcBef>
                <a:spcPts val="0"/>
              </a:spcBef>
              <a:defRPr sz="10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893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Two Content">
    <p:bg>
      <p:bgPr>
        <a:solidFill>
          <a:srgbClr val="F2F2F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FDA3EBE-8AE3-405B-98A4-16AAFCAD7AA9}"/>
              </a:ext>
            </a:extLst>
          </p:cNvPr>
          <p:cNvGraphicFramePr>
            <a:graphicFrameLocks noChangeAspect="1"/>
          </p:cNvGraphicFramePr>
          <p:nvPr userDrawn="1">
            <p:custDataLst>
              <p:tags r:id="rId1"/>
            </p:custDataLst>
            <p:extLst>
              <p:ext uri="{D42A27DB-BD31-4B8C-83A1-F6EECF244321}">
                <p14:modId xmlns:p14="http://schemas.microsoft.com/office/powerpoint/2010/main" val="2262968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3FDA3EBE-8AE3-405B-98A4-16AAFCAD7A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54DEE235-1A4F-48C2-B28A-31BBEFE82204}"/>
              </a:ext>
            </a:extLst>
          </p:cNvPr>
          <p:cNvPicPr>
            <a:picLocks noChangeAspect="1"/>
          </p:cNvPicPr>
          <p:nvPr userDrawn="1"/>
        </p:nvPicPr>
        <p:blipFill>
          <a:blip r:embed="rId5"/>
          <a:stretch>
            <a:fillRect/>
          </a:stretch>
        </p:blipFill>
        <p:spPr>
          <a:xfrm>
            <a:off x="-1" y="1663810"/>
            <a:ext cx="11748010" cy="4584589"/>
          </a:xfrm>
          <a:prstGeom prst="rect">
            <a:avLst/>
          </a:prstGeom>
        </p:spPr>
      </p:pic>
      <p:sp>
        <p:nvSpPr>
          <p:cNvPr id="2" name="Title 1">
            <a:extLst>
              <a:ext uri="{FF2B5EF4-FFF2-40B4-BE49-F238E27FC236}">
                <a16:creationId xmlns:a16="http://schemas.microsoft.com/office/drawing/2014/main" id="{1F430C98-4E7D-469A-A4D8-E0BAF01C7E47}"/>
              </a:ext>
            </a:extLst>
          </p:cNvPr>
          <p:cNvSpPr>
            <a:spLocks noGrp="1"/>
          </p:cNvSpPr>
          <p:nvPr>
            <p:ph type="title"/>
          </p:nvPr>
        </p:nvSpPr>
        <p:spPr>
          <a:xfrm>
            <a:off x="515937" y="512764"/>
            <a:ext cx="11160125" cy="10512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9524AA4F-FAAB-4E50-B5B1-89C31C9F8013}"/>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D22C7419-57C1-4264-8720-3714F87EC18C}"/>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2" name="Text Placeholder 11">
            <a:extLst>
              <a:ext uri="{FF2B5EF4-FFF2-40B4-BE49-F238E27FC236}">
                <a16:creationId xmlns:a16="http://schemas.microsoft.com/office/drawing/2014/main" id="{66E735E9-A36F-4AE2-B51C-D2962E528A92}"/>
              </a:ext>
            </a:extLst>
          </p:cNvPr>
          <p:cNvSpPr>
            <a:spLocks noGrp="1"/>
          </p:cNvSpPr>
          <p:nvPr>
            <p:ph type="body" sz="quarter" idx="12"/>
          </p:nvPr>
        </p:nvSpPr>
        <p:spPr>
          <a:xfrm>
            <a:off x="515936" y="2060575"/>
            <a:ext cx="3204000" cy="396315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15">
            <a:extLst>
              <a:ext uri="{FF2B5EF4-FFF2-40B4-BE49-F238E27FC236}">
                <a16:creationId xmlns:a16="http://schemas.microsoft.com/office/drawing/2014/main" id="{1284A109-6DFC-4286-8745-283747579294}"/>
              </a:ext>
            </a:extLst>
          </p:cNvPr>
          <p:cNvSpPr>
            <a:spLocks noGrp="1"/>
          </p:cNvSpPr>
          <p:nvPr>
            <p:ph sz="quarter" idx="13"/>
          </p:nvPr>
        </p:nvSpPr>
        <p:spPr>
          <a:xfrm>
            <a:off x="4365565" y="2844801"/>
            <a:ext cx="3205114" cy="3178926"/>
          </a:xfrm>
        </p:spPr>
        <p:txBody>
          <a:bodyPr/>
          <a:lstStyle>
            <a:lvl1pPr>
              <a:spcBef>
                <a:spcPts val="600"/>
              </a:spcBef>
              <a:defRPr/>
            </a:lvl1pPr>
            <a:lvl2pPr>
              <a:spcBef>
                <a:spcPts val="600"/>
              </a:spcBef>
              <a:defRPr sz="1000"/>
            </a:lvl2pPr>
            <a:lvl3pPr>
              <a:spcBef>
                <a:spcPts val="600"/>
              </a:spcBef>
              <a:defRPr sz="1000"/>
            </a:lvl3pPr>
            <a:lvl4pPr>
              <a:spcBef>
                <a:spcPts val="600"/>
              </a:spcBef>
              <a:defRPr sz="1000"/>
            </a:lvl4pPr>
            <a:lvl5pPr>
              <a:spcBef>
                <a:spcPts val="600"/>
              </a:spcBef>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5">
            <a:extLst>
              <a:ext uri="{FF2B5EF4-FFF2-40B4-BE49-F238E27FC236}">
                <a16:creationId xmlns:a16="http://schemas.microsoft.com/office/drawing/2014/main" id="{B37EAEE7-7DB6-4D8A-9751-4C1379F23707}"/>
              </a:ext>
            </a:extLst>
          </p:cNvPr>
          <p:cNvSpPr>
            <a:spLocks noGrp="1"/>
          </p:cNvSpPr>
          <p:nvPr>
            <p:ph sz="quarter" idx="14"/>
          </p:nvPr>
        </p:nvSpPr>
        <p:spPr>
          <a:xfrm>
            <a:off x="8216308" y="2844801"/>
            <a:ext cx="3205114" cy="3178926"/>
          </a:xfrm>
        </p:spPr>
        <p:txBody>
          <a:bodyPr/>
          <a:lstStyle>
            <a:lvl1pPr>
              <a:spcBef>
                <a:spcPts val="600"/>
              </a:spcBef>
              <a:defRPr/>
            </a:lvl1pPr>
            <a:lvl2pPr>
              <a:spcBef>
                <a:spcPts val="600"/>
              </a:spcBef>
              <a:defRPr sz="1000"/>
            </a:lvl2pPr>
            <a:lvl3pPr>
              <a:spcBef>
                <a:spcPts val="600"/>
              </a:spcBef>
              <a:defRPr sz="1000"/>
            </a:lvl3pPr>
            <a:lvl4pPr>
              <a:spcBef>
                <a:spcPts val="600"/>
              </a:spcBef>
              <a:defRPr sz="1000"/>
            </a:lvl4pPr>
            <a:lvl5pPr>
              <a:spcBef>
                <a:spcPts val="600"/>
              </a:spcBef>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20">
            <a:extLst>
              <a:ext uri="{FF2B5EF4-FFF2-40B4-BE49-F238E27FC236}">
                <a16:creationId xmlns:a16="http://schemas.microsoft.com/office/drawing/2014/main" id="{C7301DD0-582A-4690-8EF7-32522799D42E}"/>
              </a:ext>
            </a:extLst>
          </p:cNvPr>
          <p:cNvSpPr>
            <a:spLocks noGrp="1"/>
          </p:cNvSpPr>
          <p:nvPr>
            <p:ph type="body" sz="quarter" idx="15"/>
          </p:nvPr>
        </p:nvSpPr>
        <p:spPr>
          <a:xfrm>
            <a:off x="4365565" y="2060574"/>
            <a:ext cx="3203575" cy="663575"/>
          </a:xfrm>
        </p:spPr>
        <p:txBody>
          <a:bodyPr/>
          <a:lstStyle>
            <a:lvl1pPr>
              <a:spcBef>
                <a:spcPts val="0"/>
              </a:spcBef>
              <a:defRPr/>
            </a:lvl1pPr>
            <a:lvl2pPr>
              <a:spcBef>
                <a:spcPts val="0"/>
              </a:spcBef>
              <a:defRPr sz="1200"/>
            </a:lvl2pPr>
            <a:lvl3pPr>
              <a:spcBef>
                <a:spcPts val="0"/>
              </a:spcBef>
              <a:defRPr sz="1050"/>
            </a:lvl3pPr>
            <a:lvl4pPr>
              <a:spcBef>
                <a:spcPts val="0"/>
              </a:spcBef>
              <a:defRPr sz="1050"/>
            </a:lvl4pPr>
            <a:lvl5pPr>
              <a:spcBef>
                <a:spcPts val="0"/>
              </a:spcBef>
              <a:defRPr sz="1000"/>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DA5BE5B5-F7D1-4ED5-A160-F5D43D29938F}"/>
              </a:ext>
            </a:extLst>
          </p:cNvPr>
          <p:cNvSpPr>
            <a:spLocks noGrp="1"/>
          </p:cNvSpPr>
          <p:nvPr>
            <p:ph type="body" sz="quarter" idx="16"/>
          </p:nvPr>
        </p:nvSpPr>
        <p:spPr>
          <a:xfrm>
            <a:off x="8217847" y="2060574"/>
            <a:ext cx="3203575" cy="663575"/>
          </a:xfrm>
        </p:spPr>
        <p:txBody>
          <a:bodyPr/>
          <a:lstStyle>
            <a:lvl1pPr>
              <a:spcBef>
                <a:spcPts val="0"/>
              </a:spcBef>
              <a:defRPr/>
            </a:lvl1pPr>
            <a:lvl2pPr>
              <a:spcBef>
                <a:spcPts val="0"/>
              </a:spcBef>
              <a:defRPr sz="1200"/>
            </a:lvl2pPr>
            <a:lvl3pPr>
              <a:spcBef>
                <a:spcPts val="0"/>
              </a:spcBef>
              <a:defRPr sz="1050"/>
            </a:lvl3pPr>
            <a:lvl4pPr>
              <a:spcBef>
                <a:spcPts val="0"/>
              </a:spcBef>
              <a:defRPr sz="1050"/>
            </a:lvl4pPr>
            <a:lvl5pPr>
              <a:spcBef>
                <a:spcPts val="0"/>
              </a:spcBef>
              <a:defRPr sz="10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330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arrows + Tex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6CAD7AC-2978-41C0-9403-EDA631C977D2}"/>
              </a:ext>
            </a:extLst>
          </p:cNvPr>
          <p:cNvGraphicFramePr>
            <a:graphicFrameLocks noChangeAspect="1"/>
          </p:cNvGraphicFramePr>
          <p:nvPr userDrawn="1">
            <p:custDataLst>
              <p:tags r:id="rId1"/>
            </p:custDataLst>
            <p:extLst>
              <p:ext uri="{D42A27DB-BD31-4B8C-83A1-F6EECF244321}">
                <p14:modId xmlns:p14="http://schemas.microsoft.com/office/powerpoint/2010/main" val="1041925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Object 9" hidden="1">
                        <a:extLst>
                          <a:ext uri="{FF2B5EF4-FFF2-40B4-BE49-F238E27FC236}">
                            <a16:creationId xmlns:a16="http://schemas.microsoft.com/office/drawing/2014/main" id="{36CAD7AC-2978-41C0-9403-EDA631C977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C3B98445-1F91-4667-B821-BF5FC2934FF0}"/>
              </a:ext>
            </a:extLst>
          </p:cNvPr>
          <p:cNvSpPr/>
          <p:nvPr userDrawn="1"/>
        </p:nvSpPr>
        <p:spPr>
          <a:xfrm>
            <a:off x="2042160" y="1585595"/>
            <a:ext cx="9633902" cy="1346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FF659575-AE62-4B77-B865-814F34605231}"/>
              </a:ext>
            </a:extLst>
          </p:cNvPr>
          <p:cNvSpPr/>
          <p:nvPr userDrawn="1"/>
        </p:nvSpPr>
        <p:spPr>
          <a:xfrm>
            <a:off x="2042160" y="3146976"/>
            <a:ext cx="9633902" cy="1346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5424A7C9-9A25-4A7E-ADA5-753A0B0CFA50}"/>
              </a:ext>
            </a:extLst>
          </p:cNvPr>
          <p:cNvSpPr/>
          <p:nvPr userDrawn="1"/>
        </p:nvSpPr>
        <p:spPr>
          <a:xfrm>
            <a:off x="2042160" y="4758327"/>
            <a:ext cx="9633902" cy="1346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Picture 37">
            <a:extLst>
              <a:ext uri="{FF2B5EF4-FFF2-40B4-BE49-F238E27FC236}">
                <a16:creationId xmlns:a16="http://schemas.microsoft.com/office/drawing/2014/main" id="{16D9C294-CDB9-4712-97D0-67B89549ECBE}"/>
              </a:ext>
            </a:extLst>
          </p:cNvPr>
          <p:cNvPicPr>
            <a:picLocks noChangeAspect="1"/>
          </p:cNvPicPr>
          <p:nvPr userDrawn="1"/>
        </p:nvPicPr>
        <p:blipFill>
          <a:blip r:embed="rId5"/>
          <a:stretch>
            <a:fillRect/>
          </a:stretch>
        </p:blipFill>
        <p:spPr>
          <a:xfrm>
            <a:off x="483235" y="1527868"/>
            <a:ext cx="2462997" cy="4627265"/>
          </a:xfrm>
          <a:prstGeom prst="rect">
            <a:avLst/>
          </a:prstGeom>
        </p:spPr>
      </p:pic>
      <p:sp>
        <p:nvSpPr>
          <p:cNvPr id="22" name="Text Placeholder 14">
            <a:extLst>
              <a:ext uri="{FF2B5EF4-FFF2-40B4-BE49-F238E27FC236}">
                <a16:creationId xmlns:a16="http://schemas.microsoft.com/office/drawing/2014/main" id="{BF9A9BE8-1CBB-4523-AD85-80438930FF12}"/>
              </a:ext>
            </a:extLst>
          </p:cNvPr>
          <p:cNvSpPr>
            <a:spLocks noGrp="1"/>
          </p:cNvSpPr>
          <p:nvPr>
            <p:ph type="body" sz="quarter" idx="12" hasCustomPrompt="1"/>
          </p:nvPr>
        </p:nvSpPr>
        <p:spPr>
          <a:xfrm>
            <a:off x="596289" y="1704694"/>
            <a:ext cx="584811" cy="774073"/>
          </a:xfrm>
        </p:spPr>
        <p:txBody>
          <a:bodyPr>
            <a:normAutofit/>
          </a:bodyPr>
          <a:lstStyle>
            <a:lvl1pPr>
              <a:defRPr sz="4000">
                <a:solidFill>
                  <a:schemeClr val="bg1"/>
                </a:solidFill>
              </a:defRPr>
            </a:lvl1pPr>
          </a:lstStyle>
          <a:p>
            <a:pPr lvl="0"/>
            <a:r>
              <a:rPr lang="en-US"/>
              <a:t>#.</a:t>
            </a:r>
            <a:endParaRPr lang="en-GB"/>
          </a:p>
        </p:txBody>
      </p:sp>
      <p:sp>
        <p:nvSpPr>
          <p:cNvPr id="23" name="Text Placeholder 16">
            <a:extLst>
              <a:ext uri="{FF2B5EF4-FFF2-40B4-BE49-F238E27FC236}">
                <a16:creationId xmlns:a16="http://schemas.microsoft.com/office/drawing/2014/main" id="{99CA0D70-B7AD-4781-92D4-B465B2AEAEA0}"/>
              </a:ext>
            </a:extLst>
          </p:cNvPr>
          <p:cNvSpPr>
            <a:spLocks noGrp="1"/>
          </p:cNvSpPr>
          <p:nvPr>
            <p:ph type="body" sz="quarter" idx="13"/>
          </p:nvPr>
        </p:nvSpPr>
        <p:spPr>
          <a:xfrm>
            <a:off x="1110933" y="1768194"/>
            <a:ext cx="1346517" cy="1074812"/>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BD2FADD7-466F-42B5-B697-145A3A1E7326}"/>
              </a:ext>
            </a:extLst>
          </p:cNvPr>
          <p:cNvSpPr>
            <a:spLocks noGrp="1"/>
          </p:cNvSpPr>
          <p:nvPr>
            <p:ph type="title"/>
          </p:nvPr>
        </p:nvSpPr>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A2453D56-B19D-4A83-A7F3-2B4712269F3E}"/>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D5A5C0C6-E57F-4586-B41F-1799CC64FF3C}"/>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24" name="Text Placeholder 11">
            <a:extLst>
              <a:ext uri="{FF2B5EF4-FFF2-40B4-BE49-F238E27FC236}">
                <a16:creationId xmlns:a16="http://schemas.microsoft.com/office/drawing/2014/main" id="{B3B1FD8E-6FB9-4085-B70A-3F12A21DD5DD}"/>
              </a:ext>
            </a:extLst>
          </p:cNvPr>
          <p:cNvSpPr>
            <a:spLocks noGrp="1"/>
          </p:cNvSpPr>
          <p:nvPr>
            <p:ph type="body" sz="quarter" idx="14"/>
          </p:nvPr>
        </p:nvSpPr>
        <p:spPr>
          <a:xfrm>
            <a:off x="3454535" y="1696832"/>
            <a:ext cx="8121580" cy="1112363"/>
          </a:xfrm>
        </p:spPr>
        <p:txBody>
          <a:bodyPr/>
          <a:lstStyle>
            <a:lvl1pPr>
              <a:spcBef>
                <a:spcPts val="600"/>
              </a:spcBef>
              <a:defRPr>
                <a:solidFill>
                  <a:schemeClr val="tx1"/>
                </a:solidFill>
              </a:defRPr>
            </a:lvl1pPr>
            <a:lvl2pPr>
              <a:spcBef>
                <a:spcPts val="600"/>
              </a:spcBef>
              <a:defRPr sz="1200">
                <a:solidFill>
                  <a:schemeClr val="tx1"/>
                </a:solidFill>
              </a:defRPr>
            </a:lvl2pPr>
            <a:lvl3pPr>
              <a:spcBef>
                <a:spcPts val="600"/>
              </a:spcBef>
              <a:defRPr sz="1200">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27" name="Text Placeholder 14">
            <a:extLst>
              <a:ext uri="{FF2B5EF4-FFF2-40B4-BE49-F238E27FC236}">
                <a16:creationId xmlns:a16="http://schemas.microsoft.com/office/drawing/2014/main" id="{DEEE413D-D952-434B-A225-FE941E464780}"/>
              </a:ext>
            </a:extLst>
          </p:cNvPr>
          <p:cNvSpPr>
            <a:spLocks noGrp="1"/>
          </p:cNvSpPr>
          <p:nvPr>
            <p:ph type="body" sz="quarter" idx="15" hasCustomPrompt="1"/>
          </p:nvPr>
        </p:nvSpPr>
        <p:spPr>
          <a:xfrm>
            <a:off x="596289" y="3266075"/>
            <a:ext cx="584811" cy="774073"/>
          </a:xfrm>
        </p:spPr>
        <p:txBody>
          <a:bodyPr>
            <a:normAutofit/>
          </a:bodyPr>
          <a:lstStyle>
            <a:lvl1pPr>
              <a:defRPr sz="4000">
                <a:solidFill>
                  <a:schemeClr val="bg1"/>
                </a:solidFill>
              </a:defRPr>
            </a:lvl1pPr>
          </a:lstStyle>
          <a:p>
            <a:pPr lvl="0"/>
            <a:r>
              <a:rPr lang="en-US"/>
              <a:t>#.</a:t>
            </a:r>
            <a:endParaRPr lang="en-GB"/>
          </a:p>
        </p:txBody>
      </p:sp>
      <p:sp>
        <p:nvSpPr>
          <p:cNvPr id="28" name="Text Placeholder 16">
            <a:extLst>
              <a:ext uri="{FF2B5EF4-FFF2-40B4-BE49-F238E27FC236}">
                <a16:creationId xmlns:a16="http://schemas.microsoft.com/office/drawing/2014/main" id="{84A9728C-5878-495F-8990-859A89474B83}"/>
              </a:ext>
            </a:extLst>
          </p:cNvPr>
          <p:cNvSpPr>
            <a:spLocks noGrp="1"/>
          </p:cNvSpPr>
          <p:nvPr>
            <p:ph type="body" sz="quarter" idx="16"/>
          </p:nvPr>
        </p:nvSpPr>
        <p:spPr>
          <a:xfrm>
            <a:off x="1110933" y="3329575"/>
            <a:ext cx="1346517" cy="1074812"/>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29" name="Text Placeholder 11">
            <a:extLst>
              <a:ext uri="{FF2B5EF4-FFF2-40B4-BE49-F238E27FC236}">
                <a16:creationId xmlns:a16="http://schemas.microsoft.com/office/drawing/2014/main" id="{18156C44-2E5F-4A5F-BAF0-6FB099FFF13D}"/>
              </a:ext>
            </a:extLst>
          </p:cNvPr>
          <p:cNvSpPr>
            <a:spLocks noGrp="1"/>
          </p:cNvSpPr>
          <p:nvPr>
            <p:ph type="body" sz="quarter" idx="17"/>
          </p:nvPr>
        </p:nvSpPr>
        <p:spPr>
          <a:xfrm>
            <a:off x="3454535" y="3258213"/>
            <a:ext cx="8121580" cy="1112363"/>
          </a:xfrm>
        </p:spPr>
        <p:txBody>
          <a:bodyPr/>
          <a:lstStyle>
            <a:lvl1pPr>
              <a:spcBef>
                <a:spcPts val="600"/>
              </a:spcBef>
              <a:defRPr>
                <a:solidFill>
                  <a:schemeClr val="tx1"/>
                </a:solidFill>
              </a:defRPr>
            </a:lvl1pPr>
            <a:lvl2pPr>
              <a:spcBef>
                <a:spcPts val="600"/>
              </a:spcBef>
              <a:defRPr sz="1200">
                <a:solidFill>
                  <a:schemeClr val="tx1"/>
                </a:solidFill>
              </a:defRPr>
            </a:lvl2pPr>
            <a:lvl3pPr>
              <a:spcBef>
                <a:spcPts val="600"/>
              </a:spcBef>
              <a:defRPr sz="1200">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2" name="Text Placeholder 14">
            <a:extLst>
              <a:ext uri="{FF2B5EF4-FFF2-40B4-BE49-F238E27FC236}">
                <a16:creationId xmlns:a16="http://schemas.microsoft.com/office/drawing/2014/main" id="{086C67B9-2C44-4EB5-9576-0E91E357B9E9}"/>
              </a:ext>
            </a:extLst>
          </p:cNvPr>
          <p:cNvSpPr>
            <a:spLocks noGrp="1"/>
          </p:cNvSpPr>
          <p:nvPr>
            <p:ph type="body" sz="quarter" idx="18" hasCustomPrompt="1"/>
          </p:nvPr>
        </p:nvSpPr>
        <p:spPr>
          <a:xfrm>
            <a:off x="596289" y="4877426"/>
            <a:ext cx="584811" cy="774073"/>
          </a:xfrm>
        </p:spPr>
        <p:txBody>
          <a:bodyPr>
            <a:normAutofit/>
          </a:bodyPr>
          <a:lstStyle>
            <a:lvl1pPr>
              <a:defRPr sz="4000">
                <a:solidFill>
                  <a:schemeClr val="bg1"/>
                </a:solidFill>
              </a:defRPr>
            </a:lvl1pPr>
          </a:lstStyle>
          <a:p>
            <a:pPr lvl="0"/>
            <a:r>
              <a:rPr lang="en-US"/>
              <a:t>#.</a:t>
            </a:r>
            <a:endParaRPr lang="en-GB"/>
          </a:p>
        </p:txBody>
      </p:sp>
      <p:sp>
        <p:nvSpPr>
          <p:cNvPr id="33" name="Text Placeholder 16">
            <a:extLst>
              <a:ext uri="{FF2B5EF4-FFF2-40B4-BE49-F238E27FC236}">
                <a16:creationId xmlns:a16="http://schemas.microsoft.com/office/drawing/2014/main" id="{CA93C170-D2C0-441E-96FA-E0424E64D12B}"/>
              </a:ext>
            </a:extLst>
          </p:cNvPr>
          <p:cNvSpPr>
            <a:spLocks noGrp="1"/>
          </p:cNvSpPr>
          <p:nvPr>
            <p:ph type="body" sz="quarter" idx="19"/>
          </p:nvPr>
        </p:nvSpPr>
        <p:spPr>
          <a:xfrm>
            <a:off x="1110933" y="4940926"/>
            <a:ext cx="1346517" cy="1074812"/>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34" name="Text Placeholder 11">
            <a:extLst>
              <a:ext uri="{FF2B5EF4-FFF2-40B4-BE49-F238E27FC236}">
                <a16:creationId xmlns:a16="http://schemas.microsoft.com/office/drawing/2014/main" id="{82665467-C532-412A-8205-5BFA54B5F111}"/>
              </a:ext>
            </a:extLst>
          </p:cNvPr>
          <p:cNvSpPr>
            <a:spLocks noGrp="1"/>
          </p:cNvSpPr>
          <p:nvPr>
            <p:ph type="body" sz="quarter" idx="20"/>
          </p:nvPr>
        </p:nvSpPr>
        <p:spPr>
          <a:xfrm>
            <a:off x="3454535" y="4869564"/>
            <a:ext cx="8121580" cy="1112363"/>
          </a:xfrm>
        </p:spPr>
        <p:txBody>
          <a:bodyPr/>
          <a:lstStyle>
            <a:lvl1pPr>
              <a:spcBef>
                <a:spcPts val="600"/>
              </a:spcBef>
              <a:defRPr>
                <a:solidFill>
                  <a:schemeClr val="tx1"/>
                </a:solidFill>
              </a:defRPr>
            </a:lvl1pPr>
            <a:lvl2pPr>
              <a:spcBef>
                <a:spcPts val="600"/>
              </a:spcBef>
              <a:defRPr sz="1200">
                <a:solidFill>
                  <a:schemeClr val="tx1"/>
                </a:solidFill>
              </a:defRPr>
            </a:lvl2pPr>
            <a:lvl3pPr>
              <a:spcBef>
                <a:spcPts val="600"/>
              </a:spcBef>
              <a:defRPr sz="1200">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647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ive orange arrows + tex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0825A8-1197-45F6-9F66-BC089902D15E}"/>
              </a:ext>
            </a:extLst>
          </p:cNvPr>
          <p:cNvGraphicFramePr>
            <a:graphicFrameLocks noChangeAspect="1"/>
          </p:cNvGraphicFramePr>
          <p:nvPr userDrawn="1">
            <p:custDataLst>
              <p:tags r:id="rId1"/>
            </p:custDataLst>
            <p:extLst>
              <p:ext uri="{D42A27DB-BD31-4B8C-83A1-F6EECF244321}">
                <p14:modId xmlns:p14="http://schemas.microsoft.com/office/powerpoint/2010/main" val="263076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540825A8-1197-45F6-9F66-BC089902D1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C13432B-DEC7-4756-8D77-49BD6A9B4797}"/>
              </a:ext>
            </a:extLst>
          </p:cNvPr>
          <p:cNvSpPr/>
          <p:nvPr userDrawn="1"/>
        </p:nvSpPr>
        <p:spPr>
          <a:xfrm>
            <a:off x="515938" y="3429000"/>
            <a:ext cx="1871662" cy="26761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4B0B7F93-9CE4-4B3E-8901-F0163A5E7113}"/>
              </a:ext>
            </a:extLst>
          </p:cNvPr>
          <p:cNvSpPr/>
          <p:nvPr userDrawn="1"/>
        </p:nvSpPr>
        <p:spPr>
          <a:xfrm>
            <a:off x="2680467" y="3429000"/>
            <a:ext cx="1871662" cy="26761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AD81E7BE-91C3-4A3B-BA2F-ACA49D5773BA}"/>
              </a:ext>
            </a:extLst>
          </p:cNvPr>
          <p:cNvSpPr/>
          <p:nvPr userDrawn="1"/>
        </p:nvSpPr>
        <p:spPr>
          <a:xfrm>
            <a:off x="4769939" y="3429000"/>
            <a:ext cx="1871662" cy="26761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1460C349-4BFA-4B70-922A-770BC3614B27}"/>
              </a:ext>
            </a:extLst>
          </p:cNvPr>
          <p:cNvSpPr/>
          <p:nvPr userDrawn="1"/>
        </p:nvSpPr>
        <p:spPr>
          <a:xfrm>
            <a:off x="6915786" y="3429000"/>
            <a:ext cx="1871662" cy="26761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220C9C01-0F92-4123-8868-B0233C085479}"/>
              </a:ext>
            </a:extLst>
          </p:cNvPr>
          <p:cNvSpPr/>
          <p:nvPr userDrawn="1"/>
        </p:nvSpPr>
        <p:spPr>
          <a:xfrm>
            <a:off x="9053536" y="3429000"/>
            <a:ext cx="1871662" cy="26761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7ED492F6-8CD4-4EDC-9B73-D43ACB74E116}"/>
              </a:ext>
            </a:extLst>
          </p:cNvPr>
          <p:cNvSpPr>
            <a:spLocks noGrp="1"/>
          </p:cNvSpPr>
          <p:nvPr>
            <p:ph type="title"/>
          </p:nvPr>
        </p:nvSpPr>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A0941754-DD39-4C0E-9FAC-5E8CD8A07F86}"/>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831EAD3F-2004-473A-ABF9-C243F1F93483}"/>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0" name="Text Placeholder 11">
            <a:extLst>
              <a:ext uri="{FF2B5EF4-FFF2-40B4-BE49-F238E27FC236}">
                <a16:creationId xmlns:a16="http://schemas.microsoft.com/office/drawing/2014/main" id="{7B46DA00-1059-478C-A5E0-E9B5B382E085}"/>
              </a:ext>
            </a:extLst>
          </p:cNvPr>
          <p:cNvSpPr>
            <a:spLocks noGrp="1"/>
          </p:cNvSpPr>
          <p:nvPr>
            <p:ph type="body" sz="quarter" idx="14"/>
          </p:nvPr>
        </p:nvSpPr>
        <p:spPr>
          <a:xfrm>
            <a:off x="672390" y="3671626"/>
            <a:ext cx="1622182" cy="2319600"/>
          </a:xfrm>
        </p:spPr>
        <p:txBody>
          <a:bodyPr>
            <a:normAutofit/>
          </a:bodyPr>
          <a:lstStyle>
            <a:lvl1pPr>
              <a:spcBef>
                <a:spcPts val="600"/>
              </a:spcBef>
              <a:defRPr sz="1200">
                <a:solidFill>
                  <a:schemeClr val="tx1"/>
                </a:solidFill>
              </a:defRPr>
            </a:lvl1pPr>
            <a:lvl2pPr>
              <a:spcBef>
                <a:spcPts val="600"/>
              </a:spcBef>
              <a:defRPr sz="1200">
                <a:solidFill>
                  <a:schemeClr val="tx1"/>
                </a:solidFill>
              </a:defRPr>
            </a:lvl2pPr>
            <a:lvl3pPr>
              <a:spcBef>
                <a:spcPts val="600"/>
              </a:spcBef>
              <a:defRPr sz="1200">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29" name="Text Placeholder 11">
            <a:extLst>
              <a:ext uri="{FF2B5EF4-FFF2-40B4-BE49-F238E27FC236}">
                <a16:creationId xmlns:a16="http://schemas.microsoft.com/office/drawing/2014/main" id="{4C774A5E-2AEA-44DE-9595-6E6CA5C1929E}"/>
              </a:ext>
            </a:extLst>
          </p:cNvPr>
          <p:cNvSpPr>
            <a:spLocks noGrp="1"/>
          </p:cNvSpPr>
          <p:nvPr>
            <p:ph type="body" sz="quarter" idx="17"/>
          </p:nvPr>
        </p:nvSpPr>
        <p:spPr>
          <a:xfrm>
            <a:off x="2836919" y="3671626"/>
            <a:ext cx="1622182" cy="2319600"/>
          </a:xfrm>
        </p:spPr>
        <p:txBody>
          <a:bodyPr>
            <a:normAutofit/>
          </a:bodyPr>
          <a:lstStyle>
            <a:lvl1pPr>
              <a:spcBef>
                <a:spcPts val="600"/>
              </a:spcBef>
              <a:defRPr sz="1200">
                <a:solidFill>
                  <a:schemeClr val="tx1"/>
                </a:solidFill>
              </a:defRPr>
            </a:lvl1pPr>
            <a:lvl2pPr>
              <a:spcBef>
                <a:spcPts val="600"/>
              </a:spcBef>
              <a:defRPr sz="1200">
                <a:solidFill>
                  <a:schemeClr val="tx1"/>
                </a:solidFill>
              </a:defRPr>
            </a:lvl2pPr>
            <a:lvl3pPr>
              <a:spcBef>
                <a:spcPts val="600"/>
              </a:spcBef>
              <a:defRPr sz="1200">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3" name="Text Placeholder 11">
            <a:extLst>
              <a:ext uri="{FF2B5EF4-FFF2-40B4-BE49-F238E27FC236}">
                <a16:creationId xmlns:a16="http://schemas.microsoft.com/office/drawing/2014/main" id="{5959C86C-DF24-41B0-AD2C-0AB34D1D77DE}"/>
              </a:ext>
            </a:extLst>
          </p:cNvPr>
          <p:cNvSpPr>
            <a:spLocks noGrp="1"/>
          </p:cNvSpPr>
          <p:nvPr>
            <p:ph type="body" sz="quarter" idx="20"/>
          </p:nvPr>
        </p:nvSpPr>
        <p:spPr>
          <a:xfrm>
            <a:off x="4926391" y="3671626"/>
            <a:ext cx="1622182" cy="2319600"/>
          </a:xfrm>
        </p:spPr>
        <p:txBody>
          <a:bodyPr>
            <a:normAutofit/>
          </a:bodyPr>
          <a:lstStyle>
            <a:lvl1pPr>
              <a:spcBef>
                <a:spcPts val="600"/>
              </a:spcBef>
              <a:defRPr sz="1200">
                <a:solidFill>
                  <a:schemeClr val="tx1"/>
                </a:solidFill>
              </a:defRPr>
            </a:lvl1pPr>
            <a:lvl2pPr>
              <a:spcBef>
                <a:spcPts val="600"/>
              </a:spcBef>
              <a:defRPr sz="1200">
                <a:solidFill>
                  <a:schemeClr val="tx1"/>
                </a:solidFill>
              </a:defRPr>
            </a:lvl2pPr>
            <a:lvl3pPr>
              <a:spcBef>
                <a:spcPts val="600"/>
              </a:spcBef>
              <a:defRPr sz="1200">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7" name="Text Placeholder 11">
            <a:extLst>
              <a:ext uri="{FF2B5EF4-FFF2-40B4-BE49-F238E27FC236}">
                <a16:creationId xmlns:a16="http://schemas.microsoft.com/office/drawing/2014/main" id="{EF419F06-9488-4FE3-BD1C-691AAC887837}"/>
              </a:ext>
            </a:extLst>
          </p:cNvPr>
          <p:cNvSpPr>
            <a:spLocks noGrp="1"/>
          </p:cNvSpPr>
          <p:nvPr>
            <p:ph type="body" sz="quarter" idx="23"/>
          </p:nvPr>
        </p:nvSpPr>
        <p:spPr>
          <a:xfrm>
            <a:off x="7072238" y="3671626"/>
            <a:ext cx="1622182" cy="2319600"/>
          </a:xfrm>
        </p:spPr>
        <p:txBody>
          <a:bodyPr>
            <a:normAutofit/>
          </a:bodyPr>
          <a:lstStyle>
            <a:lvl1pPr>
              <a:spcBef>
                <a:spcPts val="600"/>
              </a:spcBef>
              <a:defRPr sz="1200">
                <a:solidFill>
                  <a:schemeClr val="tx1"/>
                </a:solidFill>
              </a:defRPr>
            </a:lvl1pPr>
            <a:lvl2pPr>
              <a:spcBef>
                <a:spcPts val="600"/>
              </a:spcBef>
              <a:defRPr sz="1200">
                <a:solidFill>
                  <a:schemeClr val="tx1"/>
                </a:solidFill>
              </a:defRPr>
            </a:lvl2pPr>
            <a:lvl3pPr>
              <a:spcBef>
                <a:spcPts val="600"/>
              </a:spcBef>
              <a:defRPr sz="1200">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41" name="Text Placeholder 11">
            <a:extLst>
              <a:ext uri="{FF2B5EF4-FFF2-40B4-BE49-F238E27FC236}">
                <a16:creationId xmlns:a16="http://schemas.microsoft.com/office/drawing/2014/main" id="{1BE0E112-F552-46E6-A66D-7BEBFA78CDB5}"/>
              </a:ext>
            </a:extLst>
          </p:cNvPr>
          <p:cNvSpPr>
            <a:spLocks noGrp="1"/>
          </p:cNvSpPr>
          <p:nvPr>
            <p:ph type="body" sz="quarter" idx="26"/>
          </p:nvPr>
        </p:nvSpPr>
        <p:spPr>
          <a:xfrm>
            <a:off x="9209988" y="3671626"/>
            <a:ext cx="1622182" cy="2319600"/>
          </a:xfrm>
        </p:spPr>
        <p:txBody>
          <a:bodyPr>
            <a:normAutofit/>
          </a:bodyPr>
          <a:lstStyle>
            <a:lvl1pPr>
              <a:spcBef>
                <a:spcPts val="600"/>
              </a:spcBef>
              <a:defRPr sz="1200">
                <a:solidFill>
                  <a:schemeClr val="tx1"/>
                </a:solidFill>
              </a:defRPr>
            </a:lvl1pPr>
            <a:lvl2pPr>
              <a:spcBef>
                <a:spcPts val="600"/>
              </a:spcBef>
              <a:defRPr sz="1200">
                <a:solidFill>
                  <a:schemeClr val="tx1"/>
                </a:solidFill>
              </a:defRPr>
            </a:lvl2pPr>
            <a:lvl3pPr>
              <a:spcBef>
                <a:spcPts val="600"/>
              </a:spcBef>
              <a:defRPr sz="1200">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pic>
        <p:nvPicPr>
          <p:cNvPr id="42" name="Picture 41">
            <a:extLst>
              <a:ext uri="{FF2B5EF4-FFF2-40B4-BE49-F238E27FC236}">
                <a16:creationId xmlns:a16="http://schemas.microsoft.com/office/drawing/2014/main" id="{2F3F73F7-0400-46D2-9B65-9DFB16B71921}"/>
              </a:ext>
            </a:extLst>
          </p:cNvPr>
          <p:cNvPicPr>
            <a:picLocks noChangeAspect="1"/>
          </p:cNvPicPr>
          <p:nvPr userDrawn="1"/>
        </p:nvPicPr>
        <p:blipFill>
          <a:blip r:embed="rId5"/>
          <a:stretch>
            <a:fillRect/>
          </a:stretch>
        </p:blipFill>
        <p:spPr>
          <a:xfrm>
            <a:off x="483235" y="1581258"/>
            <a:ext cx="11053006" cy="1956986"/>
          </a:xfrm>
          <a:prstGeom prst="rect">
            <a:avLst/>
          </a:prstGeom>
        </p:spPr>
      </p:pic>
      <p:sp>
        <p:nvSpPr>
          <p:cNvPr id="8" name="Text Placeholder 14">
            <a:extLst>
              <a:ext uri="{FF2B5EF4-FFF2-40B4-BE49-F238E27FC236}">
                <a16:creationId xmlns:a16="http://schemas.microsoft.com/office/drawing/2014/main" id="{EA149011-4382-4323-B517-8A48937133AE}"/>
              </a:ext>
            </a:extLst>
          </p:cNvPr>
          <p:cNvSpPr>
            <a:spLocks noGrp="1"/>
          </p:cNvSpPr>
          <p:nvPr>
            <p:ph type="body" sz="quarter" idx="12" hasCustomPrompt="1"/>
          </p:nvPr>
        </p:nvSpPr>
        <p:spPr>
          <a:xfrm>
            <a:off x="1346251"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9" name="Text Placeholder 16">
            <a:extLst>
              <a:ext uri="{FF2B5EF4-FFF2-40B4-BE49-F238E27FC236}">
                <a16:creationId xmlns:a16="http://schemas.microsoft.com/office/drawing/2014/main" id="{FE61D809-2360-4D86-BC40-ED42DE2DCC68}"/>
              </a:ext>
            </a:extLst>
          </p:cNvPr>
          <p:cNvSpPr>
            <a:spLocks noGrp="1"/>
          </p:cNvSpPr>
          <p:nvPr>
            <p:ph type="body" sz="quarter" idx="13"/>
          </p:nvPr>
        </p:nvSpPr>
        <p:spPr>
          <a:xfrm>
            <a:off x="1346251"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27" name="Text Placeholder 14">
            <a:extLst>
              <a:ext uri="{FF2B5EF4-FFF2-40B4-BE49-F238E27FC236}">
                <a16:creationId xmlns:a16="http://schemas.microsoft.com/office/drawing/2014/main" id="{022B5ADC-34AD-46F7-80C6-D00CE1047DCF}"/>
              </a:ext>
            </a:extLst>
          </p:cNvPr>
          <p:cNvSpPr>
            <a:spLocks noGrp="1"/>
          </p:cNvSpPr>
          <p:nvPr>
            <p:ph type="body" sz="quarter" idx="15" hasCustomPrompt="1"/>
          </p:nvPr>
        </p:nvSpPr>
        <p:spPr>
          <a:xfrm>
            <a:off x="3366704"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28" name="Text Placeholder 16">
            <a:extLst>
              <a:ext uri="{FF2B5EF4-FFF2-40B4-BE49-F238E27FC236}">
                <a16:creationId xmlns:a16="http://schemas.microsoft.com/office/drawing/2014/main" id="{30CEE244-3228-4641-933D-2045800C97F9}"/>
              </a:ext>
            </a:extLst>
          </p:cNvPr>
          <p:cNvSpPr>
            <a:spLocks noGrp="1"/>
          </p:cNvSpPr>
          <p:nvPr>
            <p:ph type="body" sz="quarter" idx="16"/>
          </p:nvPr>
        </p:nvSpPr>
        <p:spPr>
          <a:xfrm>
            <a:off x="3366704"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31" name="Text Placeholder 14">
            <a:extLst>
              <a:ext uri="{FF2B5EF4-FFF2-40B4-BE49-F238E27FC236}">
                <a16:creationId xmlns:a16="http://schemas.microsoft.com/office/drawing/2014/main" id="{79D65DB7-2B83-4DA3-AE3C-D0650F6032CB}"/>
              </a:ext>
            </a:extLst>
          </p:cNvPr>
          <p:cNvSpPr>
            <a:spLocks noGrp="1"/>
          </p:cNvSpPr>
          <p:nvPr>
            <p:ph type="body" sz="quarter" idx="18" hasCustomPrompt="1"/>
          </p:nvPr>
        </p:nvSpPr>
        <p:spPr>
          <a:xfrm>
            <a:off x="5600252"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32" name="Text Placeholder 16">
            <a:extLst>
              <a:ext uri="{FF2B5EF4-FFF2-40B4-BE49-F238E27FC236}">
                <a16:creationId xmlns:a16="http://schemas.microsoft.com/office/drawing/2014/main" id="{41B71A45-AEDE-4AA7-A4A7-42940F530616}"/>
              </a:ext>
            </a:extLst>
          </p:cNvPr>
          <p:cNvSpPr>
            <a:spLocks noGrp="1"/>
          </p:cNvSpPr>
          <p:nvPr>
            <p:ph type="body" sz="quarter" idx="19"/>
          </p:nvPr>
        </p:nvSpPr>
        <p:spPr>
          <a:xfrm>
            <a:off x="5600252"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35" name="Text Placeholder 14">
            <a:extLst>
              <a:ext uri="{FF2B5EF4-FFF2-40B4-BE49-F238E27FC236}">
                <a16:creationId xmlns:a16="http://schemas.microsoft.com/office/drawing/2014/main" id="{A1BDC2F0-250F-48F8-B35C-93A6B6566F73}"/>
              </a:ext>
            </a:extLst>
          </p:cNvPr>
          <p:cNvSpPr>
            <a:spLocks noGrp="1"/>
          </p:cNvSpPr>
          <p:nvPr>
            <p:ph type="body" sz="quarter" idx="21" hasCustomPrompt="1"/>
          </p:nvPr>
        </p:nvSpPr>
        <p:spPr>
          <a:xfrm>
            <a:off x="7650301"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36" name="Text Placeholder 16">
            <a:extLst>
              <a:ext uri="{FF2B5EF4-FFF2-40B4-BE49-F238E27FC236}">
                <a16:creationId xmlns:a16="http://schemas.microsoft.com/office/drawing/2014/main" id="{34BAFB89-3930-43F7-BE6A-BB10D01450FC}"/>
              </a:ext>
            </a:extLst>
          </p:cNvPr>
          <p:cNvSpPr>
            <a:spLocks noGrp="1"/>
          </p:cNvSpPr>
          <p:nvPr>
            <p:ph type="body" sz="quarter" idx="22"/>
          </p:nvPr>
        </p:nvSpPr>
        <p:spPr>
          <a:xfrm>
            <a:off x="7650301"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39" name="Text Placeholder 14">
            <a:extLst>
              <a:ext uri="{FF2B5EF4-FFF2-40B4-BE49-F238E27FC236}">
                <a16:creationId xmlns:a16="http://schemas.microsoft.com/office/drawing/2014/main" id="{5D080A6E-178D-4590-8943-2613A2E584C7}"/>
              </a:ext>
            </a:extLst>
          </p:cNvPr>
          <p:cNvSpPr>
            <a:spLocks noGrp="1"/>
          </p:cNvSpPr>
          <p:nvPr>
            <p:ph type="body" sz="quarter" idx="24" hasCustomPrompt="1"/>
          </p:nvPr>
        </p:nvSpPr>
        <p:spPr>
          <a:xfrm>
            <a:off x="9739590"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40" name="Text Placeholder 16">
            <a:extLst>
              <a:ext uri="{FF2B5EF4-FFF2-40B4-BE49-F238E27FC236}">
                <a16:creationId xmlns:a16="http://schemas.microsoft.com/office/drawing/2014/main" id="{B4A4E5CB-AD1B-4F66-A49F-1E24A9F43CBE}"/>
              </a:ext>
            </a:extLst>
          </p:cNvPr>
          <p:cNvSpPr>
            <a:spLocks noGrp="1"/>
          </p:cNvSpPr>
          <p:nvPr>
            <p:ph type="body" sz="quarter" idx="25"/>
          </p:nvPr>
        </p:nvSpPr>
        <p:spPr>
          <a:xfrm>
            <a:off x="9739590"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819429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Image &amp; Caption">
    <p:spTree>
      <p:nvGrpSpPr>
        <p:cNvPr id="1" name=""/>
        <p:cNvGrpSpPr/>
        <p:nvPr/>
      </p:nvGrpSpPr>
      <p:grpSpPr>
        <a:xfrm>
          <a:off x="0" y="0"/>
          <a:ext cx="0" cy="0"/>
          <a:chOff x="0" y="0"/>
          <a:chExt cx="0" cy="0"/>
        </a:xfrm>
      </p:grpSpPr>
      <p:sp>
        <p:nvSpPr>
          <p:cNvPr id="2" name="Title 1"/>
          <p:cNvSpPr>
            <a:spLocks noGrp="1"/>
          </p:cNvSpPr>
          <p:nvPr>
            <p:ph type="title"/>
          </p:nvPr>
        </p:nvSpPr>
        <p:spPr>
          <a:xfrm>
            <a:off x="733426" y="659953"/>
            <a:ext cx="7480679" cy="1325563"/>
          </a:xfrm>
        </p:spPr>
        <p:txBody>
          <a:bodyPr/>
          <a:lstStyle/>
          <a:p>
            <a:r>
              <a:rPr lang="en-US"/>
              <a:t>Click to edit Master title style</a:t>
            </a:r>
            <a:endParaRPr lang="en-GB"/>
          </a:p>
        </p:txBody>
      </p:sp>
      <p:sp>
        <p:nvSpPr>
          <p:cNvPr id="3" name="Content Placeholder 2"/>
          <p:cNvSpPr>
            <a:spLocks noGrp="1"/>
          </p:cNvSpPr>
          <p:nvPr>
            <p:ph idx="1"/>
          </p:nvPr>
        </p:nvSpPr>
        <p:spPr>
          <a:xfrm>
            <a:off x="733426" y="2138100"/>
            <a:ext cx="7480679" cy="423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6064C687-E54E-4A59-A131-5441B095AAD8}" type="datetime1">
              <a:rPr lang="en-GB" smtClean="0"/>
              <a:t>07/10/2025</a:t>
            </a:fld>
            <a:endParaRPr lang="en-GB" dirty="0"/>
          </a:p>
        </p:txBody>
      </p:sp>
      <p:sp>
        <p:nvSpPr>
          <p:cNvPr id="5" name="Footer Placeholder 4"/>
          <p:cNvSpPr>
            <a:spLocks noGrp="1"/>
          </p:cNvSpPr>
          <p:nvPr>
            <p:ph type="ftr" sz="quarter" idx="11"/>
          </p:nvPr>
        </p:nvSpPr>
        <p:spPr/>
        <p:txBody>
          <a:bodyPr/>
          <a:lstStyle/>
          <a:p>
            <a:r>
              <a:rPr lang="en-GB" dirty="0"/>
              <a:t>Presentation info in footer</a:t>
            </a:r>
          </a:p>
        </p:txBody>
      </p:sp>
      <p:sp>
        <p:nvSpPr>
          <p:cNvPr id="6" name="Slide Number Placeholder 5"/>
          <p:cNvSpPr>
            <a:spLocks noGrp="1"/>
          </p:cNvSpPr>
          <p:nvPr>
            <p:ph type="sldNum" sz="quarter" idx="12"/>
          </p:nvPr>
        </p:nvSpPr>
        <p:spPr/>
        <p:txBody>
          <a:bodyPr/>
          <a:lstStyle/>
          <a:p>
            <a:fld id="{D5361521-EF7F-456B-A25F-4EAD8E019C37}" type="slidenum">
              <a:rPr lang="en-GB" smtClean="0"/>
              <a:t>‹#›</a:t>
            </a:fld>
            <a:endParaRPr lang="en-GB" dirty="0"/>
          </a:p>
        </p:txBody>
      </p:sp>
      <p:sp>
        <p:nvSpPr>
          <p:cNvPr id="8" name="Picture Placeholder 7"/>
          <p:cNvSpPr>
            <a:spLocks noGrp="1"/>
          </p:cNvSpPr>
          <p:nvPr>
            <p:ph type="pic" sz="quarter" idx="13"/>
          </p:nvPr>
        </p:nvSpPr>
        <p:spPr>
          <a:xfrm>
            <a:off x="8689181" y="659954"/>
            <a:ext cx="3502819" cy="2138100"/>
          </a:xfrm>
        </p:spPr>
        <p:txBody>
          <a:bodyPr/>
          <a:lstStyle/>
          <a:p>
            <a:r>
              <a:rPr lang="en-US" dirty="0"/>
              <a:t>Click icon to add picture</a:t>
            </a:r>
            <a:endParaRPr lang="en-GB" dirty="0"/>
          </a:p>
        </p:txBody>
      </p:sp>
      <p:sp>
        <p:nvSpPr>
          <p:cNvPr id="9" name="Rectangle 8"/>
          <p:cNvSpPr/>
          <p:nvPr userDrawn="1"/>
        </p:nvSpPr>
        <p:spPr>
          <a:xfrm>
            <a:off x="8686036" y="2798053"/>
            <a:ext cx="1754555" cy="59396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ln>
                <a:noFill/>
              </a:ln>
            </a:endParaRPr>
          </a:p>
        </p:txBody>
      </p:sp>
      <p:sp>
        <p:nvSpPr>
          <p:cNvPr id="11" name="Text Placeholder 10"/>
          <p:cNvSpPr>
            <a:spLocks noGrp="1"/>
          </p:cNvSpPr>
          <p:nvPr>
            <p:ph type="body" sz="quarter" idx="14"/>
          </p:nvPr>
        </p:nvSpPr>
        <p:spPr>
          <a:xfrm>
            <a:off x="8686801" y="3633828"/>
            <a:ext cx="1754188" cy="1873897"/>
          </a:xfrm>
        </p:spPr>
        <p:txBody>
          <a:bodyPr/>
          <a:lstStyle>
            <a:lvl1pPr>
              <a:lnSpc>
                <a:spcPct val="100000"/>
              </a:lnSpc>
              <a:spcBef>
                <a:spcPts val="600"/>
              </a:spcBef>
              <a:defRPr sz="933">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6465721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ive colorful arrows + text">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9180E6D7-0AEA-4AD2-B31B-67A1CA5F9E49}"/>
              </a:ext>
            </a:extLst>
          </p:cNvPr>
          <p:cNvGraphicFramePr>
            <a:graphicFrameLocks noChangeAspect="1"/>
          </p:cNvGraphicFramePr>
          <p:nvPr userDrawn="1">
            <p:custDataLst>
              <p:tags r:id="rId1"/>
            </p:custDataLst>
            <p:extLst>
              <p:ext uri="{D42A27DB-BD31-4B8C-83A1-F6EECF244321}">
                <p14:modId xmlns:p14="http://schemas.microsoft.com/office/powerpoint/2010/main" val="3586466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7" name="Object 26" hidden="1">
                        <a:extLst>
                          <a:ext uri="{FF2B5EF4-FFF2-40B4-BE49-F238E27FC236}">
                            <a16:creationId xmlns:a16="http://schemas.microsoft.com/office/drawing/2014/main" id="{9180E6D7-0AEA-4AD2-B31B-67A1CA5F9E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601F3EC-BB54-449B-B875-597F372EA7A2}"/>
              </a:ext>
            </a:extLst>
          </p:cNvPr>
          <p:cNvSpPr/>
          <p:nvPr userDrawn="1"/>
        </p:nvSpPr>
        <p:spPr>
          <a:xfrm>
            <a:off x="515938" y="3429000"/>
            <a:ext cx="1871662" cy="2676163"/>
          </a:xfrm>
          <a:prstGeom prst="rect">
            <a:avLst/>
          </a:prstGeom>
          <a:solidFill>
            <a:srgbClr val="FFCC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E2469FC0-C784-4F8C-8608-096616CDBA9A}"/>
              </a:ext>
            </a:extLst>
          </p:cNvPr>
          <p:cNvSpPr/>
          <p:nvPr userDrawn="1"/>
        </p:nvSpPr>
        <p:spPr>
          <a:xfrm>
            <a:off x="2680467" y="3429000"/>
            <a:ext cx="1871662" cy="2676163"/>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1F09C9DD-5D60-4E64-82A5-7F6C93FBF2B0}"/>
              </a:ext>
            </a:extLst>
          </p:cNvPr>
          <p:cNvSpPr/>
          <p:nvPr userDrawn="1"/>
        </p:nvSpPr>
        <p:spPr>
          <a:xfrm>
            <a:off x="4769939" y="3429000"/>
            <a:ext cx="1871662" cy="2676163"/>
          </a:xfrm>
          <a:prstGeom prst="rect">
            <a:avLst/>
          </a:prstGeom>
          <a:solidFill>
            <a:schemeClr val="accent6">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ABE20422-6449-4EC5-B122-7DAC69858213}"/>
              </a:ext>
            </a:extLst>
          </p:cNvPr>
          <p:cNvSpPr/>
          <p:nvPr userDrawn="1"/>
        </p:nvSpPr>
        <p:spPr>
          <a:xfrm>
            <a:off x="6915786" y="3429000"/>
            <a:ext cx="1871662" cy="2676163"/>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FAAC9ECC-5903-4DE9-A596-FEBF9F0B49BA}"/>
              </a:ext>
            </a:extLst>
          </p:cNvPr>
          <p:cNvSpPr/>
          <p:nvPr userDrawn="1"/>
        </p:nvSpPr>
        <p:spPr>
          <a:xfrm>
            <a:off x="9053536" y="3429000"/>
            <a:ext cx="1871662" cy="2676163"/>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A774E56-0191-4595-AB85-42059F261623}"/>
              </a:ext>
            </a:extLst>
          </p:cNvPr>
          <p:cNvSpPr>
            <a:spLocks noGrp="1"/>
          </p:cNvSpPr>
          <p:nvPr>
            <p:ph type="title"/>
          </p:nvPr>
        </p:nvSpPr>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DEFBC4FF-EDC8-49DA-B06A-4DB17ECEB95D}"/>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6E79352C-0369-486D-BF56-159B7AF1EBC0}"/>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3" name="Text Placeholder 11">
            <a:extLst>
              <a:ext uri="{FF2B5EF4-FFF2-40B4-BE49-F238E27FC236}">
                <a16:creationId xmlns:a16="http://schemas.microsoft.com/office/drawing/2014/main" id="{EF43A109-6924-4263-927E-E99A0F0C3A92}"/>
              </a:ext>
            </a:extLst>
          </p:cNvPr>
          <p:cNvSpPr>
            <a:spLocks noGrp="1"/>
          </p:cNvSpPr>
          <p:nvPr>
            <p:ph type="body" sz="quarter" idx="14"/>
          </p:nvPr>
        </p:nvSpPr>
        <p:spPr>
          <a:xfrm>
            <a:off x="672390" y="3671626"/>
            <a:ext cx="1622182" cy="2319600"/>
          </a:xfrm>
        </p:spPr>
        <p:txBody>
          <a:bodyPr>
            <a:normAutofit/>
          </a:bodyPr>
          <a:lstStyle>
            <a:lvl1pPr>
              <a:spcBef>
                <a:spcPts val="600"/>
              </a:spcBef>
              <a:defRPr sz="1200">
                <a:solidFill>
                  <a:schemeClr val="tx1"/>
                </a:solidFill>
              </a:defRPr>
            </a:lvl1pPr>
            <a:lvl2pPr>
              <a:spcBef>
                <a:spcPts val="600"/>
              </a:spcBef>
              <a:defRPr sz="1200">
                <a:solidFill>
                  <a:schemeClr val="tx1"/>
                </a:solidFill>
              </a:defRPr>
            </a:lvl2pPr>
            <a:lvl3pPr>
              <a:spcBef>
                <a:spcPts val="600"/>
              </a:spcBef>
              <a:buClr>
                <a:schemeClr val="tx1"/>
              </a:buClr>
              <a:defRPr sz="1200">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16" name="Text Placeholder 11">
            <a:extLst>
              <a:ext uri="{FF2B5EF4-FFF2-40B4-BE49-F238E27FC236}">
                <a16:creationId xmlns:a16="http://schemas.microsoft.com/office/drawing/2014/main" id="{4B4166A3-1F77-42CD-A888-7D21126DF194}"/>
              </a:ext>
            </a:extLst>
          </p:cNvPr>
          <p:cNvSpPr>
            <a:spLocks noGrp="1"/>
          </p:cNvSpPr>
          <p:nvPr>
            <p:ph type="body" sz="quarter" idx="17"/>
          </p:nvPr>
        </p:nvSpPr>
        <p:spPr>
          <a:xfrm>
            <a:off x="2836919" y="3671626"/>
            <a:ext cx="1622182" cy="2319600"/>
          </a:xfrm>
        </p:spPr>
        <p:txBody>
          <a:bodyPr>
            <a:normAutofit/>
          </a:bodyPr>
          <a:lstStyle>
            <a:lvl1pPr>
              <a:spcBef>
                <a:spcPts val="600"/>
              </a:spcBef>
              <a:defRPr sz="1200">
                <a:solidFill>
                  <a:schemeClr val="tx1"/>
                </a:solidFill>
              </a:defRPr>
            </a:lvl1pPr>
            <a:lvl2pPr>
              <a:spcBef>
                <a:spcPts val="600"/>
              </a:spcBef>
              <a:defRPr sz="1200">
                <a:solidFill>
                  <a:schemeClr val="tx1"/>
                </a:solidFill>
              </a:defRPr>
            </a:lvl2pPr>
            <a:lvl3pPr marL="144000" indent="-144000">
              <a:spcBef>
                <a:spcPts val="600"/>
              </a:spcBef>
              <a:defRPr lang="en-US" sz="1200" kern="1200" dirty="0" smtClean="0">
                <a:solidFill>
                  <a:schemeClr val="tx1"/>
                </a:solidFill>
                <a:latin typeface="+mn-lt"/>
                <a:ea typeface="+mn-ea"/>
                <a:cs typeface="+mn-cs"/>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marL="144000" lvl="2" indent="-144000" algn="l" defTabSz="914400" rtl="0" eaLnBrk="1" latinLnBrk="0" hangingPunct="1">
              <a:lnSpc>
                <a:spcPct val="90000"/>
              </a:lnSpc>
              <a:spcBef>
                <a:spcPts val="600"/>
              </a:spcBef>
              <a:buClr>
                <a:schemeClr val="tx1"/>
              </a:buClr>
              <a:buSzPct val="100000"/>
              <a:buFont typeface="Arial" panose="020B0604020202020204" pitchFamily="34" charset="0"/>
              <a:buChar char="•"/>
            </a:pPr>
            <a:r>
              <a:rPr lang="en-US"/>
              <a:t>Third level</a:t>
            </a:r>
          </a:p>
        </p:txBody>
      </p:sp>
      <p:sp>
        <p:nvSpPr>
          <p:cNvPr id="19" name="Text Placeholder 11">
            <a:extLst>
              <a:ext uri="{FF2B5EF4-FFF2-40B4-BE49-F238E27FC236}">
                <a16:creationId xmlns:a16="http://schemas.microsoft.com/office/drawing/2014/main" id="{085C0446-8A92-4E39-9564-7A2495C74967}"/>
              </a:ext>
            </a:extLst>
          </p:cNvPr>
          <p:cNvSpPr>
            <a:spLocks noGrp="1"/>
          </p:cNvSpPr>
          <p:nvPr>
            <p:ph type="body" sz="quarter" idx="20"/>
          </p:nvPr>
        </p:nvSpPr>
        <p:spPr>
          <a:xfrm>
            <a:off x="4926391" y="3671626"/>
            <a:ext cx="1622182" cy="2319600"/>
          </a:xfrm>
        </p:spPr>
        <p:txBody>
          <a:bodyPr>
            <a:normAutofit/>
          </a:bodyPr>
          <a:lstStyle>
            <a:lvl1pPr>
              <a:spcBef>
                <a:spcPts val="600"/>
              </a:spcBef>
              <a:defRPr sz="1200">
                <a:solidFill>
                  <a:schemeClr val="tx1"/>
                </a:solidFill>
              </a:defRPr>
            </a:lvl1pPr>
            <a:lvl2pPr>
              <a:spcBef>
                <a:spcPts val="600"/>
              </a:spcBef>
              <a:defRPr sz="1200">
                <a:solidFill>
                  <a:schemeClr val="tx1"/>
                </a:solidFill>
              </a:defRPr>
            </a:lvl2pPr>
            <a:lvl3pPr marL="144000" indent="-144000">
              <a:spcBef>
                <a:spcPts val="600"/>
              </a:spcBef>
              <a:defRPr lang="en-US" sz="1200" kern="1200" dirty="0" smtClean="0">
                <a:solidFill>
                  <a:schemeClr val="tx1"/>
                </a:solidFill>
                <a:latin typeface="+mn-lt"/>
                <a:ea typeface="+mn-ea"/>
                <a:cs typeface="+mn-cs"/>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marL="144000" lvl="2" indent="-144000" algn="l" defTabSz="914400" rtl="0" eaLnBrk="1" latinLnBrk="0" hangingPunct="1">
              <a:lnSpc>
                <a:spcPct val="90000"/>
              </a:lnSpc>
              <a:spcBef>
                <a:spcPts val="600"/>
              </a:spcBef>
              <a:buClr>
                <a:schemeClr val="tx1"/>
              </a:buClr>
              <a:buSzPct val="100000"/>
              <a:buFont typeface="Arial" panose="020B0604020202020204" pitchFamily="34" charset="0"/>
              <a:buChar char="•"/>
            </a:pPr>
            <a:r>
              <a:rPr lang="en-US"/>
              <a:t>Third level</a:t>
            </a:r>
          </a:p>
        </p:txBody>
      </p:sp>
      <p:sp>
        <p:nvSpPr>
          <p:cNvPr id="22" name="Text Placeholder 11">
            <a:extLst>
              <a:ext uri="{FF2B5EF4-FFF2-40B4-BE49-F238E27FC236}">
                <a16:creationId xmlns:a16="http://schemas.microsoft.com/office/drawing/2014/main" id="{5149C6A9-D43B-4CED-863B-F302475DF17B}"/>
              </a:ext>
            </a:extLst>
          </p:cNvPr>
          <p:cNvSpPr>
            <a:spLocks noGrp="1"/>
          </p:cNvSpPr>
          <p:nvPr>
            <p:ph type="body" sz="quarter" idx="23"/>
          </p:nvPr>
        </p:nvSpPr>
        <p:spPr>
          <a:xfrm>
            <a:off x="7072238" y="3671626"/>
            <a:ext cx="1622182" cy="2319600"/>
          </a:xfrm>
        </p:spPr>
        <p:txBody>
          <a:bodyPr>
            <a:normAutofit/>
          </a:bodyPr>
          <a:lstStyle>
            <a:lvl1pPr>
              <a:spcBef>
                <a:spcPts val="600"/>
              </a:spcBef>
              <a:defRPr sz="1200">
                <a:solidFill>
                  <a:schemeClr val="tx1"/>
                </a:solidFill>
              </a:defRPr>
            </a:lvl1pPr>
            <a:lvl2pPr>
              <a:spcBef>
                <a:spcPts val="600"/>
              </a:spcBef>
              <a:defRPr sz="1200">
                <a:solidFill>
                  <a:schemeClr val="tx1"/>
                </a:solidFill>
              </a:defRPr>
            </a:lvl2pPr>
            <a:lvl3pPr marL="144000" indent="-144000">
              <a:spcBef>
                <a:spcPts val="600"/>
              </a:spcBef>
              <a:defRPr lang="en-US" sz="1200" kern="1200" dirty="0" smtClean="0">
                <a:solidFill>
                  <a:schemeClr val="tx1"/>
                </a:solidFill>
                <a:latin typeface="+mn-lt"/>
                <a:ea typeface="+mn-ea"/>
                <a:cs typeface="+mn-cs"/>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marL="144000" lvl="2" indent="-144000" algn="l" defTabSz="914400" rtl="0" eaLnBrk="1" latinLnBrk="0" hangingPunct="1">
              <a:lnSpc>
                <a:spcPct val="90000"/>
              </a:lnSpc>
              <a:spcBef>
                <a:spcPts val="600"/>
              </a:spcBef>
              <a:buClr>
                <a:schemeClr val="tx1"/>
              </a:buClr>
              <a:buSzPct val="100000"/>
              <a:buFont typeface="Arial" panose="020B0604020202020204" pitchFamily="34" charset="0"/>
              <a:buChar char="•"/>
            </a:pPr>
            <a:r>
              <a:rPr lang="en-US"/>
              <a:t>Third level</a:t>
            </a:r>
          </a:p>
        </p:txBody>
      </p:sp>
      <p:sp>
        <p:nvSpPr>
          <p:cNvPr id="25" name="Text Placeholder 11">
            <a:extLst>
              <a:ext uri="{FF2B5EF4-FFF2-40B4-BE49-F238E27FC236}">
                <a16:creationId xmlns:a16="http://schemas.microsoft.com/office/drawing/2014/main" id="{D9930331-43E3-4FFC-8FF2-3B395A1DA626}"/>
              </a:ext>
            </a:extLst>
          </p:cNvPr>
          <p:cNvSpPr>
            <a:spLocks noGrp="1"/>
          </p:cNvSpPr>
          <p:nvPr>
            <p:ph type="body" sz="quarter" idx="26"/>
          </p:nvPr>
        </p:nvSpPr>
        <p:spPr>
          <a:xfrm>
            <a:off x="9209988" y="3671626"/>
            <a:ext cx="1622182" cy="2319600"/>
          </a:xfrm>
        </p:spPr>
        <p:txBody>
          <a:bodyPr>
            <a:normAutofit/>
          </a:bodyPr>
          <a:lstStyle>
            <a:lvl1pPr>
              <a:spcBef>
                <a:spcPts val="600"/>
              </a:spcBef>
              <a:defRPr sz="1200">
                <a:solidFill>
                  <a:schemeClr val="tx1"/>
                </a:solidFill>
              </a:defRPr>
            </a:lvl1pPr>
            <a:lvl2pPr>
              <a:spcBef>
                <a:spcPts val="600"/>
              </a:spcBef>
              <a:defRPr sz="1200">
                <a:solidFill>
                  <a:schemeClr val="tx1"/>
                </a:solidFill>
              </a:defRPr>
            </a:lvl2pPr>
            <a:lvl3pPr marL="144000" indent="-144000">
              <a:spcBef>
                <a:spcPts val="600"/>
              </a:spcBef>
              <a:defRPr lang="en-US" sz="1200" kern="1200" dirty="0" smtClean="0">
                <a:solidFill>
                  <a:schemeClr val="tx1"/>
                </a:solidFill>
                <a:latin typeface="+mn-lt"/>
                <a:ea typeface="+mn-ea"/>
                <a:cs typeface="+mn-cs"/>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marL="144000" lvl="2" indent="-144000" algn="l" defTabSz="914400" rtl="0" eaLnBrk="1" latinLnBrk="0" hangingPunct="1">
              <a:lnSpc>
                <a:spcPct val="90000"/>
              </a:lnSpc>
              <a:spcBef>
                <a:spcPts val="600"/>
              </a:spcBef>
              <a:buClr>
                <a:schemeClr val="tx1"/>
              </a:buClr>
              <a:buSzPct val="100000"/>
              <a:buFont typeface="Arial" panose="020B0604020202020204" pitchFamily="34" charset="0"/>
              <a:buChar char="•"/>
            </a:pPr>
            <a:r>
              <a:rPr lang="en-US"/>
              <a:t>Third level</a:t>
            </a:r>
          </a:p>
        </p:txBody>
      </p:sp>
      <p:pic>
        <p:nvPicPr>
          <p:cNvPr id="34" name="Picture 33">
            <a:extLst>
              <a:ext uri="{FF2B5EF4-FFF2-40B4-BE49-F238E27FC236}">
                <a16:creationId xmlns:a16="http://schemas.microsoft.com/office/drawing/2014/main" id="{2995130C-A55F-4BDA-B542-859804A1283A}"/>
              </a:ext>
            </a:extLst>
          </p:cNvPr>
          <p:cNvPicPr>
            <a:picLocks noChangeAspect="1"/>
          </p:cNvPicPr>
          <p:nvPr userDrawn="1"/>
        </p:nvPicPr>
        <p:blipFill>
          <a:blip r:embed="rId5"/>
          <a:stretch>
            <a:fillRect/>
          </a:stretch>
        </p:blipFill>
        <p:spPr>
          <a:xfrm>
            <a:off x="483235" y="1581258"/>
            <a:ext cx="11053006" cy="1956986"/>
          </a:xfrm>
          <a:prstGeom prst="rect">
            <a:avLst/>
          </a:prstGeom>
        </p:spPr>
      </p:pic>
      <p:sp>
        <p:nvSpPr>
          <p:cNvPr id="12" name="Text Placeholder 16">
            <a:extLst>
              <a:ext uri="{FF2B5EF4-FFF2-40B4-BE49-F238E27FC236}">
                <a16:creationId xmlns:a16="http://schemas.microsoft.com/office/drawing/2014/main" id="{17E52B31-DA39-460A-94E9-16F940E869D6}"/>
              </a:ext>
            </a:extLst>
          </p:cNvPr>
          <p:cNvSpPr>
            <a:spLocks noGrp="1"/>
          </p:cNvSpPr>
          <p:nvPr>
            <p:ph type="body" sz="quarter" idx="13"/>
          </p:nvPr>
        </p:nvSpPr>
        <p:spPr>
          <a:xfrm>
            <a:off x="1346251"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15" name="Text Placeholder 16">
            <a:extLst>
              <a:ext uri="{FF2B5EF4-FFF2-40B4-BE49-F238E27FC236}">
                <a16:creationId xmlns:a16="http://schemas.microsoft.com/office/drawing/2014/main" id="{29A5F552-8759-4B17-BFCF-BB268BFC8E0A}"/>
              </a:ext>
            </a:extLst>
          </p:cNvPr>
          <p:cNvSpPr>
            <a:spLocks noGrp="1"/>
          </p:cNvSpPr>
          <p:nvPr>
            <p:ph type="body" sz="quarter" idx="16"/>
          </p:nvPr>
        </p:nvSpPr>
        <p:spPr>
          <a:xfrm>
            <a:off x="3366704"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0FC82B08-54CD-41D3-BD23-B54B67A9D855}"/>
              </a:ext>
            </a:extLst>
          </p:cNvPr>
          <p:cNvSpPr>
            <a:spLocks noGrp="1"/>
          </p:cNvSpPr>
          <p:nvPr>
            <p:ph type="body" sz="quarter" idx="19"/>
          </p:nvPr>
        </p:nvSpPr>
        <p:spPr>
          <a:xfrm>
            <a:off x="5600252"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BDD97CAB-3C9E-4061-BB2D-297047031714}"/>
              </a:ext>
            </a:extLst>
          </p:cNvPr>
          <p:cNvSpPr>
            <a:spLocks noGrp="1"/>
          </p:cNvSpPr>
          <p:nvPr>
            <p:ph type="body" sz="quarter" idx="22"/>
          </p:nvPr>
        </p:nvSpPr>
        <p:spPr>
          <a:xfrm>
            <a:off x="7650301"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C9FE6EFB-49C7-4251-B7FC-28F9F87BA04A}"/>
              </a:ext>
            </a:extLst>
          </p:cNvPr>
          <p:cNvSpPr>
            <a:spLocks noGrp="1"/>
          </p:cNvSpPr>
          <p:nvPr>
            <p:ph type="body" sz="quarter" idx="25"/>
          </p:nvPr>
        </p:nvSpPr>
        <p:spPr>
          <a:xfrm>
            <a:off x="9739590" y="2301370"/>
            <a:ext cx="1451513" cy="1127629"/>
          </a:xfrm>
        </p:spPr>
        <p:txBody>
          <a:bodyPr>
            <a:noAutofit/>
          </a:bodyPr>
          <a:lstStyle>
            <a:lvl1pPr marL="0" indent="0">
              <a:buFont typeface="Arial" panose="020B0604020202020204" pitchFamily="34" charset="0"/>
              <a:buNone/>
              <a:defRPr sz="1200" b="1">
                <a:solidFill>
                  <a:schemeClr val="bg1"/>
                </a:solidFill>
              </a:defRPr>
            </a:lvl1pPr>
            <a:lvl2pPr marL="0" indent="0">
              <a:buFont typeface="Arial" panose="020B0604020202020204" pitchFamily="34" charset="0"/>
              <a:buNone/>
              <a:defRPr sz="1200" b="1">
                <a:solidFill>
                  <a:schemeClr val="bg1"/>
                </a:solidFill>
              </a:defRPr>
            </a:lvl2pPr>
            <a:lvl3pPr marL="0" indent="0">
              <a:buNone/>
              <a:defRPr sz="1200" b="1">
                <a:solidFill>
                  <a:schemeClr val="bg1"/>
                </a:solidFill>
              </a:defRPr>
            </a:lvl3pPr>
            <a:lvl4pPr marL="0" indent="0">
              <a:buNone/>
              <a:defRPr sz="1200" b="1">
                <a:solidFill>
                  <a:schemeClr val="bg1"/>
                </a:solidFill>
              </a:defRPr>
            </a:lvl4pPr>
            <a:lvl5pPr marL="0" indent="0">
              <a:buNone/>
              <a:defRPr sz="1200" b="1">
                <a:solidFill>
                  <a:schemeClr val="bg1"/>
                </a:solidFill>
              </a:defRPr>
            </a:lvl5pPr>
          </a:lstStyle>
          <a:p>
            <a:pPr lvl="0"/>
            <a:r>
              <a:rPr lang="en-US"/>
              <a:t>Click to edit Master text styles</a:t>
            </a:r>
          </a:p>
        </p:txBody>
      </p:sp>
      <p:sp>
        <p:nvSpPr>
          <p:cNvPr id="28" name="Text Placeholder 14">
            <a:extLst>
              <a:ext uri="{FF2B5EF4-FFF2-40B4-BE49-F238E27FC236}">
                <a16:creationId xmlns:a16="http://schemas.microsoft.com/office/drawing/2014/main" id="{64D7B6C8-A89D-45FE-9856-6A74E5F38925}"/>
              </a:ext>
            </a:extLst>
          </p:cNvPr>
          <p:cNvSpPr>
            <a:spLocks noGrp="1"/>
          </p:cNvSpPr>
          <p:nvPr>
            <p:ph type="body" sz="quarter" idx="12" hasCustomPrompt="1"/>
          </p:nvPr>
        </p:nvSpPr>
        <p:spPr>
          <a:xfrm>
            <a:off x="1346251"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29" name="Text Placeholder 14">
            <a:extLst>
              <a:ext uri="{FF2B5EF4-FFF2-40B4-BE49-F238E27FC236}">
                <a16:creationId xmlns:a16="http://schemas.microsoft.com/office/drawing/2014/main" id="{DE0DB37C-A344-4FF8-A23F-C652121A2971}"/>
              </a:ext>
            </a:extLst>
          </p:cNvPr>
          <p:cNvSpPr>
            <a:spLocks noGrp="1"/>
          </p:cNvSpPr>
          <p:nvPr>
            <p:ph type="body" sz="quarter" idx="15" hasCustomPrompt="1"/>
          </p:nvPr>
        </p:nvSpPr>
        <p:spPr>
          <a:xfrm>
            <a:off x="3366704"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30" name="Text Placeholder 14">
            <a:extLst>
              <a:ext uri="{FF2B5EF4-FFF2-40B4-BE49-F238E27FC236}">
                <a16:creationId xmlns:a16="http://schemas.microsoft.com/office/drawing/2014/main" id="{F838F915-4E1F-443A-A8A8-C08C1F2AA1BD}"/>
              </a:ext>
            </a:extLst>
          </p:cNvPr>
          <p:cNvSpPr>
            <a:spLocks noGrp="1"/>
          </p:cNvSpPr>
          <p:nvPr>
            <p:ph type="body" sz="quarter" idx="18" hasCustomPrompt="1"/>
          </p:nvPr>
        </p:nvSpPr>
        <p:spPr>
          <a:xfrm>
            <a:off x="5600252"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31" name="Text Placeholder 14">
            <a:extLst>
              <a:ext uri="{FF2B5EF4-FFF2-40B4-BE49-F238E27FC236}">
                <a16:creationId xmlns:a16="http://schemas.microsoft.com/office/drawing/2014/main" id="{16365D98-192F-4E96-A58A-11A840F9C236}"/>
              </a:ext>
            </a:extLst>
          </p:cNvPr>
          <p:cNvSpPr>
            <a:spLocks noGrp="1"/>
          </p:cNvSpPr>
          <p:nvPr>
            <p:ph type="body" sz="quarter" idx="21" hasCustomPrompt="1"/>
          </p:nvPr>
        </p:nvSpPr>
        <p:spPr>
          <a:xfrm>
            <a:off x="7650301"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
        <p:nvSpPr>
          <p:cNvPr id="32" name="Text Placeholder 14">
            <a:extLst>
              <a:ext uri="{FF2B5EF4-FFF2-40B4-BE49-F238E27FC236}">
                <a16:creationId xmlns:a16="http://schemas.microsoft.com/office/drawing/2014/main" id="{95F1C33E-3AD9-4A50-8D46-59C5D678623F}"/>
              </a:ext>
            </a:extLst>
          </p:cNvPr>
          <p:cNvSpPr>
            <a:spLocks noGrp="1"/>
          </p:cNvSpPr>
          <p:nvPr>
            <p:ph type="body" sz="quarter" idx="24" hasCustomPrompt="1"/>
          </p:nvPr>
        </p:nvSpPr>
        <p:spPr>
          <a:xfrm>
            <a:off x="9739590" y="1790700"/>
            <a:ext cx="525501" cy="473075"/>
          </a:xfrm>
        </p:spPr>
        <p:txBody>
          <a:bodyPr anchor="b">
            <a:normAutofit/>
          </a:bodyPr>
          <a:lstStyle>
            <a:lvl1pPr>
              <a:defRPr sz="2400">
                <a:solidFill>
                  <a:schemeClr val="bg1">
                    <a:alpha val="50000"/>
                  </a:schemeClr>
                </a:solidFill>
              </a:defRPr>
            </a:lvl1pPr>
          </a:lstStyle>
          <a:p>
            <a:pPr lvl="0"/>
            <a:r>
              <a:rPr lang="en-US"/>
              <a:t>#.</a:t>
            </a:r>
            <a:endParaRPr lang="en-GB"/>
          </a:p>
        </p:txBody>
      </p:sp>
    </p:spTree>
    <p:extLst>
      <p:ext uri="{BB962C8B-B14F-4D97-AF65-F5344CB8AC3E}">
        <p14:creationId xmlns:p14="http://schemas.microsoft.com/office/powerpoint/2010/main" val="2181397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amp;A Text">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98BD966-7897-4ABC-8329-9F605B75763B}"/>
              </a:ext>
            </a:extLst>
          </p:cNvPr>
          <p:cNvGraphicFramePr>
            <a:graphicFrameLocks noChangeAspect="1"/>
          </p:cNvGraphicFramePr>
          <p:nvPr userDrawn="1">
            <p:custDataLst>
              <p:tags r:id="rId1"/>
            </p:custDataLst>
            <p:extLst>
              <p:ext uri="{D42A27DB-BD31-4B8C-83A1-F6EECF244321}">
                <p14:modId xmlns:p14="http://schemas.microsoft.com/office/powerpoint/2010/main" val="2647416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098BD966-7897-4ABC-8329-9F605B757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2916A7-374C-487F-A6C2-2A99B6521EBA}"/>
              </a:ext>
            </a:extLst>
          </p:cNvPr>
          <p:cNvSpPr>
            <a:spLocks noGrp="1"/>
          </p:cNvSpPr>
          <p:nvPr>
            <p:ph type="title" hasCustomPrompt="1"/>
          </p:nvPr>
        </p:nvSpPr>
        <p:spPr>
          <a:xfrm>
            <a:off x="515937" y="447448"/>
            <a:ext cx="5973763" cy="1438502"/>
          </a:xfrm>
        </p:spPr>
        <p:txBody>
          <a:bodyPr vert="horz">
            <a:noAutofit/>
          </a:bodyPr>
          <a:lstStyle>
            <a:lvl1pPr>
              <a:lnSpc>
                <a:spcPct val="90000"/>
              </a:lnSpc>
              <a:defRPr sz="7200"/>
            </a:lvl1pPr>
          </a:lstStyle>
          <a:p>
            <a:r>
              <a:rPr lang="en-US"/>
              <a:t>Q&amp;A</a:t>
            </a:r>
            <a:endParaRPr lang="en-GB"/>
          </a:p>
        </p:txBody>
      </p:sp>
      <p:sp>
        <p:nvSpPr>
          <p:cNvPr id="3" name="Footer Placeholder 2">
            <a:extLst>
              <a:ext uri="{FF2B5EF4-FFF2-40B4-BE49-F238E27FC236}">
                <a16:creationId xmlns:a16="http://schemas.microsoft.com/office/drawing/2014/main" id="{80A5ACAE-F481-4D78-9B8C-EF0854C74634}"/>
              </a:ext>
            </a:extLst>
          </p:cNvPr>
          <p:cNvSpPr>
            <a:spLocks noGrp="1"/>
          </p:cNvSpPr>
          <p:nvPr>
            <p:ph type="ftr" sz="quarter" idx="10"/>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68287245-551E-44A2-82E6-108CCD4C99F1}"/>
              </a:ext>
            </a:extLst>
          </p:cNvPr>
          <p:cNvSpPr>
            <a:spLocks noGrp="1"/>
          </p:cNvSpPr>
          <p:nvPr>
            <p:ph type="sldNum" sz="quarter" idx="11"/>
          </p:nvPr>
        </p:nvSpPr>
        <p:spPr/>
        <p:txBody>
          <a:bodyPr/>
          <a:lstStyle/>
          <a:p>
            <a:fld id="{A8B7E462-AA7B-4427-9DF0-5AABDADAA92F}" type="slidenum">
              <a:rPr lang="en-GB" smtClean="0"/>
              <a:pPr/>
              <a:t>‹#›</a:t>
            </a:fld>
            <a:endParaRPr lang="en-GB"/>
          </a:p>
        </p:txBody>
      </p:sp>
      <p:sp>
        <p:nvSpPr>
          <p:cNvPr id="15" name="Text Placeholder 14">
            <a:extLst>
              <a:ext uri="{FF2B5EF4-FFF2-40B4-BE49-F238E27FC236}">
                <a16:creationId xmlns:a16="http://schemas.microsoft.com/office/drawing/2014/main" id="{E120C1F3-EA6F-49CB-9EE0-450CED14E184}"/>
              </a:ext>
            </a:extLst>
          </p:cNvPr>
          <p:cNvSpPr>
            <a:spLocks noGrp="1"/>
          </p:cNvSpPr>
          <p:nvPr>
            <p:ph type="body" sz="quarter" idx="12"/>
          </p:nvPr>
        </p:nvSpPr>
        <p:spPr>
          <a:xfrm>
            <a:off x="515938" y="2060575"/>
            <a:ext cx="5973762" cy="41658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CCBD45C5-C166-43B4-9C6D-9632D62502ED}"/>
              </a:ext>
            </a:extLst>
          </p:cNvPr>
          <p:cNvPicPr>
            <a:picLocks noChangeAspect="1"/>
          </p:cNvPicPr>
          <p:nvPr userDrawn="1"/>
        </p:nvPicPr>
        <p:blipFill>
          <a:blip r:embed="rId5"/>
          <a:stretch>
            <a:fillRect/>
          </a:stretch>
        </p:blipFill>
        <p:spPr>
          <a:xfrm>
            <a:off x="7016047" y="359570"/>
            <a:ext cx="5175953" cy="5102794"/>
          </a:xfrm>
          <a:prstGeom prst="rect">
            <a:avLst/>
          </a:prstGeom>
        </p:spPr>
      </p:pic>
    </p:spTree>
    <p:extLst>
      <p:ext uri="{BB962C8B-B14F-4D97-AF65-F5344CB8AC3E}">
        <p14:creationId xmlns:p14="http://schemas.microsoft.com/office/powerpoint/2010/main" val="893926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 +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321185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6" y="1833563"/>
            <a:ext cx="5580063" cy="1693109"/>
          </a:xfrm>
        </p:spPr>
        <p:txBody>
          <a:bodyPr vert="horz" anchor="b">
            <a:noAutofit/>
          </a:bodyPr>
          <a:lstStyle>
            <a:lvl1pPr algn="l">
              <a:lnSpc>
                <a:spcPct val="90000"/>
              </a:lnSpc>
              <a:defRPr sz="4800" spc="-150">
                <a:solidFill>
                  <a:schemeClr val="tx1"/>
                </a:solidFill>
                <a:latin typeface="+mj-lt"/>
              </a:defRPr>
            </a:lvl1pPr>
          </a:lstStyle>
          <a:p>
            <a:r>
              <a:rPr lang="en-US"/>
              <a:t>Click to edit Master title style</a:t>
            </a:r>
            <a:endParaRPr lang="en-GB"/>
          </a:p>
        </p:txBody>
      </p:sp>
      <p:sp>
        <p:nvSpPr>
          <p:cNvPr id="752" name="Text Placeholder 21">
            <a:extLst>
              <a:ext uri="{FF2B5EF4-FFF2-40B4-BE49-F238E27FC236}">
                <a16:creationId xmlns:a16="http://schemas.microsoft.com/office/drawing/2014/main" id="{38C7558E-4B92-4B0D-893B-886894BA2780}"/>
              </a:ext>
            </a:extLst>
          </p:cNvPr>
          <p:cNvSpPr>
            <a:spLocks noGrp="1"/>
          </p:cNvSpPr>
          <p:nvPr>
            <p:ph type="body" sz="quarter" idx="12"/>
          </p:nvPr>
        </p:nvSpPr>
        <p:spPr>
          <a:xfrm>
            <a:off x="515937" y="3717912"/>
            <a:ext cx="5580062" cy="957417"/>
          </a:xfrm>
        </p:spPr>
        <p:txBody>
          <a:bodyPr>
            <a:normAutofit/>
          </a:bodyPr>
          <a:lstStyle>
            <a:lvl1pPr marL="0" indent="0">
              <a:lnSpc>
                <a:spcPct val="100000"/>
              </a:lnSpc>
              <a:spcBef>
                <a:spcPts val="0"/>
              </a:spcBef>
              <a:buFont typeface="Arial" panose="020B0604020202020204" pitchFamily="34" charset="0"/>
              <a:buNone/>
              <a:defRPr sz="1400" b="1">
                <a:solidFill>
                  <a:schemeClr val="tx1"/>
                </a:solidFill>
                <a:latin typeface="+mj-lt"/>
              </a:defRPr>
            </a:lvl1pPr>
            <a:lvl2pPr marL="0" indent="0">
              <a:lnSpc>
                <a:spcPct val="90000"/>
              </a:lnSpc>
              <a:spcBef>
                <a:spcPts val="0"/>
              </a:spcBef>
              <a:buNone/>
              <a:defRPr sz="1600" b="0">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a:p>
            <a:pPr lvl="1"/>
            <a:r>
              <a:rPr lang="en-US"/>
              <a:t>Second level</a:t>
            </a:r>
          </a:p>
        </p:txBody>
      </p:sp>
      <p:sp>
        <p:nvSpPr>
          <p:cNvPr id="3" name="Picture Placeholder 39">
            <a:extLst>
              <a:ext uri="{FF2B5EF4-FFF2-40B4-BE49-F238E27FC236}">
                <a16:creationId xmlns:a16="http://schemas.microsoft.com/office/drawing/2014/main" id="{F46C38BE-D6C8-722E-1678-8250F9BEE87B}"/>
              </a:ext>
            </a:extLst>
          </p:cNvPr>
          <p:cNvSpPr>
            <a:spLocks noGrp="1"/>
          </p:cNvSpPr>
          <p:nvPr>
            <p:ph type="pic" sz="quarter" idx="13"/>
          </p:nvPr>
        </p:nvSpPr>
        <p:spPr>
          <a:xfrm>
            <a:off x="5735937"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5" name="Text Placeholder 21">
            <a:extLst>
              <a:ext uri="{FF2B5EF4-FFF2-40B4-BE49-F238E27FC236}">
                <a16:creationId xmlns:a16="http://schemas.microsoft.com/office/drawing/2014/main" id="{63150B23-5753-BEF2-7B2F-05AA878D795C}"/>
              </a:ext>
            </a:extLst>
          </p:cNvPr>
          <p:cNvSpPr>
            <a:spLocks noGrp="1"/>
          </p:cNvSpPr>
          <p:nvPr>
            <p:ph type="body" sz="quarter" idx="14"/>
          </p:nvPr>
        </p:nvSpPr>
        <p:spPr>
          <a:xfrm>
            <a:off x="515937" y="6269039"/>
            <a:ext cx="5220000" cy="171450"/>
          </a:xfrm>
        </p:spPr>
        <p:txBody>
          <a:bodyPr>
            <a:normAutofit/>
          </a:bodyPr>
          <a:lstStyle>
            <a:lvl1pPr marL="0" indent="0">
              <a:lnSpc>
                <a:spcPct val="90000"/>
              </a:lnSpc>
              <a:spcBef>
                <a:spcPts val="0"/>
              </a:spcBef>
              <a:buFont typeface="Arial" panose="020B0604020202020204" pitchFamily="34" charset="0"/>
              <a:buNone/>
              <a:defRPr sz="1600">
                <a:solidFill>
                  <a:schemeClr val="accent1"/>
                </a:solidFill>
                <a:latin typeface="+mj-lt"/>
              </a:defRPr>
            </a:lvl1pPr>
            <a:lvl2pPr marL="0" indent="0">
              <a:lnSpc>
                <a:spcPct val="90000"/>
              </a:lnSpc>
              <a:spcBef>
                <a:spcPts val="0"/>
              </a:spcBef>
              <a:buNone/>
              <a:defRPr sz="1600" b="1">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p:txBody>
      </p:sp>
      <p:pic>
        <p:nvPicPr>
          <p:cNvPr id="2" name="Graphic 1">
            <a:extLst>
              <a:ext uri="{FF2B5EF4-FFF2-40B4-BE49-F238E27FC236}">
                <a16:creationId xmlns:a16="http://schemas.microsoft.com/office/drawing/2014/main" id="{4F224FAA-FF5A-A609-1BED-8D120FF44AA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5937" y="517525"/>
            <a:ext cx="1325563" cy="530225"/>
          </a:xfrm>
          <a:prstGeom prst="rect">
            <a:avLst/>
          </a:prstGeom>
        </p:spPr>
      </p:pic>
    </p:spTree>
    <p:extLst>
      <p:ext uri="{BB962C8B-B14F-4D97-AF65-F5344CB8AC3E}">
        <p14:creationId xmlns:p14="http://schemas.microsoft.com/office/powerpoint/2010/main" val="3623743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 Orange gradient">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2786721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0" name="Rectangle 279">
            <a:extLst>
              <a:ext uri="{FF2B5EF4-FFF2-40B4-BE49-F238E27FC236}">
                <a16:creationId xmlns:a16="http://schemas.microsoft.com/office/drawing/2014/main" id="{6658115D-F111-47F2-8015-A20D083190B8}"/>
              </a:ext>
            </a:extLst>
          </p:cNvPr>
          <p:cNvSpPr/>
          <p:nvPr userDrawn="1"/>
        </p:nvSpPr>
        <p:spPr>
          <a:xfrm>
            <a:off x="7372238" y="0"/>
            <a:ext cx="4819762" cy="6858000"/>
          </a:xfrm>
          <a:prstGeom prst="rect">
            <a:avLst/>
          </a:prstGeom>
          <a:gradFill>
            <a:gsLst>
              <a:gs pos="100000">
                <a:srgbClr val="F07E26"/>
              </a:gs>
              <a:gs pos="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phic 2">
            <a:extLst>
              <a:ext uri="{FF2B5EF4-FFF2-40B4-BE49-F238E27FC236}">
                <a16:creationId xmlns:a16="http://schemas.microsoft.com/office/drawing/2014/main" id="{F81D5B6F-BD23-4393-835F-6920B4351E8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0951903" cy="6858000"/>
          </a:xfrm>
          <a:prstGeom prst="rect">
            <a:avLst/>
          </a:prstGeom>
        </p:spPr>
      </p:pic>
      <p:sp>
        <p:nvSpPr>
          <p:cNvPr id="17" name="TextBox 16">
            <a:extLst>
              <a:ext uri="{FF2B5EF4-FFF2-40B4-BE49-F238E27FC236}">
                <a16:creationId xmlns:a16="http://schemas.microsoft.com/office/drawing/2014/main" id="{61BBCF12-526B-4AB3-BAA4-B29C90DFE9C0}"/>
              </a:ext>
            </a:extLst>
          </p:cNvPr>
          <p:cNvSpPr txBox="1"/>
          <p:nvPr userDrawn="1"/>
        </p:nvSpPr>
        <p:spPr>
          <a:xfrm>
            <a:off x="10379603" y="6104031"/>
            <a:ext cx="1303702" cy="167631"/>
          </a:xfrm>
          <a:custGeom>
            <a:avLst/>
            <a:gdLst/>
            <a:ahLst/>
            <a:cxnLst/>
            <a:rect l="l" t="t" r="r" b="b"/>
            <a:pathLst>
              <a:path w="1303702" h="167631">
                <a:moveTo>
                  <a:pt x="910354" y="104714"/>
                </a:moveTo>
                <a:lnTo>
                  <a:pt x="935185" y="104714"/>
                </a:lnTo>
                <a:lnTo>
                  <a:pt x="935185" y="129545"/>
                </a:lnTo>
                <a:lnTo>
                  <a:pt x="910354" y="129545"/>
                </a:lnTo>
                <a:close/>
                <a:moveTo>
                  <a:pt x="762112" y="84478"/>
                </a:moveTo>
                <a:cubicBezTo>
                  <a:pt x="758931" y="85539"/>
                  <a:pt x="753894" y="86805"/>
                  <a:pt x="747001" y="88278"/>
                </a:cubicBezTo>
                <a:cubicBezTo>
                  <a:pt x="740109" y="89751"/>
                  <a:pt x="735602" y="91194"/>
                  <a:pt x="733481" y="92608"/>
                </a:cubicBezTo>
                <a:cubicBezTo>
                  <a:pt x="730241" y="94905"/>
                  <a:pt x="728621" y="97822"/>
                  <a:pt x="728621" y="101356"/>
                </a:cubicBezTo>
                <a:cubicBezTo>
                  <a:pt x="728621" y="104832"/>
                  <a:pt x="729917" y="107836"/>
                  <a:pt x="732509" y="110370"/>
                </a:cubicBezTo>
                <a:cubicBezTo>
                  <a:pt x="735101" y="112903"/>
                  <a:pt x="738400" y="114169"/>
                  <a:pt x="742406" y="114169"/>
                </a:cubicBezTo>
                <a:cubicBezTo>
                  <a:pt x="746883" y="114169"/>
                  <a:pt x="751154" y="112697"/>
                  <a:pt x="755219" y="109751"/>
                </a:cubicBezTo>
                <a:cubicBezTo>
                  <a:pt x="758224" y="107512"/>
                  <a:pt x="760197" y="104773"/>
                  <a:pt x="761140" y="101533"/>
                </a:cubicBezTo>
                <a:cubicBezTo>
                  <a:pt x="761788" y="99412"/>
                  <a:pt x="762112" y="95377"/>
                  <a:pt x="762112" y="89427"/>
                </a:cubicBezTo>
                <a:close/>
                <a:moveTo>
                  <a:pt x="162037" y="84478"/>
                </a:moveTo>
                <a:cubicBezTo>
                  <a:pt x="158856" y="85539"/>
                  <a:pt x="153819" y="86805"/>
                  <a:pt x="146926" y="88278"/>
                </a:cubicBezTo>
                <a:cubicBezTo>
                  <a:pt x="140033" y="89751"/>
                  <a:pt x="135527" y="91194"/>
                  <a:pt x="133406" y="92608"/>
                </a:cubicBezTo>
                <a:cubicBezTo>
                  <a:pt x="130166" y="94905"/>
                  <a:pt x="128546" y="97822"/>
                  <a:pt x="128546" y="101356"/>
                </a:cubicBezTo>
                <a:cubicBezTo>
                  <a:pt x="128546" y="104832"/>
                  <a:pt x="129842" y="107836"/>
                  <a:pt x="132434" y="110370"/>
                </a:cubicBezTo>
                <a:cubicBezTo>
                  <a:pt x="135026" y="112903"/>
                  <a:pt x="138325" y="114169"/>
                  <a:pt x="142331" y="114169"/>
                </a:cubicBezTo>
                <a:cubicBezTo>
                  <a:pt x="146808" y="114169"/>
                  <a:pt x="151079" y="112697"/>
                  <a:pt x="155144" y="109751"/>
                </a:cubicBezTo>
                <a:cubicBezTo>
                  <a:pt x="158149" y="107512"/>
                  <a:pt x="160122" y="104773"/>
                  <a:pt x="161065" y="101533"/>
                </a:cubicBezTo>
                <a:cubicBezTo>
                  <a:pt x="161713" y="99412"/>
                  <a:pt x="162037" y="95377"/>
                  <a:pt x="162037" y="89427"/>
                </a:cubicBezTo>
                <a:close/>
                <a:moveTo>
                  <a:pt x="1095910" y="53815"/>
                </a:moveTo>
                <a:cubicBezTo>
                  <a:pt x="1089430" y="53815"/>
                  <a:pt x="1083981" y="56289"/>
                  <a:pt x="1079562" y="61238"/>
                </a:cubicBezTo>
                <a:cubicBezTo>
                  <a:pt x="1075144" y="66186"/>
                  <a:pt x="1072935" y="73315"/>
                  <a:pt x="1072935" y="82623"/>
                </a:cubicBezTo>
                <a:cubicBezTo>
                  <a:pt x="1072935" y="91930"/>
                  <a:pt x="1075144" y="99059"/>
                  <a:pt x="1079562" y="104007"/>
                </a:cubicBezTo>
                <a:cubicBezTo>
                  <a:pt x="1083981" y="108956"/>
                  <a:pt x="1089430" y="111430"/>
                  <a:pt x="1095910" y="111430"/>
                </a:cubicBezTo>
                <a:cubicBezTo>
                  <a:pt x="1102390" y="111430"/>
                  <a:pt x="1107825" y="108956"/>
                  <a:pt x="1112214" y="104007"/>
                </a:cubicBezTo>
                <a:cubicBezTo>
                  <a:pt x="1116603" y="99059"/>
                  <a:pt x="1118797" y="91872"/>
                  <a:pt x="1118797" y="82446"/>
                </a:cubicBezTo>
                <a:cubicBezTo>
                  <a:pt x="1118797" y="73256"/>
                  <a:pt x="1116603" y="66186"/>
                  <a:pt x="1112214" y="61238"/>
                </a:cubicBezTo>
                <a:cubicBezTo>
                  <a:pt x="1107825" y="56289"/>
                  <a:pt x="1102390" y="53815"/>
                  <a:pt x="1095910" y="53815"/>
                </a:cubicBezTo>
                <a:close/>
                <a:moveTo>
                  <a:pt x="645937" y="52578"/>
                </a:moveTo>
                <a:cubicBezTo>
                  <a:pt x="639987" y="52578"/>
                  <a:pt x="635083" y="54890"/>
                  <a:pt x="631224" y="59515"/>
                </a:cubicBezTo>
                <a:cubicBezTo>
                  <a:pt x="627366" y="64139"/>
                  <a:pt x="625436" y="71194"/>
                  <a:pt x="625436" y="80678"/>
                </a:cubicBezTo>
                <a:cubicBezTo>
                  <a:pt x="625436" y="90634"/>
                  <a:pt x="627366" y="97925"/>
                  <a:pt x="631224" y="102549"/>
                </a:cubicBezTo>
                <a:cubicBezTo>
                  <a:pt x="635083" y="107174"/>
                  <a:pt x="639840" y="109486"/>
                  <a:pt x="645496" y="109486"/>
                </a:cubicBezTo>
                <a:cubicBezTo>
                  <a:pt x="651563" y="109486"/>
                  <a:pt x="656689" y="107115"/>
                  <a:pt x="660871" y="102372"/>
                </a:cubicBezTo>
                <a:cubicBezTo>
                  <a:pt x="665054" y="97630"/>
                  <a:pt x="667145" y="90605"/>
                  <a:pt x="667145" y="81297"/>
                </a:cubicBezTo>
                <a:cubicBezTo>
                  <a:pt x="667145" y="71577"/>
                  <a:pt x="665143" y="64360"/>
                  <a:pt x="661137" y="59647"/>
                </a:cubicBezTo>
                <a:cubicBezTo>
                  <a:pt x="657131" y="54934"/>
                  <a:pt x="652064" y="52578"/>
                  <a:pt x="645937" y="52578"/>
                </a:cubicBezTo>
                <a:close/>
                <a:moveTo>
                  <a:pt x="366620" y="52578"/>
                </a:moveTo>
                <a:cubicBezTo>
                  <a:pt x="361200" y="52578"/>
                  <a:pt x="356723" y="54551"/>
                  <a:pt x="353188" y="58498"/>
                </a:cubicBezTo>
                <a:cubicBezTo>
                  <a:pt x="349653" y="62445"/>
                  <a:pt x="347915" y="67806"/>
                  <a:pt x="347974" y="74581"/>
                </a:cubicBezTo>
                <a:lnTo>
                  <a:pt x="385088" y="74581"/>
                </a:lnTo>
                <a:cubicBezTo>
                  <a:pt x="384912" y="67394"/>
                  <a:pt x="383056" y="61930"/>
                  <a:pt x="379521" y="58189"/>
                </a:cubicBezTo>
                <a:cubicBezTo>
                  <a:pt x="375987" y="54448"/>
                  <a:pt x="371686" y="52578"/>
                  <a:pt x="366620" y="52578"/>
                </a:cubicBezTo>
                <a:close/>
                <a:moveTo>
                  <a:pt x="255589" y="52578"/>
                </a:moveTo>
                <a:cubicBezTo>
                  <a:pt x="249698" y="52578"/>
                  <a:pt x="244764" y="54920"/>
                  <a:pt x="240788" y="59603"/>
                </a:cubicBezTo>
                <a:cubicBezTo>
                  <a:pt x="236811" y="64286"/>
                  <a:pt x="234823" y="71282"/>
                  <a:pt x="234823" y="80590"/>
                </a:cubicBezTo>
                <a:cubicBezTo>
                  <a:pt x="234823" y="90605"/>
                  <a:pt x="236207" y="97851"/>
                  <a:pt x="238976" y="102328"/>
                </a:cubicBezTo>
                <a:cubicBezTo>
                  <a:pt x="242982" y="108809"/>
                  <a:pt x="248579" y="112049"/>
                  <a:pt x="255766" y="112049"/>
                </a:cubicBezTo>
                <a:cubicBezTo>
                  <a:pt x="261480" y="112049"/>
                  <a:pt x="266341" y="109619"/>
                  <a:pt x="270347" y="104758"/>
                </a:cubicBezTo>
                <a:cubicBezTo>
                  <a:pt x="274352" y="99898"/>
                  <a:pt x="276355" y="92637"/>
                  <a:pt x="276355" y="82976"/>
                </a:cubicBezTo>
                <a:cubicBezTo>
                  <a:pt x="276355" y="72195"/>
                  <a:pt x="274411" y="64434"/>
                  <a:pt x="270523" y="59691"/>
                </a:cubicBezTo>
                <a:cubicBezTo>
                  <a:pt x="266635" y="54949"/>
                  <a:pt x="261657" y="52578"/>
                  <a:pt x="255589" y="52578"/>
                </a:cubicBezTo>
                <a:close/>
                <a:moveTo>
                  <a:pt x="1217810" y="33579"/>
                </a:moveTo>
                <a:cubicBezTo>
                  <a:pt x="1223819" y="33579"/>
                  <a:pt x="1229032" y="34816"/>
                  <a:pt x="1233451" y="37290"/>
                </a:cubicBezTo>
                <a:cubicBezTo>
                  <a:pt x="1237869" y="39765"/>
                  <a:pt x="1241492" y="43506"/>
                  <a:pt x="1244320" y="48513"/>
                </a:cubicBezTo>
                <a:cubicBezTo>
                  <a:pt x="1248443" y="43506"/>
                  <a:pt x="1252891" y="39765"/>
                  <a:pt x="1257663" y="37290"/>
                </a:cubicBezTo>
                <a:cubicBezTo>
                  <a:pt x="1262435" y="34816"/>
                  <a:pt x="1267531" y="33579"/>
                  <a:pt x="1272950" y="33579"/>
                </a:cubicBezTo>
                <a:cubicBezTo>
                  <a:pt x="1279843" y="33579"/>
                  <a:pt x="1285675" y="34978"/>
                  <a:pt x="1290447" y="37776"/>
                </a:cubicBezTo>
                <a:cubicBezTo>
                  <a:pt x="1295219" y="40575"/>
                  <a:pt x="1298783" y="44684"/>
                  <a:pt x="1301139" y="50104"/>
                </a:cubicBezTo>
                <a:cubicBezTo>
                  <a:pt x="1302848" y="54110"/>
                  <a:pt x="1303702" y="60590"/>
                  <a:pt x="1303702" y="69544"/>
                </a:cubicBezTo>
                <a:lnTo>
                  <a:pt x="1303702" y="129545"/>
                </a:lnTo>
                <a:lnTo>
                  <a:pt x="1278871" y="129545"/>
                </a:lnTo>
                <a:lnTo>
                  <a:pt x="1278871" y="75907"/>
                </a:lnTo>
                <a:cubicBezTo>
                  <a:pt x="1278871" y="66599"/>
                  <a:pt x="1278017" y="60590"/>
                  <a:pt x="1276308" y="57880"/>
                </a:cubicBezTo>
                <a:cubicBezTo>
                  <a:pt x="1274011" y="54345"/>
                  <a:pt x="1270476" y="52578"/>
                  <a:pt x="1265704" y="52578"/>
                </a:cubicBezTo>
                <a:cubicBezTo>
                  <a:pt x="1262229" y="52578"/>
                  <a:pt x="1258959" y="53638"/>
                  <a:pt x="1255896" y="55759"/>
                </a:cubicBezTo>
                <a:cubicBezTo>
                  <a:pt x="1252832" y="57880"/>
                  <a:pt x="1250623" y="60987"/>
                  <a:pt x="1249268" y="65082"/>
                </a:cubicBezTo>
                <a:cubicBezTo>
                  <a:pt x="1247913" y="69176"/>
                  <a:pt x="1247236" y="75642"/>
                  <a:pt x="1247236" y="84478"/>
                </a:cubicBezTo>
                <a:lnTo>
                  <a:pt x="1247236" y="129545"/>
                </a:lnTo>
                <a:lnTo>
                  <a:pt x="1222405" y="129545"/>
                </a:lnTo>
                <a:lnTo>
                  <a:pt x="1222405" y="78116"/>
                </a:lnTo>
                <a:cubicBezTo>
                  <a:pt x="1222405" y="68985"/>
                  <a:pt x="1221963" y="63093"/>
                  <a:pt x="1221079" y="60442"/>
                </a:cubicBezTo>
                <a:cubicBezTo>
                  <a:pt x="1220195" y="57791"/>
                  <a:pt x="1218826" y="55818"/>
                  <a:pt x="1216970" y="54522"/>
                </a:cubicBezTo>
                <a:cubicBezTo>
                  <a:pt x="1215114" y="53226"/>
                  <a:pt x="1212596" y="52578"/>
                  <a:pt x="1209415" y="52578"/>
                </a:cubicBezTo>
                <a:cubicBezTo>
                  <a:pt x="1205585" y="52578"/>
                  <a:pt x="1202139" y="53609"/>
                  <a:pt x="1199076" y="55671"/>
                </a:cubicBezTo>
                <a:cubicBezTo>
                  <a:pt x="1196013" y="57733"/>
                  <a:pt x="1193818" y="60708"/>
                  <a:pt x="1192493" y="64596"/>
                </a:cubicBezTo>
                <a:cubicBezTo>
                  <a:pt x="1191167" y="68484"/>
                  <a:pt x="1190504" y="74935"/>
                  <a:pt x="1190504" y="83948"/>
                </a:cubicBezTo>
                <a:lnTo>
                  <a:pt x="1190504" y="129545"/>
                </a:lnTo>
                <a:lnTo>
                  <a:pt x="1165673" y="129545"/>
                </a:lnTo>
                <a:lnTo>
                  <a:pt x="1165673" y="35700"/>
                </a:lnTo>
                <a:lnTo>
                  <a:pt x="1188560" y="35700"/>
                </a:lnTo>
                <a:lnTo>
                  <a:pt x="1188560" y="48513"/>
                </a:lnTo>
                <a:cubicBezTo>
                  <a:pt x="1196749" y="38557"/>
                  <a:pt x="1206499" y="33579"/>
                  <a:pt x="1217810" y="33579"/>
                </a:cubicBezTo>
                <a:close/>
                <a:moveTo>
                  <a:pt x="1095822" y="33579"/>
                </a:moveTo>
                <a:cubicBezTo>
                  <a:pt x="1110019" y="33579"/>
                  <a:pt x="1121654" y="38189"/>
                  <a:pt x="1130727" y="47408"/>
                </a:cubicBezTo>
                <a:cubicBezTo>
                  <a:pt x="1139799" y="56628"/>
                  <a:pt x="1144335" y="68278"/>
                  <a:pt x="1144335" y="82357"/>
                </a:cubicBezTo>
                <a:cubicBezTo>
                  <a:pt x="1144335" y="96555"/>
                  <a:pt x="1139755" y="108323"/>
                  <a:pt x="1130594" y="117660"/>
                </a:cubicBezTo>
                <a:cubicBezTo>
                  <a:pt x="1121433" y="126997"/>
                  <a:pt x="1109901" y="131666"/>
                  <a:pt x="1095999" y="131666"/>
                </a:cubicBezTo>
                <a:cubicBezTo>
                  <a:pt x="1087397" y="131666"/>
                  <a:pt x="1079194" y="129722"/>
                  <a:pt x="1071388" y="125834"/>
                </a:cubicBezTo>
                <a:cubicBezTo>
                  <a:pt x="1063583" y="121946"/>
                  <a:pt x="1057647" y="116246"/>
                  <a:pt x="1053582" y="108735"/>
                </a:cubicBezTo>
                <a:cubicBezTo>
                  <a:pt x="1049517" y="101224"/>
                  <a:pt x="1047485" y="92078"/>
                  <a:pt x="1047485" y="81297"/>
                </a:cubicBezTo>
                <a:cubicBezTo>
                  <a:pt x="1047485" y="73049"/>
                  <a:pt x="1049517" y="65067"/>
                  <a:pt x="1053582" y="57350"/>
                </a:cubicBezTo>
                <a:cubicBezTo>
                  <a:pt x="1057647" y="49632"/>
                  <a:pt x="1063406" y="43741"/>
                  <a:pt x="1070858" y="39676"/>
                </a:cubicBezTo>
                <a:cubicBezTo>
                  <a:pt x="1078310" y="35611"/>
                  <a:pt x="1086632" y="33579"/>
                  <a:pt x="1095822" y="33579"/>
                </a:cubicBezTo>
                <a:close/>
                <a:moveTo>
                  <a:pt x="998009" y="33579"/>
                </a:moveTo>
                <a:cubicBezTo>
                  <a:pt x="1009438" y="33579"/>
                  <a:pt x="1018525" y="36039"/>
                  <a:pt x="1025270" y="40958"/>
                </a:cubicBezTo>
                <a:cubicBezTo>
                  <a:pt x="1032015" y="45877"/>
                  <a:pt x="1036861" y="53373"/>
                  <a:pt x="1039807" y="63447"/>
                </a:cubicBezTo>
                <a:lnTo>
                  <a:pt x="1015329" y="67865"/>
                </a:lnTo>
                <a:cubicBezTo>
                  <a:pt x="1014504" y="62976"/>
                  <a:pt x="1012634" y="59294"/>
                  <a:pt x="1009718" y="56819"/>
                </a:cubicBezTo>
                <a:cubicBezTo>
                  <a:pt x="1006802" y="54345"/>
                  <a:pt x="1003017" y="53108"/>
                  <a:pt x="998363" y="53108"/>
                </a:cubicBezTo>
                <a:cubicBezTo>
                  <a:pt x="992177" y="53108"/>
                  <a:pt x="987243" y="55244"/>
                  <a:pt x="983561" y="59515"/>
                </a:cubicBezTo>
                <a:cubicBezTo>
                  <a:pt x="979879" y="63786"/>
                  <a:pt x="978038" y="70929"/>
                  <a:pt x="978038" y="80944"/>
                </a:cubicBezTo>
                <a:cubicBezTo>
                  <a:pt x="978038" y="92078"/>
                  <a:pt x="979909" y="99942"/>
                  <a:pt x="983649" y="104537"/>
                </a:cubicBezTo>
                <a:cubicBezTo>
                  <a:pt x="987390" y="109133"/>
                  <a:pt x="992413" y="111430"/>
                  <a:pt x="998716" y="111430"/>
                </a:cubicBezTo>
                <a:cubicBezTo>
                  <a:pt x="1003429" y="111430"/>
                  <a:pt x="1007288" y="110090"/>
                  <a:pt x="1010292" y="107409"/>
                </a:cubicBezTo>
                <a:cubicBezTo>
                  <a:pt x="1013297" y="104729"/>
                  <a:pt x="1015417" y="100119"/>
                  <a:pt x="1016655" y="93580"/>
                </a:cubicBezTo>
                <a:lnTo>
                  <a:pt x="1041044" y="97733"/>
                </a:lnTo>
                <a:cubicBezTo>
                  <a:pt x="1038510" y="108926"/>
                  <a:pt x="1033650" y="117380"/>
                  <a:pt x="1026463" y="123094"/>
                </a:cubicBezTo>
                <a:cubicBezTo>
                  <a:pt x="1019276" y="128809"/>
                  <a:pt x="1009644" y="131666"/>
                  <a:pt x="997567" y="131666"/>
                </a:cubicBezTo>
                <a:cubicBezTo>
                  <a:pt x="983841" y="131666"/>
                  <a:pt x="972898" y="127336"/>
                  <a:pt x="964739" y="118676"/>
                </a:cubicBezTo>
                <a:cubicBezTo>
                  <a:pt x="956580" y="110016"/>
                  <a:pt x="952500" y="98028"/>
                  <a:pt x="952500" y="82711"/>
                </a:cubicBezTo>
                <a:cubicBezTo>
                  <a:pt x="952500" y="67217"/>
                  <a:pt x="956595" y="55155"/>
                  <a:pt x="964783" y="46525"/>
                </a:cubicBezTo>
                <a:cubicBezTo>
                  <a:pt x="972972" y="37894"/>
                  <a:pt x="984047" y="33579"/>
                  <a:pt x="998009" y="33579"/>
                </a:cubicBezTo>
                <a:close/>
                <a:moveTo>
                  <a:pt x="839777" y="33579"/>
                </a:moveTo>
                <a:cubicBezTo>
                  <a:pt x="852619" y="33579"/>
                  <a:pt x="862163" y="35670"/>
                  <a:pt x="868408" y="39853"/>
                </a:cubicBezTo>
                <a:cubicBezTo>
                  <a:pt x="874652" y="44036"/>
                  <a:pt x="878953" y="50221"/>
                  <a:pt x="881309" y="58410"/>
                </a:cubicBezTo>
                <a:lnTo>
                  <a:pt x="857892" y="62740"/>
                </a:lnTo>
                <a:cubicBezTo>
                  <a:pt x="856891" y="59088"/>
                  <a:pt x="854991" y="56289"/>
                  <a:pt x="852192" y="54345"/>
                </a:cubicBezTo>
                <a:cubicBezTo>
                  <a:pt x="849394" y="52401"/>
                  <a:pt x="845403" y="51429"/>
                  <a:pt x="840219" y="51429"/>
                </a:cubicBezTo>
                <a:cubicBezTo>
                  <a:pt x="833679" y="51429"/>
                  <a:pt x="828996" y="52342"/>
                  <a:pt x="826168" y="54168"/>
                </a:cubicBezTo>
                <a:cubicBezTo>
                  <a:pt x="824283" y="55465"/>
                  <a:pt x="823341" y="57143"/>
                  <a:pt x="823341" y="59205"/>
                </a:cubicBezTo>
                <a:cubicBezTo>
                  <a:pt x="823341" y="60973"/>
                  <a:pt x="824165" y="62475"/>
                  <a:pt x="825815" y="63712"/>
                </a:cubicBezTo>
                <a:cubicBezTo>
                  <a:pt x="828053" y="65362"/>
                  <a:pt x="835786" y="67689"/>
                  <a:pt x="849011" y="70693"/>
                </a:cubicBezTo>
                <a:cubicBezTo>
                  <a:pt x="862237" y="73697"/>
                  <a:pt x="871471" y="77379"/>
                  <a:pt x="876714" y="81739"/>
                </a:cubicBezTo>
                <a:cubicBezTo>
                  <a:pt x="881898" y="86157"/>
                  <a:pt x="884490" y="92313"/>
                  <a:pt x="884490" y="100207"/>
                </a:cubicBezTo>
                <a:cubicBezTo>
                  <a:pt x="884490" y="108809"/>
                  <a:pt x="880897" y="116202"/>
                  <a:pt x="873710" y="122388"/>
                </a:cubicBezTo>
                <a:cubicBezTo>
                  <a:pt x="866523" y="128573"/>
                  <a:pt x="855889" y="131666"/>
                  <a:pt x="841809" y="131666"/>
                </a:cubicBezTo>
                <a:cubicBezTo>
                  <a:pt x="829026" y="131666"/>
                  <a:pt x="818908" y="129074"/>
                  <a:pt x="811455" y="123890"/>
                </a:cubicBezTo>
                <a:cubicBezTo>
                  <a:pt x="804003" y="118706"/>
                  <a:pt x="799128" y="111666"/>
                  <a:pt x="796831" y="102770"/>
                </a:cubicBezTo>
                <a:lnTo>
                  <a:pt x="821750" y="98970"/>
                </a:lnTo>
                <a:cubicBezTo>
                  <a:pt x="822810" y="103801"/>
                  <a:pt x="824961" y="107468"/>
                  <a:pt x="828201" y="109972"/>
                </a:cubicBezTo>
                <a:cubicBezTo>
                  <a:pt x="831441" y="112476"/>
                  <a:pt x="835977" y="113728"/>
                  <a:pt x="841809" y="113728"/>
                </a:cubicBezTo>
                <a:cubicBezTo>
                  <a:pt x="848231" y="113728"/>
                  <a:pt x="853061" y="112549"/>
                  <a:pt x="856301" y="110193"/>
                </a:cubicBezTo>
                <a:cubicBezTo>
                  <a:pt x="858481" y="108543"/>
                  <a:pt x="859571" y="106334"/>
                  <a:pt x="859571" y="103565"/>
                </a:cubicBezTo>
                <a:cubicBezTo>
                  <a:pt x="859571" y="101680"/>
                  <a:pt x="858982" y="100119"/>
                  <a:pt x="857804" y="98882"/>
                </a:cubicBezTo>
                <a:cubicBezTo>
                  <a:pt x="856567" y="97704"/>
                  <a:pt x="853798" y="96614"/>
                  <a:pt x="849497" y="95612"/>
                </a:cubicBezTo>
                <a:cubicBezTo>
                  <a:pt x="829467" y="91194"/>
                  <a:pt x="816772" y="87159"/>
                  <a:pt x="811411" y="83506"/>
                </a:cubicBezTo>
                <a:cubicBezTo>
                  <a:pt x="803988" y="78440"/>
                  <a:pt x="800277" y="71400"/>
                  <a:pt x="800277" y="62387"/>
                </a:cubicBezTo>
                <a:cubicBezTo>
                  <a:pt x="800277" y="54257"/>
                  <a:pt x="803488" y="47423"/>
                  <a:pt x="809909" y="41885"/>
                </a:cubicBezTo>
                <a:cubicBezTo>
                  <a:pt x="816330" y="36348"/>
                  <a:pt x="826286" y="33579"/>
                  <a:pt x="839777" y="33579"/>
                </a:cubicBezTo>
                <a:close/>
                <a:moveTo>
                  <a:pt x="747001" y="33579"/>
                </a:moveTo>
                <a:cubicBezTo>
                  <a:pt x="758076" y="33579"/>
                  <a:pt x="766324" y="34890"/>
                  <a:pt x="771744" y="37511"/>
                </a:cubicBezTo>
                <a:cubicBezTo>
                  <a:pt x="777163" y="40133"/>
                  <a:pt x="780978" y="43461"/>
                  <a:pt x="783187" y="47497"/>
                </a:cubicBezTo>
                <a:cubicBezTo>
                  <a:pt x="785396" y="51532"/>
                  <a:pt x="786501" y="58940"/>
                  <a:pt x="786501" y="69721"/>
                </a:cubicBezTo>
                <a:lnTo>
                  <a:pt x="786236" y="98705"/>
                </a:lnTo>
                <a:cubicBezTo>
                  <a:pt x="786236" y="106953"/>
                  <a:pt x="786633" y="113035"/>
                  <a:pt x="787429" y="116953"/>
                </a:cubicBezTo>
                <a:cubicBezTo>
                  <a:pt x="788224" y="120871"/>
                  <a:pt x="789712" y="125068"/>
                  <a:pt x="791891" y="129545"/>
                </a:cubicBezTo>
                <a:lnTo>
                  <a:pt x="767325" y="129545"/>
                </a:lnTo>
                <a:cubicBezTo>
                  <a:pt x="766677" y="127896"/>
                  <a:pt x="765882" y="125451"/>
                  <a:pt x="764939" y="122211"/>
                </a:cubicBezTo>
                <a:cubicBezTo>
                  <a:pt x="764527" y="120738"/>
                  <a:pt x="764233" y="119766"/>
                  <a:pt x="764056" y="119295"/>
                </a:cubicBezTo>
                <a:cubicBezTo>
                  <a:pt x="759814" y="123418"/>
                  <a:pt x="755278" y="126511"/>
                  <a:pt x="750447" y="128573"/>
                </a:cubicBezTo>
                <a:cubicBezTo>
                  <a:pt x="745617" y="130635"/>
                  <a:pt x="740462" y="131666"/>
                  <a:pt x="734983" y="131666"/>
                </a:cubicBezTo>
                <a:cubicBezTo>
                  <a:pt x="725322" y="131666"/>
                  <a:pt x="717707" y="129045"/>
                  <a:pt x="712140" y="123801"/>
                </a:cubicBezTo>
                <a:cubicBezTo>
                  <a:pt x="706573" y="118558"/>
                  <a:pt x="703790" y="111931"/>
                  <a:pt x="703790" y="103919"/>
                </a:cubicBezTo>
                <a:cubicBezTo>
                  <a:pt x="703790" y="98617"/>
                  <a:pt x="705056" y="93889"/>
                  <a:pt x="707589" y="89736"/>
                </a:cubicBezTo>
                <a:cubicBezTo>
                  <a:pt x="710123" y="85583"/>
                  <a:pt x="713672" y="82402"/>
                  <a:pt x="718238" y="80192"/>
                </a:cubicBezTo>
                <a:cubicBezTo>
                  <a:pt x="722803" y="77983"/>
                  <a:pt x="729387" y="76054"/>
                  <a:pt x="737988" y="74404"/>
                </a:cubicBezTo>
                <a:cubicBezTo>
                  <a:pt x="749593" y="72225"/>
                  <a:pt x="757635" y="70192"/>
                  <a:pt x="762112" y="68307"/>
                </a:cubicBezTo>
                <a:lnTo>
                  <a:pt x="762112" y="65833"/>
                </a:lnTo>
                <a:cubicBezTo>
                  <a:pt x="762112" y="61061"/>
                  <a:pt x="760934" y="57659"/>
                  <a:pt x="758577" y="55627"/>
                </a:cubicBezTo>
                <a:cubicBezTo>
                  <a:pt x="756221" y="53594"/>
                  <a:pt x="751773" y="52578"/>
                  <a:pt x="745234" y="52578"/>
                </a:cubicBezTo>
                <a:cubicBezTo>
                  <a:pt x="740815" y="52578"/>
                  <a:pt x="737369" y="53447"/>
                  <a:pt x="734895" y="55185"/>
                </a:cubicBezTo>
                <a:cubicBezTo>
                  <a:pt x="732421" y="56923"/>
                  <a:pt x="730418" y="59971"/>
                  <a:pt x="728886" y="64331"/>
                </a:cubicBezTo>
                <a:lnTo>
                  <a:pt x="706352" y="60266"/>
                </a:lnTo>
                <a:cubicBezTo>
                  <a:pt x="708886" y="51193"/>
                  <a:pt x="713245" y="44478"/>
                  <a:pt x="719431" y="40118"/>
                </a:cubicBezTo>
                <a:cubicBezTo>
                  <a:pt x="725616" y="35759"/>
                  <a:pt x="734807" y="33579"/>
                  <a:pt x="747001" y="33579"/>
                </a:cubicBezTo>
                <a:close/>
                <a:moveTo>
                  <a:pt x="639575" y="33579"/>
                </a:moveTo>
                <a:cubicBezTo>
                  <a:pt x="651181" y="33579"/>
                  <a:pt x="660754" y="38675"/>
                  <a:pt x="668294" y="48866"/>
                </a:cubicBezTo>
                <a:lnTo>
                  <a:pt x="668294" y="35700"/>
                </a:lnTo>
                <a:lnTo>
                  <a:pt x="691535" y="35700"/>
                </a:lnTo>
                <a:lnTo>
                  <a:pt x="691535" y="119913"/>
                </a:lnTo>
                <a:cubicBezTo>
                  <a:pt x="691535" y="130989"/>
                  <a:pt x="690621" y="139266"/>
                  <a:pt x="688795" y="144744"/>
                </a:cubicBezTo>
                <a:cubicBezTo>
                  <a:pt x="686969" y="150223"/>
                  <a:pt x="684407" y="154524"/>
                  <a:pt x="681107" y="157646"/>
                </a:cubicBezTo>
                <a:cubicBezTo>
                  <a:pt x="677808" y="160768"/>
                  <a:pt x="673405" y="163213"/>
                  <a:pt x="667897" y="164980"/>
                </a:cubicBezTo>
                <a:cubicBezTo>
                  <a:pt x="662388" y="166748"/>
                  <a:pt x="655422" y="167631"/>
                  <a:pt x="646998" y="167631"/>
                </a:cubicBezTo>
                <a:cubicBezTo>
                  <a:pt x="631092" y="167631"/>
                  <a:pt x="619810" y="164907"/>
                  <a:pt x="613153" y="159457"/>
                </a:cubicBezTo>
                <a:cubicBezTo>
                  <a:pt x="606496" y="154008"/>
                  <a:pt x="603168" y="147101"/>
                  <a:pt x="603168" y="138735"/>
                </a:cubicBezTo>
                <a:cubicBezTo>
                  <a:pt x="603168" y="137911"/>
                  <a:pt x="603197" y="136909"/>
                  <a:pt x="603256" y="135731"/>
                </a:cubicBezTo>
                <a:lnTo>
                  <a:pt x="631622" y="139177"/>
                </a:lnTo>
                <a:cubicBezTo>
                  <a:pt x="632093" y="142476"/>
                  <a:pt x="633183" y="144744"/>
                  <a:pt x="634892" y="145981"/>
                </a:cubicBezTo>
                <a:cubicBezTo>
                  <a:pt x="637248" y="147749"/>
                  <a:pt x="640959" y="148632"/>
                  <a:pt x="646026" y="148632"/>
                </a:cubicBezTo>
                <a:cubicBezTo>
                  <a:pt x="652506" y="148632"/>
                  <a:pt x="657366" y="147660"/>
                  <a:pt x="660606" y="145716"/>
                </a:cubicBezTo>
                <a:cubicBezTo>
                  <a:pt x="662786" y="144420"/>
                  <a:pt x="664436" y="142329"/>
                  <a:pt x="665555" y="139442"/>
                </a:cubicBezTo>
                <a:cubicBezTo>
                  <a:pt x="666321" y="137380"/>
                  <a:pt x="666704" y="133581"/>
                  <a:pt x="666704" y="128043"/>
                </a:cubicBezTo>
                <a:lnTo>
                  <a:pt x="666704" y="114346"/>
                </a:lnTo>
                <a:cubicBezTo>
                  <a:pt x="659281" y="124479"/>
                  <a:pt x="649914" y="129545"/>
                  <a:pt x="638603" y="129545"/>
                </a:cubicBezTo>
                <a:cubicBezTo>
                  <a:pt x="625996" y="129545"/>
                  <a:pt x="616011" y="124214"/>
                  <a:pt x="608647" y="113551"/>
                </a:cubicBezTo>
                <a:cubicBezTo>
                  <a:pt x="602873" y="105127"/>
                  <a:pt x="599987" y="94640"/>
                  <a:pt x="599987" y="82092"/>
                </a:cubicBezTo>
                <a:cubicBezTo>
                  <a:pt x="599987" y="66363"/>
                  <a:pt x="603772" y="54345"/>
                  <a:pt x="611342" y="46039"/>
                </a:cubicBezTo>
                <a:cubicBezTo>
                  <a:pt x="618912" y="37732"/>
                  <a:pt x="628323" y="33579"/>
                  <a:pt x="639575" y="33579"/>
                </a:cubicBezTo>
                <a:close/>
                <a:moveTo>
                  <a:pt x="487919" y="33579"/>
                </a:moveTo>
                <a:cubicBezTo>
                  <a:pt x="493398" y="33579"/>
                  <a:pt x="498405" y="34566"/>
                  <a:pt x="502942" y="36539"/>
                </a:cubicBezTo>
                <a:cubicBezTo>
                  <a:pt x="507478" y="38513"/>
                  <a:pt x="510909" y="41031"/>
                  <a:pt x="513236" y="44095"/>
                </a:cubicBezTo>
                <a:cubicBezTo>
                  <a:pt x="515563" y="47158"/>
                  <a:pt x="517183" y="50634"/>
                  <a:pt x="518096" y="54522"/>
                </a:cubicBezTo>
                <a:cubicBezTo>
                  <a:pt x="519010" y="58410"/>
                  <a:pt x="519466" y="63977"/>
                  <a:pt x="519466" y="71223"/>
                </a:cubicBezTo>
                <a:lnTo>
                  <a:pt x="519466" y="129545"/>
                </a:lnTo>
                <a:lnTo>
                  <a:pt x="494635" y="129545"/>
                </a:lnTo>
                <a:lnTo>
                  <a:pt x="494635" y="81651"/>
                </a:lnTo>
                <a:cubicBezTo>
                  <a:pt x="494635" y="71518"/>
                  <a:pt x="494105" y="64964"/>
                  <a:pt x="493045" y="61989"/>
                </a:cubicBezTo>
                <a:cubicBezTo>
                  <a:pt x="491984" y="59014"/>
                  <a:pt x="490261" y="56702"/>
                  <a:pt x="487875" y="55052"/>
                </a:cubicBezTo>
                <a:cubicBezTo>
                  <a:pt x="485489" y="53403"/>
                  <a:pt x="482617" y="52578"/>
                  <a:pt x="479259" y="52578"/>
                </a:cubicBezTo>
                <a:cubicBezTo>
                  <a:pt x="474959" y="52578"/>
                  <a:pt x="471100" y="53756"/>
                  <a:pt x="467683" y="56113"/>
                </a:cubicBezTo>
                <a:cubicBezTo>
                  <a:pt x="464266" y="58469"/>
                  <a:pt x="461925" y="61591"/>
                  <a:pt x="460658" y="65479"/>
                </a:cubicBezTo>
                <a:cubicBezTo>
                  <a:pt x="459391" y="69368"/>
                  <a:pt x="458758" y="76555"/>
                  <a:pt x="458758" y="87041"/>
                </a:cubicBezTo>
                <a:lnTo>
                  <a:pt x="458758" y="129545"/>
                </a:lnTo>
                <a:lnTo>
                  <a:pt x="433927" y="129545"/>
                </a:lnTo>
                <a:lnTo>
                  <a:pt x="433927" y="35700"/>
                </a:lnTo>
                <a:lnTo>
                  <a:pt x="456991" y="35700"/>
                </a:lnTo>
                <a:lnTo>
                  <a:pt x="456991" y="49485"/>
                </a:lnTo>
                <a:cubicBezTo>
                  <a:pt x="465180" y="38881"/>
                  <a:pt x="475489" y="33579"/>
                  <a:pt x="487919" y="33579"/>
                </a:cubicBezTo>
                <a:close/>
                <a:moveTo>
                  <a:pt x="365117" y="33579"/>
                </a:moveTo>
                <a:cubicBezTo>
                  <a:pt x="379079" y="33579"/>
                  <a:pt x="390096" y="38189"/>
                  <a:pt x="398167" y="47408"/>
                </a:cubicBezTo>
                <a:cubicBezTo>
                  <a:pt x="406237" y="56628"/>
                  <a:pt x="410096" y="70752"/>
                  <a:pt x="409743" y="89780"/>
                </a:cubicBezTo>
                <a:lnTo>
                  <a:pt x="347533" y="89780"/>
                </a:lnTo>
                <a:cubicBezTo>
                  <a:pt x="347709" y="97144"/>
                  <a:pt x="349712" y="102873"/>
                  <a:pt x="353541" y="106968"/>
                </a:cubicBezTo>
                <a:cubicBezTo>
                  <a:pt x="357371" y="111062"/>
                  <a:pt x="362142" y="113109"/>
                  <a:pt x="367857" y="113109"/>
                </a:cubicBezTo>
                <a:cubicBezTo>
                  <a:pt x="371745" y="113109"/>
                  <a:pt x="375015" y="112049"/>
                  <a:pt x="377666" y="109928"/>
                </a:cubicBezTo>
                <a:cubicBezTo>
                  <a:pt x="380317" y="107807"/>
                  <a:pt x="382319" y="104390"/>
                  <a:pt x="383675" y="99677"/>
                </a:cubicBezTo>
                <a:lnTo>
                  <a:pt x="408417" y="103831"/>
                </a:lnTo>
                <a:cubicBezTo>
                  <a:pt x="405236" y="112903"/>
                  <a:pt x="400214" y="119810"/>
                  <a:pt x="393351" y="124553"/>
                </a:cubicBezTo>
                <a:cubicBezTo>
                  <a:pt x="386487" y="129295"/>
                  <a:pt x="377901" y="131666"/>
                  <a:pt x="367592" y="131666"/>
                </a:cubicBezTo>
                <a:cubicBezTo>
                  <a:pt x="351273" y="131666"/>
                  <a:pt x="339197" y="126335"/>
                  <a:pt x="331361" y="115672"/>
                </a:cubicBezTo>
                <a:cubicBezTo>
                  <a:pt x="325176" y="107130"/>
                  <a:pt x="322083" y="96349"/>
                  <a:pt x="322083" y="83329"/>
                </a:cubicBezTo>
                <a:cubicBezTo>
                  <a:pt x="322083" y="67777"/>
                  <a:pt x="326148" y="55597"/>
                  <a:pt x="334277" y="46790"/>
                </a:cubicBezTo>
                <a:cubicBezTo>
                  <a:pt x="342407" y="37983"/>
                  <a:pt x="352687" y="33579"/>
                  <a:pt x="365117" y="33579"/>
                </a:cubicBezTo>
                <a:close/>
                <a:moveTo>
                  <a:pt x="146926" y="33579"/>
                </a:moveTo>
                <a:cubicBezTo>
                  <a:pt x="158001" y="33579"/>
                  <a:pt x="166249" y="34890"/>
                  <a:pt x="171669" y="37511"/>
                </a:cubicBezTo>
                <a:cubicBezTo>
                  <a:pt x="177089" y="40133"/>
                  <a:pt x="180903" y="43461"/>
                  <a:pt x="183112" y="47497"/>
                </a:cubicBezTo>
                <a:cubicBezTo>
                  <a:pt x="185321" y="51532"/>
                  <a:pt x="186426" y="58940"/>
                  <a:pt x="186426" y="69721"/>
                </a:cubicBezTo>
                <a:lnTo>
                  <a:pt x="186161" y="98705"/>
                </a:lnTo>
                <a:cubicBezTo>
                  <a:pt x="186161" y="106953"/>
                  <a:pt x="186559" y="113035"/>
                  <a:pt x="187354" y="116953"/>
                </a:cubicBezTo>
                <a:cubicBezTo>
                  <a:pt x="188149" y="120871"/>
                  <a:pt x="189637" y="125068"/>
                  <a:pt x="191816" y="129545"/>
                </a:cubicBezTo>
                <a:lnTo>
                  <a:pt x="167250" y="129545"/>
                </a:lnTo>
                <a:cubicBezTo>
                  <a:pt x="166602" y="127896"/>
                  <a:pt x="165807" y="125451"/>
                  <a:pt x="164865" y="122211"/>
                </a:cubicBezTo>
                <a:cubicBezTo>
                  <a:pt x="164452" y="120738"/>
                  <a:pt x="164158" y="119766"/>
                  <a:pt x="163981" y="119295"/>
                </a:cubicBezTo>
                <a:cubicBezTo>
                  <a:pt x="159739" y="123418"/>
                  <a:pt x="155203" y="126511"/>
                  <a:pt x="150372" y="128573"/>
                </a:cubicBezTo>
                <a:cubicBezTo>
                  <a:pt x="145542" y="130635"/>
                  <a:pt x="140387" y="131666"/>
                  <a:pt x="134908" y="131666"/>
                </a:cubicBezTo>
                <a:cubicBezTo>
                  <a:pt x="125247" y="131666"/>
                  <a:pt x="117633" y="129045"/>
                  <a:pt x="112065" y="123801"/>
                </a:cubicBezTo>
                <a:cubicBezTo>
                  <a:pt x="106498" y="118558"/>
                  <a:pt x="103715" y="111931"/>
                  <a:pt x="103715" y="103919"/>
                </a:cubicBezTo>
                <a:cubicBezTo>
                  <a:pt x="103715" y="98617"/>
                  <a:pt x="104981" y="93889"/>
                  <a:pt x="107515" y="89736"/>
                </a:cubicBezTo>
                <a:cubicBezTo>
                  <a:pt x="110048" y="85583"/>
                  <a:pt x="113597" y="82402"/>
                  <a:pt x="118163" y="80192"/>
                </a:cubicBezTo>
                <a:cubicBezTo>
                  <a:pt x="122728" y="77983"/>
                  <a:pt x="129312" y="76054"/>
                  <a:pt x="137913" y="74404"/>
                </a:cubicBezTo>
                <a:cubicBezTo>
                  <a:pt x="149518" y="72225"/>
                  <a:pt x="157560" y="70192"/>
                  <a:pt x="162037" y="68307"/>
                </a:cubicBezTo>
                <a:lnTo>
                  <a:pt x="162037" y="65833"/>
                </a:lnTo>
                <a:cubicBezTo>
                  <a:pt x="162037" y="61061"/>
                  <a:pt x="160859" y="57659"/>
                  <a:pt x="158502" y="55627"/>
                </a:cubicBezTo>
                <a:cubicBezTo>
                  <a:pt x="156146" y="53594"/>
                  <a:pt x="151698" y="52578"/>
                  <a:pt x="145159" y="52578"/>
                </a:cubicBezTo>
                <a:cubicBezTo>
                  <a:pt x="140740" y="52578"/>
                  <a:pt x="137294" y="53447"/>
                  <a:pt x="134820" y="55185"/>
                </a:cubicBezTo>
                <a:cubicBezTo>
                  <a:pt x="132346" y="56923"/>
                  <a:pt x="130343" y="59971"/>
                  <a:pt x="128811" y="64331"/>
                </a:cubicBezTo>
                <a:lnTo>
                  <a:pt x="106277" y="60266"/>
                </a:lnTo>
                <a:cubicBezTo>
                  <a:pt x="108811" y="51193"/>
                  <a:pt x="113170" y="44478"/>
                  <a:pt x="119356" y="40118"/>
                </a:cubicBezTo>
                <a:cubicBezTo>
                  <a:pt x="125541" y="35759"/>
                  <a:pt x="134731" y="33579"/>
                  <a:pt x="146926" y="33579"/>
                </a:cubicBezTo>
                <a:close/>
                <a:moveTo>
                  <a:pt x="45509" y="33579"/>
                </a:moveTo>
                <a:cubicBezTo>
                  <a:pt x="56938" y="33579"/>
                  <a:pt x="66025" y="36039"/>
                  <a:pt x="72770" y="40958"/>
                </a:cubicBezTo>
                <a:cubicBezTo>
                  <a:pt x="79515" y="45877"/>
                  <a:pt x="84361" y="53373"/>
                  <a:pt x="87307" y="63447"/>
                </a:cubicBezTo>
                <a:lnTo>
                  <a:pt x="62829" y="67865"/>
                </a:lnTo>
                <a:cubicBezTo>
                  <a:pt x="62004" y="62976"/>
                  <a:pt x="60134" y="59294"/>
                  <a:pt x="57218" y="56819"/>
                </a:cubicBezTo>
                <a:cubicBezTo>
                  <a:pt x="54302" y="54345"/>
                  <a:pt x="50516" y="53108"/>
                  <a:pt x="45863" y="53108"/>
                </a:cubicBezTo>
                <a:cubicBezTo>
                  <a:pt x="39677" y="53108"/>
                  <a:pt x="34743" y="55244"/>
                  <a:pt x="31061" y="59515"/>
                </a:cubicBezTo>
                <a:cubicBezTo>
                  <a:pt x="27379" y="63786"/>
                  <a:pt x="25538" y="70929"/>
                  <a:pt x="25538" y="80944"/>
                </a:cubicBezTo>
                <a:cubicBezTo>
                  <a:pt x="25538" y="92078"/>
                  <a:pt x="27409" y="99942"/>
                  <a:pt x="31149" y="104537"/>
                </a:cubicBezTo>
                <a:cubicBezTo>
                  <a:pt x="34890" y="109133"/>
                  <a:pt x="39912" y="111430"/>
                  <a:pt x="46216" y="111430"/>
                </a:cubicBezTo>
                <a:cubicBezTo>
                  <a:pt x="50929" y="111430"/>
                  <a:pt x="54788" y="110090"/>
                  <a:pt x="57792" y="107409"/>
                </a:cubicBezTo>
                <a:cubicBezTo>
                  <a:pt x="60796" y="104729"/>
                  <a:pt x="62917" y="100119"/>
                  <a:pt x="64154" y="93580"/>
                </a:cubicBezTo>
                <a:lnTo>
                  <a:pt x="88544" y="97733"/>
                </a:lnTo>
                <a:cubicBezTo>
                  <a:pt x="86010" y="108926"/>
                  <a:pt x="81150" y="117380"/>
                  <a:pt x="73963" y="123094"/>
                </a:cubicBezTo>
                <a:cubicBezTo>
                  <a:pt x="66776" y="128809"/>
                  <a:pt x="57144" y="131666"/>
                  <a:pt x="45067" y="131666"/>
                </a:cubicBezTo>
                <a:cubicBezTo>
                  <a:pt x="31341" y="131666"/>
                  <a:pt x="20398" y="127336"/>
                  <a:pt x="12239" y="118676"/>
                </a:cubicBezTo>
                <a:cubicBezTo>
                  <a:pt x="4080" y="110016"/>
                  <a:pt x="0" y="98028"/>
                  <a:pt x="0" y="82711"/>
                </a:cubicBezTo>
                <a:cubicBezTo>
                  <a:pt x="0" y="67217"/>
                  <a:pt x="4095" y="55155"/>
                  <a:pt x="12283" y="46525"/>
                </a:cubicBezTo>
                <a:cubicBezTo>
                  <a:pt x="20472" y="37894"/>
                  <a:pt x="31547" y="33579"/>
                  <a:pt x="45509" y="33579"/>
                </a:cubicBezTo>
                <a:close/>
                <a:moveTo>
                  <a:pt x="574472" y="2562"/>
                </a:moveTo>
                <a:lnTo>
                  <a:pt x="574472" y="35700"/>
                </a:lnTo>
                <a:lnTo>
                  <a:pt x="591439" y="35700"/>
                </a:lnTo>
                <a:lnTo>
                  <a:pt x="591439" y="55494"/>
                </a:lnTo>
                <a:lnTo>
                  <a:pt x="574472" y="55494"/>
                </a:lnTo>
                <a:lnTo>
                  <a:pt x="574472" y="93315"/>
                </a:lnTo>
                <a:cubicBezTo>
                  <a:pt x="574472" y="100973"/>
                  <a:pt x="574634" y="105436"/>
                  <a:pt x="574958" y="106702"/>
                </a:cubicBezTo>
                <a:cubicBezTo>
                  <a:pt x="575282" y="107969"/>
                  <a:pt x="576019" y="109015"/>
                  <a:pt x="577167" y="109839"/>
                </a:cubicBezTo>
                <a:cubicBezTo>
                  <a:pt x="578316" y="110664"/>
                  <a:pt x="579715" y="111077"/>
                  <a:pt x="581365" y="111077"/>
                </a:cubicBezTo>
                <a:cubicBezTo>
                  <a:pt x="583662" y="111077"/>
                  <a:pt x="586991" y="110281"/>
                  <a:pt x="591350" y="108691"/>
                </a:cubicBezTo>
                <a:lnTo>
                  <a:pt x="593471" y="127955"/>
                </a:lnTo>
                <a:cubicBezTo>
                  <a:pt x="587698" y="130429"/>
                  <a:pt x="581159" y="131666"/>
                  <a:pt x="573854" y="131666"/>
                </a:cubicBezTo>
                <a:cubicBezTo>
                  <a:pt x="569376" y="131666"/>
                  <a:pt x="565341" y="130915"/>
                  <a:pt x="561747" y="129413"/>
                </a:cubicBezTo>
                <a:cubicBezTo>
                  <a:pt x="558154" y="127910"/>
                  <a:pt x="555517" y="125966"/>
                  <a:pt x="553838" y="123580"/>
                </a:cubicBezTo>
                <a:cubicBezTo>
                  <a:pt x="552159" y="121195"/>
                  <a:pt x="550996" y="117969"/>
                  <a:pt x="550348" y="113904"/>
                </a:cubicBezTo>
                <a:cubicBezTo>
                  <a:pt x="549818" y="111018"/>
                  <a:pt x="549553" y="105185"/>
                  <a:pt x="549553" y="96408"/>
                </a:cubicBezTo>
                <a:lnTo>
                  <a:pt x="549553" y="55494"/>
                </a:lnTo>
                <a:lnTo>
                  <a:pt x="538153" y="55494"/>
                </a:lnTo>
                <a:lnTo>
                  <a:pt x="538153" y="35700"/>
                </a:lnTo>
                <a:lnTo>
                  <a:pt x="549553" y="35700"/>
                </a:lnTo>
                <a:lnTo>
                  <a:pt x="549553" y="17054"/>
                </a:lnTo>
                <a:close/>
                <a:moveTo>
                  <a:pt x="276267" y="0"/>
                </a:moveTo>
                <a:lnTo>
                  <a:pt x="301098" y="0"/>
                </a:lnTo>
                <a:lnTo>
                  <a:pt x="301098" y="129545"/>
                </a:lnTo>
                <a:lnTo>
                  <a:pt x="278034" y="129545"/>
                </a:lnTo>
                <a:lnTo>
                  <a:pt x="278034" y="115760"/>
                </a:lnTo>
                <a:cubicBezTo>
                  <a:pt x="274205" y="121121"/>
                  <a:pt x="269684" y="125112"/>
                  <a:pt x="264470" y="127734"/>
                </a:cubicBezTo>
                <a:cubicBezTo>
                  <a:pt x="259256" y="130355"/>
                  <a:pt x="253999" y="131666"/>
                  <a:pt x="248697" y="131666"/>
                </a:cubicBezTo>
                <a:cubicBezTo>
                  <a:pt x="237916" y="131666"/>
                  <a:pt x="228682" y="127321"/>
                  <a:pt x="220994" y="118632"/>
                </a:cubicBezTo>
                <a:cubicBezTo>
                  <a:pt x="213306" y="109943"/>
                  <a:pt x="209462" y="97822"/>
                  <a:pt x="209462" y="82269"/>
                </a:cubicBezTo>
                <a:cubicBezTo>
                  <a:pt x="209462" y="66363"/>
                  <a:pt x="213203" y="54272"/>
                  <a:pt x="220684" y="45995"/>
                </a:cubicBezTo>
                <a:cubicBezTo>
                  <a:pt x="228166" y="37718"/>
                  <a:pt x="237621" y="33579"/>
                  <a:pt x="249050" y="33579"/>
                </a:cubicBezTo>
                <a:cubicBezTo>
                  <a:pt x="259536" y="33579"/>
                  <a:pt x="268609" y="37938"/>
                  <a:pt x="276267" y="4665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r"/>
            <a:endParaRPr lang="en-GB" sz="1400" b="1">
              <a:solidFill>
                <a:schemeClr val="bg1"/>
              </a:solidFill>
            </a:endParaRPr>
          </a:p>
        </p:txBody>
      </p:sp>
      <p:sp>
        <p:nvSpPr>
          <p:cNvPr id="19" name="Title 1">
            <a:extLst>
              <a:ext uri="{FF2B5EF4-FFF2-40B4-BE49-F238E27FC236}">
                <a16:creationId xmlns:a16="http://schemas.microsoft.com/office/drawing/2014/main" id="{CDBCAC3B-AE7B-4ABE-97A0-91DBAC0839C3}"/>
              </a:ext>
            </a:extLst>
          </p:cNvPr>
          <p:cNvSpPr>
            <a:spLocks noGrp="1"/>
          </p:cNvSpPr>
          <p:nvPr>
            <p:ph type="ctrTitle"/>
          </p:nvPr>
        </p:nvSpPr>
        <p:spPr>
          <a:xfrm>
            <a:off x="515936" y="981828"/>
            <a:ext cx="7596189" cy="1693109"/>
          </a:xfrm>
        </p:spPr>
        <p:txBody>
          <a:bodyPr vert="horz" anchor="b">
            <a:noAutofit/>
          </a:bodyPr>
          <a:lstStyle>
            <a:lvl1pPr algn="l">
              <a:lnSpc>
                <a:spcPct val="90000"/>
              </a:lnSpc>
              <a:defRPr sz="4800" spc="-150">
                <a:solidFill>
                  <a:schemeClr val="tx1"/>
                </a:solidFill>
                <a:latin typeface="+mj-lt"/>
              </a:defRPr>
            </a:lvl1pPr>
          </a:lstStyle>
          <a:p>
            <a:r>
              <a:rPr lang="en-US"/>
              <a:t>Click to edit Master title style</a:t>
            </a:r>
            <a:endParaRPr lang="en-GB"/>
          </a:p>
        </p:txBody>
      </p:sp>
      <p:sp>
        <p:nvSpPr>
          <p:cNvPr id="20" name="Text Placeholder 21">
            <a:extLst>
              <a:ext uri="{FF2B5EF4-FFF2-40B4-BE49-F238E27FC236}">
                <a16:creationId xmlns:a16="http://schemas.microsoft.com/office/drawing/2014/main" id="{DCC32B19-68A6-44C8-8673-B4E69F94AF2F}"/>
              </a:ext>
            </a:extLst>
          </p:cNvPr>
          <p:cNvSpPr>
            <a:spLocks noGrp="1"/>
          </p:cNvSpPr>
          <p:nvPr>
            <p:ph type="body" sz="quarter" idx="12"/>
          </p:nvPr>
        </p:nvSpPr>
        <p:spPr>
          <a:xfrm>
            <a:off x="515937" y="2944813"/>
            <a:ext cx="3563938" cy="1636712"/>
          </a:xfrm>
        </p:spPr>
        <p:txBody>
          <a:bodyPr>
            <a:normAutofit/>
          </a:bodyPr>
          <a:lstStyle>
            <a:lvl1pPr marL="0" indent="0">
              <a:lnSpc>
                <a:spcPct val="100000"/>
              </a:lnSpc>
              <a:spcBef>
                <a:spcPts val="0"/>
              </a:spcBef>
              <a:buFont typeface="Arial" panose="020B0604020202020204" pitchFamily="34" charset="0"/>
              <a:buNone/>
              <a:defRPr sz="1400" b="1">
                <a:solidFill>
                  <a:schemeClr val="tx1"/>
                </a:solidFill>
                <a:latin typeface="+mj-lt"/>
              </a:defRPr>
            </a:lvl1pPr>
            <a:lvl2pPr marL="0" indent="0">
              <a:lnSpc>
                <a:spcPct val="90000"/>
              </a:lnSpc>
              <a:spcBef>
                <a:spcPts val="0"/>
              </a:spcBef>
              <a:buNone/>
              <a:defRPr sz="1600" b="0">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D4EECAE5-33BE-448C-BDC3-6A8AC2B3A8F0}"/>
              </a:ext>
            </a:extLst>
          </p:cNvPr>
          <p:cNvSpPr>
            <a:spLocks noGrp="1"/>
          </p:cNvSpPr>
          <p:nvPr>
            <p:ph type="body" sz="quarter" idx="13"/>
          </p:nvPr>
        </p:nvSpPr>
        <p:spPr>
          <a:xfrm>
            <a:off x="4548187" y="2944813"/>
            <a:ext cx="3563938" cy="1636712"/>
          </a:xfrm>
        </p:spPr>
        <p:txBody>
          <a:bodyPr>
            <a:normAutofit/>
          </a:bodyPr>
          <a:lstStyle>
            <a:lvl1pPr marL="0" indent="0">
              <a:lnSpc>
                <a:spcPct val="100000"/>
              </a:lnSpc>
              <a:spcBef>
                <a:spcPts val="0"/>
              </a:spcBef>
              <a:buFont typeface="Arial" panose="020B0604020202020204" pitchFamily="34" charset="0"/>
              <a:buNone/>
              <a:defRPr sz="1400" b="1">
                <a:solidFill>
                  <a:schemeClr val="tx1"/>
                </a:solidFill>
                <a:latin typeface="+mj-lt"/>
              </a:defRPr>
            </a:lvl1pPr>
            <a:lvl2pPr marL="0" indent="0">
              <a:lnSpc>
                <a:spcPct val="90000"/>
              </a:lnSpc>
              <a:spcBef>
                <a:spcPts val="0"/>
              </a:spcBef>
              <a:buNone/>
              <a:defRPr sz="1600" b="0">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a:t>Click to edit Master text styles</a:t>
            </a:r>
          </a:p>
          <a:p>
            <a:pPr lvl="1"/>
            <a:r>
              <a:rPr lang="en-US"/>
              <a:t>Second level</a:t>
            </a:r>
          </a:p>
        </p:txBody>
      </p:sp>
      <p:pic>
        <p:nvPicPr>
          <p:cNvPr id="27" name="Graphic 26">
            <a:extLst>
              <a:ext uri="{FF2B5EF4-FFF2-40B4-BE49-F238E27FC236}">
                <a16:creationId xmlns:a16="http://schemas.microsoft.com/office/drawing/2014/main" id="{3DB43152-06B0-4334-9435-E3EBF861912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536950"/>
            <a:ext cx="1774776" cy="709910"/>
          </a:xfrm>
          <a:prstGeom prst="rect">
            <a:avLst/>
          </a:prstGeom>
        </p:spPr>
      </p:pic>
      <p:sp>
        <p:nvSpPr>
          <p:cNvPr id="2" name="Rectangle 1">
            <a:extLst>
              <a:ext uri="{FF2B5EF4-FFF2-40B4-BE49-F238E27FC236}">
                <a16:creationId xmlns:a16="http://schemas.microsoft.com/office/drawing/2014/main" id="{0BC6FFDF-01F3-490B-923D-CF7FEB370FD1}"/>
              </a:ext>
            </a:extLst>
          </p:cNvPr>
          <p:cNvSpPr/>
          <p:nvPr userDrawn="1"/>
        </p:nvSpPr>
        <p:spPr>
          <a:xfrm>
            <a:off x="0" y="0"/>
            <a:ext cx="8813800" cy="139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4484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B61B6E-582D-4255-A909-7CD03D019C5F}"/>
              </a:ext>
            </a:extLst>
          </p:cNvPr>
          <p:cNvGraphicFramePr>
            <a:graphicFrameLocks noChangeAspect="1"/>
          </p:cNvGraphicFramePr>
          <p:nvPr userDrawn="1">
            <p:custDataLst>
              <p:tags r:id="rId1"/>
            </p:custDataLst>
            <p:extLst>
              <p:ext uri="{D42A27DB-BD31-4B8C-83A1-F6EECF244321}">
                <p14:modId xmlns:p14="http://schemas.microsoft.com/office/powerpoint/2010/main" val="1478293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AAB61B6E-582D-4255-A909-7CD03D019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AF62EA-A185-4E87-979D-21DAC9935F65}"/>
              </a:ext>
            </a:extLst>
          </p:cNvPr>
          <p:cNvSpPr>
            <a:spLocks noGrp="1"/>
          </p:cNvSpPr>
          <p:nvPr>
            <p:ph type="title"/>
          </p:nvPr>
        </p:nvSpPr>
        <p:spPr/>
        <p:txBody>
          <a:bodyPr vert="horz"/>
          <a:lstStyle/>
          <a:p>
            <a:r>
              <a:rPr lang="en-US"/>
              <a:t>Click to edit Master title style</a:t>
            </a:r>
            <a:endParaRPr lang="en-GB"/>
          </a:p>
        </p:txBody>
      </p:sp>
      <p:sp>
        <p:nvSpPr>
          <p:cNvPr id="4" name="Footer Placeholder 3">
            <a:extLst>
              <a:ext uri="{FF2B5EF4-FFF2-40B4-BE49-F238E27FC236}">
                <a16:creationId xmlns:a16="http://schemas.microsoft.com/office/drawing/2014/main" id="{774E300B-8841-4F81-B75C-BBF19787492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5" name="Slide Number Placeholder 4">
            <a:extLst>
              <a:ext uri="{FF2B5EF4-FFF2-40B4-BE49-F238E27FC236}">
                <a16:creationId xmlns:a16="http://schemas.microsoft.com/office/drawing/2014/main" id="{0765D42B-ECE5-4F5C-BC6B-1064D15DE03D}"/>
              </a:ext>
            </a:extLst>
          </p:cNvPr>
          <p:cNvSpPr>
            <a:spLocks noGrp="1"/>
          </p:cNvSpPr>
          <p:nvPr>
            <p:ph type="sldNum" sz="quarter" idx="12"/>
          </p:nvPr>
        </p:nvSpPr>
        <p:spPr/>
        <p:txBody>
          <a:bodyPr/>
          <a:lstStyle/>
          <a:p>
            <a:fld id="{A8B7E462-AA7B-4427-9DF0-5AABDADAA92F}" type="slidenum">
              <a:rPr lang="en-GB" smtClean="0"/>
              <a:t>‹#›</a:t>
            </a:fld>
            <a:endParaRPr lang="en-GB"/>
          </a:p>
        </p:txBody>
      </p:sp>
    </p:spTree>
    <p:extLst>
      <p:ext uri="{BB962C8B-B14F-4D97-AF65-F5344CB8AC3E}">
        <p14:creationId xmlns:p14="http://schemas.microsoft.com/office/powerpoint/2010/main" val="299607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Grey">
    <p:bg>
      <p:bgPr>
        <a:solidFill>
          <a:srgbClr val="F2F2F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B61B6E-582D-4255-A909-7CD03D019C5F}"/>
              </a:ext>
            </a:extLst>
          </p:cNvPr>
          <p:cNvGraphicFramePr>
            <a:graphicFrameLocks noChangeAspect="1"/>
          </p:cNvGraphicFramePr>
          <p:nvPr userDrawn="1">
            <p:custDataLst>
              <p:tags r:id="rId1"/>
            </p:custDataLst>
            <p:extLst>
              <p:ext uri="{D42A27DB-BD31-4B8C-83A1-F6EECF244321}">
                <p14:modId xmlns:p14="http://schemas.microsoft.com/office/powerpoint/2010/main" val="2155189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AAB61B6E-582D-4255-A909-7CD03D019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AF62EA-A185-4E87-979D-21DAC9935F65}"/>
              </a:ext>
            </a:extLst>
          </p:cNvPr>
          <p:cNvSpPr>
            <a:spLocks noGrp="1"/>
          </p:cNvSpPr>
          <p:nvPr>
            <p:ph type="title"/>
          </p:nvPr>
        </p:nvSpPr>
        <p:spPr/>
        <p:txBody>
          <a:bodyPr vert="horz"/>
          <a:lstStyle/>
          <a:p>
            <a:r>
              <a:rPr lang="en-US"/>
              <a:t>Click to edit Master title style</a:t>
            </a:r>
            <a:endParaRPr lang="en-GB"/>
          </a:p>
        </p:txBody>
      </p:sp>
      <p:sp>
        <p:nvSpPr>
          <p:cNvPr id="4" name="Footer Placeholder 3">
            <a:extLst>
              <a:ext uri="{FF2B5EF4-FFF2-40B4-BE49-F238E27FC236}">
                <a16:creationId xmlns:a16="http://schemas.microsoft.com/office/drawing/2014/main" id="{774E300B-8841-4F81-B75C-BBF19787492E}"/>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5" name="Slide Number Placeholder 4">
            <a:extLst>
              <a:ext uri="{FF2B5EF4-FFF2-40B4-BE49-F238E27FC236}">
                <a16:creationId xmlns:a16="http://schemas.microsoft.com/office/drawing/2014/main" id="{0765D42B-ECE5-4F5C-BC6B-1064D15DE03D}"/>
              </a:ext>
            </a:extLst>
          </p:cNvPr>
          <p:cNvSpPr>
            <a:spLocks noGrp="1"/>
          </p:cNvSpPr>
          <p:nvPr>
            <p:ph type="sldNum" sz="quarter" idx="12"/>
          </p:nvPr>
        </p:nvSpPr>
        <p:spPr/>
        <p:txBody>
          <a:bodyPr/>
          <a:lstStyle/>
          <a:p>
            <a:fld id="{A8B7E462-AA7B-4427-9DF0-5AABDADAA92F}" type="slidenum">
              <a:rPr lang="en-GB" smtClean="0"/>
              <a:t>‹#›</a:t>
            </a:fld>
            <a:endParaRPr lang="en-GB"/>
          </a:p>
        </p:txBody>
      </p:sp>
    </p:spTree>
    <p:extLst>
      <p:ext uri="{BB962C8B-B14F-4D97-AF65-F5344CB8AC3E}">
        <p14:creationId xmlns:p14="http://schemas.microsoft.com/office/powerpoint/2010/main" val="833258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C93704-143F-433E-94FE-972E5E940920}"/>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4" name="Slide Number Placeholder 3">
            <a:extLst>
              <a:ext uri="{FF2B5EF4-FFF2-40B4-BE49-F238E27FC236}">
                <a16:creationId xmlns:a16="http://schemas.microsoft.com/office/drawing/2014/main" id="{87BDBBA4-6D3F-4A45-AEA1-5BF9F3182E16}"/>
              </a:ext>
            </a:extLst>
          </p:cNvPr>
          <p:cNvSpPr>
            <a:spLocks noGrp="1"/>
          </p:cNvSpPr>
          <p:nvPr>
            <p:ph type="sldNum" sz="quarter" idx="12"/>
          </p:nvPr>
        </p:nvSpPr>
        <p:spPr/>
        <p:txBody>
          <a:bodyPr/>
          <a:lstStyle/>
          <a:p>
            <a:fld id="{A8B7E462-AA7B-4427-9DF0-5AABDADAA92F}" type="slidenum">
              <a:rPr lang="en-GB" smtClean="0"/>
              <a:t>‹#›</a:t>
            </a:fld>
            <a:endParaRPr lang="en-GB"/>
          </a:p>
        </p:txBody>
      </p:sp>
    </p:spTree>
    <p:extLst>
      <p:ext uri="{BB962C8B-B14F-4D97-AF65-F5344CB8AC3E}">
        <p14:creationId xmlns:p14="http://schemas.microsoft.com/office/powerpoint/2010/main" val="305325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Image &amp; Caption">
    <p:spTree>
      <p:nvGrpSpPr>
        <p:cNvPr id="1" name=""/>
        <p:cNvGrpSpPr/>
        <p:nvPr/>
      </p:nvGrpSpPr>
      <p:grpSpPr>
        <a:xfrm>
          <a:off x="0" y="0"/>
          <a:ext cx="0" cy="0"/>
          <a:chOff x="0" y="0"/>
          <a:chExt cx="0" cy="0"/>
        </a:xfrm>
      </p:grpSpPr>
      <p:sp>
        <p:nvSpPr>
          <p:cNvPr id="2" name="Title 1"/>
          <p:cNvSpPr>
            <a:spLocks noGrp="1"/>
          </p:cNvSpPr>
          <p:nvPr>
            <p:ph type="title"/>
          </p:nvPr>
        </p:nvSpPr>
        <p:spPr>
          <a:xfrm>
            <a:off x="733426" y="659953"/>
            <a:ext cx="7480679" cy="1325563"/>
          </a:xfrm>
        </p:spPr>
        <p:txBody>
          <a:bodyPr/>
          <a:lstStyle/>
          <a:p>
            <a:r>
              <a:rPr lang="en-US"/>
              <a:t>Click to edit Master title style</a:t>
            </a:r>
            <a:endParaRPr lang="en-GB"/>
          </a:p>
        </p:txBody>
      </p:sp>
      <p:sp>
        <p:nvSpPr>
          <p:cNvPr id="3" name="Content Placeholder 2"/>
          <p:cNvSpPr>
            <a:spLocks noGrp="1"/>
          </p:cNvSpPr>
          <p:nvPr>
            <p:ph idx="1"/>
          </p:nvPr>
        </p:nvSpPr>
        <p:spPr>
          <a:xfrm>
            <a:off x="733425" y="2138100"/>
            <a:ext cx="3502800" cy="4234125"/>
          </a:xfrm>
        </p:spPr>
        <p:txBody>
          <a:bodyPr/>
          <a:lstStyle>
            <a:lvl1pPr>
              <a:defRPr sz="1467"/>
            </a:lvl1pPr>
            <a:lvl2pPr marL="142871" indent="-142871">
              <a:defRPr sz="1200"/>
            </a:lvl2pPr>
            <a:lvl3pPr marL="312731" indent="-152396">
              <a:defRPr sz="1067"/>
            </a:lvl3pPr>
            <a:lvl4pPr marL="468302" indent="-134935">
              <a:defRPr sz="1067"/>
            </a:lvl4pPr>
            <a:lvl5pPr marL="636572" indent="-150810">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6064C687-E54E-4A59-A131-5441B095AAD8}" type="datetime1">
              <a:rPr lang="en-GB" smtClean="0"/>
              <a:t>07/10/2025</a:t>
            </a:fld>
            <a:endParaRPr lang="en-GB" dirty="0"/>
          </a:p>
        </p:txBody>
      </p:sp>
      <p:sp>
        <p:nvSpPr>
          <p:cNvPr id="5" name="Footer Placeholder 4"/>
          <p:cNvSpPr>
            <a:spLocks noGrp="1"/>
          </p:cNvSpPr>
          <p:nvPr>
            <p:ph type="ftr" sz="quarter" idx="11"/>
          </p:nvPr>
        </p:nvSpPr>
        <p:spPr/>
        <p:txBody>
          <a:bodyPr/>
          <a:lstStyle/>
          <a:p>
            <a:r>
              <a:rPr lang="en-GB" dirty="0"/>
              <a:t>Presentation info in footer</a:t>
            </a:r>
          </a:p>
        </p:txBody>
      </p:sp>
      <p:sp>
        <p:nvSpPr>
          <p:cNvPr id="6" name="Slide Number Placeholder 5"/>
          <p:cNvSpPr>
            <a:spLocks noGrp="1"/>
          </p:cNvSpPr>
          <p:nvPr>
            <p:ph type="sldNum" sz="quarter" idx="12"/>
          </p:nvPr>
        </p:nvSpPr>
        <p:spPr/>
        <p:txBody>
          <a:bodyPr/>
          <a:lstStyle/>
          <a:p>
            <a:fld id="{D5361521-EF7F-456B-A25F-4EAD8E019C37}" type="slidenum">
              <a:rPr lang="en-GB" smtClean="0"/>
              <a:t>‹#›</a:t>
            </a:fld>
            <a:endParaRPr lang="en-GB" dirty="0"/>
          </a:p>
        </p:txBody>
      </p:sp>
      <p:sp>
        <p:nvSpPr>
          <p:cNvPr id="8" name="Picture Placeholder 7"/>
          <p:cNvSpPr>
            <a:spLocks noGrp="1"/>
          </p:cNvSpPr>
          <p:nvPr>
            <p:ph type="pic" sz="quarter" idx="13"/>
          </p:nvPr>
        </p:nvSpPr>
        <p:spPr>
          <a:xfrm>
            <a:off x="8689181" y="659954"/>
            <a:ext cx="3502819" cy="2138100"/>
          </a:xfrm>
        </p:spPr>
        <p:txBody>
          <a:bodyPr/>
          <a:lstStyle/>
          <a:p>
            <a:r>
              <a:rPr lang="en-US" dirty="0"/>
              <a:t>Click icon to add picture</a:t>
            </a:r>
            <a:endParaRPr lang="en-GB" dirty="0"/>
          </a:p>
        </p:txBody>
      </p:sp>
      <p:sp>
        <p:nvSpPr>
          <p:cNvPr id="9" name="Rectangle 8"/>
          <p:cNvSpPr/>
          <p:nvPr userDrawn="1"/>
        </p:nvSpPr>
        <p:spPr>
          <a:xfrm>
            <a:off x="8686036" y="2798053"/>
            <a:ext cx="1754555" cy="59396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ln>
                <a:noFill/>
              </a:ln>
            </a:endParaRPr>
          </a:p>
        </p:txBody>
      </p:sp>
      <p:sp>
        <p:nvSpPr>
          <p:cNvPr id="11" name="Text Placeholder 10"/>
          <p:cNvSpPr>
            <a:spLocks noGrp="1"/>
          </p:cNvSpPr>
          <p:nvPr>
            <p:ph type="body" sz="quarter" idx="14"/>
          </p:nvPr>
        </p:nvSpPr>
        <p:spPr>
          <a:xfrm>
            <a:off x="8686801" y="3633827"/>
            <a:ext cx="1754188" cy="1830355"/>
          </a:xfrm>
        </p:spPr>
        <p:txBody>
          <a:bodyPr/>
          <a:lstStyle>
            <a:lvl1pPr>
              <a:lnSpc>
                <a:spcPct val="100000"/>
              </a:lnSpc>
              <a:spcBef>
                <a:spcPts val="600"/>
              </a:spcBef>
              <a:defRPr sz="933">
                <a:solidFill>
                  <a:schemeClr val="bg2"/>
                </a:solidFill>
              </a:defRPr>
            </a:lvl1pPr>
          </a:lstStyle>
          <a:p>
            <a:pPr lvl="0"/>
            <a:r>
              <a:rPr lang="en-US"/>
              <a:t>Click to edit Master text styles</a:t>
            </a:r>
          </a:p>
        </p:txBody>
      </p:sp>
      <p:sp>
        <p:nvSpPr>
          <p:cNvPr id="12" name="Content Placeholder 2"/>
          <p:cNvSpPr>
            <a:spLocks noGrp="1"/>
          </p:cNvSpPr>
          <p:nvPr>
            <p:ph idx="15"/>
          </p:nvPr>
        </p:nvSpPr>
        <p:spPr>
          <a:xfrm>
            <a:off x="4711303" y="2138100"/>
            <a:ext cx="3502800" cy="4234125"/>
          </a:xfrm>
        </p:spPr>
        <p:txBody>
          <a:bodyPr/>
          <a:lstStyle>
            <a:lvl1pPr>
              <a:defRPr sz="1467"/>
            </a:lvl1pPr>
            <a:lvl2pPr marL="142871" indent="-142871">
              <a:defRPr sz="1200"/>
            </a:lvl2pPr>
            <a:lvl3pPr marL="312731" indent="-152396">
              <a:defRPr sz="1067"/>
            </a:lvl3pPr>
            <a:lvl4pPr marL="468302" indent="-134935">
              <a:defRPr sz="1067"/>
            </a:lvl4pPr>
            <a:lvl5pPr marL="636572" indent="-150810">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444324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2 Image">
    <p:spTree>
      <p:nvGrpSpPr>
        <p:cNvPr id="1" name=""/>
        <p:cNvGrpSpPr/>
        <p:nvPr/>
      </p:nvGrpSpPr>
      <p:grpSpPr>
        <a:xfrm>
          <a:off x="0" y="0"/>
          <a:ext cx="0" cy="0"/>
          <a:chOff x="0" y="0"/>
          <a:chExt cx="0" cy="0"/>
        </a:xfrm>
      </p:grpSpPr>
      <p:sp>
        <p:nvSpPr>
          <p:cNvPr id="2" name="Title 1"/>
          <p:cNvSpPr>
            <a:spLocks noGrp="1"/>
          </p:cNvSpPr>
          <p:nvPr>
            <p:ph type="title"/>
          </p:nvPr>
        </p:nvSpPr>
        <p:spPr>
          <a:xfrm>
            <a:off x="733426" y="659953"/>
            <a:ext cx="7479716" cy="1325563"/>
          </a:xfrm>
        </p:spPr>
        <p:txBody>
          <a:bodyPr/>
          <a:lstStyle/>
          <a:p>
            <a:r>
              <a:rPr lang="en-US"/>
              <a:t>Click to edit Master title style</a:t>
            </a:r>
            <a:endParaRPr lang="en-GB"/>
          </a:p>
        </p:txBody>
      </p:sp>
      <p:sp>
        <p:nvSpPr>
          <p:cNvPr id="3" name="Content Placeholder 2"/>
          <p:cNvSpPr>
            <a:spLocks noGrp="1"/>
          </p:cNvSpPr>
          <p:nvPr>
            <p:ph idx="1"/>
          </p:nvPr>
        </p:nvSpPr>
        <p:spPr>
          <a:xfrm>
            <a:off x="731500" y="2138100"/>
            <a:ext cx="3502800" cy="4234125"/>
          </a:xfrm>
        </p:spPr>
        <p:txBody>
          <a:bodyPr/>
          <a:lstStyle>
            <a:lvl1pPr>
              <a:defRPr sz="1467"/>
            </a:lvl1pPr>
            <a:lvl2pPr marL="142871" indent="-142871">
              <a:defRPr sz="1200"/>
            </a:lvl2pPr>
            <a:lvl3pPr marL="312731" indent="-152396">
              <a:defRPr sz="1067"/>
            </a:lvl3pPr>
            <a:lvl4pPr marL="468302" indent="-134935">
              <a:defRPr sz="1067"/>
            </a:lvl4pPr>
            <a:lvl5pPr marL="636572" indent="-150810">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6064C687-E54E-4A59-A131-5441B095AAD8}" type="datetime1">
              <a:rPr lang="en-GB" smtClean="0"/>
              <a:t>07/10/2025</a:t>
            </a:fld>
            <a:endParaRPr lang="en-GB" dirty="0"/>
          </a:p>
        </p:txBody>
      </p:sp>
      <p:sp>
        <p:nvSpPr>
          <p:cNvPr id="5" name="Footer Placeholder 4"/>
          <p:cNvSpPr>
            <a:spLocks noGrp="1"/>
          </p:cNvSpPr>
          <p:nvPr>
            <p:ph type="ftr" sz="quarter" idx="11"/>
          </p:nvPr>
        </p:nvSpPr>
        <p:spPr/>
        <p:txBody>
          <a:bodyPr/>
          <a:lstStyle/>
          <a:p>
            <a:r>
              <a:rPr lang="en-GB" dirty="0"/>
              <a:t>Presentation info in footer</a:t>
            </a:r>
          </a:p>
        </p:txBody>
      </p:sp>
      <p:sp>
        <p:nvSpPr>
          <p:cNvPr id="6" name="Slide Number Placeholder 5"/>
          <p:cNvSpPr>
            <a:spLocks noGrp="1"/>
          </p:cNvSpPr>
          <p:nvPr>
            <p:ph type="sldNum" sz="quarter" idx="12"/>
          </p:nvPr>
        </p:nvSpPr>
        <p:spPr/>
        <p:txBody>
          <a:bodyPr/>
          <a:lstStyle/>
          <a:p>
            <a:fld id="{D5361521-EF7F-456B-A25F-4EAD8E019C37}" type="slidenum">
              <a:rPr lang="en-GB" smtClean="0"/>
              <a:t>‹#›</a:t>
            </a:fld>
            <a:endParaRPr lang="en-GB" dirty="0"/>
          </a:p>
        </p:txBody>
      </p:sp>
      <p:sp>
        <p:nvSpPr>
          <p:cNvPr id="8" name="Picture Placeholder 7"/>
          <p:cNvSpPr>
            <a:spLocks noGrp="1"/>
          </p:cNvSpPr>
          <p:nvPr>
            <p:ph type="pic" sz="quarter" idx="13"/>
          </p:nvPr>
        </p:nvSpPr>
        <p:spPr>
          <a:xfrm>
            <a:off x="8689181" y="659954"/>
            <a:ext cx="3502819" cy="2138100"/>
          </a:xfrm>
        </p:spPr>
        <p:txBody>
          <a:bodyPr/>
          <a:lstStyle/>
          <a:p>
            <a:r>
              <a:rPr lang="en-US" dirty="0"/>
              <a:t>Click icon to add picture</a:t>
            </a:r>
            <a:endParaRPr lang="en-GB" dirty="0"/>
          </a:p>
        </p:txBody>
      </p:sp>
      <p:sp>
        <p:nvSpPr>
          <p:cNvPr id="12" name="Content Placeholder 2"/>
          <p:cNvSpPr>
            <a:spLocks noGrp="1"/>
          </p:cNvSpPr>
          <p:nvPr>
            <p:ph idx="15"/>
          </p:nvPr>
        </p:nvSpPr>
        <p:spPr>
          <a:xfrm>
            <a:off x="4710341" y="2138100"/>
            <a:ext cx="3502800" cy="4234125"/>
          </a:xfrm>
        </p:spPr>
        <p:txBody>
          <a:bodyPr/>
          <a:lstStyle>
            <a:lvl1pPr>
              <a:defRPr sz="1467"/>
            </a:lvl1pPr>
            <a:lvl2pPr marL="142871" indent="-142871">
              <a:defRPr sz="1200"/>
            </a:lvl2pPr>
            <a:lvl3pPr marL="312731" indent="-152396">
              <a:defRPr sz="1067"/>
            </a:lvl3pPr>
            <a:lvl4pPr marL="468302" indent="-134935">
              <a:defRPr sz="1067"/>
            </a:lvl4pPr>
            <a:lvl5pPr marL="636572" indent="-150810">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Picture Placeholder 7"/>
          <p:cNvSpPr>
            <a:spLocks noGrp="1"/>
          </p:cNvSpPr>
          <p:nvPr>
            <p:ph type="pic" sz="quarter" idx="16"/>
          </p:nvPr>
        </p:nvSpPr>
        <p:spPr>
          <a:xfrm>
            <a:off x="8689181" y="2798055"/>
            <a:ext cx="3502819" cy="2138100"/>
          </a:xfrm>
        </p:spPr>
        <p:txBody>
          <a:bodyPr/>
          <a:lstStyle/>
          <a:p>
            <a:r>
              <a:rPr lang="en-US" dirty="0"/>
              <a:t>Click icon to add picture</a:t>
            </a:r>
            <a:endParaRPr lang="en-GB" dirty="0"/>
          </a:p>
        </p:txBody>
      </p:sp>
      <p:sp>
        <p:nvSpPr>
          <p:cNvPr id="14" name="Rectangle 13"/>
          <p:cNvSpPr/>
          <p:nvPr userDrawn="1"/>
        </p:nvSpPr>
        <p:spPr>
          <a:xfrm>
            <a:off x="8686037" y="4936154"/>
            <a:ext cx="3505964" cy="59396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ln>
                <a:noFill/>
              </a:ln>
            </a:endParaRPr>
          </a:p>
        </p:txBody>
      </p:sp>
    </p:spTree>
    <p:extLst>
      <p:ext uri="{BB962C8B-B14F-4D97-AF65-F5344CB8AC3E}">
        <p14:creationId xmlns:p14="http://schemas.microsoft.com/office/powerpoint/2010/main" val="4160577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p:cNvSpPr>
            <a:spLocks noGrp="1"/>
          </p:cNvSpPr>
          <p:nvPr>
            <p:ph type="title"/>
          </p:nvPr>
        </p:nvSpPr>
        <p:spPr>
          <a:xfrm>
            <a:off x="733426" y="659953"/>
            <a:ext cx="7955756" cy="1325563"/>
          </a:xfrm>
        </p:spPr>
        <p:txBody>
          <a:bodyPr/>
          <a:lstStyle/>
          <a:p>
            <a:r>
              <a:rPr lang="en-US"/>
              <a:t>Click to edit Master title style</a:t>
            </a:r>
            <a:endParaRPr lang="en-GB"/>
          </a:p>
        </p:txBody>
      </p:sp>
      <p:sp>
        <p:nvSpPr>
          <p:cNvPr id="3" name="Content Placeholder 2"/>
          <p:cNvSpPr>
            <a:spLocks noGrp="1"/>
          </p:cNvSpPr>
          <p:nvPr>
            <p:ph idx="1"/>
          </p:nvPr>
        </p:nvSpPr>
        <p:spPr>
          <a:xfrm>
            <a:off x="734645" y="2138100"/>
            <a:ext cx="3502800" cy="4234125"/>
          </a:xfrm>
        </p:spPr>
        <p:txBody>
          <a:bodyPr/>
          <a:lstStyle>
            <a:lvl1pPr>
              <a:defRPr sz="1467"/>
            </a:lvl1pPr>
            <a:lvl2pPr marL="142871" indent="-142871">
              <a:defRPr sz="1200"/>
            </a:lvl2pPr>
            <a:lvl3pPr marL="312731" indent="-152396">
              <a:defRPr sz="1067"/>
            </a:lvl3pPr>
            <a:lvl4pPr marL="468302" indent="-134935">
              <a:defRPr sz="1067"/>
            </a:lvl4pPr>
            <a:lvl5pPr marL="636572" indent="-150810">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6064C687-E54E-4A59-A131-5441B095AAD8}" type="datetime1">
              <a:rPr lang="en-GB" smtClean="0"/>
              <a:t>07/10/2025</a:t>
            </a:fld>
            <a:endParaRPr lang="en-GB" dirty="0"/>
          </a:p>
        </p:txBody>
      </p:sp>
      <p:sp>
        <p:nvSpPr>
          <p:cNvPr id="5" name="Footer Placeholder 4"/>
          <p:cNvSpPr>
            <a:spLocks noGrp="1"/>
          </p:cNvSpPr>
          <p:nvPr>
            <p:ph type="ftr" sz="quarter" idx="11"/>
          </p:nvPr>
        </p:nvSpPr>
        <p:spPr/>
        <p:txBody>
          <a:bodyPr/>
          <a:lstStyle/>
          <a:p>
            <a:r>
              <a:rPr lang="en-GB" dirty="0"/>
              <a:t>Presentation info in footer</a:t>
            </a:r>
          </a:p>
        </p:txBody>
      </p:sp>
      <p:sp>
        <p:nvSpPr>
          <p:cNvPr id="6" name="Slide Number Placeholder 5"/>
          <p:cNvSpPr>
            <a:spLocks noGrp="1"/>
          </p:cNvSpPr>
          <p:nvPr>
            <p:ph type="sldNum" sz="quarter" idx="12"/>
          </p:nvPr>
        </p:nvSpPr>
        <p:spPr/>
        <p:txBody>
          <a:bodyPr/>
          <a:lstStyle/>
          <a:p>
            <a:fld id="{D5361521-EF7F-456B-A25F-4EAD8E019C37}" type="slidenum">
              <a:rPr lang="en-GB" smtClean="0"/>
              <a:t>‹#›</a:t>
            </a:fld>
            <a:endParaRPr lang="en-GB" dirty="0"/>
          </a:p>
        </p:txBody>
      </p:sp>
      <p:sp>
        <p:nvSpPr>
          <p:cNvPr id="12" name="Content Placeholder 2"/>
          <p:cNvSpPr>
            <a:spLocks noGrp="1"/>
          </p:cNvSpPr>
          <p:nvPr>
            <p:ph idx="15"/>
          </p:nvPr>
        </p:nvSpPr>
        <p:spPr>
          <a:xfrm>
            <a:off x="4711913" y="2138100"/>
            <a:ext cx="3502800" cy="4234125"/>
          </a:xfrm>
        </p:spPr>
        <p:txBody>
          <a:bodyPr/>
          <a:lstStyle>
            <a:lvl1pPr>
              <a:defRPr sz="1467"/>
            </a:lvl1pPr>
            <a:lvl2pPr marL="142871" indent="-142871">
              <a:defRPr sz="1200"/>
            </a:lvl2pPr>
            <a:lvl3pPr marL="312731" indent="-152396">
              <a:defRPr sz="1067"/>
            </a:lvl3pPr>
            <a:lvl4pPr marL="468302" indent="-134935">
              <a:defRPr sz="1067"/>
            </a:lvl4pPr>
            <a:lvl5pPr marL="636572" indent="-150810">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16"/>
          </p:nvPr>
        </p:nvSpPr>
        <p:spPr>
          <a:xfrm>
            <a:off x="8689181" y="2138100"/>
            <a:ext cx="3201195" cy="4234125"/>
          </a:xfrm>
        </p:spPr>
        <p:txBody>
          <a:bodyPr/>
          <a:lstStyle>
            <a:lvl1pPr>
              <a:defRPr sz="1467"/>
            </a:lvl1pPr>
            <a:lvl2pPr marL="142871" indent="-142871">
              <a:defRPr sz="1200"/>
            </a:lvl2pPr>
            <a:lvl3pPr marL="312731" indent="-152396">
              <a:defRPr sz="1067"/>
            </a:lvl3pPr>
            <a:lvl4pPr marL="468302" indent="-134935">
              <a:defRPr sz="1067"/>
            </a:lvl4pPr>
            <a:lvl5pPr marL="636572" indent="-150810">
              <a:defRPr sz="10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190539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theme" Target="../theme/theme2.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image" Target="../media/image6.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4" Type="http://schemas.openxmlformats.org/officeDocument/2006/relationships/oleObject" Target="../embeddings/oleObject10.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tags" Target="../tags/tag10.xml"/><Relationship Id="rId8" Type="http://schemas.openxmlformats.org/officeDocument/2006/relationships/slideLayout" Target="../slideLayouts/slideLayout3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20" Type="http://schemas.openxmlformats.org/officeDocument/2006/relationships/slideLayout" Target="../slideLayouts/slideLayout45.xml"/><Relationship Id="rId41"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3426" y="659953"/>
            <a:ext cx="7955756" cy="1325563"/>
          </a:xfrm>
          <a:prstGeom prst="rect">
            <a:avLst/>
          </a:prstGeom>
        </p:spPr>
        <p:txBody>
          <a:bodyPr vert="horz" lIns="0" tIns="0" rIns="0" bIns="0" rtlCol="0" anchor="t" anchorCtr="0">
            <a:noAutofit/>
          </a:bodyPr>
          <a:lstStyle/>
          <a:p>
            <a:r>
              <a:rPr lang="en-US" dirty="0"/>
              <a:t>Click to edit Master title</a:t>
            </a:r>
            <a:br>
              <a:rPr lang="en-US" dirty="0"/>
            </a:br>
            <a:r>
              <a:rPr lang="en-US" dirty="0"/>
              <a:t>style</a:t>
            </a:r>
            <a:endParaRPr lang="en-GB" dirty="0"/>
          </a:p>
        </p:txBody>
      </p:sp>
      <p:sp>
        <p:nvSpPr>
          <p:cNvPr id="3" name="Text Placeholder 2"/>
          <p:cNvSpPr>
            <a:spLocks noGrp="1"/>
          </p:cNvSpPr>
          <p:nvPr>
            <p:ph type="body" idx="1"/>
          </p:nvPr>
        </p:nvSpPr>
        <p:spPr>
          <a:xfrm>
            <a:off x="733426" y="2138100"/>
            <a:ext cx="7955756" cy="42341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8689181" y="6372225"/>
            <a:ext cx="635795" cy="273051"/>
          </a:xfrm>
          <a:prstGeom prst="rect">
            <a:avLst/>
          </a:prstGeom>
        </p:spPr>
        <p:txBody>
          <a:bodyPr vert="horz" lIns="0" tIns="0" rIns="0" bIns="0" rtlCol="0" anchor="b" anchorCtr="0"/>
          <a:lstStyle>
            <a:lvl1pPr algn="l">
              <a:defRPr sz="800">
                <a:solidFill>
                  <a:schemeClr val="tx2"/>
                </a:solidFill>
              </a:defRPr>
            </a:lvl1pPr>
          </a:lstStyle>
          <a:p>
            <a:fld id="{C00EC8A3-E0A5-47ED-BC08-418C025A79A3}" type="datetime1">
              <a:rPr lang="en-GB" smtClean="0"/>
              <a:t>07/10/2025</a:t>
            </a:fld>
            <a:endParaRPr lang="en-GB" dirty="0"/>
          </a:p>
        </p:txBody>
      </p:sp>
      <p:sp>
        <p:nvSpPr>
          <p:cNvPr id="5" name="Footer Placeholder 4"/>
          <p:cNvSpPr>
            <a:spLocks noGrp="1"/>
          </p:cNvSpPr>
          <p:nvPr>
            <p:ph type="ftr" sz="quarter" idx="3"/>
          </p:nvPr>
        </p:nvSpPr>
        <p:spPr>
          <a:xfrm>
            <a:off x="733426" y="283369"/>
            <a:ext cx="3390901" cy="273051"/>
          </a:xfrm>
          <a:prstGeom prst="rect">
            <a:avLst/>
          </a:prstGeom>
        </p:spPr>
        <p:txBody>
          <a:bodyPr vert="horz" lIns="0" tIns="0" rIns="0" bIns="0" rtlCol="0" anchor="t" anchorCtr="0"/>
          <a:lstStyle>
            <a:lvl1pPr algn="l">
              <a:defRPr sz="800">
                <a:solidFill>
                  <a:schemeClr val="tx2"/>
                </a:solidFill>
              </a:defRPr>
            </a:lvl1pPr>
          </a:lstStyle>
          <a:p>
            <a:r>
              <a:rPr lang="en-GB" dirty="0"/>
              <a:t>Presentation info in footer</a:t>
            </a:r>
          </a:p>
        </p:txBody>
      </p:sp>
      <p:sp>
        <p:nvSpPr>
          <p:cNvPr id="6" name="Slide Number Placeholder 5"/>
          <p:cNvSpPr>
            <a:spLocks noGrp="1"/>
          </p:cNvSpPr>
          <p:nvPr>
            <p:ph type="sldNum" sz="quarter" idx="4"/>
          </p:nvPr>
        </p:nvSpPr>
        <p:spPr>
          <a:xfrm>
            <a:off x="11353800" y="6372225"/>
            <a:ext cx="535781" cy="273051"/>
          </a:xfrm>
          <a:prstGeom prst="rect">
            <a:avLst/>
          </a:prstGeom>
        </p:spPr>
        <p:txBody>
          <a:bodyPr vert="horz" lIns="0" tIns="0" rIns="0" bIns="0" rtlCol="0" anchor="b" anchorCtr="0"/>
          <a:lstStyle>
            <a:lvl1pPr algn="r">
              <a:defRPr sz="800">
                <a:solidFill>
                  <a:schemeClr val="tx2"/>
                </a:solidFill>
              </a:defRPr>
            </a:lvl1pPr>
          </a:lstStyle>
          <a:p>
            <a:fld id="{D5361521-EF7F-456B-A25F-4EAD8E019C37}" type="slidenum">
              <a:rPr lang="en-GB" smtClean="0"/>
              <a:pPr/>
              <a:t>‹#›</a:t>
            </a:fld>
            <a:endParaRPr lang="en-GB" dirty="0"/>
          </a:p>
        </p:txBody>
      </p:sp>
      <p:grpSp>
        <p:nvGrpSpPr>
          <p:cNvPr id="7" name="Group 6"/>
          <p:cNvGrpSpPr/>
          <p:nvPr/>
        </p:nvGrpSpPr>
        <p:grpSpPr>
          <a:xfrm>
            <a:off x="8689182" y="265823"/>
            <a:ext cx="1266823" cy="116103"/>
            <a:chOff x="226220" y="265823"/>
            <a:chExt cx="1266823" cy="116102"/>
          </a:xfrm>
        </p:grpSpPr>
        <p:pic>
          <p:nvPicPr>
            <p:cNvPr id="10" name="Picture 9"/>
            <p:cNvPicPr>
              <a:picLocks noChangeAspect="1"/>
            </p:cNvPicPr>
            <p:nvPr userDrawn="1"/>
          </p:nvPicPr>
          <p:blipFill>
            <a:blip r:embed="rId27"/>
            <a:stretch>
              <a:fillRect/>
            </a:stretch>
          </p:blipFill>
          <p:spPr>
            <a:xfrm>
              <a:off x="226220" y="265823"/>
              <a:ext cx="461962" cy="116102"/>
            </a:xfrm>
            <a:prstGeom prst="rect">
              <a:avLst/>
            </a:prstGeom>
          </p:spPr>
        </p:pic>
        <p:pic>
          <p:nvPicPr>
            <p:cNvPr id="11" name="Picture 10"/>
            <p:cNvPicPr>
              <a:picLocks noChangeAspect="1"/>
            </p:cNvPicPr>
            <p:nvPr userDrawn="1"/>
          </p:nvPicPr>
          <p:blipFill>
            <a:blip r:embed="rId28"/>
            <a:stretch>
              <a:fillRect/>
            </a:stretch>
          </p:blipFill>
          <p:spPr>
            <a:xfrm>
              <a:off x="733498" y="310374"/>
              <a:ext cx="759545" cy="71551"/>
            </a:xfrm>
            <a:prstGeom prst="rect">
              <a:avLst/>
            </a:prstGeom>
          </p:spPr>
        </p:pic>
      </p:grpSp>
      <p:sp>
        <p:nvSpPr>
          <p:cNvPr id="12" name="TextBox 11"/>
          <p:cNvSpPr txBox="1"/>
          <p:nvPr/>
        </p:nvSpPr>
        <p:spPr>
          <a:xfrm>
            <a:off x="733426" y="6372225"/>
            <a:ext cx="2430628" cy="273051"/>
          </a:xfrm>
          <a:prstGeom prst="rect">
            <a:avLst/>
          </a:prstGeom>
          <a:noFill/>
        </p:spPr>
        <p:txBody>
          <a:bodyPr wrap="square" lIns="0" tIns="0" rIns="0" bIns="0" rtlCol="0" anchor="b" anchorCtr="0">
            <a:noAutofit/>
          </a:bodyPr>
          <a:lstStyle/>
          <a:p>
            <a:r>
              <a:rPr lang="en-GB" sz="800" kern="1200" dirty="0">
                <a:solidFill>
                  <a:schemeClr val="tx2"/>
                </a:solidFill>
                <a:latin typeface="+mn-lt"/>
                <a:ea typeface="+mn-ea"/>
                <a:cs typeface="+mn-cs"/>
              </a:rPr>
              <a:t>© Cadent Gas Ltd 2018 </a:t>
            </a:r>
          </a:p>
        </p:txBody>
      </p:sp>
    </p:spTree>
    <p:extLst>
      <p:ext uri="{BB962C8B-B14F-4D97-AF65-F5344CB8AC3E}">
        <p14:creationId xmlns:p14="http://schemas.microsoft.com/office/powerpoint/2010/main" val="24984274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726" r:id="rId18"/>
    <p:sldLayoutId id="2147483727" r:id="rId19"/>
    <p:sldLayoutId id="2147483774" r:id="rId20"/>
    <p:sldLayoutId id="2147483817" r:id="rId21"/>
    <p:sldLayoutId id="2147483818" r:id="rId22"/>
    <p:sldLayoutId id="2147483819" r:id="rId23"/>
    <p:sldLayoutId id="2147483820" r:id="rId24"/>
    <p:sldLayoutId id="2147483821" r:id="rId25"/>
  </p:sldLayoutIdLst>
  <p:hf hdr="0"/>
  <p:txStyles>
    <p:titleStyle>
      <a:lvl1pPr algn="l" defTabSz="914377" rtl="0" eaLnBrk="1" latinLnBrk="0" hangingPunct="1">
        <a:lnSpc>
          <a:spcPct val="85000"/>
        </a:lnSpc>
        <a:spcBef>
          <a:spcPct val="0"/>
        </a:spcBef>
        <a:buNone/>
        <a:defRPr sz="3067" b="1" kern="1200" spc="-151">
          <a:solidFill>
            <a:schemeClr val="tx2"/>
          </a:solidFill>
          <a:latin typeface="+mj-lt"/>
          <a:ea typeface="+mj-ea"/>
          <a:cs typeface="+mj-cs"/>
        </a:defRPr>
      </a:lvl1pPr>
    </p:titleStyle>
    <p:bodyStyle>
      <a:lvl1pPr marL="0" indent="0" algn="l" defTabSz="914377" rtl="0" eaLnBrk="1" latinLnBrk="0" hangingPunct="1">
        <a:lnSpc>
          <a:spcPct val="90000"/>
        </a:lnSpc>
        <a:spcBef>
          <a:spcPts val="1200"/>
        </a:spcBef>
        <a:buFont typeface="Arial" panose="020B0604020202020204" pitchFamily="34" charset="0"/>
        <a:buNone/>
        <a:defRPr sz="2000" kern="1200">
          <a:solidFill>
            <a:schemeClr val="tx2"/>
          </a:solidFill>
          <a:latin typeface="+mn-lt"/>
          <a:ea typeface="+mn-ea"/>
          <a:cs typeface="+mn-cs"/>
        </a:defRPr>
      </a:lvl1pPr>
      <a:lvl2pPr marL="230182" indent="-230182" algn="l" defTabSz="914377" rtl="0" eaLnBrk="1" latinLnBrk="0" hangingPunct="1">
        <a:lnSpc>
          <a:spcPct val="90000"/>
        </a:lnSpc>
        <a:spcBef>
          <a:spcPts val="600"/>
        </a:spcBef>
        <a:buFont typeface="Wingdings" panose="05000000000000000000" pitchFamily="2" charset="2"/>
        <a:buChar char="§"/>
        <a:defRPr sz="1867" kern="1200">
          <a:solidFill>
            <a:schemeClr val="tx2"/>
          </a:solidFill>
          <a:latin typeface="+mn-lt"/>
          <a:ea typeface="+mn-ea"/>
          <a:cs typeface="+mn-cs"/>
        </a:defRPr>
      </a:lvl2pPr>
      <a:lvl3pPr marL="454014" indent="-200020" algn="l" defTabSz="914377" rtl="0" eaLnBrk="1" latinLnBrk="0" hangingPunct="1">
        <a:lnSpc>
          <a:spcPct val="90000"/>
        </a:lnSpc>
        <a:spcBef>
          <a:spcPts val="600"/>
        </a:spcBef>
        <a:buFont typeface="Arial" panose="020B0604020202020204" pitchFamily="34" charset="0"/>
        <a:buChar char="–"/>
        <a:defRPr sz="1600" kern="1200">
          <a:solidFill>
            <a:schemeClr val="tx2"/>
          </a:solidFill>
          <a:latin typeface="+mn-lt"/>
          <a:ea typeface="+mn-ea"/>
          <a:cs typeface="+mn-cs"/>
        </a:defRPr>
      </a:lvl3pPr>
      <a:lvl4pPr marL="612759" indent="-149222" algn="l" defTabSz="914377" rtl="0" eaLnBrk="1" latinLnBrk="0" hangingPunct="1">
        <a:lnSpc>
          <a:spcPct val="90000"/>
        </a:lnSpc>
        <a:spcBef>
          <a:spcPts val="300"/>
        </a:spcBef>
        <a:buFont typeface="Wingdings" panose="05000000000000000000" pitchFamily="2" charset="2"/>
        <a:buChar char="§"/>
        <a:defRPr sz="1467" kern="1200">
          <a:solidFill>
            <a:schemeClr val="tx2"/>
          </a:solidFill>
          <a:latin typeface="+mn-lt"/>
          <a:ea typeface="+mn-ea"/>
          <a:cs typeface="+mn-cs"/>
        </a:defRPr>
      </a:lvl4pPr>
      <a:lvl5pPr marL="819130" indent="-192083" algn="l" defTabSz="914377" rtl="0" eaLnBrk="1" latinLnBrk="0" hangingPunct="1">
        <a:lnSpc>
          <a:spcPct val="90000"/>
        </a:lnSpc>
        <a:spcBef>
          <a:spcPts val="300"/>
        </a:spcBef>
        <a:buFont typeface="Arial" panose="020B0604020202020204" pitchFamily="34" charset="0"/>
        <a:buChar char="–"/>
        <a:defRPr sz="1467"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14">
          <p15:clr>
            <a:srgbClr val="F26B43"/>
          </p15:clr>
        </p15:guide>
        <p15:guide id="2" orient="horz" pos="1346">
          <p15:clr>
            <a:srgbClr val="F26B43"/>
          </p15:clr>
        </p15:guide>
        <p15:guide id="3" pos="462">
          <p15:clr>
            <a:srgbClr val="F26B43"/>
          </p15:clr>
        </p15:guide>
        <p15:guide id="4" pos="7490">
          <p15:clr>
            <a:srgbClr val="F26B43"/>
          </p15:clr>
        </p15:guide>
        <p15:guide id="5" orient="horz" pos="41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F966AE-77AE-4403-B446-CEC4F1E54C9B}"/>
              </a:ext>
            </a:extLst>
          </p:cNvPr>
          <p:cNvGraphicFramePr>
            <a:graphicFrameLocks noChangeAspect="1"/>
          </p:cNvGraphicFramePr>
          <p:nvPr userDrawn="1">
            <p:custDataLst>
              <p:tags r:id="rId43"/>
            </p:custDataLst>
            <p:extLst>
              <p:ext uri="{D42A27DB-BD31-4B8C-83A1-F6EECF244321}">
                <p14:modId xmlns:p14="http://schemas.microsoft.com/office/powerpoint/2010/main" val="793521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25" imgH="424" progId="TCLayout.ActiveDocument.1">
                  <p:embed/>
                </p:oleObj>
              </mc:Choice>
              <mc:Fallback>
                <p:oleObj name="think-cell Slide" r:id="rId44" imgW="425" imgH="424" progId="TCLayout.ActiveDocument.1">
                  <p:embed/>
                  <p:pic>
                    <p:nvPicPr>
                      <p:cNvPr id="8" name="Object 7" hidden="1">
                        <a:extLst>
                          <a:ext uri="{FF2B5EF4-FFF2-40B4-BE49-F238E27FC236}">
                            <a16:creationId xmlns:a16="http://schemas.microsoft.com/office/drawing/2014/main" id="{76F966AE-77AE-4403-B446-CEC4F1E54C9B}"/>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DD57B3C-3793-45DD-A55B-BAA3B40F7477}"/>
              </a:ext>
            </a:extLst>
          </p:cNvPr>
          <p:cNvSpPr>
            <a:spLocks noGrp="1"/>
          </p:cNvSpPr>
          <p:nvPr>
            <p:ph type="title"/>
          </p:nvPr>
        </p:nvSpPr>
        <p:spPr>
          <a:xfrm>
            <a:off x="515937" y="512764"/>
            <a:ext cx="11160125" cy="1049336"/>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CE31623-893E-49D2-9DC8-EF2305B71AE3}"/>
              </a:ext>
            </a:extLst>
          </p:cNvPr>
          <p:cNvSpPr>
            <a:spLocks noGrp="1"/>
          </p:cNvSpPr>
          <p:nvPr>
            <p:ph type="body" idx="1"/>
          </p:nvPr>
        </p:nvSpPr>
        <p:spPr>
          <a:xfrm>
            <a:off x="515937" y="2060575"/>
            <a:ext cx="11160126" cy="4284661"/>
          </a:xfrm>
          <a:prstGeom prst="rect">
            <a:avLst/>
          </a:prstGeom>
        </p:spPr>
        <p:txBody>
          <a:bodyPr vert="horz" lIns="0" tIns="0" rIns="0" bIns="0" spcCol="7200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AD34123F-AAC7-49C1-ACA8-4CD8DE0EBBEC}"/>
              </a:ext>
            </a:extLst>
          </p:cNvPr>
          <p:cNvSpPr>
            <a:spLocks noGrp="1"/>
          </p:cNvSpPr>
          <p:nvPr>
            <p:ph type="ftr" sz="quarter" idx="3"/>
          </p:nvPr>
        </p:nvSpPr>
        <p:spPr>
          <a:xfrm>
            <a:off x="515937" y="6469110"/>
            <a:ext cx="7560000" cy="166640"/>
          </a:xfrm>
          <a:prstGeom prst="rect">
            <a:avLst/>
          </a:prstGeom>
        </p:spPr>
        <p:txBody>
          <a:bodyPr vert="horz" lIns="0" tIns="0" rIns="0" bIns="0" rtlCol="0" anchor="ctr"/>
          <a:lstStyle>
            <a:lvl1pPr algn="l">
              <a:defRPr sz="900">
                <a:solidFill>
                  <a:schemeClr val="tx1"/>
                </a:solidFill>
              </a:defRPr>
            </a:lvl1p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0B8B6D32-862D-4379-BD2C-AF2EA1A4C404}"/>
              </a:ext>
            </a:extLst>
          </p:cNvPr>
          <p:cNvSpPr>
            <a:spLocks noGrp="1"/>
          </p:cNvSpPr>
          <p:nvPr>
            <p:ph type="sldNum" sz="quarter" idx="4"/>
          </p:nvPr>
        </p:nvSpPr>
        <p:spPr>
          <a:xfrm>
            <a:off x="11316063" y="6469110"/>
            <a:ext cx="360000" cy="166640"/>
          </a:xfrm>
          <a:prstGeom prst="rect">
            <a:avLst/>
          </a:prstGeom>
        </p:spPr>
        <p:txBody>
          <a:bodyPr vert="horz" lIns="0" tIns="0" rIns="0" bIns="0" rtlCol="0" anchor="ctr"/>
          <a:lstStyle>
            <a:lvl1pPr algn="r">
              <a:defRPr sz="900">
                <a:solidFill>
                  <a:schemeClr val="tx1"/>
                </a:solidFill>
              </a:defRPr>
            </a:lvl1pPr>
          </a:lstStyle>
          <a:p>
            <a:fld id="{A8B7E462-AA7B-4427-9DF0-5AABDADAA92F}" type="slidenum">
              <a:rPr lang="en-GB" smtClean="0"/>
              <a:pPr/>
              <a:t>‹#›</a:t>
            </a:fld>
            <a:endParaRPr lang="en-GB"/>
          </a:p>
        </p:txBody>
      </p:sp>
    </p:spTree>
    <p:extLst>
      <p:ext uri="{BB962C8B-B14F-4D97-AF65-F5344CB8AC3E}">
        <p14:creationId xmlns:p14="http://schemas.microsoft.com/office/powerpoint/2010/main" val="1463222475"/>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 id="2147483840" r:id="rId18"/>
    <p:sldLayoutId id="2147483841" r:id="rId19"/>
    <p:sldLayoutId id="2147483842" r:id="rId20"/>
    <p:sldLayoutId id="2147483843" r:id="rId21"/>
    <p:sldLayoutId id="2147483844" r:id="rId22"/>
    <p:sldLayoutId id="2147483845" r:id="rId23"/>
    <p:sldLayoutId id="2147483846" r:id="rId24"/>
    <p:sldLayoutId id="2147483847" r:id="rId25"/>
    <p:sldLayoutId id="2147483848" r:id="rId26"/>
    <p:sldLayoutId id="2147483849" r:id="rId27"/>
    <p:sldLayoutId id="2147483850" r:id="rId28"/>
    <p:sldLayoutId id="2147483851" r:id="rId29"/>
    <p:sldLayoutId id="2147483852" r:id="rId30"/>
    <p:sldLayoutId id="2147483853" r:id="rId31"/>
    <p:sldLayoutId id="2147483854" r:id="rId32"/>
    <p:sldLayoutId id="2147483855" r:id="rId33"/>
    <p:sldLayoutId id="2147483856" r:id="rId34"/>
    <p:sldLayoutId id="2147483857" r:id="rId35"/>
    <p:sldLayoutId id="2147483858" r:id="rId36"/>
    <p:sldLayoutId id="2147483859" r:id="rId37"/>
    <p:sldLayoutId id="2147483860" r:id="rId38"/>
    <p:sldLayoutId id="2147483861" r:id="rId39"/>
    <p:sldLayoutId id="2147483862" r:id="rId40"/>
    <p:sldLayoutId id="2147483863"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ct val="0"/>
        </a:spcBef>
        <a:buNone/>
        <a:defRPr sz="3000" b="1" kern="1200" spc="-10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200"/>
        </a:spcBef>
        <a:buClr>
          <a:schemeClr val="accent1"/>
        </a:buClr>
        <a:buFont typeface="Arial" panose="020B0604020202020204" pitchFamily="34" charset="0"/>
        <a:buNone/>
        <a:defRPr sz="1400" kern="1200">
          <a:solidFill>
            <a:schemeClr val="tx1"/>
          </a:solidFill>
          <a:latin typeface="+mn-lt"/>
          <a:ea typeface="+mn-ea"/>
          <a:cs typeface="+mn-cs"/>
        </a:defRPr>
      </a:lvl2pPr>
      <a:lvl3pPr marL="144000" indent="-144000" algn="l" defTabSz="914400" rtl="0" eaLnBrk="1" latinLnBrk="0" hangingPunct="1">
        <a:lnSpc>
          <a:spcPct val="100000"/>
        </a:lnSpc>
        <a:spcBef>
          <a:spcPts val="1200"/>
        </a:spcBef>
        <a:buClr>
          <a:schemeClr val="accent1"/>
        </a:buClr>
        <a:buSzPct val="100000"/>
        <a:buFont typeface="Arial" panose="020B0604020202020204" pitchFamily="34" charset="0"/>
        <a:buChar char="•"/>
        <a:defRPr sz="1400" kern="1200">
          <a:solidFill>
            <a:schemeClr val="tx1"/>
          </a:solidFill>
          <a:latin typeface="+mn-lt"/>
          <a:ea typeface="+mn-ea"/>
          <a:cs typeface="+mn-cs"/>
        </a:defRPr>
      </a:lvl3pPr>
      <a:lvl4pPr marL="288000" indent="-144000" algn="l" defTabSz="914400" rtl="0" eaLnBrk="1" latinLnBrk="0" hangingPunct="1">
        <a:lnSpc>
          <a:spcPct val="100000"/>
        </a:lnSpc>
        <a:spcBef>
          <a:spcPts val="1200"/>
        </a:spcBef>
        <a:buClr>
          <a:schemeClr val="accent1"/>
        </a:buClr>
        <a:buSzPct val="60000"/>
        <a:buFont typeface="Courier New" panose="02070309020205020404" pitchFamily="49" charset="0"/>
        <a:buChar char="o"/>
        <a:defRPr sz="1400" kern="1200">
          <a:solidFill>
            <a:schemeClr val="tx1"/>
          </a:solidFill>
          <a:latin typeface="+mn-lt"/>
          <a:ea typeface="+mn-ea"/>
          <a:cs typeface="+mn-cs"/>
        </a:defRPr>
      </a:lvl4pPr>
      <a:lvl5pPr marL="432000" indent="-144000" algn="l" defTabSz="914400" rtl="0" eaLnBrk="1" latinLnBrk="0" hangingPunct="1">
        <a:lnSpc>
          <a:spcPct val="100000"/>
        </a:lnSpc>
        <a:spcBef>
          <a:spcPts val="1200"/>
        </a:spcBef>
        <a:buClr>
          <a:schemeClr val="accent1"/>
        </a:buClr>
        <a:buSzPct val="60000"/>
        <a:buFont typeface="Courier New" panose="02070309020205020404" pitchFamily="49" charset="0"/>
        <a:buChar char="o"/>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orient="horz" pos="2160">
          <p15:clr>
            <a:srgbClr val="A4A3A4"/>
          </p15:clr>
        </p15:guide>
        <p15:guide id="3" pos="325">
          <p15:clr>
            <a:srgbClr val="F26B43"/>
          </p15:clr>
        </p15:guide>
        <p15:guide id="4" pos="7355">
          <p15:clr>
            <a:srgbClr val="F26B43"/>
          </p15:clr>
        </p15:guide>
        <p15:guide id="5" orient="horz" pos="323">
          <p15:clr>
            <a:srgbClr val="F26B43"/>
          </p15:clr>
        </p15:guide>
        <p15:guide id="6" orient="horz" pos="3997">
          <p15:clr>
            <a:srgbClr val="F26B43"/>
          </p15:clr>
        </p15:guide>
        <p15:guide id="7" pos="5110">
          <p15:clr>
            <a:srgbClr val="A4A3A4"/>
          </p15:clr>
        </p15:guide>
        <p15:guide id="8" pos="2570">
          <p15:clr>
            <a:srgbClr val="A4A3A4"/>
          </p15:clr>
        </p15:guide>
        <p15:guide id="9" orient="horz" pos="2886">
          <p15:clr>
            <a:srgbClr val="A4A3A4"/>
          </p15:clr>
        </p15:guide>
        <p15:guide id="11" orient="horz" pos="1298">
          <p15:clr>
            <a:srgbClr val="A4A3A4"/>
          </p15:clr>
        </p15:guide>
        <p15:guide id="12" orient="horz" pos="39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7.xml"/><Relationship Id="rId1" Type="http://schemas.openxmlformats.org/officeDocument/2006/relationships/tags" Target="../tags/tag51.xml"/><Relationship Id="rId5" Type="http://schemas.openxmlformats.org/officeDocument/2006/relationships/image" Target="../media/image49.jpeg"/><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6.xml"/><Relationship Id="rId1" Type="http://schemas.openxmlformats.org/officeDocument/2006/relationships/tags" Target="../tags/tag52.xml"/><Relationship Id="rId5" Type="http://schemas.openxmlformats.org/officeDocument/2006/relationships/image" Target="../media/image74.jpeg"/><Relationship Id="rId4" Type="http://schemas.openxmlformats.org/officeDocument/2006/relationships/image" Target="../media/image6.emf"/></Relationships>
</file>

<file path=ppt/slides/_rels/slide1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9.xml"/><Relationship Id="rId1" Type="http://schemas.openxmlformats.org/officeDocument/2006/relationships/slideLayout" Target="../slideLayouts/slideLayout23.xml"/><Relationship Id="rId5" Type="http://schemas.openxmlformats.org/officeDocument/2006/relationships/image" Target="../media/image77.png"/><Relationship Id="rId4" Type="http://schemas.openxmlformats.org/officeDocument/2006/relationships/image" Target="../media/image76.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hyperlink" Target="https://sbtm.waypoint.correla.com/referral/" TargetMode="External"/><Relationship Id="rId2" Type="http://schemas.openxmlformats.org/officeDocument/2006/relationships/image" Target="../media/image79.emf"/><Relationship Id="rId1" Type="http://schemas.openxmlformats.org/officeDocument/2006/relationships/slideLayout" Target="../slideLayouts/slideLayout25.xml"/><Relationship Id="rId6" Type="http://schemas.openxmlformats.org/officeDocument/2006/relationships/image" Target="../media/image81.png"/><Relationship Id="rId5" Type="http://schemas.openxmlformats.org/officeDocument/2006/relationships/image" Target="../media/image80.emf"/><Relationship Id="rId4" Type="http://schemas.openxmlformats.org/officeDocument/2006/relationships/hyperlink" Target="https://cadentgasltd-my.sharepoint.com/personal/emma_tirebuck_cadentgas_com/_layouts/15/stream.aspx?id=%2Fpersonal%2Femma%5Ftirebuck%5Fcadentgas%5Fcom%2FDocuments%2FMicrosoft%20Teams%20Chat%20Files%2FSBtM%20referral%20video%202025%2Emp4&amp;ga=1&amp;referrer=StreamWebApp%2EWeb&amp;referrerScenario=AddressBarCopied%2Eview%2Edf5256a3%2De139%2D4c4c%2Dbd55%2D01d9a938d937"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www.stayenergysafe.co.uk/" TargetMode="External"/><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hyperlink" Target="https://cadentgas.com/theft-of-gas"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5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 Id="rId9" Type="http://schemas.openxmlformats.org/officeDocument/2006/relationships/image" Target="../media/image64.png"/></Relationships>
</file>

<file path=ppt/slides/_rels/slide6.xml.rels><?xml version="1.0" encoding="UTF-8" standalone="yes"?>
<Relationships xmlns="http://schemas.openxmlformats.org/package/2006/relationships"><Relationship Id="rId3" Type="http://schemas.openxmlformats.org/officeDocument/2006/relationships/hyperlink" Target="https://www.youtube.com/watch?v=G9VmmBM_x84"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slideLayout" Target="../slideLayouts/slideLayout19.xml"/><Relationship Id="rId7" Type="http://schemas.openxmlformats.org/officeDocument/2006/relationships/image" Target="../media/image7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notesSlide" Target="../notesSlides/notesSlide5.xml"/><Relationship Id="rId9" Type="http://schemas.openxmlformats.org/officeDocument/2006/relationships/image" Target="../media/image7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hyperlink" Target="https://www.stayenergysafe.co.uk/" TargetMode="External"/><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117AD4F-0E6A-4C04-A87E-CD2B758EEA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1117AD4F-0E6A-4C04-A87E-CD2B758EEA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947FC1D-899B-4236-95C7-F799234A5EDA}"/>
              </a:ext>
            </a:extLst>
          </p:cNvPr>
          <p:cNvSpPr>
            <a:spLocks noGrp="1"/>
          </p:cNvSpPr>
          <p:nvPr>
            <p:ph type="ctrTitle"/>
          </p:nvPr>
        </p:nvSpPr>
        <p:spPr>
          <a:xfrm>
            <a:off x="515937" y="2060574"/>
            <a:ext cx="5220000" cy="1739901"/>
          </a:xfrm>
        </p:spPr>
        <p:txBody>
          <a:bodyPr vert="horz">
            <a:normAutofit fontScale="90000"/>
          </a:bodyPr>
          <a:lstStyle/>
          <a:p>
            <a:r>
              <a:rPr lang="en-GB" sz="4000" dirty="0">
                <a:solidFill>
                  <a:srgbClr val="F2F2F2"/>
                </a:solidFill>
              </a:rPr>
              <a:t>Gas theft and meter tampering: </a:t>
            </a:r>
            <a:br>
              <a:rPr lang="en-GB" sz="4000" dirty="0">
                <a:solidFill>
                  <a:srgbClr val="F2F2F2"/>
                </a:solidFill>
              </a:rPr>
            </a:br>
            <a:r>
              <a:rPr lang="en-GB" sz="4000" dirty="0">
                <a:solidFill>
                  <a:srgbClr val="F2F2F2"/>
                </a:solidFill>
              </a:rPr>
              <a:t>Keeping your communities safe</a:t>
            </a:r>
            <a:endParaRPr lang="en-GB" dirty="0">
              <a:solidFill>
                <a:srgbClr val="F2F2F2"/>
              </a:solidFill>
            </a:endParaRPr>
          </a:p>
        </p:txBody>
      </p:sp>
      <p:sp>
        <p:nvSpPr>
          <p:cNvPr id="13" name="Text Placeholder 12">
            <a:extLst>
              <a:ext uri="{FF2B5EF4-FFF2-40B4-BE49-F238E27FC236}">
                <a16:creationId xmlns:a16="http://schemas.microsoft.com/office/drawing/2014/main" id="{D95BF4E7-F7BF-4855-BE17-98CFD6E245BF}"/>
              </a:ext>
            </a:extLst>
          </p:cNvPr>
          <p:cNvSpPr>
            <a:spLocks noGrp="1"/>
          </p:cNvSpPr>
          <p:nvPr>
            <p:ph type="body" sz="quarter" idx="12"/>
          </p:nvPr>
        </p:nvSpPr>
        <p:spPr>
          <a:xfrm>
            <a:off x="515937" y="4911726"/>
            <a:ext cx="5220000" cy="1477962"/>
          </a:xfrm>
        </p:spPr>
        <p:txBody>
          <a:bodyPr>
            <a:normAutofit/>
          </a:bodyPr>
          <a:lstStyle/>
          <a:p>
            <a:r>
              <a:rPr lang="en-GB" sz="2400" dirty="0"/>
              <a:t>An awareness webinar for energy and wellbeing advisors </a:t>
            </a:r>
          </a:p>
        </p:txBody>
      </p:sp>
      <p:pic>
        <p:nvPicPr>
          <p:cNvPr id="19" name="Picture Placeholder 18" descr="A picture of a family on a pile of rubble&#10;&#10;Description automatically generated">
            <a:extLst>
              <a:ext uri="{FF2B5EF4-FFF2-40B4-BE49-F238E27FC236}">
                <a16:creationId xmlns:a16="http://schemas.microsoft.com/office/drawing/2014/main" id="{929DC079-EAD8-83F2-2CB2-3D0FA68577D7}"/>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5572" r="15572"/>
          <a:stretch>
            <a:fillRect/>
          </a:stretch>
        </p:blipFill>
        <p:spPr/>
      </p:pic>
    </p:spTree>
    <p:extLst>
      <p:ext uri="{BB962C8B-B14F-4D97-AF65-F5344CB8AC3E}">
        <p14:creationId xmlns:p14="http://schemas.microsoft.com/office/powerpoint/2010/main" val="63894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736425-22AC-1F7E-5154-A3EC515202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54852A-0FB5-79D3-2983-5B70CCDD50C8}"/>
              </a:ext>
            </a:extLst>
          </p:cNvPr>
          <p:cNvSpPr>
            <a:spLocks noGrp="1"/>
          </p:cNvSpPr>
          <p:nvPr>
            <p:ph type="title"/>
          </p:nvPr>
        </p:nvSpPr>
        <p:spPr/>
        <p:txBody>
          <a:bodyPr/>
          <a:lstStyle/>
          <a:p>
            <a:r>
              <a:rPr lang="en-GB" dirty="0"/>
              <a:t>How we can help</a:t>
            </a:r>
          </a:p>
        </p:txBody>
      </p:sp>
      <p:sp>
        <p:nvSpPr>
          <p:cNvPr id="4" name="Slide Number Placeholder 3">
            <a:extLst>
              <a:ext uri="{FF2B5EF4-FFF2-40B4-BE49-F238E27FC236}">
                <a16:creationId xmlns:a16="http://schemas.microsoft.com/office/drawing/2014/main" id="{34323002-C976-4987-A28A-C0B6082D9BC7}"/>
              </a:ext>
            </a:extLst>
          </p:cNvPr>
          <p:cNvSpPr>
            <a:spLocks noGrp="1"/>
          </p:cNvSpPr>
          <p:nvPr>
            <p:ph type="sldNum" sz="quarter" idx="11"/>
          </p:nvPr>
        </p:nvSpPr>
        <p:spPr/>
        <p:txBody>
          <a:bodyPr/>
          <a:lstStyle/>
          <a:p>
            <a:fld id="{A8B7E462-AA7B-4427-9DF0-5AABDADAA92F}" type="slidenum">
              <a:rPr lang="en-GB" smtClean="0"/>
              <a:pPr/>
              <a:t>10</a:t>
            </a:fld>
            <a:endParaRPr lang="en-GB" dirty="0"/>
          </a:p>
        </p:txBody>
      </p:sp>
      <p:sp>
        <p:nvSpPr>
          <p:cNvPr id="5" name="Content Placeholder 4">
            <a:extLst>
              <a:ext uri="{FF2B5EF4-FFF2-40B4-BE49-F238E27FC236}">
                <a16:creationId xmlns:a16="http://schemas.microsoft.com/office/drawing/2014/main" id="{8AE0A59B-0D0B-8E9D-19AB-536200C248BA}"/>
              </a:ext>
            </a:extLst>
          </p:cNvPr>
          <p:cNvSpPr>
            <a:spLocks noGrp="1"/>
          </p:cNvSpPr>
          <p:nvPr>
            <p:ph sz="quarter" idx="12"/>
          </p:nvPr>
        </p:nvSpPr>
        <p:spPr>
          <a:xfrm>
            <a:off x="4394199" y="1214438"/>
            <a:ext cx="7495381" cy="5329237"/>
          </a:xfrm>
        </p:spPr>
        <p:txBody>
          <a:bodyPr numCol="1">
            <a:normAutofit fontScale="85000" lnSpcReduction="20000"/>
          </a:bodyPr>
          <a:lstStyle/>
          <a:p>
            <a:r>
              <a:rPr lang="en-GB" sz="2300" b="1" dirty="0"/>
              <a:t>There are ways we can help if support is needed</a:t>
            </a:r>
          </a:p>
          <a:p>
            <a:pPr marL="171450" indent="-171450">
              <a:buFont typeface="Arial" panose="020B0604020202020204" pitchFamily="34" charset="0"/>
              <a:buChar char="•"/>
            </a:pPr>
            <a:r>
              <a:rPr lang="en-GB" sz="1800" b="1" dirty="0"/>
              <a:t>Priority Services Register</a:t>
            </a:r>
          </a:p>
          <a:p>
            <a:r>
              <a:rPr lang="en-GB" sz="1600" b="1" dirty="0">
                <a:solidFill>
                  <a:srgbClr val="FA4616"/>
                </a:solidFill>
              </a:rPr>
              <a:t>	Complete online form at cadentgas.com/PSR or call us on 0800 389 8000 </a:t>
            </a:r>
          </a:p>
          <a:p>
            <a:pPr marL="171450" indent="-171450">
              <a:buFont typeface="Arial" panose="020B0604020202020204" pitchFamily="34" charset="0"/>
              <a:buChar char="•"/>
            </a:pPr>
            <a:r>
              <a:rPr lang="en-GB" sz="1800" b="1" dirty="0" err="1"/>
              <a:t>Carents</a:t>
            </a:r>
            <a:endParaRPr lang="en-GB" sz="1800" b="1" dirty="0"/>
          </a:p>
          <a:p>
            <a:r>
              <a:rPr lang="en-GB" sz="1600" b="1" dirty="0">
                <a:solidFill>
                  <a:srgbClr val="FA4616"/>
                </a:solidFill>
              </a:rPr>
              <a:t>	You can access this support at carents.co.uk</a:t>
            </a:r>
          </a:p>
          <a:p>
            <a:pPr marL="171450" indent="-171450">
              <a:buFont typeface="Arial" panose="020B0604020202020204" pitchFamily="34" charset="0"/>
              <a:buChar char="•"/>
            </a:pPr>
            <a:r>
              <a:rPr lang="en-GB" sz="1800" b="1" dirty="0"/>
              <a:t>Safety Devices</a:t>
            </a:r>
          </a:p>
          <a:p>
            <a:r>
              <a:rPr lang="en-GB" sz="1600" b="1" dirty="0">
                <a:solidFill>
                  <a:srgbClr val="FA4616"/>
                </a:solidFill>
              </a:rPr>
              <a:t>	Call our Customer Care Team on 0800 389 8000, alternatively visit 	cadentgas.com/</a:t>
            </a:r>
            <a:r>
              <a:rPr lang="en-GB" sz="1600" b="1" dirty="0" err="1">
                <a:solidFill>
                  <a:srgbClr val="FA4616"/>
                </a:solidFill>
              </a:rPr>
              <a:t>lcv</a:t>
            </a:r>
            <a:r>
              <a:rPr lang="en-GB" sz="1600" b="1" dirty="0">
                <a:solidFill>
                  <a:srgbClr val="FA4616"/>
                </a:solidFill>
              </a:rPr>
              <a:t> or cadentgas.com/</a:t>
            </a:r>
            <a:r>
              <a:rPr lang="en-GB" sz="1600" b="1" dirty="0" err="1">
                <a:solidFill>
                  <a:srgbClr val="FA4616"/>
                </a:solidFill>
              </a:rPr>
              <a:t>easyassist</a:t>
            </a:r>
            <a:endParaRPr lang="en-GB" sz="1600" b="1" dirty="0">
              <a:solidFill>
                <a:srgbClr val="FA4616"/>
              </a:solidFill>
            </a:endParaRPr>
          </a:p>
          <a:p>
            <a:pPr marL="171450" indent="-171450">
              <a:buFont typeface="Arial" panose="020B0604020202020204" pitchFamily="34" charset="0"/>
              <a:buChar char="•"/>
            </a:pPr>
            <a:r>
              <a:rPr lang="en-GB" sz="1800" b="1" dirty="0"/>
              <a:t>Green Doctors</a:t>
            </a:r>
          </a:p>
          <a:p>
            <a:r>
              <a:rPr lang="en-GB" sz="1600" b="1" dirty="0">
                <a:solidFill>
                  <a:srgbClr val="FA4616"/>
                </a:solidFill>
              </a:rPr>
              <a:t> 	Visit groundwork.org.uk/stay-warm-stay-well</a:t>
            </a:r>
          </a:p>
          <a:p>
            <a:pPr marL="171450" indent="-171450">
              <a:buFont typeface="Arial" panose="020B0604020202020204" pitchFamily="34" charset="0"/>
              <a:buChar char="•"/>
            </a:pPr>
            <a:r>
              <a:rPr lang="en-GB" sz="1800" b="1" dirty="0"/>
              <a:t>Centres for Warmth</a:t>
            </a:r>
          </a:p>
          <a:p>
            <a:r>
              <a:rPr lang="en-GB" sz="1600" dirty="0"/>
              <a:t> 	</a:t>
            </a:r>
            <a:r>
              <a:rPr lang="en-GB" sz="1600" dirty="0">
                <a:solidFill>
                  <a:srgbClr val="FA4616"/>
                </a:solidFill>
              </a:rPr>
              <a:t>C</a:t>
            </a:r>
            <a:r>
              <a:rPr lang="en-GB" sz="1600" b="1" dirty="0">
                <a:solidFill>
                  <a:srgbClr val="FA4616"/>
                </a:solidFill>
              </a:rPr>
              <a:t>heck out our website to find your closest Centre for Warmth at 	cadentgas.com/</a:t>
            </a:r>
            <a:r>
              <a:rPr lang="en-GB" sz="1600" b="1" dirty="0" err="1">
                <a:solidFill>
                  <a:srgbClr val="FA4616"/>
                </a:solidFill>
              </a:rPr>
              <a:t>cfw</a:t>
            </a:r>
            <a:endParaRPr lang="en-GB" sz="1600" b="1" dirty="0">
              <a:solidFill>
                <a:srgbClr val="FA4616"/>
              </a:solidFill>
            </a:endParaRPr>
          </a:p>
          <a:p>
            <a:pPr marL="171450" indent="-171450">
              <a:buFont typeface="Arial" panose="020B0604020202020204" pitchFamily="34" charset="0"/>
              <a:buChar char="•"/>
            </a:pPr>
            <a:r>
              <a:rPr lang="en-GB" sz="1800" b="1" dirty="0"/>
              <a:t>Shout</a:t>
            </a:r>
          </a:p>
          <a:p>
            <a:r>
              <a:rPr lang="en-GB" sz="1600" b="1" dirty="0">
                <a:solidFill>
                  <a:srgbClr val="FA4616"/>
                </a:solidFill>
              </a:rPr>
              <a:t>	Text WARMTH to 85258 </a:t>
            </a:r>
          </a:p>
          <a:p>
            <a:pPr marL="171450" indent="-171450">
              <a:buFont typeface="Arial" panose="020B0604020202020204" pitchFamily="34" charset="0"/>
              <a:buChar char="•"/>
            </a:pPr>
            <a:r>
              <a:rPr lang="en-GB" sz="1800" b="1" dirty="0"/>
              <a:t>Services Beyond the Meter</a:t>
            </a:r>
          </a:p>
          <a:p>
            <a:pPr marL="171450" indent="-171450">
              <a:buFont typeface="Arial" panose="020B0604020202020204" pitchFamily="34" charset="0"/>
              <a:buChar char="•"/>
            </a:pPr>
            <a:endParaRPr lang="en-GB" sz="1300" b="1" dirty="0"/>
          </a:p>
          <a:p>
            <a:r>
              <a:rPr lang="en-GB" sz="2000" b="1" dirty="0"/>
              <a:t>If you are or know someone that is struggling with the energy bills, we may be able to help. </a:t>
            </a:r>
          </a:p>
          <a:p>
            <a:endParaRPr lang="en-GB" dirty="0"/>
          </a:p>
        </p:txBody>
      </p:sp>
      <p:pic>
        <p:nvPicPr>
          <p:cNvPr id="7" name="Picture 6">
            <a:extLst>
              <a:ext uri="{FF2B5EF4-FFF2-40B4-BE49-F238E27FC236}">
                <a16:creationId xmlns:a16="http://schemas.microsoft.com/office/drawing/2014/main" id="{AE75BAC3-E0C1-440F-5A47-9BA076DAAC76}"/>
              </a:ext>
            </a:extLst>
          </p:cNvPr>
          <p:cNvPicPr>
            <a:picLocks noChangeAspect="1"/>
          </p:cNvPicPr>
          <p:nvPr/>
        </p:nvPicPr>
        <p:blipFill>
          <a:blip r:embed="rId3"/>
          <a:srcRect l="53211" t="24638" r="39262" b="65032"/>
          <a:stretch>
            <a:fillRect/>
          </a:stretch>
        </p:blipFill>
        <p:spPr>
          <a:xfrm>
            <a:off x="1110418" y="2214085"/>
            <a:ext cx="2270770" cy="3067749"/>
          </a:xfrm>
          <a:prstGeom prst="rect">
            <a:avLst/>
          </a:prstGeom>
        </p:spPr>
      </p:pic>
    </p:spTree>
    <p:extLst>
      <p:ext uri="{BB962C8B-B14F-4D97-AF65-F5344CB8AC3E}">
        <p14:creationId xmlns:p14="http://schemas.microsoft.com/office/powerpoint/2010/main" val="197932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117AD4F-0E6A-4C04-A87E-CD2B758EEA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1117AD4F-0E6A-4C04-A87E-CD2B758EEA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947FC1D-899B-4236-95C7-F799234A5EDA}"/>
              </a:ext>
            </a:extLst>
          </p:cNvPr>
          <p:cNvSpPr>
            <a:spLocks noGrp="1"/>
          </p:cNvSpPr>
          <p:nvPr>
            <p:ph type="ctrTitle"/>
          </p:nvPr>
        </p:nvSpPr>
        <p:spPr>
          <a:xfrm>
            <a:off x="515937" y="2571320"/>
            <a:ext cx="5220000" cy="1715360"/>
          </a:xfrm>
        </p:spPr>
        <p:txBody>
          <a:bodyPr vert="horz">
            <a:normAutofit/>
          </a:bodyPr>
          <a:lstStyle/>
          <a:p>
            <a:r>
              <a:rPr lang="en-GB" dirty="0"/>
              <a:t>Services Beyond the Meter</a:t>
            </a:r>
            <a:br>
              <a:rPr lang="en-GB" dirty="0"/>
            </a:br>
            <a:endParaRPr lang="en-GB" dirty="0"/>
          </a:p>
        </p:txBody>
      </p:sp>
      <p:pic>
        <p:nvPicPr>
          <p:cNvPr id="6" name="Picture Placeholder 19">
            <a:extLst>
              <a:ext uri="{FF2B5EF4-FFF2-40B4-BE49-F238E27FC236}">
                <a16:creationId xmlns:a16="http://schemas.microsoft.com/office/drawing/2014/main" id="{FDB2DE6E-6DF4-6295-952E-342C667F05A3}"/>
              </a:ext>
            </a:extLst>
          </p:cNvPr>
          <p:cNvPicPr>
            <a:picLocks noChangeAspect="1"/>
          </p:cNvPicPr>
          <p:nvPr/>
        </p:nvPicPr>
        <p:blipFill rotWithShape="1">
          <a:blip r:embed="rId5"/>
          <a:srcRect l="27680" t="39759" r="14966"/>
          <a:stretch/>
        </p:blipFill>
        <p:spPr>
          <a:xfrm>
            <a:off x="5116837" y="0"/>
            <a:ext cx="7073999"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pic>
      <p:sp>
        <p:nvSpPr>
          <p:cNvPr id="3" name="Text Placeholder 2">
            <a:extLst>
              <a:ext uri="{FF2B5EF4-FFF2-40B4-BE49-F238E27FC236}">
                <a16:creationId xmlns:a16="http://schemas.microsoft.com/office/drawing/2014/main" id="{0240E3A1-83AD-6E87-233A-56F73730E300}"/>
              </a:ext>
            </a:extLst>
          </p:cNvPr>
          <p:cNvSpPr>
            <a:spLocks noGrp="1"/>
          </p:cNvSpPr>
          <p:nvPr>
            <p:ph type="body" sz="quarter" idx="12"/>
          </p:nvPr>
        </p:nvSpPr>
        <p:spPr/>
        <p:txBody>
          <a:bodyPr/>
          <a:lstStyle/>
          <a:p>
            <a:endParaRPr lang="en-GB" dirty="0"/>
          </a:p>
        </p:txBody>
      </p:sp>
    </p:spTree>
    <p:extLst>
      <p:ext uri="{BB962C8B-B14F-4D97-AF65-F5344CB8AC3E}">
        <p14:creationId xmlns:p14="http://schemas.microsoft.com/office/powerpoint/2010/main" val="2256318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2">
            <a:extLst>
              <a:ext uri="{FF2B5EF4-FFF2-40B4-BE49-F238E27FC236}">
                <a16:creationId xmlns:a16="http://schemas.microsoft.com/office/drawing/2014/main" id="{29145B6E-371D-0AB9-E4DA-E4CF1A0FC814}"/>
              </a:ext>
            </a:extLst>
          </p:cNvPr>
          <p:cNvSpPr/>
          <p:nvPr/>
        </p:nvSpPr>
        <p:spPr>
          <a:xfrm>
            <a:off x="1105117" y="297141"/>
            <a:ext cx="6054" cy="1912"/>
          </a:xfrm>
          <a:custGeom>
            <a:avLst/>
            <a:gdLst>
              <a:gd name="connsiteX0" fmla="*/ 0 w 1912"/>
              <a:gd name="connsiteY0" fmla="*/ 0 h 1912"/>
              <a:gd name="connsiteX1" fmla="*/ 1912 w 1912"/>
              <a:gd name="connsiteY1" fmla="*/ 0 h 1912"/>
              <a:gd name="connsiteX2" fmla="*/ 1912 w 1912"/>
              <a:gd name="connsiteY2" fmla="*/ 1912 h 1912"/>
              <a:gd name="connsiteX3" fmla="*/ 0 w 1912"/>
              <a:gd name="connsiteY3" fmla="*/ 1912 h 1912"/>
              <a:gd name="connsiteX4" fmla="*/ 0 w 1912"/>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2" h="1912">
                <a:moveTo>
                  <a:pt x="0" y="0"/>
                </a:moveTo>
                <a:lnTo>
                  <a:pt x="1912" y="0"/>
                </a:lnTo>
                <a:lnTo>
                  <a:pt x="1912"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7" name="Free-form: Shape 4">
            <a:extLst>
              <a:ext uri="{FF2B5EF4-FFF2-40B4-BE49-F238E27FC236}">
                <a16:creationId xmlns:a16="http://schemas.microsoft.com/office/drawing/2014/main" id="{B31D4501-F42C-D928-E90C-2816F6923FA0}"/>
              </a:ext>
            </a:extLst>
          </p:cNvPr>
          <p:cNvSpPr/>
          <p:nvPr/>
        </p:nvSpPr>
        <p:spPr>
          <a:xfrm>
            <a:off x="1133308" y="297141"/>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8" name="Free-form: Shape 8">
            <a:extLst>
              <a:ext uri="{FF2B5EF4-FFF2-40B4-BE49-F238E27FC236}">
                <a16:creationId xmlns:a16="http://schemas.microsoft.com/office/drawing/2014/main" id="{00D0CFB8-E12F-D819-711D-7213919AFC3D}"/>
              </a:ext>
            </a:extLst>
          </p:cNvPr>
          <p:cNvSpPr/>
          <p:nvPr/>
        </p:nvSpPr>
        <p:spPr>
          <a:xfrm>
            <a:off x="1050640" y="297910"/>
            <a:ext cx="6719" cy="2099"/>
          </a:xfrm>
          <a:custGeom>
            <a:avLst/>
            <a:gdLst>
              <a:gd name="connsiteX0" fmla="*/ 15 w 2122"/>
              <a:gd name="connsiteY0" fmla="*/ 1143 h 2099"/>
              <a:gd name="connsiteX1" fmla="*/ 1927 w 2122"/>
              <a:gd name="connsiteY1" fmla="*/ 2099 h 2099"/>
              <a:gd name="connsiteX2" fmla="*/ 652 w 2122"/>
              <a:gd name="connsiteY2" fmla="*/ 2099 h 2099"/>
              <a:gd name="connsiteX3" fmla="*/ 15 w 2122"/>
              <a:gd name="connsiteY3" fmla="*/ 1143 h 2099"/>
            </a:gdLst>
            <a:ahLst/>
            <a:cxnLst>
              <a:cxn ang="0">
                <a:pos x="connsiteX0" y="connsiteY0"/>
              </a:cxn>
              <a:cxn ang="0">
                <a:pos x="connsiteX1" y="connsiteY1"/>
              </a:cxn>
              <a:cxn ang="0">
                <a:pos x="connsiteX2" y="connsiteY2"/>
              </a:cxn>
              <a:cxn ang="0">
                <a:pos x="connsiteX3" y="connsiteY3"/>
              </a:cxn>
            </a:cxnLst>
            <a:rect l="l" t="t" r="r" b="b"/>
            <a:pathLst>
              <a:path w="2122" h="2099">
                <a:moveTo>
                  <a:pt x="15" y="1143"/>
                </a:moveTo>
                <a:cubicBezTo>
                  <a:pt x="-240" y="-705"/>
                  <a:pt x="2926" y="-259"/>
                  <a:pt x="1927" y="2099"/>
                </a:cubicBezTo>
                <a:lnTo>
                  <a:pt x="652" y="2099"/>
                </a:lnTo>
                <a:cubicBezTo>
                  <a:pt x="780" y="1271"/>
                  <a:pt x="397" y="1207"/>
                  <a:pt x="15" y="1143"/>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9" name="Free-form: Shape 9">
            <a:extLst>
              <a:ext uri="{FF2B5EF4-FFF2-40B4-BE49-F238E27FC236}">
                <a16:creationId xmlns:a16="http://schemas.microsoft.com/office/drawing/2014/main" id="{1D008309-FF2B-1BF7-B2A5-191314374CDD}"/>
              </a:ext>
            </a:extLst>
          </p:cNvPr>
          <p:cNvSpPr/>
          <p:nvPr/>
        </p:nvSpPr>
        <p:spPr>
          <a:xfrm>
            <a:off x="3195041" y="443397"/>
            <a:ext cx="14369" cy="13386"/>
          </a:xfrm>
          <a:custGeom>
            <a:avLst/>
            <a:gdLst>
              <a:gd name="connsiteX0" fmla="*/ 3825 w 4538"/>
              <a:gd name="connsiteY0" fmla="*/ 0 h 13386"/>
              <a:gd name="connsiteX1" fmla="*/ 4462 w 4538"/>
              <a:gd name="connsiteY1" fmla="*/ 2869 h 13386"/>
              <a:gd name="connsiteX2" fmla="*/ 2550 w 4538"/>
              <a:gd name="connsiteY2" fmla="*/ 6693 h 13386"/>
              <a:gd name="connsiteX3" fmla="*/ 2550 w 4538"/>
              <a:gd name="connsiteY3" fmla="*/ 13387 h 13386"/>
              <a:gd name="connsiteX4" fmla="*/ 0 w 4538"/>
              <a:gd name="connsiteY4" fmla="*/ 4781 h 13386"/>
              <a:gd name="connsiteX5" fmla="*/ 637 w 4538"/>
              <a:gd name="connsiteY5" fmla="*/ 2869 h 13386"/>
              <a:gd name="connsiteX6" fmla="*/ 3825 w 4538"/>
              <a:gd name="connsiteY6" fmla="*/ 0 h 1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8" h="13386">
                <a:moveTo>
                  <a:pt x="3825" y="0"/>
                </a:moveTo>
                <a:cubicBezTo>
                  <a:pt x="4569" y="149"/>
                  <a:pt x="4356" y="1742"/>
                  <a:pt x="4462" y="2869"/>
                </a:cubicBezTo>
                <a:cubicBezTo>
                  <a:pt x="5015" y="5928"/>
                  <a:pt x="2359" y="4186"/>
                  <a:pt x="2550" y="6693"/>
                </a:cubicBezTo>
                <a:cubicBezTo>
                  <a:pt x="2337" y="9647"/>
                  <a:pt x="4016" y="11262"/>
                  <a:pt x="2550" y="13387"/>
                </a:cubicBezTo>
                <a:cubicBezTo>
                  <a:pt x="935" y="11666"/>
                  <a:pt x="382" y="8351"/>
                  <a:pt x="0" y="4781"/>
                </a:cubicBezTo>
                <a:cubicBezTo>
                  <a:pt x="616" y="4760"/>
                  <a:pt x="489" y="3612"/>
                  <a:pt x="637" y="2869"/>
                </a:cubicBezTo>
                <a:cubicBezTo>
                  <a:pt x="1594" y="1742"/>
                  <a:pt x="3230" y="1679"/>
                  <a:pt x="3825"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0" name="Free-form: Shape 22">
            <a:extLst>
              <a:ext uri="{FF2B5EF4-FFF2-40B4-BE49-F238E27FC236}">
                <a16:creationId xmlns:a16="http://schemas.microsoft.com/office/drawing/2014/main" id="{99471E08-6966-DC6E-2F30-1C60AA730CE0}"/>
              </a:ext>
            </a:extLst>
          </p:cNvPr>
          <p:cNvSpPr/>
          <p:nvPr/>
        </p:nvSpPr>
        <p:spPr>
          <a:xfrm>
            <a:off x="3207153" y="448178"/>
            <a:ext cx="8138" cy="3075"/>
          </a:xfrm>
          <a:custGeom>
            <a:avLst/>
            <a:gdLst>
              <a:gd name="connsiteX0" fmla="*/ 1912 w 2570"/>
              <a:gd name="connsiteY0" fmla="*/ 0 h 3075"/>
              <a:gd name="connsiteX1" fmla="*/ 0 w 2570"/>
              <a:gd name="connsiteY1" fmla="*/ 2869 h 3075"/>
              <a:gd name="connsiteX2" fmla="*/ 1912 w 2570"/>
              <a:gd name="connsiteY2" fmla="*/ 0 h 3075"/>
            </a:gdLst>
            <a:ahLst/>
            <a:cxnLst>
              <a:cxn ang="0">
                <a:pos x="connsiteX0" y="connsiteY0"/>
              </a:cxn>
              <a:cxn ang="0">
                <a:pos x="connsiteX1" y="connsiteY1"/>
              </a:cxn>
              <a:cxn ang="0">
                <a:pos x="connsiteX2" y="connsiteY2"/>
              </a:cxn>
            </a:cxnLst>
            <a:rect l="l" t="t" r="r" b="b"/>
            <a:pathLst>
              <a:path w="2570" h="3075">
                <a:moveTo>
                  <a:pt x="1912" y="0"/>
                </a:moveTo>
                <a:cubicBezTo>
                  <a:pt x="3634" y="850"/>
                  <a:pt x="1615" y="3889"/>
                  <a:pt x="0" y="2869"/>
                </a:cubicBezTo>
                <a:cubicBezTo>
                  <a:pt x="64" y="1062"/>
                  <a:pt x="2104" y="2210"/>
                  <a:pt x="1912"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1" name="Free-form: Shape 26">
            <a:extLst>
              <a:ext uri="{FF2B5EF4-FFF2-40B4-BE49-F238E27FC236}">
                <a16:creationId xmlns:a16="http://schemas.microsoft.com/office/drawing/2014/main" id="{319030B9-4EAC-71B8-DDC8-94AE51F76CB2}"/>
              </a:ext>
            </a:extLst>
          </p:cNvPr>
          <p:cNvSpPr/>
          <p:nvPr/>
        </p:nvSpPr>
        <p:spPr>
          <a:xfrm>
            <a:off x="3168868" y="467303"/>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2" name="Free-form: Shape 29">
            <a:extLst>
              <a:ext uri="{FF2B5EF4-FFF2-40B4-BE49-F238E27FC236}">
                <a16:creationId xmlns:a16="http://schemas.microsoft.com/office/drawing/2014/main" id="{DF9BD8B2-DAD0-E706-D126-EF6D467EAA3E}"/>
              </a:ext>
            </a:extLst>
          </p:cNvPr>
          <p:cNvSpPr/>
          <p:nvPr/>
        </p:nvSpPr>
        <p:spPr>
          <a:xfrm>
            <a:off x="3146225" y="471127"/>
            <a:ext cx="18602" cy="7639"/>
          </a:xfrm>
          <a:custGeom>
            <a:avLst/>
            <a:gdLst>
              <a:gd name="connsiteX0" fmla="*/ 4601 w 5875"/>
              <a:gd name="connsiteY0" fmla="*/ 0 h 7639"/>
              <a:gd name="connsiteX1" fmla="*/ 5876 w 5875"/>
              <a:gd name="connsiteY1" fmla="*/ 6693 h 7639"/>
              <a:gd name="connsiteX2" fmla="*/ 139 w 5875"/>
              <a:gd name="connsiteY2" fmla="*/ 4781 h 7639"/>
              <a:gd name="connsiteX3" fmla="*/ 1414 w 5875"/>
              <a:gd name="connsiteY3" fmla="*/ 956 h 7639"/>
              <a:gd name="connsiteX4" fmla="*/ 2689 w 5875"/>
              <a:gd name="connsiteY4" fmla="*/ 2869 h 7639"/>
              <a:gd name="connsiteX5" fmla="*/ 4601 w 5875"/>
              <a:gd name="connsiteY5" fmla="*/ 1912 h 7639"/>
              <a:gd name="connsiteX6" fmla="*/ 4601 w 5875"/>
              <a:gd name="connsiteY6" fmla="*/ 0 h 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75" h="7639">
                <a:moveTo>
                  <a:pt x="4601" y="0"/>
                </a:moveTo>
                <a:cubicBezTo>
                  <a:pt x="6428" y="128"/>
                  <a:pt x="4049" y="6566"/>
                  <a:pt x="5876" y="6693"/>
                </a:cubicBezTo>
                <a:cubicBezTo>
                  <a:pt x="3751" y="10136"/>
                  <a:pt x="3326" y="2932"/>
                  <a:pt x="139" y="4781"/>
                </a:cubicBezTo>
                <a:cubicBezTo>
                  <a:pt x="-647" y="1679"/>
                  <a:pt x="2200" y="4059"/>
                  <a:pt x="1414" y="956"/>
                </a:cubicBezTo>
                <a:cubicBezTo>
                  <a:pt x="1987" y="1381"/>
                  <a:pt x="2561" y="1806"/>
                  <a:pt x="2689" y="2869"/>
                </a:cubicBezTo>
                <a:cubicBezTo>
                  <a:pt x="3900" y="2146"/>
                  <a:pt x="3135" y="21"/>
                  <a:pt x="4601" y="1912"/>
                </a:cubicBezTo>
                <a:lnTo>
                  <a:pt x="4601"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3" name="Free-form: Shape 31">
            <a:extLst>
              <a:ext uri="{FF2B5EF4-FFF2-40B4-BE49-F238E27FC236}">
                <a16:creationId xmlns:a16="http://schemas.microsoft.com/office/drawing/2014/main" id="{22F41BC3-B2C3-1011-31FA-0B840DE6ED43}"/>
              </a:ext>
            </a:extLst>
          </p:cNvPr>
          <p:cNvSpPr/>
          <p:nvPr/>
        </p:nvSpPr>
        <p:spPr>
          <a:xfrm>
            <a:off x="3168868" y="470837"/>
            <a:ext cx="8071" cy="4280"/>
          </a:xfrm>
          <a:custGeom>
            <a:avLst/>
            <a:gdLst>
              <a:gd name="connsiteX0" fmla="*/ 638 w 2549"/>
              <a:gd name="connsiteY0" fmla="*/ 290 h 4280"/>
              <a:gd name="connsiteX1" fmla="*/ 2550 w 2549"/>
              <a:gd name="connsiteY1" fmla="*/ 3159 h 4280"/>
              <a:gd name="connsiteX2" fmla="*/ 0 w 2549"/>
              <a:gd name="connsiteY2" fmla="*/ 3159 h 4280"/>
              <a:gd name="connsiteX3" fmla="*/ 638 w 2549"/>
              <a:gd name="connsiteY3" fmla="*/ 290 h 4280"/>
            </a:gdLst>
            <a:ahLst/>
            <a:cxnLst>
              <a:cxn ang="0">
                <a:pos x="connsiteX0" y="connsiteY0"/>
              </a:cxn>
              <a:cxn ang="0">
                <a:pos x="connsiteX1" y="connsiteY1"/>
              </a:cxn>
              <a:cxn ang="0">
                <a:pos x="connsiteX2" y="connsiteY2"/>
              </a:cxn>
              <a:cxn ang="0">
                <a:pos x="connsiteX3" y="connsiteY3"/>
              </a:cxn>
            </a:cxnLst>
            <a:rect l="l" t="t" r="r" b="b"/>
            <a:pathLst>
              <a:path w="2549" h="4280">
                <a:moveTo>
                  <a:pt x="638" y="290"/>
                </a:moveTo>
                <a:cubicBezTo>
                  <a:pt x="2911" y="-1197"/>
                  <a:pt x="1020" y="3541"/>
                  <a:pt x="2550" y="3159"/>
                </a:cubicBezTo>
                <a:cubicBezTo>
                  <a:pt x="2444" y="5538"/>
                  <a:pt x="383" y="3435"/>
                  <a:pt x="0" y="3159"/>
                </a:cubicBezTo>
                <a:cubicBezTo>
                  <a:pt x="340" y="2394"/>
                  <a:pt x="659" y="1607"/>
                  <a:pt x="638" y="29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4" name="Free-form: Shape 33">
            <a:extLst>
              <a:ext uri="{FF2B5EF4-FFF2-40B4-BE49-F238E27FC236}">
                <a16:creationId xmlns:a16="http://schemas.microsoft.com/office/drawing/2014/main" id="{51C44A22-60AD-6D9B-B582-D28DABFF45F2}"/>
              </a:ext>
            </a:extLst>
          </p:cNvPr>
          <p:cNvSpPr/>
          <p:nvPr/>
        </p:nvSpPr>
        <p:spPr>
          <a:xfrm>
            <a:off x="3201019" y="473040"/>
            <a:ext cx="6599" cy="2159"/>
          </a:xfrm>
          <a:custGeom>
            <a:avLst/>
            <a:gdLst>
              <a:gd name="connsiteX0" fmla="*/ 1299 w 2084"/>
              <a:gd name="connsiteY0" fmla="*/ 0 h 2159"/>
              <a:gd name="connsiteX1" fmla="*/ 24 w 2084"/>
              <a:gd name="connsiteY1" fmla="*/ 1912 h 2159"/>
              <a:gd name="connsiteX2" fmla="*/ 1299 w 2084"/>
              <a:gd name="connsiteY2" fmla="*/ 0 h 2159"/>
            </a:gdLst>
            <a:ahLst/>
            <a:cxnLst>
              <a:cxn ang="0">
                <a:pos x="connsiteX0" y="connsiteY0"/>
              </a:cxn>
              <a:cxn ang="0">
                <a:pos x="connsiteX1" y="connsiteY1"/>
              </a:cxn>
              <a:cxn ang="0">
                <a:pos x="connsiteX2" y="connsiteY2"/>
              </a:cxn>
            </a:cxnLst>
            <a:rect l="l" t="t" r="r" b="b"/>
            <a:pathLst>
              <a:path w="2084" h="2159">
                <a:moveTo>
                  <a:pt x="1299" y="0"/>
                </a:moveTo>
                <a:cubicBezTo>
                  <a:pt x="3467" y="1636"/>
                  <a:pt x="513" y="2656"/>
                  <a:pt x="24" y="1912"/>
                </a:cubicBezTo>
                <a:cubicBezTo>
                  <a:pt x="-231" y="1509"/>
                  <a:pt x="1618" y="786"/>
                  <a:pt x="1299"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5" name="Free-form: Shape 35">
            <a:extLst>
              <a:ext uri="{FF2B5EF4-FFF2-40B4-BE49-F238E27FC236}">
                <a16:creationId xmlns:a16="http://schemas.microsoft.com/office/drawing/2014/main" id="{4B84C72A-C989-1521-9CDA-7D6836A294C0}"/>
              </a:ext>
            </a:extLst>
          </p:cNvPr>
          <p:cNvSpPr/>
          <p:nvPr/>
        </p:nvSpPr>
        <p:spPr>
          <a:xfrm>
            <a:off x="3211250" y="499798"/>
            <a:ext cx="8020" cy="1160"/>
          </a:xfrm>
          <a:custGeom>
            <a:avLst/>
            <a:gdLst>
              <a:gd name="connsiteX0" fmla="*/ 1256 w 2533"/>
              <a:gd name="connsiteY0" fmla="*/ 16 h 1160"/>
              <a:gd name="connsiteX1" fmla="*/ 2531 w 2533"/>
              <a:gd name="connsiteY1" fmla="*/ 16 h 1160"/>
              <a:gd name="connsiteX2" fmla="*/ 1256 w 2533"/>
              <a:gd name="connsiteY2" fmla="*/ 16 h 1160"/>
            </a:gdLst>
            <a:ahLst/>
            <a:cxnLst>
              <a:cxn ang="0">
                <a:pos x="connsiteX0" y="connsiteY0"/>
              </a:cxn>
              <a:cxn ang="0">
                <a:pos x="connsiteX1" y="connsiteY1"/>
              </a:cxn>
              <a:cxn ang="0">
                <a:pos x="connsiteX2" y="connsiteY2"/>
              </a:cxn>
            </a:cxnLst>
            <a:rect l="l" t="t" r="r" b="b"/>
            <a:pathLst>
              <a:path w="2533" h="1160">
                <a:moveTo>
                  <a:pt x="1256" y="16"/>
                </a:moveTo>
                <a:lnTo>
                  <a:pt x="2531" y="16"/>
                </a:lnTo>
                <a:cubicBezTo>
                  <a:pt x="2658" y="2714"/>
                  <a:pt x="-2229" y="-239"/>
                  <a:pt x="1256" y="16"/>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6" name="Free-form: Shape 37">
            <a:extLst>
              <a:ext uri="{FF2B5EF4-FFF2-40B4-BE49-F238E27FC236}">
                <a16:creationId xmlns:a16="http://schemas.microsoft.com/office/drawing/2014/main" id="{20F954EB-C69B-602B-0C50-6FA38DFFB0EA}"/>
              </a:ext>
            </a:extLst>
          </p:cNvPr>
          <p:cNvSpPr/>
          <p:nvPr/>
        </p:nvSpPr>
        <p:spPr>
          <a:xfrm>
            <a:off x="1006279" y="552652"/>
            <a:ext cx="28257" cy="2600"/>
          </a:xfrm>
          <a:custGeom>
            <a:avLst/>
            <a:gdLst>
              <a:gd name="connsiteX0" fmla="*/ 8925 w 8924"/>
              <a:gd name="connsiteY0" fmla="*/ 688 h 2600"/>
              <a:gd name="connsiteX1" fmla="*/ 7012 w 8924"/>
              <a:gd name="connsiteY1" fmla="*/ 2600 h 2600"/>
              <a:gd name="connsiteX2" fmla="*/ 0 w 8924"/>
              <a:gd name="connsiteY2" fmla="*/ 2600 h 2600"/>
              <a:gd name="connsiteX3" fmla="*/ 2550 w 8924"/>
              <a:gd name="connsiteY3" fmla="*/ 1644 h 2600"/>
              <a:gd name="connsiteX4" fmla="*/ 5737 w 8924"/>
              <a:gd name="connsiteY4" fmla="*/ 1644 h 2600"/>
              <a:gd name="connsiteX5" fmla="*/ 8925 w 8924"/>
              <a:gd name="connsiteY5" fmla="*/ 688 h 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24" h="2600">
                <a:moveTo>
                  <a:pt x="8925" y="688"/>
                </a:moveTo>
                <a:cubicBezTo>
                  <a:pt x="8776" y="2069"/>
                  <a:pt x="7033" y="1028"/>
                  <a:pt x="7012" y="2600"/>
                </a:cubicBezTo>
                <a:lnTo>
                  <a:pt x="0" y="2600"/>
                </a:lnTo>
                <a:cubicBezTo>
                  <a:pt x="191" y="1304"/>
                  <a:pt x="1594" y="1814"/>
                  <a:pt x="2550" y="1644"/>
                </a:cubicBezTo>
                <a:lnTo>
                  <a:pt x="5737" y="1644"/>
                </a:lnTo>
                <a:cubicBezTo>
                  <a:pt x="7055" y="1092"/>
                  <a:pt x="7798" y="-1097"/>
                  <a:pt x="8925" y="688"/>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7" name="Free-form: Shape 38">
            <a:extLst>
              <a:ext uri="{FF2B5EF4-FFF2-40B4-BE49-F238E27FC236}">
                <a16:creationId xmlns:a16="http://schemas.microsoft.com/office/drawing/2014/main" id="{20191138-BAC4-5CC1-B76F-6A733B749CF8}"/>
              </a:ext>
            </a:extLst>
          </p:cNvPr>
          <p:cNvSpPr/>
          <p:nvPr/>
        </p:nvSpPr>
        <p:spPr>
          <a:xfrm>
            <a:off x="1048667" y="552384"/>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8" name="Free-form: Shape 39">
            <a:extLst>
              <a:ext uri="{FF2B5EF4-FFF2-40B4-BE49-F238E27FC236}">
                <a16:creationId xmlns:a16="http://schemas.microsoft.com/office/drawing/2014/main" id="{501D7CF3-5484-8A9D-5624-FC5FD824264D}"/>
              </a:ext>
            </a:extLst>
          </p:cNvPr>
          <p:cNvSpPr/>
          <p:nvPr/>
        </p:nvSpPr>
        <p:spPr>
          <a:xfrm>
            <a:off x="974052" y="554768"/>
            <a:ext cx="18175" cy="1568"/>
          </a:xfrm>
          <a:custGeom>
            <a:avLst/>
            <a:gdLst>
              <a:gd name="connsiteX0" fmla="*/ 5737 w 5740"/>
              <a:gd name="connsiteY0" fmla="*/ 484 h 1568"/>
              <a:gd name="connsiteX1" fmla="*/ 2550 w 5740"/>
              <a:gd name="connsiteY1" fmla="*/ 1440 h 1568"/>
              <a:gd name="connsiteX2" fmla="*/ 0 w 5740"/>
              <a:gd name="connsiteY2" fmla="*/ 484 h 1568"/>
              <a:gd name="connsiteX3" fmla="*/ 5737 w 5740"/>
              <a:gd name="connsiteY3" fmla="*/ 484 h 1568"/>
            </a:gdLst>
            <a:ahLst/>
            <a:cxnLst>
              <a:cxn ang="0">
                <a:pos x="connsiteX0" y="connsiteY0"/>
              </a:cxn>
              <a:cxn ang="0">
                <a:pos x="connsiteX1" y="connsiteY1"/>
              </a:cxn>
              <a:cxn ang="0">
                <a:pos x="connsiteX2" y="connsiteY2"/>
              </a:cxn>
              <a:cxn ang="0">
                <a:pos x="connsiteX3" y="connsiteY3"/>
              </a:cxn>
            </a:cxnLst>
            <a:rect l="l" t="t" r="r" b="b"/>
            <a:pathLst>
              <a:path w="5740" h="1568">
                <a:moveTo>
                  <a:pt x="5737" y="484"/>
                </a:moveTo>
                <a:cubicBezTo>
                  <a:pt x="5843" y="2566"/>
                  <a:pt x="3485" y="909"/>
                  <a:pt x="2550" y="1440"/>
                </a:cubicBezTo>
                <a:cubicBezTo>
                  <a:pt x="1551" y="1355"/>
                  <a:pt x="127" y="1908"/>
                  <a:pt x="0" y="484"/>
                </a:cubicBezTo>
                <a:cubicBezTo>
                  <a:pt x="2550" y="1313"/>
                  <a:pt x="4696" y="-940"/>
                  <a:pt x="5737" y="484"/>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9" name="Free-form: Shape 40">
            <a:extLst>
              <a:ext uri="{FF2B5EF4-FFF2-40B4-BE49-F238E27FC236}">
                <a16:creationId xmlns:a16="http://schemas.microsoft.com/office/drawing/2014/main" id="{8659B8AE-C8F7-73AD-B581-A73D7B8F726F}"/>
              </a:ext>
            </a:extLst>
          </p:cNvPr>
          <p:cNvSpPr/>
          <p:nvPr/>
        </p:nvSpPr>
        <p:spPr>
          <a:xfrm>
            <a:off x="1248288" y="555006"/>
            <a:ext cx="10557" cy="2210"/>
          </a:xfrm>
          <a:custGeom>
            <a:avLst/>
            <a:gdLst>
              <a:gd name="connsiteX0" fmla="*/ 2 w 3334"/>
              <a:gd name="connsiteY0" fmla="*/ 1203 h 2210"/>
              <a:gd name="connsiteX1" fmla="*/ 3189 w 3334"/>
              <a:gd name="connsiteY1" fmla="*/ 2159 h 2210"/>
              <a:gd name="connsiteX2" fmla="*/ 2 w 3334"/>
              <a:gd name="connsiteY2" fmla="*/ 1203 h 2210"/>
            </a:gdLst>
            <a:ahLst/>
            <a:cxnLst>
              <a:cxn ang="0">
                <a:pos x="connsiteX0" y="connsiteY0"/>
              </a:cxn>
              <a:cxn ang="0">
                <a:pos x="connsiteX1" y="connsiteY1"/>
              </a:cxn>
              <a:cxn ang="0">
                <a:pos x="connsiteX2" y="connsiteY2"/>
              </a:cxn>
            </a:cxnLst>
            <a:rect l="l" t="t" r="r" b="b"/>
            <a:pathLst>
              <a:path w="3334" h="2210">
                <a:moveTo>
                  <a:pt x="2" y="1203"/>
                </a:moveTo>
                <a:cubicBezTo>
                  <a:pt x="-104" y="-370"/>
                  <a:pt x="4167" y="-731"/>
                  <a:pt x="3189" y="2159"/>
                </a:cubicBezTo>
                <a:cubicBezTo>
                  <a:pt x="1659" y="2563"/>
                  <a:pt x="1808" y="417"/>
                  <a:pt x="2" y="1203"/>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0" name="Free-form: Shape 41">
            <a:extLst>
              <a:ext uri="{FF2B5EF4-FFF2-40B4-BE49-F238E27FC236}">
                <a16:creationId xmlns:a16="http://schemas.microsoft.com/office/drawing/2014/main" id="{0CEEE61F-A9F2-1160-37AC-7A73D450F894}"/>
              </a:ext>
            </a:extLst>
          </p:cNvPr>
          <p:cNvSpPr/>
          <p:nvPr/>
        </p:nvSpPr>
        <p:spPr>
          <a:xfrm>
            <a:off x="689715" y="556169"/>
            <a:ext cx="12108" cy="1993"/>
          </a:xfrm>
          <a:custGeom>
            <a:avLst/>
            <a:gdLst>
              <a:gd name="connsiteX0" fmla="*/ 3825 w 3824"/>
              <a:gd name="connsiteY0" fmla="*/ 39 h 1993"/>
              <a:gd name="connsiteX1" fmla="*/ 0 w 3824"/>
              <a:gd name="connsiteY1" fmla="*/ 1952 h 1993"/>
              <a:gd name="connsiteX2" fmla="*/ 3825 w 3824"/>
              <a:gd name="connsiteY2" fmla="*/ 39 h 1993"/>
            </a:gdLst>
            <a:ahLst/>
            <a:cxnLst>
              <a:cxn ang="0">
                <a:pos x="connsiteX0" y="connsiteY0"/>
              </a:cxn>
              <a:cxn ang="0">
                <a:pos x="connsiteX1" y="connsiteY1"/>
              </a:cxn>
              <a:cxn ang="0">
                <a:pos x="connsiteX2" y="connsiteY2"/>
              </a:cxn>
            </a:cxnLst>
            <a:rect l="l" t="t" r="r" b="b"/>
            <a:pathLst>
              <a:path w="3824" h="1993">
                <a:moveTo>
                  <a:pt x="3825" y="39"/>
                </a:moveTo>
                <a:cubicBezTo>
                  <a:pt x="3230" y="1697"/>
                  <a:pt x="1827" y="2143"/>
                  <a:pt x="0" y="1952"/>
                </a:cubicBezTo>
                <a:cubicBezTo>
                  <a:pt x="64" y="-492"/>
                  <a:pt x="2125" y="61"/>
                  <a:pt x="3825" y="39"/>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1" name="Free-form: Shape 42">
            <a:extLst>
              <a:ext uri="{FF2B5EF4-FFF2-40B4-BE49-F238E27FC236}">
                <a16:creationId xmlns:a16="http://schemas.microsoft.com/office/drawing/2014/main" id="{F425D10D-684E-BDF4-25C3-81D4648A4BCE}"/>
              </a:ext>
            </a:extLst>
          </p:cNvPr>
          <p:cNvSpPr/>
          <p:nvPr/>
        </p:nvSpPr>
        <p:spPr>
          <a:xfrm>
            <a:off x="694014" y="573420"/>
            <a:ext cx="17903" cy="2868"/>
          </a:xfrm>
          <a:custGeom>
            <a:avLst/>
            <a:gdLst>
              <a:gd name="connsiteX0" fmla="*/ 5654 w 5654"/>
              <a:gd name="connsiteY0" fmla="*/ 0 h 2868"/>
              <a:gd name="connsiteX1" fmla="*/ 555 w 5654"/>
              <a:gd name="connsiteY1" fmla="*/ 2869 h 2868"/>
              <a:gd name="connsiteX2" fmla="*/ 5654 w 5654"/>
              <a:gd name="connsiteY2" fmla="*/ 0 h 2868"/>
            </a:gdLst>
            <a:ahLst/>
            <a:cxnLst>
              <a:cxn ang="0">
                <a:pos x="connsiteX0" y="connsiteY0"/>
              </a:cxn>
              <a:cxn ang="0">
                <a:pos x="connsiteX1" y="connsiteY1"/>
              </a:cxn>
              <a:cxn ang="0">
                <a:pos x="connsiteX2" y="connsiteY2"/>
              </a:cxn>
            </a:cxnLst>
            <a:rect l="l" t="t" r="r" b="b"/>
            <a:pathLst>
              <a:path w="5654" h="2868">
                <a:moveTo>
                  <a:pt x="5654" y="0"/>
                </a:moveTo>
                <a:cubicBezTo>
                  <a:pt x="5357" y="3039"/>
                  <a:pt x="1426" y="659"/>
                  <a:pt x="555" y="2869"/>
                </a:cubicBezTo>
                <a:cubicBezTo>
                  <a:pt x="-1889" y="149"/>
                  <a:pt x="4464" y="616"/>
                  <a:pt x="5654"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2" name="Free-form: Shape 43">
            <a:extLst>
              <a:ext uri="{FF2B5EF4-FFF2-40B4-BE49-F238E27FC236}">
                <a16:creationId xmlns:a16="http://schemas.microsoft.com/office/drawing/2014/main" id="{3D19CF53-B495-5072-0BDB-933DD022C7FC}"/>
              </a:ext>
            </a:extLst>
          </p:cNvPr>
          <p:cNvSpPr/>
          <p:nvPr/>
        </p:nvSpPr>
        <p:spPr>
          <a:xfrm>
            <a:off x="3257621" y="427883"/>
            <a:ext cx="7583" cy="5378"/>
          </a:xfrm>
          <a:custGeom>
            <a:avLst/>
            <a:gdLst>
              <a:gd name="connsiteX0" fmla="*/ 422 w 2395"/>
              <a:gd name="connsiteY0" fmla="*/ 959 h 5378"/>
              <a:gd name="connsiteX1" fmla="*/ 1060 w 2395"/>
              <a:gd name="connsiteY1" fmla="*/ 3 h 5378"/>
              <a:gd name="connsiteX2" fmla="*/ 2335 w 2395"/>
              <a:gd name="connsiteY2" fmla="*/ 1915 h 5378"/>
              <a:gd name="connsiteX3" fmla="*/ 1718 w 2395"/>
              <a:gd name="connsiteY3" fmla="*/ 5379 h 5378"/>
              <a:gd name="connsiteX4" fmla="*/ 422 w 2395"/>
              <a:gd name="connsiteY4" fmla="*/ 959 h 5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5" h="5378">
                <a:moveTo>
                  <a:pt x="422" y="959"/>
                </a:moveTo>
                <a:cubicBezTo>
                  <a:pt x="-555" y="449"/>
                  <a:pt x="380" y="-40"/>
                  <a:pt x="1060" y="3"/>
                </a:cubicBezTo>
                <a:cubicBezTo>
                  <a:pt x="1336" y="853"/>
                  <a:pt x="1612" y="1703"/>
                  <a:pt x="2335" y="1915"/>
                </a:cubicBezTo>
                <a:cubicBezTo>
                  <a:pt x="2526" y="4125"/>
                  <a:pt x="2250" y="4274"/>
                  <a:pt x="1718" y="5379"/>
                </a:cubicBezTo>
                <a:cubicBezTo>
                  <a:pt x="-576" y="4571"/>
                  <a:pt x="1846" y="1766"/>
                  <a:pt x="422" y="959"/>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3" name="Free-form: Shape 44">
            <a:extLst>
              <a:ext uri="{FF2B5EF4-FFF2-40B4-BE49-F238E27FC236}">
                <a16:creationId xmlns:a16="http://schemas.microsoft.com/office/drawing/2014/main" id="{BBFB0893-F4BF-6C3B-EEBD-5F9AC2745D1B}"/>
              </a:ext>
            </a:extLst>
          </p:cNvPr>
          <p:cNvSpPr/>
          <p:nvPr/>
        </p:nvSpPr>
        <p:spPr>
          <a:xfrm>
            <a:off x="917602" y="515090"/>
            <a:ext cx="8071" cy="2769"/>
          </a:xfrm>
          <a:custGeom>
            <a:avLst/>
            <a:gdLst>
              <a:gd name="connsiteX0" fmla="*/ 1912 w 2549"/>
              <a:gd name="connsiteY0" fmla="*/ 2 h 2769"/>
              <a:gd name="connsiteX1" fmla="*/ 2550 w 2549"/>
              <a:gd name="connsiteY1" fmla="*/ 1914 h 2769"/>
              <a:gd name="connsiteX2" fmla="*/ 0 w 2549"/>
              <a:gd name="connsiteY2" fmla="*/ 1914 h 2769"/>
              <a:gd name="connsiteX3" fmla="*/ 1912 w 2549"/>
              <a:gd name="connsiteY3" fmla="*/ 2 h 2769"/>
            </a:gdLst>
            <a:ahLst/>
            <a:cxnLst>
              <a:cxn ang="0">
                <a:pos x="connsiteX0" y="connsiteY0"/>
              </a:cxn>
              <a:cxn ang="0">
                <a:pos x="connsiteX1" y="connsiteY1"/>
              </a:cxn>
              <a:cxn ang="0">
                <a:pos x="connsiteX2" y="connsiteY2"/>
              </a:cxn>
              <a:cxn ang="0">
                <a:pos x="connsiteX3" y="connsiteY3"/>
              </a:cxn>
            </a:cxnLst>
            <a:rect l="l" t="t" r="r" b="b"/>
            <a:pathLst>
              <a:path w="2549" h="2769">
                <a:moveTo>
                  <a:pt x="1912" y="2"/>
                </a:moveTo>
                <a:cubicBezTo>
                  <a:pt x="1806" y="1107"/>
                  <a:pt x="2061" y="1702"/>
                  <a:pt x="2550" y="1914"/>
                </a:cubicBezTo>
                <a:cubicBezTo>
                  <a:pt x="2401" y="4379"/>
                  <a:pt x="1445" y="597"/>
                  <a:pt x="0" y="1914"/>
                </a:cubicBezTo>
                <a:cubicBezTo>
                  <a:pt x="276" y="745"/>
                  <a:pt x="807" y="-41"/>
                  <a:pt x="1912" y="2"/>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9" name="Text Placeholder 6">
            <a:extLst>
              <a:ext uri="{FF2B5EF4-FFF2-40B4-BE49-F238E27FC236}">
                <a16:creationId xmlns:a16="http://schemas.microsoft.com/office/drawing/2014/main" id="{61133D8F-27EB-9971-40A3-5496947BB795}"/>
              </a:ext>
            </a:extLst>
          </p:cNvPr>
          <p:cNvSpPr txBox="1">
            <a:spLocks/>
          </p:cNvSpPr>
          <p:nvPr/>
        </p:nvSpPr>
        <p:spPr>
          <a:xfrm>
            <a:off x="463075" y="2710996"/>
            <a:ext cx="5277325" cy="1799519"/>
          </a:xfrm>
          <a:prstGeom prst="rect">
            <a:avLst/>
          </a:prstGeom>
        </p:spPr>
        <p:txBody>
          <a:bodyPr vert="horz">
            <a:noAutofit/>
          </a:bodyPr>
          <a:lstStyle>
            <a:lvl1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1pPr>
            <a:lvl2pPr marL="0" indent="0" algn="l" defTabSz="914400" rtl="0" eaLnBrk="1" latinLnBrk="0" hangingPunct="1">
              <a:lnSpc>
                <a:spcPct val="100000"/>
              </a:lnSpc>
              <a:spcBef>
                <a:spcPts val="1200"/>
              </a:spcBef>
              <a:buClr>
                <a:schemeClr val="accent1"/>
              </a:buClr>
              <a:buFont typeface="Arial" panose="020B0604020202020204" pitchFamily="34" charset="0"/>
              <a:buNone/>
              <a:defRPr sz="1400" kern="1200">
                <a:solidFill>
                  <a:schemeClr val="tx1"/>
                </a:solidFill>
                <a:latin typeface="+mn-lt"/>
                <a:ea typeface="+mn-ea"/>
                <a:cs typeface="+mn-cs"/>
              </a:defRPr>
            </a:lvl2pPr>
            <a:lvl3pPr marL="144000" indent="-144000" algn="l" defTabSz="914400" rtl="0" eaLnBrk="1" latinLnBrk="0" hangingPunct="1">
              <a:lnSpc>
                <a:spcPct val="100000"/>
              </a:lnSpc>
              <a:spcBef>
                <a:spcPts val="1200"/>
              </a:spcBef>
              <a:buClr>
                <a:schemeClr val="accent1"/>
              </a:buClr>
              <a:buSzPct val="100000"/>
              <a:buFont typeface="Arial" panose="020B0604020202020204" pitchFamily="34" charset="0"/>
              <a:buChar char="•"/>
              <a:defRPr sz="1400" kern="1200">
                <a:solidFill>
                  <a:schemeClr val="tx1"/>
                </a:solidFill>
                <a:latin typeface="+mn-lt"/>
                <a:ea typeface="+mn-ea"/>
                <a:cs typeface="+mn-cs"/>
              </a:defRPr>
            </a:lvl3pPr>
            <a:lvl4pPr marL="288000" indent="-144000" algn="l" defTabSz="914400" rtl="0" eaLnBrk="1" latinLnBrk="0" hangingPunct="1">
              <a:lnSpc>
                <a:spcPct val="100000"/>
              </a:lnSpc>
              <a:spcBef>
                <a:spcPts val="1200"/>
              </a:spcBef>
              <a:buClr>
                <a:schemeClr val="accent1"/>
              </a:buClr>
              <a:buSzPct val="60000"/>
              <a:buFont typeface="Courier New" panose="02070309020205020404" pitchFamily="49" charset="0"/>
              <a:buChar char="o"/>
              <a:defRPr sz="1400" kern="1200">
                <a:solidFill>
                  <a:schemeClr val="tx1"/>
                </a:solidFill>
                <a:latin typeface="+mn-lt"/>
                <a:ea typeface="+mn-ea"/>
                <a:cs typeface="+mn-cs"/>
              </a:defRPr>
            </a:lvl4pPr>
            <a:lvl5pPr marL="432000" indent="-144000" algn="l" defTabSz="914400" rtl="0" eaLnBrk="1" latinLnBrk="0" hangingPunct="1">
              <a:lnSpc>
                <a:spcPct val="100000"/>
              </a:lnSpc>
              <a:spcBef>
                <a:spcPts val="1200"/>
              </a:spcBef>
              <a:buClr>
                <a:schemeClr val="accent1"/>
              </a:buClr>
              <a:buSzPct val="60000"/>
              <a:buFont typeface="Courier New" panose="02070309020205020404" pitchFamily="49" charset="0"/>
              <a:buChar char="o"/>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5000"/>
              </a:lnSpc>
              <a:spcAft>
                <a:spcPts val="600"/>
              </a:spcAft>
            </a:pPr>
            <a:r>
              <a:rPr lang="en-GB" sz="1200" dirty="0">
                <a:solidFill>
                  <a:srgbClr val="373A36"/>
                </a:solidFill>
                <a:latin typeface="Arial" panose="020B0604020202020204" pitchFamily="34" charset="0"/>
                <a:ea typeface="Calibri" panose="020F0502020204030204" pitchFamily="34" charset="0"/>
                <a:cs typeface="Arial" panose="020B0604020202020204" pitchFamily="34" charset="0"/>
              </a:rPr>
              <a:t>T</a:t>
            </a:r>
            <a:r>
              <a:rPr lang="en-GB" sz="1200" dirty="0">
                <a:solidFill>
                  <a:srgbClr val="373A36"/>
                </a:solidFill>
                <a:effectLst/>
                <a:latin typeface="Arial" panose="020B0604020202020204" pitchFamily="34" charset="0"/>
                <a:ea typeface="Calibri" panose="020F0502020204030204" pitchFamily="34" charset="0"/>
                <a:cs typeface="Arial" panose="020B0604020202020204" pitchFamily="34" charset="0"/>
              </a:rPr>
              <a:t>hrough our Services Beyond the Meter (</a:t>
            </a:r>
            <a:r>
              <a:rPr lang="en-GB" sz="1200" dirty="0" err="1">
                <a:solidFill>
                  <a:srgbClr val="373A36"/>
                </a:solidFill>
                <a:effectLst/>
                <a:latin typeface="Arial" panose="020B0604020202020204" pitchFamily="34" charset="0"/>
                <a:ea typeface="Calibri" panose="020F0502020204030204" pitchFamily="34" charset="0"/>
                <a:cs typeface="Arial" panose="020B0604020202020204" pitchFamily="34" charset="0"/>
              </a:rPr>
              <a:t>SBtM</a:t>
            </a:r>
            <a:r>
              <a:rPr lang="en-GB" sz="1200" dirty="0">
                <a:solidFill>
                  <a:srgbClr val="373A36"/>
                </a:solidFill>
                <a:effectLst/>
                <a:latin typeface="Arial" panose="020B0604020202020204" pitchFamily="34" charset="0"/>
                <a:ea typeface="Calibri" panose="020F0502020204030204" pitchFamily="34" charset="0"/>
                <a:cs typeface="Arial" panose="020B0604020202020204" pitchFamily="34" charset="0"/>
              </a:rPr>
              <a:t>) programme, we are offering free gas servicing on customers’ gas appliances if they meet certain eligibility criteria outlined in the table on the next slide.</a:t>
            </a:r>
            <a:endParaRPr lang="en-GB" sz="1000" dirty="0">
              <a:effectLst/>
              <a:latin typeface="Arial" panose="020B0604020202020204" pitchFamily="34" charset="0"/>
              <a:ea typeface="Arial" panose="020B0604020202020204" pitchFamily="34" charset="0"/>
              <a:cs typeface="Times New Roman" panose="02020603050405020304" pitchFamily="18" charset="0"/>
            </a:endParaRPr>
          </a:p>
          <a:p>
            <a:pPr>
              <a:lnSpc>
                <a:spcPct val="115000"/>
              </a:lnSpc>
              <a:spcAft>
                <a:spcPts val="600"/>
              </a:spcAft>
            </a:pPr>
            <a:r>
              <a:rPr lang="en-GB" sz="1200" b="0" dirty="0">
                <a:solidFill>
                  <a:srgbClr val="373A36"/>
                </a:solidFill>
                <a:effectLst/>
                <a:ea typeface="Calibri" panose="020F0502020204030204" pitchFamily="34" charset="0"/>
                <a:cs typeface="Arial" panose="020B0604020202020204" pitchFamily="34" charset="0"/>
              </a:rPr>
              <a:t>The gas service is carried out in line with the appliance manufacturer’s instructions. It includes cleaning of all components of the gas appliance, such as the vents, flues and pipework. The performance of the appliances is then assessed. This analysis may include, but not be limited to:</a:t>
            </a:r>
            <a:endParaRPr lang="en-GB" sz="1200" b="0" dirty="0">
              <a:effectLst/>
              <a:ea typeface="Arial" panose="020B0604020202020204" pitchFamily="34" charset="0"/>
              <a:cs typeface="Times New Roman" panose="02020603050405020304" pitchFamily="18" charset="0"/>
            </a:endParaRPr>
          </a:p>
        </p:txBody>
      </p:sp>
      <p:pic>
        <p:nvPicPr>
          <p:cNvPr id="30" name="Graphic 29">
            <a:extLst>
              <a:ext uri="{FF2B5EF4-FFF2-40B4-BE49-F238E27FC236}">
                <a16:creationId xmlns:a16="http://schemas.microsoft.com/office/drawing/2014/main" id="{5EF4A71C-81B9-9AC5-BF57-45C6C83B6B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3327" y="4822791"/>
            <a:ext cx="444681" cy="444681"/>
          </a:xfrm>
          <a:prstGeom prst="rect">
            <a:avLst/>
          </a:prstGeom>
        </p:spPr>
      </p:pic>
      <p:pic>
        <p:nvPicPr>
          <p:cNvPr id="31" name="Graphic 30">
            <a:extLst>
              <a:ext uri="{FF2B5EF4-FFF2-40B4-BE49-F238E27FC236}">
                <a16:creationId xmlns:a16="http://schemas.microsoft.com/office/drawing/2014/main" id="{F2229B7B-3318-FB93-AFDE-8BA2070B8C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17799" y="4822791"/>
            <a:ext cx="444681" cy="444681"/>
          </a:xfrm>
          <a:prstGeom prst="rect">
            <a:avLst/>
          </a:prstGeom>
        </p:spPr>
      </p:pic>
      <p:pic>
        <p:nvPicPr>
          <p:cNvPr id="32" name="Graphic 31">
            <a:extLst>
              <a:ext uri="{FF2B5EF4-FFF2-40B4-BE49-F238E27FC236}">
                <a16:creationId xmlns:a16="http://schemas.microsoft.com/office/drawing/2014/main" id="{1BBCBE87-D9F2-0587-5EE6-A52DF8E25E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57195" y="4822791"/>
            <a:ext cx="444681" cy="444681"/>
          </a:xfrm>
          <a:prstGeom prst="rect">
            <a:avLst/>
          </a:prstGeom>
        </p:spPr>
      </p:pic>
      <p:sp>
        <p:nvSpPr>
          <p:cNvPr id="33" name="TextBox 32">
            <a:extLst>
              <a:ext uri="{FF2B5EF4-FFF2-40B4-BE49-F238E27FC236}">
                <a16:creationId xmlns:a16="http://schemas.microsoft.com/office/drawing/2014/main" id="{A9312133-C569-500A-5084-2A488E04A757}"/>
              </a:ext>
            </a:extLst>
          </p:cNvPr>
          <p:cNvSpPr txBox="1"/>
          <p:nvPr/>
        </p:nvSpPr>
        <p:spPr>
          <a:xfrm>
            <a:off x="1006279" y="4822791"/>
            <a:ext cx="1723249" cy="830997"/>
          </a:xfrm>
          <a:prstGeom prst="rect">
            <a:avLst/>
          </a:prstGeom>
          <a:noFill/>
        </p:spPr>
        <p:txBody>
          <a:bodyPr wrap="square" rtlCol="0">
            <a:spAutoFit/>
          </a:bodyPr>
          <a:lstStyle/>
          <a:p>
            <a:r>
              <a:rPr lang="en-US" sz="1200" dirty="0"/>
              <a:t>The combustion exhaust gases to ensure the appliance is burning gas safely.</a:t>
            </a:r>
          </a:p>
        </p:txBody>
      </p:sp>
      <p:sp>
        <p:nvSpPr>
          <p:cNvPr id="34" name="TextBox 33">
            <a:extLst>
              <a:ext uri="{FF2B5EF4-FFF2-40B4-BE49-F238E27FC236}">
                <a16:creationId xmlns:a16="http://schemas.microsoft.com/office/drawing/2014/main" id="{054BDEAD-E15D-301C-A410-44FE917CB3B0}"/>
              </a:ext>
            </a:extLst>
          </p:cNvPr>
          <p:cNvSpPr txBox="1"/>
          <p:nvPr/>
        </p:nvSpPr>
        <p:spPr>
          <a:xfrm>
            <a:off x="3348017" y="4822791"/>
            <a:ext cx="2016215" cy="1384995"/>
          </a:xfrm>
          <a:prstGeom prst="rect">
            <a:avLst/>
          </a:prstGeom>
          <a:noFill/>
        </p:spPr>
        <p:txBody>
          <a:bodyPr wrap="square" rtlCol="0">
            <a:spAutoFit/>
          </a:bodyPr>
          <a:lstStyle/>
          <a:p>
            <a:r>
              <a:rPr lang="en-US" sz="1200" dirty="0"/>
              <a:t>The appliance’s condition including signs of heat or distress, effectiveness of flues, seals and gaskets, and cleanliness of heat exchangers.</a:t>
            </a:r>
          </a:p>
          <a:p>
            <a:endParaRPr lang="en-US" sz="1200" dirty="0"/>
          </a:p>
        </p:txBody>
      </p:sp>
      <p:sp>
        <p:nvSpPr>
          <p:cNvPr id="35" name="TextBox 34">
            <a:extLst>
              <a:ext uri="{FF2B5EF4-FFF2-40B4-BE49-F238E27FC236}">
                <a16:creationId xmlns:a16="http://schemas.microsoft.com/office/drawing/2014/main" id="{8C8D8B1D-1A3B-2B25-C358-E2EA89E7012D}"/>
              </a:ext>
            </a:extLst>
          </p:cNvPr>
          <p:cNvSpPr txBox="1"/>
          <p:nvPr/>
        </p:nvSpPr>
        <p:spPr>
          <a:xfrm>
            <a:off x="5994839" y="4822791"/>
            <a:ext cx="1723249" cy="778675"/>
          </a:xfrm>
          <a:prstGeom prst="rect">
            <a:avLst/>
          </a:prstGeom>
          <a:noFill/>
        </p:spPr>
        <p:txBody>
          <a:bodyPr wrap="square" rtlCol="0">
            <a:spAutoFit/>
          </a:bodyPr>
          <a:lstStyle/>
          <a:p>
            <a:pPr lvl="0">
              <a:lnSpc>
                <a:spcPct val="115000"/>
              </a:lnSpc>
              <a:spcAft>
                <a:spcPts val="600"/>
              </a:spcAft>
            </a:pPr>
            <a:r>
              <a:rPr lang="en-GB" sz="1200" dirty="0">
                <a:solidFill>
                  <a:srgbClr val="373A36"/>
                </a:solidFill>
                <a:effectLst/>
                <a:latin typeface="Arial" panose="020B0604020202020204" pitchFamily="34" charset="0"/>
                <a:ea typeface="Calibri" panose="020F0502020204030204" pitchFamily="34" charset="0"/>
                <a:cs typeface="Arial" panose="020B0604020202020204" pitchFamily="34" charset="0"/>
              </a:rPr>
              <a:t>Correct operation of any safety devices.</a:t>
            </a:r>
            <a:endParaRPr lang="en-GB" sz="1000" dirty="0">
              <a:effectLst/>
              <a:latin typeface="Arial" panose="020B0604020202020204" pitchFamily="34" charset="0"/>
              <a:ea typeface="Arial" panose="020B0604020202020204" pitchFamily="34" charset="0"/>
              <a:cs typeface="Times New Roman" panose="02020603050405020304" pitchFamily="18" charset="0"/>
            </a:endParaRPr>
          </a:p>
          <a:p>
            <a:endParaRPr lang="en-US" sz="1200" dirty="0"/>
          </a:p>
        </p:txBody>
      </p:sp>
      <p:sp>
        <p:nvSpPr>
          <p:cNvPr id="3" name="TextBox 2">
            <a:extLst>
              <a:ext uri="{FF2B5EF4-FFF2-40B4-BE49-F238E27FC236}">
                <a16:creationId xmlns:a16="http://schemas.microsoft.com/office/drawing/2014/main" id="{091D91A3-ED68-9113-4FE0-4C1D5007368E}"/>
              </a:ext>
            </a:extLst>
          </p:cNvPr>
          <p:cNvSpPr txBox="1"/>
          <p:nvPr/>
        </p:nvSpPr>
        <p:spPr>
          <a:xfrm>
            <a:off x="375958" y="852721"/>
            <a:ext cx="2499226" cy="584775"/>
          </a:xfrm>
          <a:prstGeom prst="rect">
            <a:avLst/>
          </a:prstGeom>
          <a:noFill/>
        </p:spPr>
        <p:txBody>
          <a:bodyPr wrap="square">
            <a:spAutoFit/>
          </a:bodyPr>
          <a:lstStyle/>
          <a:p>
            <a:r>
              <a:rPr lang="en-GB" sz="3200" b="1" spc="-150" dirty="0">
                <a:solidFill>
                  <a:schemeClr val="tx1"/>
                </a:solidFill>
              </a:rPr>
              <a:t>What are</a:t>
            </a:r>
            <a:endParaRPr lang="en-GB" sz="3200" b="1" spc="-150" dirty="0">
              <a:solidFill>
                <a:schemeClr val="accent1"/>
              </a:solidFill>
            </a:endParaRPr>
          </a:p>
        </p:txBody>
      </p:sp>
      <p:sp>
        <p:nvSpPr>
          <p:cNvPr id="4" name="Title 4">
            <a:extLst>
              <a:ext uri="{FF2B5EF4-FFF2-40B4-BE49-F238E27FC236}">
                <a16:creationId xmlns:a16="http://schemas.microsoft.com/office/drawing/2014/main" id="{8C092F75-B51C-9E4A-EC65-04D8D8BA8936}"/>
              </a:ext>
            </a:extLst>
          </p:cNvPr>
          <p:cNvSpPr txBox="1">
            <a:spLocks/>
          </p:cNvSpPr>
          <p:nvPr/>
        </p:nvSpPr>
        <p:spPr>
          <a:xfrm>
            <a:off x="515936" y="1422945"/>
            <a:ext cx="4848296" cy="508094"/>
          </a:xfrm>
          <a:prstGeom prst="rect">
            <a:avLst/>
          </a:prstGeom>
          <a:noFill/>
        </p:spPr>
        <p:txBody>
          <a:bodyPr vert="horz" lIns="0" tIns="0" rIns="0" bIns="0" rtlCol="0" anchor="t">
            <a:noAutofit/>
          </a:bodyPr>
          <a:lstStyle>
            <a:lvl1pPr>
              <a:lnSpc>
                <a:spcPct val="60000"/>
              </a:lnSpc>
              <a:spcBef>
                <a:spcPct val="0"/>
              </a:spcBef>
              <a:buNone/>
              <a:defRPr sz="6600" b="0" spc="-150" baseline="0">
                <a:gradFill>
                  <a:gsLst>
                    <a:gs pos="0">
                      <a:schemeClr val="accent2"/>
                    </a:gs>
                    <a:gs pos="80000">
                      <a:schemeClr val="accent1"/>
                    </a:gs>
                  </a:gsLst>
                  <a:lin ang="4200000" scaled="0"/>
                </a:gradFill>
                <a:latin typeface="Blackened Script" pitchFamily="2" charset="0"/>
                <a:ea typeface="+mj-ea"/>
                <a:cs typeface="+mj-cs"/>
              </a:defRPr>
            </a:lvl1pPr>
          </a:lstStyle>
          <a:p>
            <a:r>
              <a:rPr lang="en-GB" sz="5400" dirty="0">
                <a:gradFill>
                  <a:gsLst>
                    <a:gs pos="0">
                      <a:srgbClr val="36B5AE"/>
                    </a:gs>
                    <a:gs pos="80000">
                      <a:srgbClr val="00A05A"/>
                    </a:gs>
                  </a:gsLst>
                  <a:lin ang="4200000" scaled="0"/>
                </a:gradFill>
              </a:rPr>
              <a:t>Services Beyond the Meter?</a:t>
            </a:r>
          </a:p>
        </p:txBody>
      </p:sp>
      <p:pic>
        <p:nvPicPr>
          <p:cNvPr id="37" name="Picture 36" descr="A logo with a heart and text&#10;&#10;AI-generated content may be incorrect.">
            <a:extLst>
              <a:ext uri="{FF2B5EF4-FFF2-40B4-BE49-F238E27FC236}">
                <a16:creationId xmlns:a16="http://schemas.microsoft.com/office/drawing/2014/main" id="{20660957-2C79-771E-92A0-E93E0DABA7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78073" y="117223"/>
            <a:ext cx="2245802" cy="1215418"/>
          </a:xfrm>
          <a:prstGeom prst="rect">
            <a:avLst/>
          </a:prstGeom>
        </p:spPr>
      </p:pic>
    </p:spTree>
    <p:extLst>
      <p:ext uri="{BB962C8B-B14F-4D97-AF65-F5344CB8AC3E}">
        <p14:creationId xmlns:p14="http://schemas.microsoft.com/office/powerpoint/2010/main" val="33646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C1A19E8E-B6AE-C586-A76E-7C7A3783068E}"/>
              </a:ext>
            </a:extLst>
          </p:cNvPr>
          <p:cNvSpPr/>
          <p:nvPr/>
        </p:nvSpPr>
        <p:spPr>
          <a:xfrm>
            <a:off x="5401340" y="2395301"/>
            <a:ext cx="6274723" cy="36991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561A106B-CB5C-D17E-B4BA-5DB45CA46062}"/>
              </a:ext>
            </a:extLst>
          </p:cNvPr>
          <p:cNvSpPr/>
          <p:nvPr/>
        </p:nvSpPr>
        <p:spPr>
          <a:xfrm>
            <a:off x="515935" y="2395301"/>
            <a:ext cx="4709207" cy="36991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DC31F37A-A943-93DE-267D-60912A52FEB5}"/>
              </a:ext>
            </a:extLst>
          </p:cNvPr>
          <p:cNvSpPr/>
          <p:nvPr/>
        </p:nvSpPr>
        <p:spPr>
          <a:xfrm>
            <a:off x="489010" y="2069324"/>
            <a:ext cx="11160128" cy="538698"/>
          </a:xfrm>
          <a:prstGeom prst="rect">
            <a:avLst/>
          </a:prstGeom>
          <a:gradFill>
            <a:gsLst>
              <a:gs pos="70000">
                <a:srgbClr val="00A05A"/>
              </a:gs>
              <a:gs pos="0">
                <a:srgbClr val="36B5A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Shape 2">
            <a:extLst>
              <a:ext uri="{FF2B5EF4-FFF2-40B4-BE49-F238E27FC236}">
                <a16:creationId xmlns:a16="http://schemas.microsoft.com/office/drawing/2014/main" id="{D8702D5F-F92D-F88D-6F00-3A08C433E4F5}"/>
              </a:ext>
            </a:extLst>
          </p:cNvPr>
          <p:cNvSpPr/>
          <p:nvPr/>
        </p:nvSpPr>
        <p:spPr>
          <a:xfrm>
            <a:off x="1105117" y="297141"/>
            <a:ext cx="6054" cy="1912"/>
          </a:xfrm>
          <a:custGeom>
            <a:avLst/>
            <a:gdLst>
              <a:gd name="connsiteX0" fmla="*/ 0 w 1912"/>
              <a:gd name="connsiteY0" fmla="*/ 0 h 1912"/>
              <a:gd name="connsiteX1" fmla="*/ 1912 w 1912"/>
              <a:gd name="connsiteY1" fmla="*/ 0 h 1912"/>
              <a:gd name="connsiteX2" fmla="*/ 1912 w 1912"/>
              <a:gd name="connsiteY2" fmla="*/ 1912 h 1912"/>
              <a:gd name="connsiteX3" fmla="*/ 0 w 1912"/>
              <a:gd name="connsiteY3" fmla="*/ 1912 h 1912"/>
              <a:gd name="connsiteX4" fmla="*/ 0 w 1912"/>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2" h="1912">
                <a:moveTo>
                  <a:pt x="0" y="0"/>
                </a:moveTo>
                <a:lnTo>
                  <a:pt x="1912" y="0"/>
                </a:lnTo>
                <a:lnTo>
                  <a:pt x="1912"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9" name="Free-form: Shape 4">
            <a:extLst>
              <a:ext uri="{FF2B5EF4-FFF2-40B4-BE49-F238E27FC236}">
                <a16:creationId xmlns:a16="http://schemas.microsoft.com/office/drawing/2014/main" id="{06A18923-20C5-D56A-5F60-4FDE3BA8D4C4}"/>
              </a:ext>
            </a:extLst>
          </p:cNvPr>
          <p:cNvSpPr/>
          <p:nvPr/>
        </p:nvSpPr>
        <p:spPr>
          <a:xfrm>
            <a:off x="1133308" y="297141"/>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30" name="Free-form: Shape 8">
            <a:extLst>
              <a:ext uri="{FF2B5EF4-FFF2-40B4-BE49-F238E27FC236}">
                <a16:creationId xmlns:a16="http://schemas.microsoft.com/office/drawing/2014/main" id="{BD64A872-6B31-6A2B-331C-27ECE1EF9657}"/>
              </a:ext>
            </a:extLst>
          </p:cNvPr>
          <p:cNvSpPr/>
          <p:nvPr/>
        </p:nvSpPr>
        <p:spPr>
          <a:xfrm>
            <a:off x="1050640" y="297910"/>
            <a:ext cx="6719" cy="2099"/>
          </a:xfrm>
          <a:custGeom>
            <a:avLst/>
            <a:gdLst>
              <a:gd name="connsiteX0" fmla="*/ 15 w 2122"/>
              <a:gd name="connsiteY0" fmla="*/ 1143 h 2099"/>
              <a:gd name="connsiteX1" fmla="*/ 1927 w 2122"/>
              <a:gd name="connsiteY1" fmla="*/ 2099 h 2099"/>
              <a:gd name="connsiteX2" fmla="*/ 652 w 2122"/>
              <a:gd name="connsiteY2" fmla="*/ 2099 h 2099"/>
              <a:gd name="connsiteX3" fmla="*/ 15 w 2122"/>
              <a:gd name="connsiteY3" fmla="*/ 1143 h 2099"/>
            </a:gdLst>
            <a:ahLst/>
            <a:cxnLst>
              <a:cxn ang="0">
                <a:pos x="connsiteX0" y="connsiteY0"/>
              </a:cxn>
              <a:cxn ang="0">
                <a:pos x="connsiteX1" y="connsiteY1"/>
              </a:cxn>
              <a:cxn ang="0">
                <a:pos x="connsiteX2" y="connsiteY2"/>
              </a:cxn>
              <a:cxn ang="0">
                <a:pos x="connsiteX3" y="connsiteY3"/>
              </a:cxn>
            </a:cxnLst>
            <a:rect l="l" t="t" r="r" b="b"/>
            <a:pathLst>
              <a:path w="2122" h="2099">
                <a:moveTo>
                  <a:pt x="15" y="1143"/>
                </a:moveTo>
                <a:cubicBezTo>
                  <a:pt x="-240" y="-705"/>
                  <a:pt x="2926" y="-259"/>
                  <a:pt x="1927" y="2099"/>
                </a:cubicBezTo>
                <a:lnTo>
                  <a:pt x="652" y="2099"/>
                </a:lnTo>
                <a:cubicBezTo>
                  <a:pt x="780" y="1271"/>
                  <a:pt x="397" y="1207"/>
                  <a:pt x="15" y="1143"/>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31" name="Free-form: Shape 9">
            <a:extLst>
              <a:ext uri="{FF2B5EF4-FFF2-40B4-BE49-F238E27FC236}">
                <a16:creationId xmlns:a16="http://schemas.microsoft.com/office/drawing/2014/main" id="{E41AF33D-EA62-D95F-9B7E-29C4F90D060C}"/>
              </a:ext>
            </a:extLst>
          </p:cNvPr>
          <p:cNvSpPr/>
          <p:nvPr/>
        </p:nvSpPr>
        <p:spPr>
          <a:xfrm>
            <a:off x="3195041" y="443397"/>
            <a:ext cx="14369" cy="13386"/>
          </a:xfrm>
          <a:custGeom>
            <a:avLst/>
            <a:gdLst>
              <a:gd name="connsiteX0" fmla="*/ 3825 w 4538"/>
              <a:gd name="connsiteY0" fmla="*/ 0 h 13386"/>
              <a:gd name="connsiteX1" fmla="*/ 4462 w 4538"/>
              <a:gd name="connsiteY1" fmla="*/ 2869 h 13386"/>
              <a:gd name="connsiteX2" fmla="*/ 2550 w 4538"/>
              <a:gd name="connsiteY2" fmla="*/ 6693 h 13386"/>
              <a:gd name="connsiteX3" fmla="*/ 2550 w 4538"/>
              <a:gd name="connsiteY3" fmla="*/ 13387 h 13386"/>
              <a:gd name="connsiteX4" fmla="*/ 0 w 4538"/>
              <a:gd name="connsiteY4" fmla="*/ 4781 h 13386"/>
              <a:gd name="connsiteX5" fmla="*/ 637 w 4538"/>
              <a:gd name="connsiteY5" fmla="*/ 2869 h 13386"/>
              <a:gd name="connsiteX6" fmla="*/ 3825 w 4538"/>
              <a:gd name="connsiteY6" fmla="*/ 0 h 1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8" h="13386">
                <a:moveTo>
                  <a:pt x="3825" y="0"/>
                </a:moveTo>
                <a:cubicBezTo>
                  <a:pt x="4569" y="149"/>
                  <a:pt x="4356" y="1742"/>
                  <a:pt x="4462" y="2869"/>
                </a:cubicBezTo>
                <a:cubicBezTo>
                  <a:pt x="5015" y="5928"/>
                  <a:pt x="2359" y="4186"/>
                  <a:pt x="2550" y="6693"/>
                </a:cubicBezTo>
                <a:cubicBezTo>
                  <a:pt x="2337" y="9647"/>
                  <a:pt x="4016" y="11262"/>
                  <a:pt x="2550" y="13387"/>
                </a:cubicBezTo>
                <a:cubicBezTo>
                  <a:pt x="935" y="11666"/>
                  <a:pt x="382" y="8351"/>
                  <a:pt x="0" y="4781"/>
                </a:cubicBezTo>
                <a:cubicBezTo>
                  <a:pt x="616" y="4760"/>
                  <a:pt x="489" y="3612"/>
                  <a:pt x="637" y="2869"/>
                </a:cubicBezTo>
                <a:cubicBezTo>
                  <a:pt x="1594" y="1742"/>
                  <a:pt x="3230" y="1679"/>
                  <a:pt x="3825"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32" name="Free-form: Shape 22">
            <a:extLst>
              <a:ext uri="{FF2B5EF4-FFF2-40B4-BE49-F238E27FC236}">
                <a16:creationId xmlns:a16="http://schemas.microsoft.com/office/drawing/2014/main" id="{AD641A57-10F7-44B3-CA27-443DDC71B923}"/>
              </a:ext>
            </a:extLst>
          </p:cNvPr>
          <p:cNvSpPr/>
          <p:nvPr/>
        </p:nvSpPr>
        <p:spPr>
          <a:xfrm>
            <a:off x="3207153" y="448178"/>
            <a:ext cx="8138" cy="3075"/>
          </a:xfrm>
          <a:custGeom>
            <a:avLst/>
            <a:gdLst>
              <a:gd name="connsiteX0" fmla="*/ 1912 w 2570"/>
              <a:gd name="connsiteY0" fmla="*/ 0 h 3075"/>
              <a:gd name="connsiteX1" fmla="*/ 0 w 2570"/>
              <a:gd name="connsiteY1" fmla="*/ 2869 h 3075"/>
              <a:gd name="connsiteX2" fmla="*/ 1912 w 2570"/>
              <a:gd name="connsiteY2" fmla="*/ 0 h 3075"/>
            </a:gdLst>
            <a:ahLst/>
            <a:cxnLst>
              <a:cxn ang="0">
                <a:pos x="connsiteX0" y="connsiteY0"/>
              </a:cxn>
              <a:cxn ang="0">
                <a:pos x="connsiteX1" y="connsiteY1"/>
              </a:cxn>
              <a:cxn ang="0">
                <a:pos x="connsiteX2" y="connsiteY2"/>
              </a:cxn>
            </a:cxnLst>
            <a:rect l="l" t="t" r="r" b="b"/>
            <a:pathLst>
              <a:path w="2570" h="3075">
                <a:moveTo>
                  <a:pt x="1912" y="0"/>
                </a:moveTo>
                <a:cubicBezTo>
                  <a:pt x="3634" y="850"/>
                  <a:pt x="1615" y="3889"/>
                  <a:pt x="0" y="2869"/>
                </a:cubicBezTo>
                <a:cubicBezTo>
                  <a:pt x="64" y="1062"/>
                  <a:pt x="2104" y="2210"/>
                  <a:pt x="1912"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33" name="Free-form: Shape 26">
            <a:extLst>
              <a:ext uri="{FF2B5EF4-FFF2-40B4-BE49-F238E27FC236}">
                <a16:creationId xmlns:a16="http://schemas.microsoft.com/office/drawing/2014/main" id="{6FED64DF-056E-FB91-73C5-ECFEA6C49D33}"/>
              </a:ext>
            </a:extLst>
          </p:cNvPr>
          <p:cNvSpPr/>
          <p:nvPr/>
        </p:nvSpPr>
        <p:spPr>
          <a:xfrm>
            <a:off x="3168868" y="467303"/>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34" name="Free-form: Shape 29">
            <a:extLst>
              <a:ext uri="{FF2B5EF4-FFF2-40B4-BE49-F238E27FC236}">
                <a16:creationId xmlns:a16="http://schemas.microsoft.com/office/drawing/2014/main" id="{10A0F870-141B-1E99-62A9-ABA9BD094FB1}"/>
              </a:ext>
            </a:extLst>
          </p:cNvPr>
          <p:cNvSpPr/>
          <p:nvPr/>
        </p:nvSpPr>
        <p:spPr>
          <a:xfrm>
            <a:off x="3146225" y="471127"/>
            <a:ext cx="18602" cy="7639"/>
          </a:xfrm>
          <a:custGeom>
            <a:avLst/>
            <a:gdLst>
              <a:gd name="connsiteX0" fmla="*/ 4601 w 5875"/>
              <a:gd name="connsiteY0" fmla="*/ 0 h 7639"/>
              <a:gd name="connsiteX1" fmla="*/ 5876 w 5875"/>
              <a:gd name="connsiteY1" fmla="*/ 6693 h 7639"/>
              <a:gd name="connsiteX2" fmla="*/ 139 w 5875"/>
              <a:gd name="connsiteY2" fmla="*/ 4781 h 7639"/>
              <a:gd name="connsiteX3" fmla="*/ 1414 w 5875"/>
              <a:gd name="connsiteY3" fmla="*/ 956 h 7639"/>
              <a:gd name="connsiteX4" fmla="*/ 2689 w 5875"/>
              <a:gd name="connsiteY4" fmla="*/ 2869 h 7639"/>
              <a:gd name="connsiteX5" fmla="*/ 4601 w 5875"/>
              <a:gd name="connsiteY5" fmla="*/ 1912 h 7639"/>
              <a:gd name="connsiteX6" fmla="*/ 4601 w 5875"/>
              <a:gd name="connsiteY6" fmla="*/ 0 h 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75" h="7639">
                <a:moveTo>
                  <a:pt x="4601" y="0"/>
                </a:moveTo>
                <a:cubicBezTo>
                  <a:pt x="6428" y="128"/>
                  <a:pt x="4049" y="6566"/>
                  <a:pt x="5876" y="6693"/>
                </a:cubicBezTo>
                <a:cubicBezTo>
                  <a:pt x="3751" y="10136"/>
                  <a:pt x="3326" y="2932"/>
                  <a:pt x="139" y="4781"/>
                </a:cubicBezTo>
                <a:cubicBezTo>
                  <a:pt x="-647" y="1679"/>
                  <a:pt x="2200" y="4059"/>
                  <a:pt x="1414" y="956"/>
                </a:cubicBezTo>
                <a:cubicBezTo>
                  <a:pt x="1987" y="1381"/>
                  <a:pt x="2561" y="1806"/>
                  <a:pt x="2689" y="2869"/>
                </a:cubicBezTo>
                <a:cubicBezTo>
                  <a:pt x="3900" y="2146"/>
                  <a:pt x="3135" y="21"/>
                  <a:pt x="4601" y="1912"/>
                </a:cubicBezTo>
                <a:lnTo>
                  <a:pt x="4601"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35" name="Free-form: Shape 31">
            <a:extLst>
              <a:ext uri="{FF2B5EF4-FFF2-40B4-BE49-F238E27FC236}">
                <a16:creationId xmlns:a16="http://schemas.microsoft.com/office/drawing/2014/main" id="{3B8C774A-A0E2-FD1D-F4A3-C1B26026D2B4}"/>
              </a:ext>
            </a:extLst>
          </p:cNvPr>
          <p:cNvSpPr/>
          <p:nvPr/>
        </p:nvSpPr>
        <p:spPr>
          <a:xfrm>
            <a:off x="3168868" y="470837"/>
            <a:ext cx="8071" cy="4280"/>
          </a:xfrm>
          <a:custGeom>
            <a:avLst/>
            <a:gdLst>
              <a:gd name="connsiteX0" fmla="*/ 638 w 2549"/>
              <a:gd name="connsiteY0" fmla="*/ 290 h 4280"/>
              <a:gd name="connsiteX1" fmla="*/ 2550 w 2549"/>
              <a:gd name="connsiteY1" fmla="*/ 3159 h 4280"/>
              <a:gd name="connsiteX2" fmla="*/ 0 w 2549"/>
              <a:gd name="connsiteY2" fmla="*/ 3159 h 4280"/>
              <a:gd name="connsiteX3" fmla="*/ 638 w 2549"/>
              <a:gd name="connsiteY3" fmla="*/ 290 h 4280"/>
            </a:gdLst>
            <a:ahLst/>
            <a:cxnLst>
              <a:cxn ang="0">
                <a:pos x="connsiteX0" y="connsiteY0"/>
              </a:cxn>
              <a:cxn ang="0">
                <a:pos x="connsiteX1" y="connsiteY1"/>
              </a:cxn>
              <a:cxn ang="0">
                <a:pos x="connsiteX2" y="connsiteY2"/>
              </a:cxn>
              <a:cxn ang="0">
                <a:pos x="connsiteX3" y="connsiteY3"/>
              </a:cxn>
            </a:cxnLst>
            <a:rect l="l" t="t" r="r" b="b"/>
            <a:pathLst>
              <a:path w="2549" h="4280">
                <a:moveTo>
                  <a:pt x="638" y="290"/>
                </a:moveTo>
                <a:cubicBezTo>
                  <a:pt x="2911" y="-1197"/>
                  <a:pt x="1020" y="3541"/>
                  <a:pt x="2550" y="3159"/>
                </a:cubicBezTo>
                <a:cubicBezTo>
                  <a:pt x="2444" y="5538"/>
                  <a:pt x="383" y="3435"/>
                  <a:pt x="0" y="3159"/>
                </a:cubicBezTo>
                <a:cubicBezTo>
                  <a:pt x="340" y="2394"/>
                  <a:pt x="659" y="1607"/>
                  <a:pt x="638" y="29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36" name="Free-form: Shape 33">
            <a:extLst>
              <a:ext uri="{FF2B5EF4-FFF2-40B4-BE49-F238E27FC236}">
                <a16:creationId xmlns:a16="http://schemas.microsoft.com/office/drawing/2014/main" id="{7406023D-973B-5106-A1B8-2F4A20543EAB}"/>
              </a:ext>
            </a:extLst>
          </p:cNvPr>
          <p:cNvSpPr/>
          <p:nvPr/>
        </p:nvSpPr>
        <p:spPr>
          <a:xfrm>
            <a:off x="3201019" y="473040"/>
            <a:ext cx="6599" cy="2159"/>
          </a:xfrm>
          <a:custGeom>
            <a:avLst/>
            <a:gdLst>
              <a:gd name="connsiteX0" fmla="*/ 1299 w 2084"/>
              <a:gd name="connsiteY0" fmla="*/ 0 h 2159"/>
              <a:gd name="connsiteX1" fmla="*/ 24 w 2084"/>
              <a:gd name="connsiteY1" fmla="*/ 1912 h 2159"/>
              <a:gd name="connsiteX2" fmla="*/ 1299 w 2084"/>
              <a:gd name="connsiteY2" fmla="*/ 0 h 2159"/>
            </a:gdLst>
            <a:ahLst/>
            <a:cxnLst>
              <a:cxn ang="0">
                <a:pos x="connsiteX0" y="connsiteY0"/>
              </a:cxn>
              <a:cxn ang="0">
                <a:pos x="connsiteX1" y="connsiteY1"/>
              </a:cxn>
              <a:cxn ang="0">
                <a:pos x="connsiteX2" y="connsiteY2"/>
              </a:cxn>
            </a:cxnLst>
            <a:rect l="l" t="t" r="r" b="b"/>
            <a:pathLst>
              <a:path w="2084" h="2159">
                <a:moveTo>
                  <a:pt x="1299" y="0"/>
                </a:moveTo>
                <a:cubicBezTo>
                  <a:pt x="3467" y="1636"/>
                  <a:pt x="513" y="2656"/>
                  <a:pt x="24" y="1912"/>
                </a:cubicBezTo>
                <a:cubicBezTo>
                  <a:pt x="-231" y="1509"/>
                  <a:pt x="1618" y="786"/>
                  <a:pt x="1299"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37" name="Free-form: Shape 35">
            <a:extLst>
              <a:ext uri="{FF2B5EF4-FFF2-40B4-BE49-F238E27FC236}">
                <a16:creationId xmlns:a16="http://schemas.microsoft.com/office/drawing/2014/main" id="{51E0F5CE-73FF-B537-87E9-58442CEB6788}"/>
              </a:ext>
            </a:extLst>
          </p:cNvPr>
          <p:cNvSpPr/>
          <p:nvPr/>
        </p:nvSpPr>
        <p:spPr>
          <a:xfrm>
            <a:off x="3211250" y="499798"/>
            <a:ext cx="8020" cy="1160"/>
          </a:xfrm>
          <a:custGeom>
            <a:avLst/>
            <a:gdLst>
              <a:gd name="connsiteX0" fmla="*/ 1256 w 2533"/>
              <a:gd name="connsiteY0" fmla="*/ 16 h 1160"/>
              <a:gd name="connsiteX1" fmla="*/ 2531 w 2533"/>
              <a:gd name="connsiteY1" fmla="*/ 16 h 1160"/>
              <a:gd name="connsiteX2" fmla="*/ 1256 w 2533"/>
              <a:gd name="connsiteY2" fmla="*/ 16 h 1160"/>
            </a:gdLst>
            <a:ahLst/>
            <a:cxnLst>
              <a:cxn ang="0">
                <a:pos x="connsiteX0" y="connsiteY0"/>
              </a:cxn>
              <a:cxn ang="0">
                <a:pos x="connsiteX1" y="connsiteY1"/>
              </a:cxn>
              <a:cxn ang="0">
                <a:pos x="connsiteX2" y="connsiteY2"/>
              </a:cxn>
            </a:cxnLst>
            <a:rect l="l" t="t" r="r" b="b"/>
            <a:pathLst>
              <a:path w="2533" h="1160">
                <a:moveTo>
                  <a:pt x="1256" y="16"/>
                </a:moveTo>
                <a:lnTo>
                  <a:pt x="2531" y="16"/>
                </a:lnTo>
                <a:cubicBezTo>
                  <a:pt x="2658" y="2714"/>
                  <a:pt x="-2229" y="-239"/>
                  <a:pt x="1256" y="16"/>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A441AFD9-5B3D-DDEA-BF1C-E471C7D9BA81}"/>
              </a:ext>
            </a:extLst>
          </p:cNvPr>
          <p:cNvSpPr/>
          <p:nvPr/>
        </p:nvSpPr>
        <p:spPr>
          <a:xfrm>
            <a:off x="1006279" y="552652"/>
            <a:ext cx="28257" cy="2600"/>
          </a:xfrm>
          <a:custGeom>
            <a:avLst/>
            <a:gdLst>
              <a:gd name="connsiteX0" fmla="*/ 8925 w 8924"/>
              <a:gd name="connsiteY0" fmla="*/ 688 h 2600"/>
              <a:gd name="connsiteX1" fmla="*/ 7012 w 8924"/>
              <a:gd name="connsiteY1" fmla="*/ 2600 h 2600"/>
              <a:gd name="connsiteX2" fmla="*/ 0 w 8924"/>
              <a:gd name="connsiteY2" fmla="*/ 2600 h 2600"/>
              <a:gd name="connsiteX3" fmla="*/ 2550 w 8924"/>
              <a:gd name="connsiteY3" fmla="*/ 1644 h 2600"/>
              <a:gd name="connsiteX4" fmla="*/ 5737 w 8924"/>
              <a:gd name="connsiteY4" fmla="*/ 1644 h 2600"/>
              <a:gd name="connsiteX5" fmla="*/ 8925 w 8924"/>
              <a:gd name="connsiteY5" fmla="*/ 688 h 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24" h="2600">
                <a:moveTo>
                  <a:pt x="8925" y="688"/>
                </a:moveTo>
                <a:cubicBezTo>
                  <a:pt x="8776" y="2069"/>
                  <a:pt x="7033" y="1028"/>
                  <a:pt x="7012" y="2600"/>
                </a:cubicBezTo>
                <a:lnTo>
                  <a:pt x="0" y="2600"/>
                </a:lnTo>
                <a:cubicBezTo>
                  <a:pt x="191" y="1304"/>
                  <a:pt x="1594" y="1814"/>
                  <a:pt x="2550" y="1644"/>
                </a:cubicBezTo>
                <a:lnTo>
                  <a:pt x="5737" y="1644"/>
                </a:lnTo>
                <a:cubicBezTo>
                  <a:pt x="7055" y="1092"/>
                  <a:pt x="7798" y="-1097"/>
                  <a:pt x="8925" y="688"/>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1B63F6CB-75DA-427C-2C5F-EC1AD7127F9A}"/>
              </a:ext>
            </a:extLst>
          </p:cNvPr>
          <p:cNvSpPr/>
          <p:nvPr/>
        </p:nvSpPr>
        <p:spPr>
          <a:xfrm>
            <a:off x="1048667" y="552384"/>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4CD11C46-8A94-7AF2-065E-A69BB6D587FD}"/>
              </a:ext>
            </a:extLst>
          </p:cNvPr>
          <p:cNvSpPr/>
          <p:nvPr/>
        </p:nvSpPr>
        <p:spPr>
          <a:xfrm>
            <a:off x="974052" y="554768"/>
            <a:ext cx="18175" cy="1568"/>
          </a:xfrm>
          <a:custGeom>
            <a:avLst/>
            <a:gdLst>
              <a:gd name="connsiteX0" fmla="*/ 5737 w 5740"/>
              <a:gd name="connsiteY0" fmla="*/ 484 h 1568"/>
              <a:gd name="connsiteX1" fmla="*/ 2550 w 5740"/>
              <a:gd name="connsiteY1" fmla="*/ 1440 h 1568"/>
              <a:gd name="connsiteX2" fmla="*/ 0 w 5740"/>
              <a:gd name="connsiteY2" fmla="*/ 484 h 1568"/>
              <a:gd name="connsiteX3" fmla="*/ 5737 w 5740"/>
              <a:gd name="connsiteY3" fmla="*/ 484 h 1568"/>
            </a:gdLst>
            <a:ahLst/>
            <a:cxnLst>
              <a:cxn ang="0">
                <a:pos x="connsiteX0" y="connsiteY0"/>
              </a:cxn>
              <a:cxn ang="0">
                <a:pos x="connsiteX1" y="connsiteY1"/>
              </a:cxn>
              <a:cxn ang="0">
                <a:pos x="connsiteX2" y="connsiteY2"/>
              </a:cxn>
              <a:cxn ang="0">
                <a:pos x="connsiteX3" y="connsiteY3"/>
              </a:cxn>
            </a:cxnLst>
            <a:rect l="l" t="t" r="r" b="b"/>
            <a:pathLst>
              <a:path w="5740" h="1568">
                <a:moveTo>
                  <a:pt x="5737" y="484"/>
                </a:moveTo>
                <a:cubicBezTo>
                  <a:pt x="5843" y="2566"/>
                  <a:pt x="3485" y="909"/>
                  <a:pt x="2550" y="1440"/>
                </a:cubicBezTo>
                <a:cubicBezTo>
                  <a:pt x="1551" y="1355"/>
                  <a:pt x="127" y="1908"/>
                  <a:pt x="0" y="484"/>
                </a:cubicBezTo>
                <a:cubicBezTo>
                  <a:pt x="2550" y="1313"/>
                  <a:pt x="4696" y="-940"/>
                  <a:pt x="5737" y="484"/>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751A055A-29F4-BA5C-06A3-209C29D59028}"/>
              </a:ext>
            </a:extLst>
          </p:cNvPr>
          <p:cNvSpPr/>
          <p:nvPr/>
        </p:nvSpPr>
        <p:spPr>
          <a:xfrm>
            <a:off x="1248288" y="555006"/>
            <a:ext cx="10557" cy="2210"/>
          </a:xfrm>
          <a:custGeom>
            <a:avLst/>
            <a:gdLst>
              <a:gd name="connsiteX0" fmla="*/ 2 w 3334"/>
              <a:gd name="connsiteY0" fmla="*/ 1203 h 2210"/>
              <a:gd name="connsiteX1" fmla="*/ 3189 w 3334"/>
              <a:gd name="connsiteY1" fmla="*/ 2159 h 2210"/>
              <a:gd name="connsiteX2" fmla="*/ 2 w 3334"/>
              <a:gd name="connsiteY2" fmla="*/ 1203 h 2210"/>
            </a:gdLst>
            <a:ahLst/>
            <a:cxnLst>
              <a:cxn ang="0">
                <a:pos x="connsiteX0" y="connsiteY0"/>
              </a:cxn>
              <a:cxn ang="0">
                <a:pos x="connsiteX1" y="connsiteY1"/>
              </a:cxn>
              <a:cxn ang="0">
                <a:pos x="connsiteX2" y="connsiteY2"/>
              </a:cxn>
            </a:cxnLst>
            <a:rect l="l" t="t" r="r" b="b"/>
            <a:pathLst>
              <a:path w="3334" h="2210">
                <a:moveTo>
                  <a:pt x="2" y="1203"/>
                </a:moveTo>
                <a:cubicBezTo>
                  <a:pt x="-104" y="-370"/>
                  <a:pt x="4167" y="-731"/>
                  <a:pt x="3189" y="2159"/>
                </a:cubicBezTo>
                <a:cubicBezTo>
                  <a:pt x="1659" y="2563"/>
                  <a:pt x="1808" y="417"/>
                  <a:pt x="2" y="1203"/>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C887343D-FC3A-38D7-C849-97C85E58696D}"/>
              </a:ext>
            </a:extLst>
          </p:cNvPr>
          <p:cNvSpPr/>
          <p:nvPr/>
        </p:nvSpPr>
        <p:spPr>
          <a:xfrm>
            <a:off x="689715" y="556169"/>
            <a:ext cx="12108" cy="1993"/>
          </a:xfrm>
          <a:custGeom>
            <a:avLst/>
            <a:gdLst>
              <a:gd name="connsiteX0" fmla="*/ 3825 w 3824"/>
              <a:gd name="connsiteY0" fmla="*/ 39 h 1993"/>
              <a:gd name="connsiteX1" fmla="*/ 0 w 3824"/>
              <a:gd name="connsiteY1" fmla="*/ 1952 h 1993"/>
              <a:gd name="connsiteX2" fmla="*/ 3825 w 3824"/>
              <a:gd name="connsiteY2" fmla="*/ 39 h 1993"/>
            </a:gdLst>
            <a:ahLst/>
            <a:cxnLst>
              <a:cxn ang="0">
                <a:pos x="connsiteX0" y="connsiteY0"/>
              </a:cxn>
              <a:cxn ang="0">
                <a:pos x="connsiteX1" y="connsiteY1"/>
              </a:cxn>
              <a:cxn ang="0">
                <a:pos x="connsiteX2" y="connsiteY2"/>
              </a:cxn>
            </a:cxnLst>
            <a:rect l="l" t="t" r="r" b="b"/>
            <a:pathLst>
              <a:path w="3824" h="1993">
                <a:moveTo>
                  <a:pt x="3825" y="39"/>
                </a:moveTo>
                <a:cubicBezTo>
                  <a:pt x="3230" y="1697"/>
                  <a:pt x="1827" y="2143"/>
                  <a:pt x="0" y="1952"/>
                </a:cubicBezTo>
                <a:cubicBezTo>
                  <a:pt x="64" y="-492"/>
                  <a:pt x="2125" y="61"/>
                  <a:pt x="3825" y="39"/>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51102B63-3037-E98A-CA51-1ABDF02CB094}"/>
              </a:ext>
            </a:extLst>
          </p:cNvPr>
          <p:cNvSpPr/>
          <p:nvPr/>
        </p:nvSpPr>
        <p:spPr>
          <a:xfrm>
            <a:off x="694014" y="573420"/>
            <a:ext cx="17903" cy="2868"/>
          </a:xfrm>
          <a:custGeom>
            <a:avLst/>
            <a:gdLst>
              <a:gd name="connsiteX0" fmla="*/ 5654 w 5654"/>
              <a:gd name="connsiteY0" fmla="*/ 0 h 2868"/>
              <a:gd name="connsiteX1" fmla="*/ 555 w 5654"/>
              <a:gd name="connsiteY1" fmla="*/ 2869 h 2868"/>
              <a:gd name="connsiteX2" fmla="*/ 5654 w 5654"/>
              <a:gd name="connsiteY2" fmla="*/ 0 h 2868"/>
            </a:gdLst>
            <a:ahLst/>
            <a:cxnLst>
              <a:cxn ang="0">
                <a:pos x="connsiteX0" y="connsiteY0"/>
              </a:cxn>
              <a:cxn ang="0">
                <a:pos x="connsiteX1" y="connsiteY1"/>
              </a:cxn>
              <a:cxn ang="0">
                <a:pos x="connsiteX2" y="connsiteY2"/>
              </a:cxn>
            </a:cxnLst>
            <a:rect l="l" t="t" r="r" b="b"/>
            <a:pathLst>
              <a:path w="5654" h="2868">
                <a:moveTo>
                  <a:pt x="5654" y="0"/>
                </a:moveTo>
                <a:cubicBezTo>
                  <a:pt x="5357" y="3039"/>
                  <a:pt x="1426" y="659"/>
                  <a:pt x="555" y="2869"/>
                </a:cubicBezTo>
                <a:cubicBezTo>
                  <a:pt x="-1889" y="149"/>
                  <a:pt x="4464" y="616"/>
                  <a:pt x="5654"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8F1E3265-6A3D-8673-12E9-56C31F0DBABA}"/>
              </a:ext>
            </a:extLst>
          </p:cNvPr>
          <p:cNvSpPr/>
          <p:nvPr/>
        </p:nvSpPr>
        <p:spPr>
          <a:xfrm>
            <a:off x="3257621" y="427883"/>
            <a:ext cx="7583" cy="5378"/>
          </a:xfrm>
          <a:custGeom>
            <a:avLst/>
            <a:gdLst>
              <a:gd name="connsiteX0" fmla="*/ 422 w 2395"/>
              <a:gd name="connsiteY0" fmla="*/ 959 h 5378"/>
              <a:gd name="connsiteX1" fmla="*/ 1060 w 2395"/>
              <a:gd name="connsiteY1" fmla="*/ 3 h 5378"/>
              <a:gd name="connsiteX2" fmla="*/ 2335 w 2395"/>
              <a:gd name="connsiteY2" fmla="*/ 1915 h 5378"/>
              <a:gd name="connsiteX3" fmla="*/ 1718 w 2395"/>
              <a:gd name="connsiteY3" fmla="*/ 5379 h 5378"/>
              <a:gd name="connsiteX4" fmla="*/ 422 w 2395"/>
              <a:gd name="connsiteY4" fmla="*/ 959 h 5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5" h="5378">
                <a:moveTo>
                  <a:pt x="422" y="959"/>
                </a:moveTo>
                <a:cubicBezTo>
                  <a:pt x="-555" y="449"/>
                  <a:pt x="380" y="-40"/>
                  <a:pt x="1060" y="3"/>
                </a:cubicBezTo>
                <a:cubicBezTo>
                  <a:pt x="1336" y="853"/>
                  <a:pt x="1612" y="1703"/>
                  <a:pt x="2335" y="1915"/>
                </a:cubicBezTo>
                <a:cubicBezTo>
                  <a:pt x="2526" y="4125"/>
                  <a:pt x="2250" y="4274"/>
                  <a:pt x="1718" y="5379"/>
                </a:cubicBezTo>
                <a:cubicBezTo>
                  <a:pt x="-576" y="4571"/>
                  <a:pt x="1846" y="1766"/>
                  <a:pt x="422" y="959"/>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3F67A05D-9E30-C1F7-648C-BB2AA60BAA0A}"/>
              </a:ext>
            </a:extLst>
          </p:cNvPr>
          <p:cNvSpPr/>
          <p:nvPr/>
        </p:nvSpPr>
        <p:spPr>
          <a:xfrm>
            <a:off x="917602" y="515090"/>
            <a:ext cx="8071" cy="2769"/>
          </a:xfrm>
          <a:custGeom>
            <a:avLst/>
            <a:gdLst>
              <a:gd name="connsiteX0" fmla="*/ 1912 w 2549"/>
              <a:gd name="connsiteY0" fmla="*/ 2 h 2769"/>
              <a:gd name="connsiteX1" fmla="*/ 2550 w 2549"/>
              <a:gd name="connsiteY1" fmla="*/ 1914 h 2769"/>
              <a:gd name="connsiteX2" fmla="*/ 0 w 2549"/>
              <a:gd name="connsiteY2" fmla="*/ 1914 h 2769"/>
              <a:gd name="connsiteX3" fmla="*/ 1912 w 2549"/>
              <a:gd name="connsiteY3" fmla="*/ 2 h 2769"/>
            </a:gdLst>
            <a:ahLst/>
            <a:cxnLst>
              <a:cxn ang="0">
                <a:pos x="connsiteX0" y="connsiteY0"/>
              </a:cxn>
              <a:cxn ang="0">
                <a:pos x="connsiteX1" y="connsiteY1"/>
              </a:cxn>
              <a:cxn ang="0">
                <a:pos x="connsiteX2" y="connsiteY2"/>
              </a:cxn>
              <a:cxn ang="0">
                <a:pos x="connsiteX3" y="connsiteY3"/>
              </a:cxn>
            </a:cxnLst>
            <a:rect l="l" t="t" r="r" b="b"/>
            <a:pathLst>
              <a:path w="2549" h="2769">
                <a:moveTo>
                  <a:pt x="1912" y="2"/>
                </a:moveTo>
                <a:cubicBezTo>
                  <a:pt x="1806" y="1107"/>
                  <a:pt x="2061" y="1702"/>
                  <a:pt x="2550" y="1914"/>
                </a:cubicBezTo>
                <a:cubicBezTo>
                  <a:pt x="2401" y="4379"/>
                  <a:pt x="1445" y="597"/>
                  <a:pt x="0" y="1914"/>
                </a:cubicBezTo>
                <a:cubicBezTo>
                  <a:pt x="276" y="745"/>
                  <a:pt x="807" y="-41"/>
                  <a:pt x="1912" y="2"/>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50" name="Text Placeholder 12">
            <a:extLst>
              <a:ext uri="{FF2B5EF4-FFF2-40B4-BE49-F238E27FC236}">
                <a16:creationId xmlns:a16="http://schemas.microsoft.com/office/drawing/2014/main" id="{7F93BFF1-761C-A1EF-011B-42A309ECC3ED}"/>
              </a:ext>
            </a:extLst>
          </p:cNvPr>
          <p:cNvSpPr txBox="1">
            <a:spLocks/>
          </p:cNvSpPr>
          <p:nvPr/>
        </p:nvSpPr>
        <p:spPr>
          <a:xfrm>
            <a:off x="1448870" y="2069324"/>
            <a:ext cx="2843336" cy="538698"/>
          </a:xfrm>
          <a:prstGeom prst="rect">
            <a:avLst/>
          </a:prstGeom>
        </p:spPr>
        <p:txBody>
          <a:bodyPr vert="horz" lIns="0" tIns="0" rIns="0" bIns="0" rtlCol="0" anchor="ctr">
            <a:normAutofit/>
          </a:bodyPr>
          <a:lstStyle>
            <a:defPPr>
              <a:defRPr lang="en-US"/>
            </a:defPPr>
            <a:lvl1pPr marL="0" algn="r" defTabSz="914400" rtl="0" eaLnBrk="1" latinLnBrk="0" hangingPunct="1">
              <a:defRPr sz="1400" kern="1200">
                <a:solidFill>
                  <a:schemeClr val="bg1"/>
                </a:solidFill>
                <a:latin typeface="+mn-lt"/>
                <a:ea typeface="+mn-ea"/>
                <a:cs typeface="+mn-cs"/>
              </a:defRPr>
            </a:lvl1pPr>
            <a:lvl2pPr marL="457200" algn="l" defTabSz="914400" rtl="0" eaLnBrk="1" latinLnBrk="0" hangingPunct="1">
              <a:defRPr sz="1800" kern="1200">
                <a:solidFill>
                  <a:schemeClr val="bg1"/>
                </a:solidFill>
                <a:latin typeface="+mn-lt"/>
                <a:ea typeface="+mn-ea"/>
                <a:cs typeface="+mn-cs"/>
              </a:defRPr>
            </a:lvl2pPr>
            <a:lvl3pPr marL="914400" algn="l" defTabSz="914400" rtl="0" eaLnBrk="1" latinLnBrk="0" hangingPunct="1">
              <a:defRPr sz="1800" kern="1200">
                <a:solidFill>
                  <a:schemeClr val="bg1"/>
                </a:solidFill>
                <a:latin typeface="+mn-lt"/>
                <a:ea typeface="+mn-ea"/>
                <a:cs typeface="+mn-cs"/>
              </a:defRPr>
            </a:lvl3pPr>
            <a:lvl4pPr marL="1371600" algn="l" defTabSz="914400" rtl="0" eaLnBrk="1" latinLnBrk="0" hangingPunct="1">
              <a:defRPr sz="1800" kern="1200">
                <a:solidFill>
                  <a:schemeClr val="bg1"/>
                </a:solidFill>
                <a:latin typeface="+mn-lt"/>
                <a:ea typeface="+mn-ea"/>
                <a:cs typeface="+mn-cs"/>
              </a:defRPr>
            </a:lvl4pPr>
            <a:lvl5pPr marL="1828800" algn="l" defTabSz="914400" rtl="0" eaLnBrk="1" latinLnBrk="0" hangingPunct="1">
              <a:defRPr sz="1800" kern="1200">
                <a:solidFill>
                  <a:schemeClr val="bg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a:t>Means tested benefit</a:t>
            </a:r>
            <a:endParaRPr lang="en-GB" b="1" dirty="0"/>
          </a:p>
        </p:txBody>
      </p:sp>
      <p:sp>
        <p:nvSpPr>
          <p:cNvPr id="51" name="TextBox 50">
            <a:extLst>
              <a:ext uri="{FF2B5EF4-FFF2-40B4-BE49-F238E27FC236}">
                <a16:creationId xmlns:a16="http://schemas.microsoft.com/office/drawing/2014/main" id="{7209A7D2-DA88-DDC8-9255-08543A2B26FB}"/>
              </a:ext>
            </a:extLst>
          </p:cNvPr>
          <p:cNvSpPr txBox="1"/>
          <p:nvPr/>
        </p:nvSpPr>
        <p:spPr>
          <a:xfrm>
            <a:off x="375958" y="763513"/>
            <a:ext cx="2499226" cy="584775"/>
          </a:xfrm>
          <a:prstGeom prst="rect">
            <a:avLst/>
          </a:prstGeom>
          <a:noFill/>
        </p:spPr>
        <p:txBody>
          <a:bodyPr wrap="square">
            <a:spAutoFit/>
          </a:bodyPr>
          <a:lstStyle/>
          <a:p>
            <a:r>
              <a:rPr lang="en-GB" sz="3200" b="1" spc="-150" dirty="0">
                <a:solidFill>
                  <a:schemeClr val="tx1"/>
                </a:solidFill>
              </a:rPr>
              <a:t>Eligibility</a:t>
            </a:r>
            <a:endParaRPr lang="en-GB" sz="3200" b="1" spc="-150" dirty="0">
              <a:solidFill>
                <a:schemeClr val="accent1"/>
              </a:solidFill>
            </a:endParaRPr>
          </a:p>
        </p:txBody>
      </p:sp>
      <p:sp>
        <p:nvSpPr>
          <p:cNvPr id="52" name="Title 4">
            <a:extLst>
              <a:ext uri="{FF2B5EF4-FFF2-40B4-BE49-F238E27FC236}">
                <a16:creationId xmlns:a16="http://schemas.microsoft.com/office/drawing/2014/main" id="{AE645DB8-3C5F-9D0A-F33E-93EB24978D73}"/>
              </a:ext>
            </a:extLst>
          </p:cNvPr>
          <p:cNvSpPr txBox="1">
            <a:spLocks/>
          </p:cNvSpPr>
          <p:nvPr/>
        </p:nvSpPr>
        <p:spPr>
          <a:xfrm>
            <a:off x="515936" y="1360183"/>
            <a:ext cx="2502471" cy="508094"/>
          </a:xfrm>
          <a:prstGeom prst="rect">
            <a:avLst/>
          </a:prstGeom>
          <a:noFill/>
        </p:spPr>
        <p:txBody>
          <a:bodyPr vert="horz" lIns="0" tIns="0" rIns="0" bIns="0" rtlCol="0" anchor="t">
            <a:noAutofit/>
          </a:bodyPr>
          <a:lstStyle>
            <a:lvl1pPr>
              <a:lnSpc>
                <a:spcPct val="60000"/>
              </a:lnSpc>
              <a:spcBef>
                <a:spcPct val="0"/>
              </a:spcBef>
              <a:buNone/>
              <a:defRPr sz="6600" b="0" spc="-150" baseline="0">
                <a:gradFill>
                  <a:gsLst>
                    <a:gs pos="0">
                      <a:schemeClr val="accent2"/>
                    </a:gs>
                    <a:gs pos="80000">
                      <a:schemeClr val="accent1"/>
                    </a:gs>
                  </a:gsLst>
                  <a:lin ang="4200000" scaled="0"/>
                </a:gradFill>
                <a:latin typeface="Blackened Script" pitchFamily="2" charset="0"/>
                <a:ea typeface="+mj-ea"/>
                <a:cs typeface="+mj-cs"/>
              </a:defRPr>
            </a:lvl1pPr>
          </a:lstStyle>
          <a:p>
            <a:r>
              <a:rPr lang="en-GB" sz="5400" dirty="0">
                <a:gradFill>
                  <a:gsLst>
                    <a:gs pos="0">
                      <a:srgbClr val="36B5AE"/>
                    </a:gs>
                    <a:gs pos="80000">
                      <a:srgbClr val="00A05A"/>
                    </a:gs>
                  </a:gsLst>
                  <a:lin ang="4200000" scaled="0"/>
                </a:gradFill>
              </a:rPr>
              <a:t>criteria</a:t>
            </a:r>
          </a:p>
        </p:txBody>
      </p:sp>
      <p:sp>
        <p:nvSpPr>
          <p:cNvPr id="53" name="TextBox 52">
            <a:extLst>
              <a:ext uri="{FF2B5EF4-FFF2-40B4-BE49-F238E27FC236}">
                <a16:creationId xmlns:a16="http://schemas.microsoft.com/office/drawing/2014/main" id="{BB6089CE-7690-1ACC-6808-33ECCF03C8F5}"/>
              </a:ext>
            </a:extLst>
          </p:cNvPr>
          <p:cNvSpPr txBox="1"/>
          <p:nvPr/>
        </p:nvSpPr>
        <p:spPr>
          <a:xfrm>
            <a:off x="817906" y="2824915"/>
            <a:ext cx="4009876" cy="3157788"/>
          </a:xfrm>
          <a:prstGeom prst="rect">
            <a:avLst/>
          </a:prstGeom>
          <a:noFill/>
        </p:spPr>
        <p:txBody>
          <a:bodyPr wrap="square" rtlCol="0">
            <a:spAutoFit/>
          </a:bodyPr>
          <a:lstStyle/>
          <a:p>
            <a:pPr marL="171450" indent="-171450">
              <a:lnSpc>
                <a:spcPct val="130000"/>
              </a:lnSpc>
              <a:buFont typeface="Arial" panose="020B0604020202020204" pitchFamily="34" charset="0"/>
              <a:buChar char="•"/>
            </a:pPr>
            <a:r>
              <a:rPr lang="en-US" sz="1200" dirty="0"/>
              <a:t>Income-based Jobseeker’s Allowance.</a:t>
            </a:r>
          </a:p>
          <a:p>
            <a:pPr marL="171450" indent="-171450">
              <a:lnSpc>
                <a:spcPct val="130000"/>
              </a:lnSpc>
              <a:buFont typeface="Arial" panose="020B0604020202020204" pitchFamily="34" charset="0"/>
              <a:buChar char="•"/>
            </a:pPr>
            <a:r>
              <a:rPr lang="en-US" sz="1200" dirty="0"/>
              <a:t>Employment Support Allowance.</a:t>
            </a:r>
          </a:p>
          <a:p>
            <a:pPr marL="171450" indent="-171450">
              <a:lnSpc>
                <a:spcPct val="130000"/>
              </a:lnSpc>
              <a:buFont typeface="Arial" panose="020B0604020202020204" pitchFamily="34" charset="0"/>
              <a:buChar char="•"/>
            </a:pPr>
            <a:r>
              <a:rPr lang="en-US" sz="1200" dirty="0"/>
              <a:t>Income Support or Support for Mortgage Interest.</a:t>
            </a:r>
          </a:p>
          <a:p>
            <a:pPr marL="171450" indent="-171450">
              <a:lnSpc>
                <a:spcPct val="130000"/>
              </a:lnSpc>
              <a:buFont typeface="Arial" panose="020B0604020202020204" pitchFamily="34" charset="0"/>
              <a:buChar char="•"/>
            </a:pPr>
            <a:r>
              <a:rPr lang="en-US" sz="1200" dirty="0"/>
              <a:t>Pension Credit.</a:t>
            </a:r>
          </a:p>
          <a:p>
            <a:pPr marL="171450" indent="-171450">
              <a:lnSpc>
                <a:spcPct val="130000"/>
              </a:lnSpc>
              <a:buFont typeface="Arial" panose="020B0604020202020204" pitchFamily="34" charset="0"/>
              <a:buChar char="•"/>
            </a:pPr>
            <a:r>
              <a:rPr lang="en-US" sz="1200" dirty="0"/>
              <a:t>Child Tax Credit.</a:t>
            </a:r>
          </a:p>
          <a:p>
            <a:pPr marL="171450" indent="-171450">
              <a:lnSpc>
                <a:spcPct val="130000"/>
              </a:lnSpc>
              <a:buFont typeface="Arial" panose="020B0604020202020204" pitchFamily="34" charset="0"/>
              <a:buChar char="•"/>
            </a:pPr>
            <a:r>
              <a:rPr lang="en-US" sz="1200" dirty="0"/>
              <a:t>Working Tax Credit.</a:t>
            </a:r>
          </a:p>
          <a:p>
            <a:pPr marL="171450" indent="-171450">
              <a:lnSpc>
                <a:spcPct val="130000"/>
              </a:lnSpc>
              <a:buFont typeface="Arial" panose="020B0604020202020204" pitchFamily="34" charset="0"/>
              <a:buChar char="•"/>
            </a:pPr>
            <a:r>
              <a:rPr lang="en-US" sz="1200" dirty="0"/>
              <a:t>Housing Benefit.</a:t>
            </a:r>
          </a:p>
          <a:p>
            <a:pPr marL="171450" indent="-171450">
              <a:lnSpc>
                <a:spcPct val="130000"/>
              </a:lnSpc>
              <a:buFont typeface="Arial" panose="020B0604020202020204" pitchFamily="34" charset="0"/>
              <a:buChar char="•"/>
            </a:pPr>
            <a:r>
              <a:rPr lang="en-US" sz="1200" dirty="0"/>
              <a:t>Council Tax. Support/Council Tax. Reduction/Council Tax Benefit.</a:t>
            </a:r>
          </a:p>
          <a:p>
            <a:pPr marL="171450" indent="-171450">
              <a:lnSpc>
                <a:spcPct val="130000"/>
              </a:lnSpc>
              <a:buFont typeface="Arial" panose="020B0604020202020204" pitchFamily="34" charset="0"/>
              <a:buChar char="•"/>
            </a:pPr>
            <a:r>
              <a:rPr lang="en-US" sz="1200" dirty="0"/>
              <a:t>Social Fund (Sure Start Maternity Grant, Funeral Payment, Cold Weather Payment).</a:t>
            </a:r>
          </a:p>
          <a:p>
            <a:pPr marL="171450" indent="-171450">
              <a:lnSpc>
                <a:spcPct val="130000"/>
              </a:lnSpc>
              <a:buFont typeface="Arial" panose="020B0604020202020204" pitchFamily="34" charset="0"/>
              <a:buChar char="•"/>
            </a:pPr>
            <a:r>
              <a:rPr lang="en-US" sz="1200" dirty="0"/>
              <a:t>Universal Credit.</a:t>
            </a:r>
          </a:p>
          <a:p>
            <a:endParaRPr lang="en-US" sz="1200" dirty="0"/>
          </a:p>
        </p:txBody>
      </p:sp>
      <p:sp>
        <p:nvSpPr>
          <p:cNvPr id="56" name="Text Placeholder 12">
            <a:extLst>
              <a:ext uri="{FF2B5EF4-FFF2-40B4-BE49-F238E27FC236}">
                <a16:creationId xmlns:a16="http://schemas.microsoft.com/office/drawing/2014/main" id="{F2F622B9-4CE6-0C4B-5C28-6FCF485EC89B}"/>
              </a:ext>
            </a:extLst>
          </p:cNvPr>
          <p:cNvSpPr txBox="1">
            <a:spLocks/>
          </p:cNvSpPr>
          <p:nvPr/>
        </p:nvSpPr>
        <p:spPr>
          <a:xfrm>
            <a:off x="7117033" y="2069324"/>
            <a:ext cx="2843336" cy="538698"/>
          </a:xfrm>
          <a:prstGeom prst="rect">
            <a:avLst/>
          </a:prstGeom>
        </p:spPr>
        <p:txBody>
          <a:bodyPr vert="horz" lIns="0" tIns="0" rIns="0" bIns="0" rtlCol="0" anchor="ctr">
            <a:normAutofit/>
          </a:bodyPr>
          <a:lstStyle>
            <a:defPPr>
              <a:defRPr lang="en-US"/>
            </a:defPPr>
            <a:lvl1pPr marL="0" algn="r" defTabSz="914400" rtl="0" eaLnBrk="1" latinLnBrk="0" hangingPunct="1">
              <a:defRPr sz="1400" kern="1200">
                <a:solidFill>
                  <a:schemeClr val="bg1"/>
                </a:solidFill>
                <a:latin typeface="+mn-lt"/>
                <a:ea typeface="+mn-ea"/>
                <a:cs typeface="+mn-cs"/>
              </a:defRPr>
            </a:lvl1pPr>
            <a:lvl2pPr marL="457200" algn="l" defTabSz="914400" rtl="0" eaLnBrk="1" latinLnBrk="0" hangingPunct="1">
              <a:defRPr sz="1800" kern="1200">
                <a:solidFill>
                  <a:schemeClr val="bg1"/>
                </a:solidFill>
                <a:latin typeface="+mn-lt"/>
                <a:ea typeface="+mn-ea"/>
                <a:cs typeface="+mn-cs"/>
              </a:defRPr>
            </a:lvl2pPr>
            <a:lvl3pPr marL="914400" algn="l" defTabSz="914400" rtl="0" eaLnBrk="1" latinLnBrk="0" hangingPunct="1">
              <a:defRPr sz="1800" kern="1200">
                <a:solidFill>
                  <a:schemeClr val="bg1"/>
                </a:solidFill>
                <a:latin typeface="+mn-lt"/>
                <a:ea typeface="+mn-ea"/>
                <a:cs typeface="+mn-cs"/>
              </a:defRPr>
            </a:lvl3pPr>
            <a:lvl4pPr marL="1371600" algn="l" defTabSz="914400" rtl="0" eaLnBrk="1" latinLnBrk="0" hangingPunct="1">
              <a:defRPr sz="1800" kern="1200">
                <a:solidFill>
                  <a:schemeClr val="bg1"/>
                </a:solidFill>
                <a:latin typeface="+mn-lt"/>
                <a:ea typeface="+mn-ea"/>
                <a:cs typeface="+mn-cs"/>
              </a:defRPr>
            </a:lvl4pPr>
            <a:lvl5pPr marL="1828800" algn="l" defTabSz="914400" rtl="0" eaLnBrk="1" latinLnBrk="0" hangingPunct="1">
              <a:defRPr sz="1800" kern="1200">
                <a:solidFill>
                  <a:schemeClr val="bg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a:t>Household income</a:t>
            </a:r>
            <a:endParaRPr lang="en-GB" b="1" dirty="0"/>
          </a:p>
        </p:txBody>
      </p:sp>
      <p:sp>
        <p:nvSpPr>
          <p:cNvPr id="57" name="TextBox 56">
            <a:extLst>
              <a:ext uri="{FF2B5EF4-FFF2-40B4-BE49-F238E27FC236}">
                <a16:creationId xmlns:a16="http://schemas.microsoft.com/office/drawing/2014/main" id="{57594454-9611-1C7F-2FCD-E7FF3D2299A5}"/>
              </a:ext>
            </a:extLst>
          </p:cNvPr>
          <p:cNvSpPr txBox="1"/>
          <p:nvPr/>
        </p:nvSpPr>
        <p:spPr>
          <a:xfrm>
            <a:off x="5886355" y="2778741"/>
            <a:ext cx="3221884" cy="1680460"/>
          </a:xfrm>
          <a:prstGeom prst="rect">
            <a:avLst/>
          </a:prstGeom>
          <a:noFill/>
        </p:spPr>
        <p:txBody>
          <a:bodyPr wrap="square" rtlCol="0">
            <a:spAutoFit/>
          </a:bodyPr>
          <a:lstStyle/>
          <a:p>
            <a:pPr>
              <a:lnSpc>
                <a:spcPct val="120000"/>
              </a:lnSpc>
            </a:pPr>
            <a:r>
              <a:rPr lang="en-US" sz="1200" b="1" dirty="0"/>
              <a:t>Single Claimant:</a:t>
            </a:r>
          </a:p>
          <a:p>
            <a:pPr marL="171450" indent="-171450">
              <a:lnSpc>
                <a:spcPct val="130000"/>
              </a:lnSpc>
              <a:buFont typeface="Arial" panose="020B0604020202020204" pitchFamily="34" charset="0"/>
              <a:buChar char="•"/>
            </a:pPr>
            <a:r>
              <a:rPr lang="en-US" sz="1200" dirty="0"/>
              <a:t>1 Child (up to age 18)                 </a:t>
            </a:r>
          </a:p>
          <a:p>
            <a:pPr marL="171450" indent="-171450">
              <a:lnSpc>
                <a:spcPct val="130000"/>
              </a:lnSpc>
              <a:buFont typeface="Arial" panose="020B0604020202020204" pitchFamily="34" charset="0"/>
              <a:buChar char="•"/>
            </a:pPr>
            <a:r>
              <a:rPr lang="en-US" sz="1200" dirty="0"/>
              <a:t>2 Children (up to age 18)           </a:t>
            </a:r>
          </a:p>
          <a:p>
            <a:pPr marL="171450" indent="-171450">
              <a:lnSpc>
                <a:spcPct val="130000"/>
              </a:lnSpc>
              <a:buFont typeface="Arial" panose="020B0604020202020204" pitchFamily="34" charset="0"/>
              <a:buChar char="•"/>
            </a:pPr>
            <a:r>
              <a:rPr lang="en-US" sz="1200" dirty="0"/>
              <a:t>3 Children (up to age 18)           </a:t>
            </a:r>
          </a:p>
          <a:p>
            <a:pPr marL="171450" indent="-171450">
              <a:lnSpc>
                <a:spcPct val="130000"/>
              </a:lnSpc>
              <a:buFont typeface="Arial" panose="020B0604020202020204" pitchFamily="34" charset="0"/>
              <a:buChar char="•"/>
            </a:pPr>
            <a:r>
              <a:rPr lang="en-US" sz="1200" dirty="0"/>
              <a:t>4 Children (up to age 18</a:t>
            </a:r>
          </a:p>
          <a:p>
            <a:pPr marL="171450" indent="-171450">
              <a:lnSpc>
                <a:spcPct val="120000"/>
              </a:lnSpc>
              <a:buFont typeface="Arial" panose="020B0604020202020204" pitchFamily="34" charset="0"/>
              <a:buChar char="•"/>
            </a:pPr>
            <a:endParaRPr lang="en-US" sz="1200" dirty="0"/>
          </a:p>
          <a:p>
            <a:endParaRPr lang="en-US" sz="1200" dirty="0"/>
          </a:p>
        </p:txBody>
      </p:sp>
      <p:sp>
        <p:nvSpPr>
          <p:cNvPr id="61" name="TextBox 60">
            <a:extLst>
              <a:ext uri="{FF2B5EF4-FFF2-40B4-BE49-F238E27FC236}">
                <a16:creationId xmlns:a16="http://schemas.microsoft.com/office/drawing/2014/main" id="{D4A6B1DB-7725-7BE7-9A03-57C5AFDC3C4D}"/>
              </a:ext>
            </a:extLst>
          </p:cNvPr>
          <p:cNvSpPr txBox="1"/>
          <p:nvPr/>
        </p:nvSpPr>
        <p:spPr>
          <a:xfrm>
            <a:off x="8427254" y="2778741"/>
            <a:ext cx="3221884" cy="1249188"/>
          </a:xfrm>
          <a:prstGeom prst="rect">
            <a:avLst/>
          </a:prstGeom>
          <a:noFill/>
        </p:spPr>
        <p:txBody>
          <a:bodyPr wrap="square" rtlCol="0">
            <a:spAutoFit/>
          </a:bodyPr>
          <a:lstStyle/>
          <a:p>
            <a:pPr>
              <a:lnSpc>
                <a:spcPct val="120000"/>
              </a:lnSpc>
            </a:pPr>
            <a:r>
              <a:rPr lang="en-US" sz="1200" b="1" dirty="0"/>
              <a:t>Qualifying max. household income:</a:t>
            </a:r>
          </a:p>
          <a:p>
            <a:pPr marL="171450" indent="-171450">
              <a:lnSpc>
                <a:spcPct val="130000"/>
              </a:lnSpc>
              <a:buFont typeface="Arial" panose="020B0604020202020204" pitchFamily="34" charset="0"/>
              <a:buChar char="•"/>
            </a:pPr>
            <a:r>
              <a:rPr lang="en-US" sz="1200" dirty="0"/>
              <a:t>£19,900</a:t>
            </a:r>
          </a:p>
          <a:p>
            <a:pPr marL="171450" indent="-171450">
              <a:lnSpc>
                <a:spcPct val="130000"/>
              </a:lnSpc>
              <a:buFont typeface="Arial" panose="020B0604020202020204" pitchFamily="34" charset="0"/>
              <a:buChar char="•"/>
            </a:pPr>
            <a:r>
              <a:rPr lang="en-US" sz="1200" dirty="0"/>
              <a:t>£24,800</a:t>
            </a:r>
          </a:p>
          <a:p>
            <a:pPr marL="171450" indent="-171450">
              <a:lnSpc>
                <a:spcPct val="130000"/>
              </a:lnSpc>
              <a:buFont typeface="Arial" panose="020B0604020202020204" pitchFamily="34" charset="0"/>
              <a:buChar char="•"/>
            </a:pPr>
            <a:r>
              <a:rPr lang="en-US" sz="1200" dirty="0"/>
              <a:t>£29,600</a:t>
            </a:r>
          </a:p>
          <a:p>
            <a:pPr marL="171450" indent="-171450">
              <a:lnSpc>
                <a:spcPct val="130000"/>
              </a:lnSpc>
              <a:buFont typeface="Arial" panose="020B0604020202020204" pitchFamily="34" charset="0"/>
              <a:buChar char="•"/>
            </a:pPr>
            <a:r>
              <a:rPr lang="en-US" sz="1200" dirty="0"/>
              <a:t>£34,500</a:t>
            </a:r>
          </a:p>
        </p:txBody>
      </p:sp>
      <p:sp>
        <p:nvSpPr>
          <p:cNvPr id="68" name="TextBox 67">
            <a:extLst>
              <a:ext uri="{FF2B5EF4-FFF2-40B4-BE49-F238E27FC236}">
                <a16:creationId xmlns:a16="http://schemas.microsoft.com/office/drawing/2014/main" id="{B8901361-B349-523C-703D-F842498FCE16}"/>
              </a:ext>
            </a:extLst>
          </p:cNvPr>
          <p:cNvSpPr txBox="1"/>
          <p:nvPr/>
        </p:nvSpPr>
        <p:spPr>
          <a:xfrm>
            <a:off x="5886355" y="4575953"/>
            <a:ext cx="3221884" cy="1680460"/>
          </a:xfrm>
          <a:prstGeom prst="rect">
            <a:avLst/>
          </a:prstGeom>
          <a:noFill/>
        </p:spPr>
        <p:txBody>
          <a:bodyPr wrap="square" rtlCol="0">
            <a:spAutoFit/>
          </a:bodyPr>
          <a:lstStyle/>
          <a:p>
            <a:pPr>
              <a:lnSpc>
                <a:spcPct val="120000"/>
              </a:lnSpc>
            </a:pPr>
            <a:r>
              <a:rPr lang="en-US" sz="1200" b="1" dirty="0"/>
              <a:t>Member of a couple:</a:t>
            </a:r>
          </a:p>
          <a:p>
            <a:pPr marL="171450" indent="-171450">
              <a:lnSpc>
                <a:spcPct val="130000"/>
              </a:lnSpc>
              <a:buFont typeface="Arial" panose="020B0604020202020204" pitchFamily="34" charset="0"/>
              <a:buChar char="•"/>
            </a:pPr>
            <a:r>
              <a:rPr lang="en-US" sz="1200" dirty="0"/>
              <a:t>1 Child (up to age 18)                 </a:t>
            </a:r>
          </a:p>
          <a:p>
            <a:pPr marL="171450" indent="-171450">
              <a:lnSpc>
                <a:spcPct val="130000"/>
              </a:lnSpc>
              <a:buFont typeface="Arial" panose="020B0604020202020204" pitchFamily="34" charset="0"/>
              <a:buChar char="•"/>
            </a:pPr>
            <a:r>
              <a:rPr lang="en-US" sz="1200" dirty="0"/>
              <a:t>2 Children (up to age 18)           </a:t>
            </a:r>
          </a:p>
          <a:p>
            <a:pPr marL="171450" indent="-171450">
              <a:lnSpc>
                <a:spcPct val="130000"/>
              </a:lnSpc>
              <a:buFont typeface="Arial" panose="020B0604020202020204" pitchFamily="34" charset="0"/>
              <a:buChar char="•"/>
            </a:pPr>
            <a:r>
              <a:rPr lang="en-US" sz="1200" dirty="0"/>
              <a:t>3 Children (up to age 18)           </a:t>
            </a:r>
          </a:p>
          <a:p>
            <a:pPr marL="171450" indent="-171450">
              <a:lnSpc>
                <a:spcPct val="130000"/>
              </a:lnSpc>
              <a:buFont typeface="Arial" panose="020B0604020202020204" pitchFamily="34" charset="0"/>
              <a:buChar char="•"/>
            </a:pPr>
            <a:r>
              <a:rPr lang="en-US" sz="1200" dirty="0"/>
              <a:t>4 Children (up to age 18</a:t>
            </a:r>
          </a:p>
          <a:p>
            <a:pPr marL="171450" indent="-171450">
              <a:lnSpc>
                <a:spcPct val="120000"/>
              </a:lnSpc>
              <a:buFont typeface="Arial" panose="020B0604020202020204" pitchFamily="34" charset="0"/>
              <a:buChar char="•"/>
            </a:pPr>
            <a:endParaRPr lang="en-US" sz="1200" dirty="0"/>
          </a:p>
          <a:p>
            <a:endParaRPr lang="en-US" sz="1200" dirty="0"/>
          </a:p>
        </p:txBody>
      </p:sp>
      <p:sp>
        <p:nvSpPr>
          <p:cNvPr id="72" name="TextBox 71">
            <a:extLst>
              <a:ext uri="{FF2B5EF4-FFF2-40B4-BE49-F238E27FC236}">
                <a16:creationId xmlns:a16="http://schemas.microsoft.com/office/drawing/2014/main" id="{877579C6-0B2D-A635-DACD-AFFEC44D38FC}"/>
              </a:ext>
            </a:extLst>
          </p:cNvPr>
          <p:cNvSpPr txBox="1"/>
          <p:nvPr/>
        </p:nvSpPr>
        <p:spPr>
          <a:xfrm>
            <a:off x="8427254" y="4575953"/>
            <a:ext cx="3221884" cy="1249188"/>
          </a:xfrm>
          <a:prstGeom prst="rect">
            <a:avLst/>
          </a:prstGeom>
          <a:noFill/>
        </p:spPr>
        <p:txBody>
          <a:bodyPr wrap="square" rtlCol="0">
            <a:spAutoFit/>
          </a:bodyPr>
          <a:lstStyle/>
          <a:p>
            <a:pPr>
              <a:lnSpc>
                <a:spcPct val="120000"/>
              </a:lnSpc>
            </a:pPr>
            <a:r>
              <a:rPr lang="en-US" sz="1200" b="1" dirty="0"/>
              <a:t>Qualifying max. household income:</a:t>
            </a:r>
            <a:endParaRPr lang="en-US" sz="1200" dirty="0"/>
          </a:p>
          <a:p>
            <a:pPr marL="171450" indent="-171450">
              <a:lnSpc>
                <a:spcPct val="130000"/>
              </a:lnSpc>
              <a:buFont typeface="Arial" panose="020B0604020202020204" pitchFamily="34" charset="0"/>
              <a:buChar char="•"/>
            </a:pPr>
            <a:r>
              <a:rPr lang="en-US" sz="1200" dirty="0"/>
              <a:t>£27,500</a:t>
            </a:r>
          </a:p>
          <a:p>
            <a:pPr marL="171450" indent="-171450">
              <a:lnSpc>
                <a:spcPct val="130000"/>
              </a:lnSpc>
              <a:buFont typeface="Arial" panose="020B0604020202020204" pitchFamily="34" charset="0"/>
              <a:buChar char="•"/>
            </a:pPr>
            <a:r>
              <a:rPr lang="en-US" sz="1200" dirty="0"/>
              <a:t>£32,300</a:t>
            </a:r>
          </a:p>
          <a:p>
            <a:pPr marL="171450" indent="-171450">
              <a:lnSpc>
                <a:spcPct val="130000"/>
              </a:lnSpc>
              <a:buFont typeface="Arial" panose="020B0604020202020204" pitchFamily="34" charset="0"/>
              <a:buChar char="•"/>
            </a:pPr>
            <a:r>
              <a:rPr lang="en-US" sz="1200" dirty="0"/>
              <a:t>£37,200</a:t>
            </a:r>
          </a:p>
          <a:p>
            <a:pPr marL="171450" indent="-171450">
              <a:lnSpc>
                <a:spcPct val="130000"/>
              </a:lnSpc>
              <a:buFont typeface="Arial" panose="020B0604020202020204" pitchFamily="34" charset="0"/>
              <a:buChar char="•"/>
            </a:pPr>
            <a:r>
              <a:rPr lang="en-US" sz="1200" dirty="0"/>
              <a:t>£42,000</a:t>
            </a:r>
          </a:p>
        </p:txBody>
      </p:sp>
      <p:sp>
        <p:nvSpPr>
          <p:cNvPr id="75" name="TextBox 74">
            <a:extLst>
              <a:ext uri="{FF2B5EF4-FFF2-40B4-BE49-F238E27FC236}">
                <a16:creationId xmlns:a16="http://schemas.microsoft.com/office/drawing/2014/main" id="{3364F4E0-86DD-3153-9FF2-A3FC994F6A78}"/>
              </a:ext>
            </a:extLst>
          </p:cNvPr>
          <p:cNvSpPr txBox="1"/>
          <p:nvPr/>
        </p:nvSpPr>
        <p:spPr>
          <a:xfrm>
            <a:off x="5690035" y="378837"/>
            <a:ext cx="6238918" cy="923330"/>
          </a:xfrm>
          <a:prstGeom prst="rect">
            <a:avLst/>
          </a:prstGeom>
          <a:noFill/>
        </p:spPr>
        <p:txBody>
          <a:bodyPr wrap="square" lIns="90000">
            <a:spAutoFit/>
          </a:bodyPr>
          <a:lstStyle/>
          <a:p>
            <a:r>
              <a:rPr lang="en-GB" sz="1800" dirty="0"/>
              <a:t>Eligibility can be assessed by </a:t>
            </a:r>
            <a:r>
              <a:rPr lang="en-GB" dirty="0">
                <a:solidFill>
                  <a:srgbClr val="00A05A"/>
                </a:solidFill>
              </a:rPr>
              <a:t>the customer </a:t>
            </a:r>
            <a:r>
              <a:rPr lang="en-GB" b="1" dirty="0">
                <a:solidFill>
                  <a:srgbClr val="00A05A"/>
                </a:solidFill>
              </a:rPr>
              <a:t>either </a:t>
            </a:r>
            <a:r>
              <a:rPr lang="en-GB" b="1" u="sng" dirty="0">
                <a:solidFill>
                  <a:srgbClr val="00A05A"/>
                </a:solidFill>
              </a:rPr>
              <a:t>owning the property or appliance</a:t>
            </a:r>
            <a:r>
              <a:rPr lang="en-GB" b="1" dirty="0">
                <a:solidFill>
                  <a:srgbClr val="00A05A"/>
                </a:solidFill>
              </a:rPr>
              <a:t>, </a:t>
            </a:r>
            <a:r>
              <a:rPr lang="en-GB" dirty="0">
                <a:solidFill>
                  <a:srgbClr val="00A05A"/>
                </a:solidFill>
              </a:rPr>
              <a:t>being on the PSR or being eligible for the PSR or meeting the benefits criteria below</a:t>
            </a:r>
            <a:endParaRPr lang="en-GB" sz="1800" dirty="0">
              <a:solidFill>
                <a:srgbClr val="00A05A"/>
              </a:solidFill>
            </a:endParaRPr>
          </a:p>
        </p:txBody>
      </p:sp>
      <p:sp>
        <p:nvSpPr>
          <p:cNvPr id="4" name="Rectangle 3">
            <a:extLst>
              <a:ext uri="{FF2B5EF4-FFF2-40B4-BE49-F238E27FC236}">
                <a16:creationId xmlns:a16="http://schemas.microsoft.com/office/drawing/2014/main" id="{D48247EE-BA08-8D6D-B672-D713AC4385F0}"/>
              </a:ext>
            </a:extLst>
          </p:cNvPr>
          <p:cNvSpPr/>
          <p:nvPr/>
        </p:nvSpPr>
        <p:spPr>
          <a:xfrm>
            <a:off x="5401340" y="4298509"/>
            <a:ext cx="6274724" cy="168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C4C96364-2C26-DBF2-FB01-46BB5A9319FE}"/>
              </a:ext>
            </a:extLst>
          </p:cNvPr>
          <p:cNvSpPr txBox="1"/>
          <p:nvPr/>
        </p:nvSpPr>
        <p:spPr>
          <a:xfrm>
            <a:off x="2583120" y="6392097"/>
            <a:ext cx="7025759" cy="338554"/>
          </a:xfrm>
          <a:prstGeom prst="rect">
            <a:avLst/>
          </a:prstGeom>
          <a:noFill/>
        </p:spPr>
        <p:txBody>
          <a:bodyPr wrap="square" lIns="90000">
            <a:spAutoFit/>
          </a:bodyPr>
          <a:lstStyle/>
          <a:p>
            <a:r>
              <a:rPr lang="en-GB" sz="1600" b="1" dirty="0">
                <a:solidFill>
                  <a:srgbClr val="00A05A"/>
                </a:solidFill>
              </a:rPr>
              <a:t>Please keep in mind that the service is subject to full eligibility check.</a:t>
            </a:r>
          </a:p>
        </p:txBody>
      </p:sp>
      <p:sp>
        <p:nvSpPr>
          <p:cNvPr id="5" name="Rectangle 4">
            <a:extLst>
              <a:ext uri="{FF2B5EF4-FFF2-40B4-BE49-F238E27FC236}">
                <a16:creationId xmlns:a16="http://schemas.microsoft.com/office/drawing/2014/main" id="{D8D025F1-1B9D-5BE0-22CF-8F17E4942A97}"/>
              </a:ext>
            </a:extLst>
          </p:cNvPr>
          <p:cNvSpPr/>
          <p:nvPr/>
        </p:nvSpPr>
        <p:spPr>
          <a:xfrm>
            <a:off x="8427254" y="125260"/>
            <a:ext cx="1718828" cy="339546"/>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Tree>
    <p:extLst>
      <p:ext uri="{BB962C8B-B14F-4D97-AF65-F5344CB8AC3E}">
        <p14:creationId xmlns:p14="http://schemas.microsoft.com/office/powerpoint/2010/main" val="1523194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FFFB1B8D-F75B-9D53-0B1A-44B567F015D3}"/>
              </a:ext>
            </a:extLst>
          </p:cNvPr>
          <p:cNvPicPr>
            <a:picLocks noChangeAspect="1"/>
          </p:cNvPicPr>
          <p:nvPr/>
        </p:nvPicPr>
        <p:blipFill>
          <a:blip r:embed="rId3"/>
          <a:stretch>
            <a:fillRect/>
          </a:stretch>
        </p:blipFill>
        <p:spPr>
          <a:xfrm>
            <a:off x="5108217" y="5061836"/>
            <a:ext cx="2195418" cy="684761"/>
          </a:xfrm>
          <a:prstGeom prst="rect">
            <a:avLst/>
          </a:prstGeom>
        </p:spPr>
      </p:pic>
      <p:pic>
        <p:nvPicPr>
          <p:cNvPr id="30" name="Picture 29">
            <a:extLst>
              <a:ext uri="{FF2B5EF4-FFF2-40B4-BE49-F238E27FC236}">
                <a16:creationId xmlns:a16="http://schemas.microsoft.com/office/drawing/2014/main" id="{6D39FAE9-85C8-5A56-B6F1-2CC6410986D8}"/>
              </a:ext>
            </a:extLst>
          </p:cNvPr>
          <p:cNvPicPr>
            <a:picLocks noChangeAspect="1"/>
          </p:cNvPicPr>
          <p:nvPr/>
        </p:nvPicPr>
        <p:blipFill>
          <a:blip r:embed="rId3"/>
          <a:stretch>
            <a:fillRect/>
          </a:stretch>
        </p:blipFill>
        <p:spPr>
          <a:xfrm>
            <a:off x="5092440" y="3652037"/>
            <a:ext cx="2195418" cy="684761"/>
          </a:xfrm>
          <a:prstGeom prst="rect">
            <a:avLst/>
          </a:prstGeom>
        </p:spPr>
      </p:pic>
      <p:pic>
        <p:nvPicPr>
          <p:cNvPr id="29" name="Picture 28">
            <a:extLst>
              <a:ext uri="{FF2B5EF4-FFF2-40B4-BE49-F238E27FC236}">
                <a16:creationId xmlns:a16="http://schemas.microsoft.com/office/drawing/2014/main" id="{5AA54665-09F7-8B5E-C510-3C42B0504F19}"/>
              </a:ext>
            </a:extLst>
          </p:cNvPr>
          <p:cNvPicPr>
            <a:picLocks noChangeAspect="1"/>
          </p:cNvPicPr>
          <p:nvPr/>
        </p:nvPicPr>
        <p:blipFill>
          <a:blip r:embed="rId3"/>
          <a:stretch>
            <a:fillRect/>
          </a:stretch>
        </p:blipFill>
        <p:spPr>
          <a:xfrm>
            <a:off x="5058072" y="1950571"/>
            <a:ext cx="2195418" cy="684761"/>
          </a:xfrm>
          <a:prstGeom prst="rect">
            <a:avLst/>
          </a:prstGeom>
        </p:spPr>
      </p:pic>
      <p:pic>
        <p:nvPicPr>
          <p:cNvPr id="53" name="Picture 52">
            <a:extLst>
              <a:ext uri="{FF2B5EF4-FFF2-40B4-BE49-F238E27FC236}">
                <a16:creationId xmlns:a16="http://schemas.microsoft.com/office/drawing/2014/main" id="{80C445A7-A460-F4D5-70C4-D3D7DB2F6AD6}"/>
              </a:ext>
            </a:extLst>
          </p:cNvPr>
          <p:cNvPicPr>
            <a:picLocks noChangeAspect="1"/>
          </p:cNvPicPr>
          <p:nvPr/>
        </p:nvPicPr>
        <p:blipFill>
          <a:blip r:embed="rId3"/>
          <a:stretch>
            <a:fillRect/>
          </a:stretch>
        </p:blipFill>
        <p:spPr>
          <a:xfrm>
            <a:off x="8152052" y="1945157"/>
            <a:ext cx="2195418" cy="684761"/>
          </a:xfrm>
          <a:prstGeom prst="rect">
            <a:avLst/>
          </a:prstGeom>
        </p:spPr>
      </p:pic>
      <p:sp>
        <p:nvSpPr>
          <p:cNvPr id="2" name="Title 1">
            <a:extLst>
              <a:ext uri="{FF2B5EF4-FFF2-40B4-BE49-F238E27FC236}">
                <a16:creationId xmlns:a16="http://schemas.microsoft.com/office/drawing/2014/main" id="{1D0A64A4-C2DD-6FC2-FE56-4737BCB557A9}"/>
              </a:ext>
            </a:extLst>
          </p:cNvPr>
          <p:cNvSpPr>
            <a:spLocks noGrp="1"/>
          </p:cNvSpPr>
          <p:nvPr>
            <p:ph type="title"/>
          </p:nvPr>
        </p:nvSpPr>
        <p:spPr>
          <a:xfrm>
            <a:off x="515937" y="728080"/>
            <a:ext cx="11160125" cy="633995"/>
          </a:xfrm>
        </p:spPr>
        <p:txBody>
          <a:bodyPr>
            <a:normAutofit/>
          </a:bodyPr>
          <a:lstStyle/>
          <a:p>
            <a:r>
              <a:rPr lang="en-US" sz="3200" dirty="0">
                <a:solidFill>
                  <a:schemeClr val="tx1"/>
                </a:solidFill>
              </a:rPr>
              <a:t>Cadent partner referral process</a:t>
            </a:r>
          </a:p>
        </p:txBody>
      </p:sp>
      <p:sp>
        <p:nvSpPr>
          <p:cNvPr id="5" name="Free-form: Shape 2">
            <a:extLst>
              <a:ext uri="{FF2B5EF4-FFF2-40B4-BE49-F238E27FC236}">
                <a16:creationId xmlns:a16="http://schemas.microsoft.com/office/drawing/2014/main" id="{BC98DD8F-2F21-EDAA-0C40-189BBC16280A}"/>
              </a:ext>
            </a:extLst>
          </p:cNvPr>
          <p:cNvSpPr/>
          <p:nvPr/>
        </p:nvSpPr>
        <p:spPr>
          <a:xfrm>
            <a:off x="1105117" y="297141"/>
            <a:ext cx="6054" cy="1912"/>
          </a:xfrm>
          <a:custGeom>
            <a:avLst/>
            <a:gdLst>
              <a:gd name="connsiteX0" fmla="*/ 0 w 1912"/>
              <a:gd name="connsiteY0" fmla="*/ 0 h 1912"/>
              <a:gd name="connsiteX1" fmla="*/ 1912 w 1912"/>
              <a:gd name="connsiteY1" fmla="*/ 0 h 1912"/>
              <a:gd name="connsiteX2" fmla="*/ 1912 w 1912"/>
              <a:gd name="connsiteY2" fmla="*/ 1912 h 1912"/>
              <a:gd name="connsiteX3" fmla="*/ 0 w 1912"/>
              <a:gd name="connsiteY3" fmla="*/ 1912 h 1912"/>
              <a:gd name="connsiteX4" fmla="*/ 0 w 1912"/>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2" h="1912">
                <a:moveTo>
                  <a:pt x="0" y="0"/>
                </a:moveTo>
                <a:lnTo>
                  <a:pt x="1912" y="0"/>
                </a:lnTo>
                <a:lnTo>
                  <a:pt x="1912"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6" name="Free-form: Shape 4">
            <a:extLst>
              <a:ext uri="{FF2B5EF4-FFF2-40B4-BE49-F238E27FC236}">
                <a16:creationId xmlns:a16="http://schemas.microsoft.com/office/drawing/2014/main" id="{32EB7CF9-1987-CED1-4996-AD8E7E56FE15}"/>
              </a:ext>
            </a:extLst>
          </p:cNvPr>
          <p:cNvSpPr/>
          <p:nvPr/>
        </p:nvSpPr>
        <p:spPr>
          <a:xfrm>
            <a:off x="1133308" y="297141"/>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7" name="Free-form: Shape 8">
            <a:extLst>
              <a:ext uri="{FF2B5EF4-FFF2-40B4-BE49-F238E27FC236}">
                <a16:creationId xmlns:a16="http://schemas.microsoft.com/office/drawing/2014/main" id="{AA236AEA-9137-8959-B57E-BE11E27B43D6}"/>
              </a:ext>
            </a:extLst>
          </p:cNvPr>
          <p:cNvSpPr/>
          <p:nvPr/>
        </p:nvSpPr>
        <p:spPr>
          <a:xfrm>
            <a:off x="1050640" y="297910"/>
            <a:ext cx="6719" cy="2099"/>
          </a:xfrm>
          <a:custGeom>
            <a:avLst/>
            <a:gdLst>
              <a:gd name="connsiteX0" fmla="*/ 15 w 2122"/>
              <a:gd name="connsiteY0" fmla="*/ 1143 h 2099"/>
              <a:gd name="connsiteX1" fmla="*/ 1927 w 2122"/>
              <a:gd name="connsiteY1" fmla="*/ 2099 h 2099"/>
              <a:gd name="connsiteX2" fmla="*/ 652 w 2122"/>
              <a:gd name="connsiteY2" fmla="*/ 2099 h 2099"/>
              <a:gd name="connsiteX3" fmla="*/ 15 w 2122"/>
              <a:gd name="connsiteY3" fmla="*/ 1143 h 2099"/>
            </a:gdLst>
            <a:ahLst/>
            <a:cxnLst>
              <a:cxn ang="0">
                <a:pos x="connsiteX0" y="connsiteY0"/>
              </a:cxn>
              <a:cxn ang="0">
                <a:pos x="connsiteX1" y="connsiteY1"/>
              </a:cxn>
              <a:cxn ang="0">
                <a:pos x="connsiteX2" y="connsiteY2"/>
              </a:cxn>
              <a:cxn ang="0">
                <a:pos x="connsiteX3" y="connsiteY3"/>
              </a:cxn>
            </a:cxnLst>
            <a:rect l="l" t="t" r="r" b="b"/>
            <a:pathLst>
              <a:path w="2122" h="2099">
                <a:moveTo>
                  <a:pt x="15" y="1143"/>
                </a:moveTo>
                <a:cubicBezTo>
                  <a:pt x="-240" y="-705"/>
                  <a:pt x="2926" y="-259"/>
                  <a:pt x="1927" y="2099"/>
                </a:cubicBezTo>
                <a:lnTo>
                  <a:pt x="652" y="2099"/>
                </a:lnTo>
                <a:cubicBezTo>
                  <a:pt x="780" y="1271"/>
                  <a:pt x="397" y="1207"/>
                  <a:pt x="15" y="1143"/>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8" name="Free-form: Shape 9">
            <a:extLst>
              <a:ext uri="{FF2B5EF4-FFF2-40B4-BE49-F238E27FC236}">
                <a16:creationId xmlns:a16="http://schemas.microsoft.com/office/drawing/2014/main" id="{45F4A17A-C534-3AFD-8741-3D807368890C}"/>
              </a:ext>
            </a:extLst>
          </p:cNvPr>
          <p:cNvSpPr/>
          <p:nvPr/>
        </p:nvSpPr>
        <p:spPr>
          <a:xfrm>
            <a:off x="3195041" y="443397"/>
            <a:ext cx="14369" cy="13386"/>
          </a:xfrm>
          <a:custGeom>
            <a:avLst/>
            <a:gdLst>
              <a:gd name="connsiteX0" fmla="*/ 3825 w 4538"/>
              <a:gd name="connsiteY0" fmla="*/ 0 h 13386"/>
              <a:gd name="connsiteX1" fmla="*/ 4462 w 4538"/>
              <a:gd name="connsiteY1" fmla="*/ 2869 h 13386"/>
              <a:gd name="connsiteX2" fmla="*/ 2550 w 4538"/>
              <a:gd name="connsiteY2" fmla="*/ 6693 h 13386"/>
              <a:gd name="connsiteX3" fmla="*/ 2550 w 4538"/>
              <a:gd name="connsiteY3" fmla="*/ 13387 h 13386"/>
              <a:gd name="connsiteX4" fmla="*/ 0 w 4538"/>
              <a:gd name="connsiteY4" fmla="*/ 4781 h 13386"/>
              <a:gd name="connsiteX5" fmla="*/ 637 w 4538"/>
              <a:gd name="connsiteY5" fmla="*/ 2869 h 13386"/>
              <a:gd name="connsiteX6" fmla="*/ 3825 w 4538"/>
              <a:gd name="connsiteY6" fmla="*/ 0 h 1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8" h="13386">
                <a:moveTo>
                  <a:pt x="3825" y="0"/>
                </a:moveTo>
                <a:cubicBezTo>
                  <a:pt x="4569" y="149"/>
                  <a:pt x="4356" y="1742"/>
                  <a:pt x="4462" y="2869"/>
                </a:cubicBezTo>
                <a:cubicBezTo>
                  <a:pt x="5015" y="5928"/>
                  <a:pt x="2359" y="4186"/>
                  <a:pt x="2550" y="6693"/>
                </a:cubicBezTo>
                <a:cubicBezTo>
                  <a:pt x="2337" y="9647"/>
                  <a:pt x="4016" y="11262"/>
                  <a:pt x="2550" y="13387"/>
                </a:cubicBezTo>
                <a:cubicBezTo>
                  <a:pt x="935" y="11666"/>
                  <a:pt x="382" y="8351"/>
                  <a:pt x="0" y="4781"/>
                </a:cubicBezTo>
                <a:cubicBezTo>
                  <a:pt x="616" y="4760"/>
                  <a:pt x="489" y="3612"/>
                  <a:pt x="637" y="2869"/>
                </a:cubicBezTo>
                <a:cubicBezTo>
                  <a:pt x="1594" y="1742"/>
                  <a:pt x="3230" y="1679"/>
                  <a:pt x="3825"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9" name="Free-form: Shape 22">
            <a:extLst>
              <a:ext uri="{FF2B5EF4-FFF2-40B4-BE49-F238E27FC236}">
                <a16:creationId xmlns:a16="http://schemas.microsoft.com/office/drawing/2014/main" id="{27DA1498-FF42-13D4-B094-F4327860DE39}"/>
              </a:ext>
            </a:extLst>
          </p:cNvPr>
          <p:cNvSpPr/>
          <p:nvPr/>
        </p:nvSpPr>
        <p:spPr>
          <a:xfrm>
            <a:off x="3207153" y="448178"/>
            <a:ext cx="8138" cy="3075"/>
          </a:xfrm>
          <a:custGeom>
            <a:avLst/>
            <a:gdLst>
              <a:gd name="connsiteX0" fmla="*/ 1912 w 2570"/>
              <a:gd name="connsiteY0" fmla="*/ 0 h 3075"/>
              <a:gd name="connsiteX1" fmla="*/ 0 w 2570"/>
              <a:gd name="connsiteY1" fmla="*/ 2869 h 3075"/>
              <a:gd name="connsiteX2" fmla="*/ 1912 w 2570"/>
              <a:gd name="connsiteY2" fmla="*/ 0 h 3075"/>
            </a:gdLst>
            <a:ahLst/>
            <a:cxnLst>
              <a:cxn ang="0">
                <a:pos x="connsiteX0" y="connsiteY0"/>
              </a:cxn>
              <a:cxn ang="0">
                <a:pos x="connsiteX1" y="connsiteY1"/>
              </a:cxn>
              <a:cxn ang="0">
                <a:pos x="connsiteX2" y="connsiteY2"/>
              </a:cxn>
            </a:cxnLst>
            <a:rect l="l" t="t" r="r" b="b"/>
            <a:pathLst>
              <a:path w="2570" h="3075">
                <a:moveTo>
                  <a:pt x="1912" y="0"/>
                </a:moveTo>
                <a:cubicBezTo>
                  <a:pt x="3634" y="850"/>
                  <a:pt x="1615" y="3889"/>
                  <a:pt x="0" y="2869"/>
                </a:cubicBezTo>
                <a:cubicBezTo>
                  <a:pt x="64" y="1062"/>
                  <a:pt x="2104" y="2210"/>
                  <a:pt x="1912"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0" name="Free-form: Shape 26">
            <a:extLst>
              <a:ext uri="{FF2B5EF4-FFF2-40B4-BE49-F238E27FC236}">
                <a16:creationId xmlns:a16="http://schemas.microsoft.com/office/drawing/2014/main" id="{F7D10208-323A-442F-90AA-5EB7B86DB9A7}"/>
              </a:ext>
            </a:extLst>
          </p:cNvPr>
          <p:cNvSpPr/>
          <p:nvPr/>
        </p:nvSpPr>
        <p:spPr>
          <a:xfrm>
            <a:off x="3168868" y="467303"/>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1" name="Free-form: Shape 29">
            <a:extLst>
              <a:ext uri="{FF2B5EF4-FFF2-40B4-BE49-F238E27FC236}">
                <a16:creationId xmlns:a16="http://schemas.microsoft.com/office/drawing/2014/main" id="{913B8AB3-F86F-087C-19E1-00ACC2945AC5}"/>
              </a:ext>
            </a:extLst>
          </p:cNvPr>
          <p:cNvSpPr/>
          <p:nvPr/>
        </p:nvSpPr>
        <p:spPr>
          <a:xfrm>
            <a:off x="3146225" y="471127"/>
            <a:ext cx="18602" cy="7639"/>
          </a:xfrm>
          <a:custGeom>
            <a:avLst/>
            <a:gdLst>
              <a:gd name="connsiteX0" fmla="*/ 4601 w 5875"/>
              <a:gd name="connsiteY0" fmla="*/ 0 h 7639"/>
              <a:gd name="connsiteX1" fmla="*/ 5876 w 5875"/>
              <a:gd name="connsiteY1" fmla="*/ 6693 h 7639"/>
              <a:gd name="connsiteX2" fmla="*/ 139 w 5875"/>
              <a:gd name="connsiteY2" fmla="*/ 4781 h 7639"/>
              <a:gd name="connsiteX3" fmla="*/ 1414 w 5875"/>
              <a:gd name="connsiteY3" fmla="*/ 956 h 7639"/>
              <a:gd name="connsiteX4" fmla="*/ 2689 w 5875"/>
              <a:gd name="connsiteY4" fmla="*/ 2869 h 7639"/>
              <a:gd name="connsiteX5" fmla="*/ 4601 w 5875"/>
              <a:gd name="connsiteY5" fmla="*/ 1912 h 7639"/>
              <a:gd name="connsiteX6" fmla="*/ 4601 w 5875"/>
              <a:gd name="connsiteY6" fmla="*/ 0 h 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75" h="7639">
                <a:moveTo>
                  <a:pt x="4601" y="0"/>
                </a:moveTo>
                <a:cubicBezTo>
                  <a:pt x="6428" y="128"/>
                  <a:pt x="4049" y="6566"/>
                  <a:pt x="5876" y="6693"/>
                </a:cubicBezTo>
                <a:cubicBezTo>
                  <a:pt x="3751" y="10136"/>
                  <a:pt x="3326" y="2932"/>
                  <a:pt x="139" y="4781"/>
                </a:cubicBezTo>
                <a:cubicBezTo>
                  <a:pt x="-647" y="1679"/>
                  <a:pt x="2200" y="4059"/>
                  <a:pt x="1414" y="956"/>
                </a:cubicBezTo>
                <a:cubicBezTo>
                  <a:pt x="1987" y="1381"/>
                  <a:pt x="2561" y="1806"/>
                  <a:pt x="2689" y="2869"/>
                </a:cubicBezTo>
                <a:cubicBezTo>
                  <a:pt x="3900" y="2146"/>
                  <a:pt x="3135" y="21"/>
                  <a:pt x="4601" y="1912"/>
                </a:cubicBezTo>
                <a:lnTo>
                  <a:pt x="4601"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2" name="Free-form: Shape 31">
            <a:extLst>
              <a:ext uri="{FF2B5EF4-FFF2-40B4-BE49-F238E27FC236}">
                <a16:creationId xmlns:a16="http://schemas.microsoft.com/office/drawing/2014/main" id="{9C096EEF-464B-DD11-FF93-1CCF0A0A54AA}"/>
              </a:ext>
            </a:extLst>
          </p:cNvPr>
          <p:cNvSpPr/>
          <p:nvPr/>
        </p:nvSpPr>
        <p:spPr>
          <a:xfrm>
            <a:off x="3168868" y="470837"/>
            <a:ext cx="8071" cy="4280"/>
          </a:xfrm>
          <a:custGeom>
            <a:avLst/>
            <a:gdLst>
              <a:gd name="connsiteX0" fmla="*/ 638 w 2549"/>
              <a:gd name="connsiteY0" fmla="*/ 290 h 4280"/>
              <a:gd name="connsiteX1" fmla="*/ 2550 w 2549"/>
              <a:gd name="connsiteY1" fmla="*/ 3159 h 4280"/>
              <a:gd name="connsiteX2" fmla="*/ 0 w 2549"/>
              <a:gd name="connsiteY2" fmla="*/ 3159 h 4280"/>
              <a:gd name="connsiteX3" fmla="*/ 638 w 2549"/>
              <a:gd name="connsiteY3" fmla="*/ 290 h 4280"/>
            </a:gdLst>
            <a:ahLst/>
            <a:cxnLst>
              <a:cxn ang="0">
                <a:pos x="connsiteX0" y="connsiteY0"/>
              </a:cxn>
              <a:cxn ang="0">
                <a:pos x="connsiteX1" y="connsiteY1"/>
              </a:cxn>
              <a:cxn ang="0">
                <a:pos x="connsiteX2" y="connsiteY2"/>
              </a:cxn>
              <a:cxn ang="0">
                <a:pos x="connsiteX3" y="connsiteY3"/>
              </a:cxn>
            </a:cxnLst>
            <a:rect l="l" t="t" r="r" b="b"/>
            <a:pathLst>
              <a:path w="2549" h="4280">
                <a:moveTo>
                  <a:pt x="638" y="290"/>
                </a:moveTo>
                <a:cubicBezTo>
                  <a:pt x="2911" y="-1197"/>
                  <a:pt x="1020" y="3541"/>
                  <a:pt x="2550" y="3159"/>
                </a:cubicBezTo>
                <a:cubicBezTo>
                  <a:pt x="2444" y="5538"/>
                  <a:pt x="383" y="3435"/>
                  <a:pt x="0" y="3159"/>
                </a:cubicBezTo>
                <a:cubicBezTo>
                  <a:pt x="340" y="2394"/>
                  <a:pt x="659" y="1607"/>
                  <a:pt x="638" y="29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3" name="Free-form: Shape 33">
            <a:extLst>
              <a:ext uri="{FF2B5EF4-FFF2-40B4-BE49-F238E27FC236}">
                <a16:creationId xmlns:a16="http://schemas.microsoft.com/office/drawing/2014/main" id="{BCA648C6-D7EB-4BF8-4734-D0A25229EA5C}"/>
              </a:ext>
            </a:extLst>
          </p:cNvPr>
          <p:cNvSpPr/>
          <p:nvPr/>
        </p:nvSpPr>
        <p:spPr>
          <a:xfrm>
            <a:off x="3201019" y="473040"/>
            <a:ext cx="6599" cy="2159"/>
          </a:xfrm>
          <a:custGeom>
            <a:avLst/>
            <a:gdLst>
              <a:gd name="connsiteX0" fmla="*/ 1299 w 2084"/>
              <a:gd name="connsiteY0" fmla="*/ 0 h 2159"/>
              <a:gd name="connsiteX1" fmla="*/ 24 w 2084"/>
              <a:gd name="connsiteY1" fmla="*/ 1912 h 2159"/>
              <a:gd name="connsiteX2" fmla="*/ 1299 w 2084"/>
              <a:gd name="connsiteY2" fmla="*/ 0 h 2159"/>
            </a:gdLst>
            <a:ahLst/>
            <a:cxnLst>
              <a:cxn ang="0">
                <a:pos x="connsiteX0" y="connsiteY0"/>
              </a:cxn>
              <a:cxn ang="0">
                <a:pos x="connsiteX1" y="connsiteY1"/>
              </a:cxn>
              <a:cxn ang="0">
                <a:pos x="connsiteX2" y="connsiteY2"/>
              </a:cxn>
            </a:cxnLst>
            <a:rect l="l" t="t" r="r" b="b"/>
            <a:pathLst>
              <a:path w="2084" h="2159">
                <a:moveTo>
                  <a:pt x="1299" y="0"/>
                </a:moveTo>
                <a:cubicBezTo>
                  <a:pt x="3467" y="1636"/>
                  <a:pt x="513" y="2656"/>
                  <a:pt x="24" y="1912"/>
                </a:cubicBezTo>
                <a:cubicBezTo>
                  <a:pt x="-231" y="1509"/>
                  <a:pt x="1618" y="786"/>
                  <a:pt x="1299"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4" name="Free-form: Shape 35">
            <a:extLst>
              <a:ext uri="{FF2B5EF4-FFF2-40B4-BE49-F238E27FC236}">
                <a16:creationId xmlns:a16="http://schemas.microsoft.com/office/drawing/2014/main" id="{30E6CAFE-00C2-F648-BD31-601F534881AC}"/>
              </a:ext>
            </a:extLst>
          </p:cNvPr>
          <p:cNvSpPr/>
          <p:nvPr/>
        </p:nvSpPr>
        <p:spPr>
          <a:xfrm>
            <a:off x="3211250" y="499798"/>
            <a:ext cx="8020" cy="1160"/>
          </a:xfrm>
          <a:custGeom>
            <a:avLst/>
            <a:gdLst>
              <a:gd name="connsiteX0" fmla="*/ 1256 w 2533"/>
              <a:gd name="connsiteY0" fmla="*/ 16 h 1160"/>
              <a:gd name="connsiteX1" fmla="*/ 2531 w 2533"/>
              <a:gd name="connsiteY1" fmla="*/ 16 h 1160"/>
              <a:gd name="connsiteX2" fmla="*/ 1256 w 2533"/>
              <a:gd name="connsiteY2" fmla="*/ 16 h 1160"/>
            </a:gdLst>
            <a:ahLst/>
            <a:cxnLst>
              <a:cxn ang="0">
                <a:pos x="connsiteX0" y="connsiteY0"/>
              </a:cxn>
              <a:cxn ang="0">
                <a:pos x="connsiteX1" y="connsiteY1"/>
              </a:cxn>
              <a:cxn ang="0">
                <a:pos x="connsiteX2" y="connsiteY2"/>
              </a:cxn>
            </a:cxnLst>
            <a:rect l="l" t="t" r="r" b="b"/>
            <a:pathLst>
              <a:path w="2533" h="1160">
                <a:moveTo>
                  <a:pt x="1256" y="16"/>
                </a:moveTo>
                <a:lnTo>
                  <a:pt x="2531" y="16"/>
                </a:lnTo>
                <a:cubicBezTo>
                  <a:pt x="2658" y="2714"/>
                  <a:pt x="-2229" y="-239"/>
                  <a:pt x="1256" y="16"/>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5" name="Free-form: Shape 37">
            <a:extLst>
              <a:ext uri="{FF2B5EF4-FFF2-40B4-BE49-F238E27FC236}">
                <a16:creationId xmlns:a16="http://schemas.microsoft.com/office/drawing/2014/main" id="{110DFFC5-B563-6C34-537F-557AB8BB4267}"/>
              </a:ext>
            </a:extLst>
          </p:cNvPr>
          <p:cNvSpPr/>
          <p:nvPr/>
        </p:nvSpPr>
        <p:spPr>
          <a:xfrm>
            <a:off x="1006279" y="552652"/>
            <a:ext cx="28257" cy="2600"/>
          </a:xfrm>
          <a:custGeom>
            <a:avLst/>
            <a:gdLst>
              <a:gd name="connsiteX0" fmla="*/ 8925 w 8924"/>
              <a:gd name="connsiteY0" fmla="*/ 688 h 2600"/>
              <a:gd name="connsiteX1" fmla="*/ 7012 w 8924"/>
              <a:gd name="connsiteY1" fmla="*/ 2600 h 2600"/>
              <a:gd name="connsiteX2" fmla="*/ 0 w 8924"/>
              <a:gd name="connsiteY2" fmla="*/ 2600 h 2600"/>
              <a:gd name="connsiteX3" fmla="*/ 2550 w 8924"/>
              <a:gd name="connsiteY3" fmla="*/ 1644 h 2600"/>
              <a:gd name="connsiteX4" fmla="*/ 5737 w 8924"/>
              <a:gd name="connsiteY4" fmla="*/ 1644 h 2600"/>
              <a:gd name="connsiteX5" fmla="*/ 8925 w 8924"/>
              <a:gd name="connsiteY5" fmla="*/ 688 h 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24" h="2600">
                <a:moveTo>
                  <a:pt x="8925" y="688"/>
                </a:moveTo>
                <a:cubicBezTo>
                  <a:pt x="8776" y="2069"/>
                  <a:pt x="7033" y="1028"/>
                  <a:pt x="7012" y="2600"/>
                </a:cubicBezTo>
                <a:lnTo>
                  <a:pt x="0" y="2600"/>
                </a:lnTo>
                <a:cubicBezTo>
                  <a:pt x="191" y="1304"/>
                  <a:pt x="1594" y="1814"/>
                  <a:pt x="2550" y="1644"/>
                </a:cubicBezTo>
                <a:lnTo>
                  <a:pt x="5737" y="1644"/>
                </a:lnTo>
                <a:cubicBezTo>
                  <a:pt x="7055" y="1092"/>
                  <a:pt x="7798" y="-1097"/>
                  <a:pt x="8925" y="688"/>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6" name="Free-form: Shape 38">
            <a:extLst>
              <a:ext uri="{FF2B5EF4-FFF2-40B4-BE49-F238E27FC236}">
                <a16:creationId xmlns:a16="http://schemas.microsoft.com/office/drawing/2014/main" id="{E9DB1485-A7B9-F623-34D2-B7DB17FF2FD2}"/>
              </a:ext>
            </a:extLst>
          </p:cNvPr>
          <p:cNvSpPr/>
          <p:nvPr/>
        </p:nvSpPr>
        <p:spPr>
          <a:xfrm>
            <a:off x="1048667" y="552384"/>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7" name="Free-form: Shape 39">
            <a:extLst>
              <a:ext uri="{FF2B5EF4-FFF2-40B4-BE49-F238E27FC236}">
                <a16:creationId xmlns:a16="http://schemas.microsoft.com/office/drawing/2014/main" id="{D96146FB-F742-4ACF-8193-512350F45EBC}"/>
              </a:ext>
            </a:extLst>
          </p:cNvPr>
          <p:cNvSpPr/>
          <p:nvPr/>
        </p:nvSpPr>
        <p:spPr>
          <a:xfrm>
            <a:off x="974052" y="554768"/>
            <a:ext cx="18175" cy="1568"/>
          </a:xfrm>
          <a:custGeom>
            <a:avLst/>
            <a:gdLst>
              <a:gd name="connsiteX0" fmla="*/ 5737 w 5740"/>
              <a:gd name="connsiteY0" fmla="*/ 484 h 1568"/>
              <a:gd name="connsiteX1" fmla="*/ 2550 w 5740"/>
              <a:gd name="connsiteY1" fmla="*/ 1440 h 1568"/>
              <a:gd name="connsiteX2" fmla="*/ 0 w 5740"/>
              <a:gd name="connsiteY2" fmla="*/ 484 h 1568"/>
              <a:gd name="connsiteX3" fmla="*/ 5737 w 5740"/>
              <a:gd name="connsiteY3" fmla="*/ 484 h 1568"/>
            </a:gdLst>
            <a:ahLst/>
            <a:cxnLst>
              <a:cxn ang="0">
                <a:pos x="connsiteX0" y="connsiteY0"/>
              </a:cxn>
              <a:cxn ang="0">
                <a:pos x="connsiteX1" y="connsiteY1"/>
              </a:cxn>
              <a:cxn ang="0">
                <a:pos x="connsiteX2" y="connsiteY2"/>
              </a:cxn>
              <a:cxn ang="0">
                <a:pos x="connsiteX3" y="connsiteY3"/>
              </a:cxn>
            </a:cxnLst>
            <a:rect l="l" t="t" r="r" b="b"/>
            <a:pathLst>
              <a:path w="5740" h="1568">
                <a:moveTo>
                  <a:pt x="5737" y="484"/>
                </a:moveTo>
                <a:cubicBezTo>
                  <a:pt x="5843" y="2566"/>
                  <a:pt x="3485" y="909"/>
                  <a:pt x="2550" y="1440"/>
                </a:cubicBezTo>
                <a:cubicBezTo>
                  <a:pt x="1551" y="1355"/>
                  <a:pt x="127" y="1908"/>
                  <a:pt x="0" y="484"/>
                </a:cubicBezTo>
                <a:cubicBezTo>
                  <a:pt x="2550" y="1313"/>
                  <a:pt x="4696" y="-940"/>
                  <a:pt x="5737" y="484"/>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8" name="Free-form: Shape 40">
            <a:extLst>
              <a:ext uri="{FF2B5EF4-FFF2-40B4-BE49-F238E27FC236}">
                <a16:creationId xmlns:a16="http://schemas.microsoft.com/office/drawing/2014/main" id="{374C742C-F851-6EE7-D09B-3577E81F6B38}"/>
              </a:ext>
            </a:extLst>
          </p:cNvPr>
          <p:cNvSpPr/>
          <p:nvPr/>
        </p:nvSpPr>
        <p:spPr>
          <a:xfrm>
            <a:off x="1248288" y="555006"/>
            <a:ext cx="10557" cy="2210"/>
          </a:xfrm>
          <a:custGeom>
            <a:avLst/>
            <a:gdLst>
              <a:gd name="connsiteX0" fmla="*/ 2 w 3334"/>
              <a:gd name="connsiteY0" fmla="*/ 1203 h 2210"/>
              <a:gd name="connsiteX1" fmla="*/ 3189 w 3334"/>
              <a:gd name="connsiteY1" fmla="*/ 2159 h 2210"/>
              <a:gd name="connsiteX2" fmla="*/ 2 w 3334"/>
              <a:gd name="connsiteY2" fmla="*/ 1203 h 2210"/>
            </a:gdLst>
            <a:ahLst/>
            <a:cxnLst>
              <a:cxn ang="0">
                <a:pos x="connsiteX0" y="connsiteY0"/>
              </a:cxn>
              <a:cxn ang="0">
                <a:pos x="connsiteX1" y="connsiteY1"/>
              </a:cxn>
              <a:cxn ang="0">
                <a:pos x="connsiteX2" y="connsiteY2"/>
              </a:cxn>
            </a:cxnLst>
            <a:rect l="l" t="t" r="r" b="b"/>
            <a:pathLst>
              <a:path w="3334" h="2210">
                <a:moveTo>
                  <a:pt x="2" y="1203"/>
                </a:moveTo>
                <a:cubicBezTo>
                  <a:pt x="-104" y="-370"/>
                  <a:pt x="4167" y="-731"/>
                  <a:pt x="3189" y="2159"/>
                </a:cubicBezTo>
                <a:cubicBezTo>
                  <a:pt x="1659" y="2563"/>
                  <a:pt x="1808" y="417"/>
                  <a:pt x="2" y="1203"/>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9" name="Free-form: Shape 41">
            <a:extLst>
              <a:ext uri="{FF2B5EF4-FFF2-40B4-BE49-F238E27FC236}">
                <a16:creationId xmlns:a16="http://schemas.microsoft.com/office/drawing/2014/main" id="{4FAC2669-9EF3-B74B-8062-3CF19AF73FB4}"/>
              </a:ext>
            </a:extLst>
          </p:cNvPr>
          <p:cNvSpPr/>
          <p:nvPr/>
        </p:nvSpPr>
        <p:spPr>
          <a:xfrm>
            <a:off x="689715" y="556169"/>
            <a:ext cx="12108" cy="1993"/>
          </a:xfrm>
          <a:custGeom>
            <a:avLst/>
            <a:gdLst>
              <a:gd name="connsiteX0" fmla="*/ 3825 w 3824"/>
              <a:gd name="connsiteY0" fmla="*/ 39 h 1993"/>
              <a:gd name="connsiteX1" fmla="*/ 0 w 3824"/>
              <a:gd name="connsiteY1" fmla="*/ 1952 h 1993"/>
              <a:gd name="connsiteX2" fmla="*/ 3825 w 3824"/>
              <a:gd name="connsiteY2" fmla="*/ 39 h 1993"/>
            </a:gdLst>
            <a:ahLst/>
            <a:cxnLst>
              <a:cxn ang="0">
                <a:pos x="connsiteX0" y="connsiteY0"/>
              </a:cxn>
              <a:cxn ang="0">
                <a:pos x="connsiteX1" y="connsiteY1"/>
              </a:cxn>
              <a:cxn ang="0">
                <a:pos x="connsiteX2" y="connsiteY2"/>
              </a:cxn>
            </a:cxnLst>
            <a:rect l="l" t="t" r="r" b="b"/>
            <a:pathLst>
              <a:path w="3824" h="1993">
                <a:moveTo>
                  <a:pt x="3825" y="39"/>
                </a:moveTo>
                <a:cubicBezTo>
                  <a:pt x="3230" y="1697"/>
                  <a:pt x="1827" y="2143"/>
                  <a:pt x="0" y="1952"/>
                </a:cubicBezTo>
                <a:cubicBezTo>
                  <a:pt x="64" y="-492"/>
                  <a:pt x="2125" y="61"/>
                  <a:pt x="3825" y="39"/>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0" name="Free-form: Shape 42">
            <a:extLst>
              <a:ext uri="{FF2B5EF4-FFF2-40B4-BE49-F238E27FC236}">
                <a16:creationId xmlns:a16="http://schemas.microsoft.com/office/drawing/2014/main" id="{8A927D9D-AF0E-C78A-E4C4-DB78032ACBF9}"/>
              </a:ext>
            </a:extLst>
          </p:cNvPr>
          <p:cNvSpPr/>
          <p:nvPr/>
        </p:nvSpPr>
        <p:spPr>
          <a:xfrm>
            <a:off x="694014" y="573420"/>
            <a:ext cx="17903" cy="2868"/>
          </a:xfrm>
          <a:custGeom>
            <a:avLst/>
            <a:gdLst>
              <a:gd name="connsiteX0" fmla="*/ 5654 w 5654"/>
              <a:gd name="connsiteY0" fmla="*/ 0 h 2868"/>
              <a:gd name="connsiteX1" fmla="*/ 555 w 5654"/>
              <a:gd name="connsiteY1" fmla="*/ 2869 h 2868"/>
              <a:gd name="connsiteX2" fmla="*/ 5654 w 5654"/>
              <a:gd name="connsiteY2" fmla="*/ 0 h 2868"/>
            </a:gdLst>
            <a:ahLst/>
            <a:cxnLst>
              <a:cxn ang="0">
                <a:pos x="connsiteX0" y="connsiteY0"/>
              </a:cxn>
              <a:cxn ang="0">
                <a:pos x="connsiteX1" y="connsiteY1"/>
              </a:cxn>
              <a:cxn ang="0">
                <a:pos x="connsiteX2" y="connsiteY2"/>
              </a:cxn>
            </a:cxnLst>
            <a:rect l="l" t="t" r="r" b="b"/>
            <a:pathLst>
              <a:path w="5654" h="2868">
                <a:moveTo>
                  <a:pt x="5654" y="0"/>
                </a:moveTo>
                <a:cubicBezTo>
                  <a:pt x="5357" y="3039"/>
                  <a:pt x="1426" y="659"/>
                  <a:pt x="555" y="2869"/>
                </a:cubicBezTo>
                <a:cubicBezTo>
                  <a:pt x="-1889" y="149"/>
                  <a:pt x="4464" y="616"/>
                  <a:pt x="5654"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1" name="Free-form: Shape 43">
            <a:extLst>
              <a:ext uri="{FF2B5EF4-FFF2-40B4-BE49-F238E27FC236}">
                <a16:creationId xmlns:a16="http://schemas.microsoft.com/office/drawing/2014/main" id="{EEC57790-0D90-B58D-4753-7A535A20FBC9}"/>
              </a:ext>
            </a:extLst>
          </p:cNvPr>
          <p:cNvSpPr/>
          <p:nvPr/>
        </p:nvSpPr>
        <p:spPr>
          <a:xfrm>
            <a:off x="3257621" y="427883"/>
            <a:ext cx="7583" cy="5378"/>
          </a:xfrm>
          <a:custGeom>
            <a:avLst/>
            <a:gdLst>
              <a:gd name="connsiteX0" fmla="*/ 422 w 2395"/>
              <a:gd name="connsiteY0" fmla="*/ 959 h 5378"/>
              <a:gd name="connsiteX1" fmla="*/ 1060 w 2395"/>
              <a:gd name="connsiteY1" fmla="*/ 3 h 5378"/>
              <a:gd name="connsiteX2" fmla="*/ 2335 w 2395"/>
              <a:gd name="connsiteY2" fmla="*/ 1915 h 5378"/>
              <a:gd name="connsiteX3" fmla="*/ 1718 w 2395"/>
              <a:gd name="connsiteY3" fmla="*/ 5379 h 5378"/>
              <a:gd name="connsiteX4" fmla="*/ 422 w 2395"/>
              <a:gd name="connsiteY4" fmla="*/ 959 h 5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5" h="5378">
                <a:moveTo>
                  <a:pt x="422" y="959"/>
                </a:moveTo>
                <a:cubicBezTo>
                  <a:pt x="-555" y="449"/>
                  <a:pt x="380" y="-40"/>
                  <a:pt x="1060" y="3"/>
                </a:cubicBezTo>
                <a:cubicBezTo>
                  <a:pt x="1336" y="853"/>
                  <a:pt x="1612" y="1703"/>
                  <a:pt x="2335" y="1915"/>
                </a:cubicBezTo>
                <a:cubicBezTo>
                  <a:pt x="2526" y="4125"/>
                  <a:pt x="2250" y="4274"/>
                  <a:pt x="1718" y="5379"/>
                </a:cubicBezTo>
                <a:cubicBezTo>
                  <a:pt x="-576" y="4571"/>
                  <a:pt x="1846" y="1766"/>
                  <a:pt x="422" y="959"/>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2" name="Free-form: Shape 44">
            <a:extLst>
              <a:ext uri="{FF2B5EF4-FFF2-40B4-BE49-F238E27FC236}">
                <a16:creationId xmlns:a16="http://schemas.microsoft.com/office/drawing/2014/main" id="{003CAC07-3DE2-E934-B616-178697C9C8CE}"/>
              </a:ext>
            </a:extLst>
          </p:cNvPr>
          <p:cNvSpPr/>
          <p:nvPr/>
        </p:nvSpPr>
        <p:spPr>
          <a:xfrm>
            <a:off x="917602" y="515090"/>
            <a:ext cx="8071" cy="2769"/>
          </a:xfrm>
          <a:custGeom>
            <a:avLst/>
            <a:gdLst>
              <a:gd name="connsiteX0" fmla="*/ 1912 w 2549"/>
              <a:gd name="connsiteY0" fmla="*/ 2 h 2769"/>
              <a:gd name="connsiteX1" fmla="*/ 2550 w 2549"/>
              <a:gd name="connsiteY1" fmla="*/ 1914 h 2769"/>
              <a:gd name="connsiteX2" fmla="*/ 0 w 2549"/>
              <a:gd name="connsiteY2" fmla="*/ 1914 h 2769"/>
              <a:gd name="connsiteX3" fmla="*/ 1912 w 2549"/>
              <a:gd name="connsiteY3" fmla="*/ 2 h 2769"/>
            </a:gdLst>
            <a:ahLst/>
            <a:cxnLst>
              <a:cxn ang="0">
                <a:pos x="connsiteX0" y="connsiteY0"/>
              </a:cxn>
              <a:cxn ang="0">
                <a:pos x="connsiteX1" y="connsiteY1"/>
              </a:cxn>
              <a:cxn ang="0">
                <a:pos x="connsiteX2" y="connsiteY2"/>
              </a:cxn>
              <a:cxn ang="0">
                <a:pos x="connsiteX3" y="connsiteY3"/>
              </a:cxn>
            </a:cxnLst>
            <a:rect l="l" t="t" r="r" b="b"/>
            <a:pathLst>
              <a:path w="2549" h="2769">
                <a:moveTo>
                  <a:pt x="1912" y="2"/>
                </a:moveTo>
                <a:cubicBezTo>
                  <a:pt x="1806" y="1107"/>
                  <a:pt x="2061" y="1702"/>
                  <a:pt x="2550" y="1914"/>
                </a:cubicBezTo>
                <a:cubicBezTo>
                  <a:pt x="2401" y="4379"/>
                  <a:pt x="1445" y="597"/>
                  <a:pt x="0" y="1914"/>
                </a:cubicBezTo>
                <a:cubicBezTo>
                  <a:pt x="276" y="745"/>
                  <a:pt x="807" y="-41"/>
                  <a:pt x="1912" y="2"/>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pic>
        <p:nvPicPr>
          <p:cNvPr id="25" name="Picture 24">
            <a:extLst>
              <a:ext uri="{FF2B5EF4-FFF2-40B4-BE49-F238E27FC236}">
                <a16:creationId xmlns:a16="http://schemas.microsoft.com/office/drawing/2014/main" id="{28390DA8-7CF8-4DA0-09C5-4DA08E6CCA64}"/>
              </a:ext>
            </a:extLst>
          </p:cNvPr>
          <p:cNvPicPr>
            <a:picLocks noChangeAspect="1"/>
          </p:cNvPicPr>
          <p:nvPr/>
        </p:nvPicPr>
        <p:blipFill>
          <a:blip r:embed="rId3"/>
          <a:stretch>
            <a:fillRect/>
          </a:stretch>
        </p:blipFill>
        <p:spPr>
          <a:xfrm>
            <a:off x="2005776" y="1945157"/>
            <a:ext cx="2195418" cy="684761"/>
          </a:xfrm>
          <a:prstGeom prst="rect">
            <a:avLst/>
          </a:prstGeom>
        </p:spPr>
      </p:pic>
      <p:sp>
        <p:nvSpPr>
          <p:cNvPr id="26" name="TextBox 25">
            <a:extLst>
              <a:ext uri="{FF2B5EF4-FFF2-40B4-BE49-F238E27FC236}">
                <a16:creationId xmlns:a16="http://schemas.microsoft.com/office/drawing/2014/main" id="{DF8A9A7D-52D0-F610-0827-F58968A1D324}"/>
              </a:ext>
            </a:extLst>
          </p:cNvPr>
          <p:cNvSpPr txBox="1"/>
          <p:nvPr/>
        </p:nvSpPr>
        <p:spPr>
          <a:xfrm>
            <a:off x="468904" y="1983587"/>
            <a:ext cx="1084494" cy="646331"/>
          </a:xfrm>
          <a:prstGeom prst="rect">
            <a:avLst/>
          </a:prstGeom>
          <a:noFill/>
        </p:spPr>
        <p:txBody>
          <a:bodyPr wrap="square" rtlCol="0">
            <a:spAutoFit/>
          </a:bodyPr>
          <a:lstStyle/>
          <a:p>
            <a:r>
              <a:rPr lang="en-US" sz="3600" dirty="0">
                <a:gradFill>
                  <a:gsLst>
                    <a:gs pos="0">
                      <a:srgbClr val="37B6AE"/>
                    </a:gs>
                    <a:gs pos="99930">
                      <a:srgbClr val="00A15A"/>
                    </a:gs>
                  </a:gsLst>
                  <a:lin ang="0" scaled="0"/>
                </a:gradFill>
                <a:latin typeface="Blackened Script" pitchFamily="2" charset="0"/>
              </a:rPr>
              <a:t>Start</a:t>
            </a:r>
          </a:p>
        </p:txBody>
      </p:sp>
      <p:sp>
        <p:nvSpPr>
          <p:cNvPr id="27" name="TextBox 26">
            <a:extLst>
              <a:ext uri="{FF2B5EF4-FFF2-40B4-BE49-F238E27FC236}">
                <a16:creationId xmlns:a16="http://schemas.microsoft.com/office/drawing/2014/main" id="{423492BC-ABA6-8AA1-2063-21129EC9C52F}"/>
              </a:ext>
            </a:extLst>
          </p:cNvPr>
          <p:cNvSpPr txBox="1"/>
          <p:nvPr/>
        </p:nvSpPr>
        <p:spPr>
          <a:xfrm>
            <a:off x="2142109" y="2068666"/>
            <a:ext cx="1841862" cy="400110"/>
          </a:xfrm>
          <a:prstGeom prst="rect">
            <a:avLst/>
          </a:prstGeom>
          <a:noFill/>
        </p:spPr>
        <p:txBody>
          <a:bodyPr wrap="square" rtlCol="0">
            <a:spAutoFit/>
          </a:bodyPr>
          <a:lstStyle/>
          <a:p>
            <a:pPr algn="ctr"/>
            <a:r>
              <a:rPr lang="en-US" sz="1000" dirty="0">
                <a:solidFill>
                  <a:schemeClr val="bg1"/>
                </a:solidFill>
              </a:rPr>
              <a:t>Does the customer own the property/appliance?</a:t>
            </a:r>
          </a:p>
        </p:txBody>
      </p:sp>
      <p:sp>
        <p:nvSpPr>
          <p:cNvPr id="32" name="TextBox 31">
            <a:extLst>
              <a:ext uri="{FF2B5EF4-FFF2-40B4-BE49-F238E27FC236}">
                <a16:creationId xmlns:a16="http://schemas.microsoft.com/office/drawing/2014/main" id="{6B3FB7CF-8B9A-C21E-4C40-984A7396CFD4}"/>
              </a:ext>
            </a:extLst>
          </p:cNvPr>
          <p:cNvSpPr txBox="1"/>
          <p:nvPr/>
        </p:nvSpPr>
        <p:spPr>
          <a:xfrm>
            <a:off x="8338978" y="1987769"/>
            <a:ext cx="1841862" cy="553998"/>
          </a:xfrm>
          <a:prstGeom prst="rect">
            <a:avLst/>
          </a:prstGeom>
          <a:noFill/>
        </p:spPr>
        <p:txBody>
          <a:bodyPr wrap="square" rtlCol="0">
            <a:spAutoFit/>
          </a:bodyPr>
          <a:lstStyle/>
          <a:p>
            <a:pPr algn="ctr"/>
            <a:r>
              <a:rPr lang="en-US" sz="1000" dirty="0">
                <a:solidFill>
                  <a:schemeClr val="bg1"/>
                </a:solidFill>
              </a:rPr>
              <a:t>Does the customer meet the EC04* criteria? Or is PSR eligible/registered?</a:t>
            </a:r>
          </a:p>
        </p:txBody>
      </p:sp>
      <p:cxnSp>
        <p:nvCxnSpPr>
          <p:cNvPr id="34" name="Straight Arrow Connector 33">
            <a:extLst>
              <a:ext uri="{FF2B5EF4-FFF2-40B4-BE49-F238E27FC236}">
                <a16:creationId xmlns:a16="http://schemas.microsoft.com/office/drawing/2014/main" id="{7D8C8870-5E1A-51D0-46BA-BBAEA4556D66}"/>
              </a:ext>
            </a:extLst>
          </p:cNvPr>
          <p:cNvCxnSpPr>
            <a:cxnSpLocks/>
          </p:cNvCxnSpPr>
          <p:nvPr/>
        </p:nvCxnSpPr>
        <p:spPr>
          <a:xfrm>
            <a:off x="4248564" y="2323341"/>
            <a:ext cx="783589" cy="0"/>
          </a:xfrm>
          <a:prstGeom prst="straightConnector1">
            <a:avLst/>
          </a:prstGeom>
          <a:ln>
            <a:solidFill>
              <a:srgbClr val="00A05A"/>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3DB7154-869F-DE6E-6DBA-695D7DDF7BFE}"/>
              </a:ext>
            </a:extLst>
          </p:cNvPr>
          <p:cNvSpPr txBox="1"/>
          <p:nvPr/>
        </p:nvSpPr>
        <p:spPr>
          <a:xfrm>
            <a:off x="4422831" y="2029753"/>
            <a:ext cx="435056" cy="276999"/>
          </a:xfrm>
          <a:prstGeom prst="rect">
            <a:avLst/>
          </a:prstGeom>
          <a:noFill/>
        </p:spPr>
        <p:txBody>
          <a:bodyPr wrap="none" rtlCol="0">
            <a:spAutoFit/>
          </a:bodyPr>
          <a:lstStyle/>
          <a:p>
            <a:pPr algn="ctr"/>
            <a:r>
              <a:rPr lang="en-US" sz="1200" dirty="0">
                <a:solidFill>
                  <a:srgbClr val="00A05A"/>
                </a:solidFill>
              </a:rPr>
              <a:t>Yes</a:t>
            </a:r>
          </a:p>
        </p:txBody>
      </p:sp>
      <p:sp>
        <p:nvSpPr>
          <p:cNvPr id="36" name="TextBox 35">
            <a:extLst>
              <a:ext uri="{FF2B5EF4-FFF2-40B4-BE49-F238E27FC236}">
                <a16:creationId xmlns:a16="http://schemas.microsoft.com/office/drawing/2014/main" id="{92A7E06F-CBA8-7055-6B52-8629BF30707C}"/>
              </a:ext>
            </a:extLst>
          </p:cNvPr>
          <p:cNvSpPr txBox="1"/>
          <p:nvPr/>
        </p:nvSpPr>
        <p:spPr>
          <a:xfrm>
            <a:off x="473327" y="2865352"/>
            <a:ext cx="1084494" cy="646331"/>
          </a:xfrm>
          <a:prstGeom prst="rect">
            <a:avLst/>
          </a:prstGeom>
          <a:noFill/>
        </p:spPr>
        <p:txBody>
          <a:bodyPr wrap="square" rtlCol="0">
            <a:spAutoFit/>
          </a:bodyPr>
          <a:lstStyle/>
          <a:p>
            <a:r>
              <a:rPr lang="en-US" sz="3600" dirty="0">
                <a:gradFill>
                  <a:gsLst>
                    <a:gs pos="0">
                      <a:srgbClr val="37B6AE"/>
                    </a:gs>
                    <a:gs pos="99930">
                      <a:srgbClr val="00A15A"/>
                    </a:gs>
                  </a:gsLst>
                  <a:lin ang="0" scaled="0"/>
                </a:gradFill>
                <a:latin typeface="Blackened Script" pitchFamily="2" charset="0"/>
              </a:rPr>
              <a:t>End</a:t>
            </a:r>
          </a:p>
        </p:txBody>
      </p:sp>
      <p:cxnSp>
        <p:nvCxnSpPr>
          <p:cNvPr id="38" name="Straight Connector 37">
            <a:extLst>
              <a:ext uri="{FF2B5EF4-FFF2-40B4-BE49-F238E27FC236}">
                <a16:creationId xmlns:a16="http://schemas.microsoft.com/office/drawing/2014/main" id="{FC9F0F1C-D505-9035-B04D-F7C56D6EC41F}"/>
              </a:ext>
            </a:extLst>
          </p:cNvPr>
          <p:cNvCxnSpPr>
            <a:cxnSpLocks/>
          </p:cNvCxnSpPr>
          <p:nvPr/>
        </p:nvCxnSpPr>
        <p:spPr>
          <a:xfrm>
            <a:off x="3063040" y="3027110"/>
            <a:ext cx="0" cy="161408"/>
          </a:xfrm>
          <a:prstGeom prst="line">
            <a:avLst/>
          </a:prstGeom>
          <a:ln>
            <a:solidFill>
              <a:srgbClr val="00A05A"/>
            </a:solidFill>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5473847-5F83-058A-7499-274BA3A1E4BC}"/>
              </a:ext>
            </a:extLst>
          </p:cNvPr>
          <p:cNvCxnSpPr>
            <a:cxnSpLocks/>
          </p:cNvCxnSpPr>
          <p:nvPr/>
        </p:nvCxnSpPr>
        <p:spPr>
          <a:xfrm flipH="1">
            <a:off x="1446835" y="3188518"/>
            <a:ext cx="1616205" cy="0"/>
          </a:xfrm>
          <a:prstGeom prst="straightConnector1">
            <a:avLst/>
          </a:prstGeom>
          <a:ln>
            <a:solidFill>
              <a:srgbClr val="00A05A"/>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EC8128D-F55F-9843-1646-78D849442B32}"/>
              </a:ext>
            </a:extLst>
          </p:cNvPr>
          <p:cNvSpPr txBox="1"/>
          <p:nvPr/>
        </p:nvSpPr>
        <p:spPr>
          <a:xfrm>
            <a:off x="7505314" y="2029753"/>
            <a:ext cx="380232" cy="276999"/>
          </a:xfrm>
          <a:prstGeom prst="rect">
            <a:avLst/>
          </a:prstGeom>
          <a:noFill/>
        </p:spPr>
        <p:txBody>
          <a:bodyPr wrap="none" rtlCol="0">
            <a:spAutoFit/>
          </a:bodyPr>
          <a:lstStyle/>
          <a:p>
            <a:pPr algn="ctr"/>
            <a:r>
              <a:rPr lang="en-US" sz="1200" dirty="0">
                <a:solidFill>
                  <a:srgbClr val="00A05A"/>
                </a:solidFill>
              </a:rPr>
              <a:t>No</a:t>
            </a:r>
          </a:p>
        </p:txBody>
      </p:sp>
      <p:sp>
        <p:nvSpPr>
          <p:cNvPr id="43" name="TextBox 42">
            <a:extLst>
              <a:ext uri="{FF2B5EF4-FFF2-40B4-BE49-F238E27FC236}">
                <a16:creationId xmlns:a16="http://schemas.microsoft.com/office/drawing/2014/main" id="{3373CE3C-F6DD-EF72-BCA3-EAF845D29DF8}"/>
              </a:ext>
            </a:extLst>
          </p:cNvPr>
          <p:cNvSpPr txBox="1"/>
          <p:nvPr/>
        </p:nvSpPr>
        <p:spPr>
          <a:xfrm>
            <a:off x="2872924" y="2661349"/>
            <a:ext cx="380232" cy="276999"/>
          </a:xfrm>
          <a:prstGeom prst="rect">
            <a:avLst/>
          </a:prstGeom>
          <a:noFill/>
        </p:spPr>
        <p:txBody>
          <a:bodyPr wrap="none" rtlCol="0">
            <a:spAutoFit/>
          </a:bodyPr>
          <a:lstStyle/>
          <a:p>
            <a:pPr algn="ctr"/>
            <a:r>
              <a:rPr lang="en-US" sz="1200" dirty="0">
                <a:solidFill>
                  <a:srgbClr val="00A05A"/>
                </a:solidFill>
              </a:rPr>
              <a:t>No</a:t>
            </a:r>
          </a:p>
        </p:txBody>
      </p:sp>
      <p:cxnSp>
        <p:nvCxnSpPr>
          <p:cNvPr id="48" name="Straight Arrow Connector 47">
            <a:extLst>
              <a:ext uri="{FF2B5EF4-FFF2-40B4-BE49-F238E27FC236}">
                <a16:creationId xmlns:a16="http://schemas.microsoft.com/office/drawing/2014/main" id="{C187C8B6-DB0F-B548-EA95-D883D8915D0A}"/>
              </a:ext>
            </a:extLst>
          </p:cNvPr>
          <p:cNvCxnSpPr>
            <a:cxnSpLocks/>
          </p:cNvCxnSpPr>
          <p:nvPr/>
        </p:nvCxnSpPr>
        <p:spPr>
          <a:xfrm>
            <a:off x="7303635" y="2323341"/>
            <a:ext cx="783589" cy="0"/>
          </a:xfrm>
          <a:prstGeom prst="straightConnector1">
            <a:avLst/>
          </a:prstGeom>
          <a:ln>
            <a:solidFill>
              <a:srgbClr val="00A05A"/>
            </a:solidFill>
            <a:tailEnd type="triangle"/>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10B1C3A2-ED26-1922-531B-8C040E6EC845}"/>
              </a:ext>
            </a:extLst>
          </p:cNvPr>
          <p:cNvPicPr>
            <a:picLocks noChangeAspect="1"/>
          </p:cNvPicPr>
          <p:nvPr/>
        </p:nvPicPr>
        <p:blipFill>
          <a:blip r:embed="rId3"/>
          <a:stretch>
            <a:fillRect/>
          </a:stretch>
        </p:blipFill>
        <p:spPr>
          <a:xfrm>
            <a:off x="5078914" y="1945157"/>
            <a:ext cx="2195418" cy="684761"/>
          </a:xfrm>
          <a:prstGeom prst="rect">
            <a:avLst/>
          </a:prstGeom>
        </p:spPr>
      </p:pic>
      <p:sp>
        <p:nvSpPr>
          <p:cNvPr id="52" name="TextBox 51">
            <a:extLst>
              <a:ext uri="{FF2B5EF4-FFF2-40B4-BE49-F238E27FC236}">
                <a16:creationId xmlns:a16="http://schemas.microsoft.com/office/drawing/2014/main" id="{C05F0D7E-8379-7637-94AA-BDEC710B485A}"/>
              </a:ext>
            </a:extLst>
          </p:cNvPr>
          <p:cNvSpPr txBox="1"/>
          <p:nvPr/>
        </p:nvSpPr>
        <p:spPr>
          <a:xfrm>
            <a:off x="5171843" y="1983587"/>
            <a:ext cx="1998219" cy="553998"/>
          </a:xfrm>
          <a:prstGeom prst="rect">
            <a:avLst/>
          </a:prstGeom>
          <a:noFill/>
        </p:spPr>
        <p:txBody>
          <a:bodyPr wrap="square" rtlCol="0">
            <a:spAutoFit/>
          </a:bodyPr>
          <a:lstStyle/>
          <a:p>
            <a:pPr algn="ctr"/>
            <a:r>
              <a:rPr lang="en-US" sz="1000" dirty="0">
                <a:solidFill>
                  <a:schemeClr val="bg1"/>
                </a:solidFill>
              </a:rPr>
              <a:t>Customer asked if they have had their gas appliance(s) serviced in the last 12 months</a:t>
            </a:r>
          </a:p>
        </p:txBody>
      </p:sp>
      <p:sp>
        <p:nvSpPr>
          <p:cNvPr id="55" name="TextBox 54">
            <a:extLst>
              <a:ext uri="{FF2B5EF4-FFF2-40B4-BE49-F238E27FC236}">
                <a16:creationId xmlns:a16="http://schemas.microsoft.com/office/drawing/2014/main" id="{99F876CD-0572-8D78-57ED-C50FD478706F}"/>
              </a:ext>
            </a:extLst>
          </p:cNvPr>
          <p:cNvSpPr txBox="1"/>
          <p:nvPr/>
        </p:nvSpPr>
        <p:spPr>
          <a:xfrm>
            <a:off x="10420936" y="2046342"/>
            <a:ext cx="435056" cy="276999"/>
          </a:xfrm>
          <a:prstGeom prst="rect">
            <a:avLst/>
          </a:prstGeom>
          <a:noFill/>
        </p:spPr>
        <p:txBody>
          <a:bodyPr wrap="none" rtlCol="0">
            <a:spAutoFit/>
          </a:bodyPr>
          <a:lstStyle/>
          <a:p>
            <a:pPr algn="ctr"/>
            <a:r>
              <a:rPr lang="en-US" sz="1200" dirty="0">
                <a:solidFill>
                  <a:srgbClr val="00A05A"/>
                </a:solidFill>
              </a:rPr>
              <a:t>Yes</a:t>
            </a:r>
          </a:p>
        </p:txBody>
      </p:sp>
      <p:pic>
        <p:nvPicPr>
          <p:cNvPr id="63" name="Picture 62">
            <a:extLst>
              <a:ext uri="{FF2B5EF4-FFF2-40B4-BE49-F238E27FC236}">
                <a16:creationId xmlns:a16="http://schemas.microsoft.com/office/drawing/2014/main" id="{202061EA-ABA7-91B3-8EA1-DC129B1CE193}"/>
              </a:ext>
            </a:extLst>
          </p:cNvPr>
          <p:cNvPicPr>
            <a:picLocks noChangeAspect="1"/>
          </p:cNvPicPr>
          <p:nvPr/>
        </p:nvPicPr>
        <p:blipFill>
          <a:blip r:embed="rId3"/>
          <a:stretch>
            <a:fillRect/>
          </a:stretch>
        </p:blipFill>
        <p:spPr>
          <a:xfrm>
            <a:off x="8152052" y="3652037"/>
            <a:ext cx="2195418" cy="684761"/>
          </a:xfrm>
          <a:prstGeom prst="rect">
            <a:avLst/>
          </a:prstGeom>
        </p:spPr>
      </p:pic>
      <p:sp>
        <p:nvSpPr>
          <p:cNvPr id="64" name="TextBox 63">
            <a:extLst>
              <a:ext uri="{FF2B5EF4-FFF2-40B4-BE49-F238E27FC236}">
                <a16:creationId xmlns:a16="http://schemas.microsoft.com/office/drawing/2014/main" id="{D038D552-7613-9F1C-B341-C80BA8103977}"/>
              </a:ext>
            </a:extLst>
          </p:cNvPr>
          <p:cNvSpPr txBox="1"/>
          <p:nvPr/>
        </p:nvSpPr>
        <p:spPr>
          <a:xfrm>
            <a:off x="8323690" y="3794362"/>
            <a:ext cx="1841862" cy="400110"/>
          </a:xfrm>
          <a:prstGeom prst="rect">
            <a:avLst/>
          </a:prstGeom>
          <a:noFill/>
        </p:spPr>
        <p:txBody>
          <a:bodyPr wrap="square" rtlCol="0">
            <a:spAutoFit/>
          </a:bodyPr>
          <a:lstStyle/>
          <a:p>
            <a:pPr algn="ctr"/>
            <a:r>
              <a:rPr lang="en-US" sz="1000" dirty="0">
                <a:solidFill>
                  <a:schemeClr val="bg1"/>
                </a:solidFill>
              </a:rPr>
              <a:t>Offer the customer a free gas service</a:t>
            </a:r>
          </a:p>
        </p:txBody>
      </p:sp>
      <p:pic>
        <p:nvPicPr>
          <p:cNvPr id="65" name="Picture 64">
            <a:extLst>
              <a:ext uri="{FF2B5EF4-FFF2-40B4-BE49-F238E27FC236}">
                <a16:creationId xmlns:a16="http://schemas.microsoft.com/office/drawing/2014/main" id="{37885D14-EA25-8B9D-220E-96C3488CD463}"/>
              </a:ext>
            </a:extLst>
          </p:cNvPr>
          <p:cNvPicPr>
            <a:picLocks noChangeAspect="1"/>
          </p:cNvPicPr>
          <p:nvPr/>
        </p:nvPicPr>
        <p:blipFill>
          <a:blip r:embed="rId3"/>
          <a:stretch>
            <a:fillRect/>
          </a:stretch>
        </p:blipFill>
        <p:spPr>
          <a:xfrm>
            <a:off x="5079068" y="3652037"/>
            <a:ext cx="2195418" cy="684761"/>
          </a:xfrm>
          <a:prstGeom prst="rect">
            <a:avLst/>
          </a:prstGeom>
        </p:spPr>
      </p:pic>
      <p:sp>
        <p:nvSpPr>
          <p:cNvPr id="66" name="TextBox 65">
            <a:extLst>
              <a:ext uri="{FF2B5EF4-FFF2-40B4-BE49-F238E27FC236}">
                <a16:creationId xmlns:a16="http://schemas.microsoft.com/office/drawing/2014/main" id="{9E78A887-0D46-D384-519F-B4383B06F08A}"/>
              </a:ext>
            </a:extLst>
          </p:cNvPr>
          <p:cNvSpPr txBox="1"/>
          <p:nvPr/>
        </p:nvSpPr>
        <p:spPr>
          <a:xfrm>
            <a:off x="5250706" y="3871306"/>
            <a:ext cx="1841862" cy="246221"/>
          </a:xfrm>
          <a:prstGeom prst="rect">
            <a:avLst/>
          </a:prstGeom>
          <a:noFill/>
        </p:spPr>
        <p:txBody>
          <a:bodyPr wrap="square" rtlCol="0">
            <a:spAutoFit/>
          </a:bodyPr>
          <a:lstStyle/>
          <a:p>
            <a:pPr algn="ctr"/>
            <a:r>
              <a:rPr lang="en-US" sz="1000" dirty="0">
                <a:solidFill>
                  <a:schemeClr val="bg1"/>
                </a:solidFill>
              </a:rPr>
              <a:t>Does the customer accept?</a:t>
            </a:r>
          </a:p>
        </p:txBody>
      </p:sp>
      <p:cxnSp>
        <p:nvCxnSpPr>
          <p:cNvPr id="67" name="Straight Arrow Connector 66">
            <a:extLst>
              <a:ext uri="{FF2B5EF4-FFF2-40B4-BE49-F238E27FC236}">
                <a16:creationId xmlns:a16="http://schemas.microsoft.com/office/drawing/2014/main" id="{1BDFEAED-5362-7327-C093-1D9D7F51FA2B}"/>
              </a:ext>
            </a:extLst>
          </p:cNvPr>
          <p:cNvCxnSpPr>
            <a:cxnSpLocks/>
          </p:cNvCxnSpPr>
          <p:nvPr/>
        </p:nvCxnSpPr>
        <p:spPr>
          <a:xfrm flipH="1">
            <a:off x="7303635" y="3988647"/>
            <a:ext cx="785147" cy="0"/>
          </a:xfrm>
          <a:prstGeom prst="straightConnector1">
            <a:avLst/>
          </a:prstGeom>
          <a:ln>
            <a:solidFill>
              <a:srgbClr val="00A05A"/>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E1D6E9A4-E117-6A97-E9BC-34AC00319D0B}"/>
              </a:ext>
            </a:extLst>
          </p:cNvPr>
          <p:cNvCxnSpPr>
            <a:cxnSpLocks/>
          </p:cNvCxnSpPr>
          <p:nvPr/>
        </p:nvCxnSpPr>
        <p:spPr>
          <a:xfrm flipH="1">
            <a:off x="4232317" y="3988647"/>
            <a:ext cx="785147" cy="0"/>
          </a:xfrm>
          <a:prstGeom prst="straightConnector1">
            <a:avLst/>
          </a:prstGeom>
          <a:ln>
            <a:solidFill>
              <a:srgbClr val="00A05A"/>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63906AE9-7196-D89D-7B39-D107D9E42255}"/>
              </a:ext>
            </a:extLst>
          </p:cNvPr>
          <p:cNvSpPr txBox="1"/>
          <p:nvPr/>
        </p:nvSpPr>
        <p:spPr>
          <a:xfrm>
            <a:off x="4379526" y="3691662"/>
            <a:ext cx="435056" cy="276999"/>
          </a:xfrm>
          <a:prstGeom prst="rect">
            <a:avLst/>
          </a:prstGeom>
          <a:noFill/>
        </p:spPr>
        <p:txBody>
          <a:bodyPr wrap="none" rtlCol="0">
            <a:spAutoFit/>
          </a:bodyPr>
          <a:lstStyle/>
          <a:p>
            <a:pPr algn="ctr"/>
            <a:r>
              <a:rPr lang="en-US" sz="1200" dirty="0">
                <a:solidFill>
                  <a:srgbClr val="00A05A"/>
                </a:solidFill>
              </a:rPr>
              <a:t>Yes</a:t>
            </a:r>
          </a:p>
        </p:txBody>
      </p:sp>
      <p:pic>
        <p:nvPicPr>
          <p:cNvPr id="73" name="Picture 72">
            <a:extLst>
              <a:ext uri="{FF2B5EF4-FFF2-40B4-BE49-F238E27FC236}">
                <a16:creationId xmlns:a16="http://schemas.microsoft.com/office/drawing/2014/main" id="{328B5DDB-E22A-9145-394E-3758C6B3EEA4}"/>
              </a:ext>
            </a:extLst>
          </p:cNvPr>
          <p:cNvPicPr>
            <a:picLocks noChangeAspect="1"/>
          </p:cNvPicPr>
          <p:nvPr/>
        </p:nvPicPr>
        <p:blipFill>
          <a:blip r:embed="rId3"/>
          <a:stretch>
            <a:fillRect/>
          </a:stretch>
        </p:blipFill>
        <p:spPr>
          <a:xfrm>
            <a:off x="2005776" y="3652037"/>
            <a:ext cx="2195418" cy="684761"/>
          </a:xfrm>
          <a:prstGeom prst="rect">
            <a:avLst/>
          </a:prstGeom>
        </p:spPr>
      </p:pic>
      <p:sp>
        <p:nvSpPr>
          <p:cNvPr id="74" name="TextBox 73">
            <a:extLst>
              <a:ext uri="{FF2B5EF4-FFF2-40B4-BE49-F238E27FC236}">
                <a16:creationId xmlns:a16="http://schemas.microsoft.com/office/drawing/2014/main" id="{A22012F0-6822-476A-1BE1-4AE5152B9281}"/>
              </a:ext>
            </a:extLst>
          </p:cNvPr>
          <p:cNvSpPr txBox="1"/>
          <p:nvPr/>
        </p:nvSpPr>
        <p:spPr>
          <a:xfrm>
            <a:off x="2142109" y="3693789"/>
            <a:ext cx="1841862" cy="553998"/>
          </a:xfrm>
          <a:prstGeom prst="rect">
            <a:avLst/>
          </a:prstGeom>
          <a:noFill/>
        </p:spPr>
        <p:txBody>
          <a:bodyPr wrap="square" rtlCol="0">
            <a:spAutoFit/>
          </a:bodyPr>
          <a:lstStyle/>
          <a:p>
            <a:pPr algn="ctr"/>
            <a:r>
              <a:rPr lang="en-US" sz="1000" dirty="0">
                <a:solidFill>
                  <a:schemeClr val="bg1"/>
                </a:solidFill>
              </a:rPr>
              <a:t>Cadent partner completes online referral form** with customer’s permission</a:t>
            </a:r>
          </a:p>
        </p:txBody>
      </p:sp>
      <p:cxnSp>
        <p:nvCxnSpPr>
          <p:cNvPr id="76" name="Straight Connector 75">
            <a:extLst>
              <a:ext uri="{FF2B5EF4-FFF2-40B4-BE49-F238E27FC236}">
                <a16:creationId xmlns:a16="http://schemas.microsoft.com/office/drawing/2014/main" id="{DBCF93FF-A2C2-96C3-15CB-267E3F73B7DF}"/>
              </a:ext>
            </a:extLst>
          </p:cNvPr>
          <p:cNvCxnSpPr>
            <a:cxnSpLocks/>
          </p:cNvCxnSpPr>
          <p:nvPr/>
        </p:nvCxnSpPr>
        <p:spPr>
          <a:xfrm>
            <a:off x="6151620" y="3027110"/>
            <a:ext cx="0" cy="161408"/>
          </a:xfrm>
          <a:prstGeom prst="line">
            <a:avLst/>
          </a:prstGeom>
          <a:ln>
            <a:solidFill>
              <a:srgbClr val="00A05A"/>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B2557BEF-EB44-CE54-99E1-A465B2E814DA}"/>
              </a:ext>
            </a:extLst>
          </p:cNvPr>
          <p:cNvSpPr txBox="1"/>
          <p:nvPr/>
        </p:nvSpPr>
        <p:spPr>
          <a:xfrm>
            <a:off x="5919066" y="2661349"/>
            <a:ext cx="435056" cy="276999"/>
          </a:xfrm>
          <a:prstGeom prst="rect">
            <a:avLst/>
          </a:prstGeom>
          <a:noFill/>
        </p:spPr>
        <p:txBody>
          <a:bodyPr wrap="none" rtlCol="0">
            <a:spAutoFit/>
          </a:bodyPr>
          <a:lstStyle/>
          <a:p>
            <a:pPr algn="ctr"/>
            <a:r>
              <a:rPr lang="en-US" sz="1200" dirty="0">
                <a:solidFill>
                  <a:srgbClr val="00A05A"/>
                </a:solidFill>
              </a:rPr>
              <a:t>Yes</a:t>
            </a:r>
          </a:p>
        </p:txBody>
      </p:sp>
      <p:sp>
        <p:nvSpPr>
          <p:cNvPr id="83" name="TextBox 82">
            <a:extLst>
              <a:ext uri="{FF2B5EF4-FFF2-40B4-BE49-F238E27FC236}">
                <a16:creationId xmlns:a16="http://schemas.microsoft.com/office/drawing/2014/main" id="{B33AA01B-A8C3-78B7-1D4D-426B4DAD62FF}"/>
              </a:ext>
            </a:extLst>
          </p:cNvPr>
          <p:cNvSpPr txBox="1"/>
          <p:nvPr/>
        </p:nvSpPr>
        <p:spPr>
          <a:xfrm>
            <a:off x="9085547" y="2661348"/>
            <a:ext cx="380232" cy="276999"/>
          </a:xfrm>
          <a:prstGeom prst="rect">
            <a:avLst/>
          </a:prstGeom>
          <a:noFill/>
        </p:spPr>
        <p:txBody>
          <a:bodyPr wrap="none" rtlCol="0">
            <a:spAutoFit/>
          </a:bodyPr>
          <a:lstStyle/>
          <a:p>
            <a:pPr algn="ctr"/>
            <a:r>
              <a:rPr lang="en-US" sz="1200" dirty="0">
                <a:solidFill>
                  <a:srgbClr val="00A05A"/>
                </a:solidFill>
              </a:rPr>
              <a:t>No</a:t>
            </a:r>
          </a:p>
        </p:txBody>
      </p:sp>
      <p:cxnSp>
        <p:nvCxnSpPr>
          <p:cNvPr id="85" name="Straight Arrow Connector 84">
            <a:extLst>
              <a:ext uri="{FF2B5EF4-FFF2-40B4-BE49-F238E27FC236}">
                <a16:creationId xmlns:a16="http://schemas.microsoft.com/office/drawing/2014/main" id="{0B1E0C41-C6CA-29FF-A15C-D5F81A40F466}"/>
              </a:ext>
            </a:extLst>
          </p:cNvPr>
          <p:cNvCxnSpPr>
            <a:cxnSpLocks/>
          </p:cNvCxnSpPr>
          <p:nvPr/>
        </p:nvCxnSpPr>
        <p:spPr>
          <a:xfrm flipH="1">
            <a:off x="10422755" y="4110567"/>
            <a:ext cx="215709" cy="0"/>
          </a:xfrm>
          <a:prstGeom prst="straightConnector1">
            <a:avLst/>
          </a:prstGeom>
          <a:ln>
            <a:solidFill>
              <a:srgbClr val="00A05A"/>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60CA302-0347-F027-0600-A232BB841824}"/>
              </a:ext>
            </a:extLst>
          </p:cNvPr>
          <p:cNvCxnSpPr>
            <a:stCxn id="55" idx="2"/>
          </p:cNvCxnSpPr>
          <p:nvPr/>
        </p:nvCxnSpPr>
        <p:spPr>
          <a:xfrm>
            <a:off x="10638464" y="2323341"/>
            <a:ext cx="0" cy="1787226"/>
          </a:xfrm>
          <a:prstGeom prst="line">
            <a:avLst/>
          </a:prstGeom>
          <a:ln>
            <a:solidFill>
              <a:srgbClr val="00A05A"/>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8B15B50-CD76-644F-542F-5AE39C390036}"/>
              </a:ext>
            </a:extLst>
          </p:cNvPr>
          <p:cNvCxnSpPr>
            <a:cxnSpLocks/>
          </p:cNvCxnSpPr>
          <p:nvPr/>
        </p:nvCxnSpPr>
        <p:spPr>
          <a:xfrm>
            <a:off x="9273322" y="3027110"/>
            <a:ext cx="0" cy="161408"/>
          </a:xfrm>
          <a:prstGeom prst="line">
            <a:avLst/>
          </a:prstGeom>
          <a:ln>
            <a:solidFill>
              <a:srgbClr val="00A05A"/>
            </a:solidFill>
          </a:ln>
        </p:spPr>
        <p:style>
          <a:lnRef idx="1">
            <a:schemeClr val="accent1"/>
          </a:lnRef>
          <a:fillRef idx="0">
            <a:schemeClr val="accent1"/>
          </a:fillRef>
          <a:effectRef idx="0">
            <a:schemeClr val="accent1"/>
          </a:effectRef>
          <a:fontRef idx="minor">
            <a:schemeClr val="tx1"/>
          </a:fontRef>
        </p:style>
      </p:cxnSp>
      <p:pic>
        <p:nvPicPr>
          <p:cNvPr id="98" name="Picture 97">
            <a:extLst>
              <a:ext uri="{FF2B5EF4-FFF2-40B4-BE49-F238E27FC236}">
                <a16:creationId xmlns:a16="http://schemas.microsoft.com/office/drawing/2014/main" id="{4FECB4FF-1B60-DB52-B006-701E35AACD88}"/>
              </a:ext>
            </a:extLst>
          </p:cNvPr>
          <p:cNvPicPr>
            <a:picLocks noChangeAspect="1"/>
          </p:cNvPicPr>
          <p:nvPr/>
        </p:nvPicPr>
        <p:blipFill>
          <a:blip r:embed="rId3"/>
          <a:stretch>
            <a:fillRect/>
          </a:stretch>
        </p:blipFill>
        <p:spPr>
          <a:xfrm>
            <a:off x="2005776" y="5025822"/>
            <a:ext cx="2195418" cy="684761"/>
          </a:xfrm>
          <a:prstGeom prst="rect">
            <a:avLst/>
          </a:prstGeom>
        </p:spPr>
      </p:pic>
      <p:sp>
        <p:nvSpPr>
          <p:cNvPr id="99" name="TextBox 98">
            <a:extLst>
              <a:ext uri="{FF2B5EF4-FFF2-40B4-BE49-F238E27FC236}">
                <a16:creationId xmlns:a16="http://schemas.microsoft.com/office/drawing/2014/main" id="{0EFAE72E-909D-29F0-A255-96048D1524CA}"/>
              </a:ext>
            </a:extLst>
          </p:cNvPr>
          <p:cNvSpPr txBox="1"/>
          <p:nvPr/>
        </p:nvSpPr>
        <p:spPr>
          <a:xfrm>
            <a:off x="2142109" y="5067574"/>
            <a:ext cx="1841862" cy="553998"/>
          </a:xfrm>
          <a:prstGeom prst="rect">
            <a:avLst/>
          </a:prstGeom>
          <a:noFill/>
        </p:spPr>
        <p:txBody>
          <a:bodyPr wrap="square" rtlCol="0">
            <a:spAutoFit/>
          </a:bodyPr>
          <a:lstStyle/>
          <a:p>
            <a:pPr algn="ctr"/>
            <a:r>
              <a:rPr lang="en-US" sz="1000" dirty="0">
                <a:solidFill>
                  <a:schemeClr val="bg1"/>
                </a:solidFill>
              </a:rPr>
              <a:t>Cadent </a:t>
            </a:r>
            <a:r>
              <a:rPr lang="en-US" sz="1000" dirty="0" err="1">
                <a:solidFill>
                  <a:schemeClr val="bg1"/>
                </a:solidFill>
              </a:rPr>
              <a:t>SBtM</a:t>
            </a:r>
            <a:r>
              <a:rPr lang="en-US" sz="1000" dirty="0">
                <a:solidFill>
                  <a:schemeClr val="bg1"/>
                </a:solidFill>
              </a:rPr>
              <a:t> team contact customer within 10 working days to arrange appointment</a:t>
            </a:r>
          </a:p>
        </p:txBody>
      </p:sp>
      <p:cxnSp>
        <p:nvCxnSpPr>
          <p:cNvPr id="101" name="Straight Arrow Connector 100">
            <a:extLst>
              <a:ext uri="{FF2B5EF4-FFF2-40B4-BE49-F238E27FC236}">
                <a16:creationId xmlns:a16="http://schemas.microsoft.com/office/drawing/2014/main" id="{EA468F3F-5F87-A200-7BA8-E071D99DC92B}"/>
              </a:ext>
            </a:extLst>
          </p:cNvPr>
          <p:cNvCxnSpPr>
            <a:cxnSpLocks/>
          </p:cNvCxnSpPr>
          <p:nvPr/>
        </p:nvCxnSpPr>
        <p:spPr>
          <a:xfrm>
            <a:off x="3115745" y="4421636"/>
            <a:ext cx="0" cy="520755"/>
          </a:xfrm>
          <a:prstGeom prst="straightConnector1">
            <a:avLst/>
          </a:prstGeom>
          <a:ln>
            <a:solidFill>
              <a:srgbClr val="00A05A"/>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24331C6B-7481-88A4-F8AF-D812D33C4D38}"/>
              </a:ext>
            </a:extLst>
          </p:cNvPr>
          <p:cNvCxnSpPr>
            <a:cxnSpLocks/>
          </p:cNvCxnSpPr>
          <p:nvPr/>
        </p:nvCxnSpPr>
        <p:spPr>
          <a:xfrm>
            <a:off x="4248564" y="5384843"/>
            <a:ext cx="783589" cy="0"/>
          </a:xfrm>
          <a:prstGeom prst="straightConnector1">
            <a:avLst/>
          </a:prstGeom>
          <a:ln>
            <a:solidFill>
              <a:srgbClr val="00A05A"/>
            </a:solidFill>
            <a:tailEnd type="triangle"/>
          </a:ln>
        </p:spPr>
        <p:style>
          <a:lnRef idx="1">
            <a:schemeClr val="accent1"/>
          </a:lnRef>
          <a:fillRef idx="0">
            <a:schemeClr val="accent1"/>
          </a:fillRef>
          <a:effectRef idx="0">
            <a:schemeClr val="accent1"/>
          </a:effectRef>
          <a:fontRef idx="minor">
            <a:schemeClr val="tx1"/>
          </a:fontRef>
        </p:style>
      </p:cxnSp>
      <p:pic>
        <p:nvPicPr>
          <p:cNvPr id="104" name="Picture 103">
            <a:extLst>
              <a:ext uri="{FF2B5EF4-FFF2-40B4-BE49-F238E27FC236}">
                <a16:creationId xmlns:a16="http://schemas.microsoft.com/office/drawing/2014/main" id="{D4C813CD-EF84-827D-DDD2-26033C9EBBFD}"/>
              </a:ext>
            </a:extLst>
          </p:cNvPr>
          <p:cNvPicPr>
            <a:picLocks noChangeAspect="1"/>
          </p:cNvPicPr>
          <p:nvPr/>
        </p:nvPicPr>
        <p:blipFill>
          <a:blip r:embed="rId3"/>
          <a:stretch>
            <a:fillRect/>
          </a:stretch>
        </p:blipFill>
        <p:spPr>
          <a:xfrm>
            <a:off x="5078914" y="5024021"/>
            <a:ext cx="2195418" cy="684761"/>
          </a:xfrm>
          <a:prstGeom prst="rect">
            <a:avLst/>
          </a:prstGeom>
        </p:spPr>
      </p:pic>
      <p:sp>
        <p:nvSpPr>
          <p:cNvPr id="105" name="TextBox 104">
            <a:extLst>
              <a:ext uri="{FF2B5EF4-FFF2-40B4-BE49-F238E27FC236}">
                <a16:creationId xmlns:a16="http://schemas.microsoft.com/office/drawing/2014/main" id="{58461667-E1D7-7EFC-CA99-D6E46D87B397}"/>
              </a:ext>
            </a:extLst>
          </p:cNvPr>
          <p:cNvSpPr txBox="1"/>
          <p:nvPr/>
        </p:nvSpPr>
        <p:spPr>
          <a:xfrm>
            <a:off x="5171843" y="5062451"/>
            <a:ext cx="1998219" cy="553998"/>
          </a:xfrm>
          <a:prstGeom prst="rect">
            <a:avLst/>
          </a:prstGeom>
          <a:noFill/>
        </p:spPr>
        <p:txBody>
          <a:bodyPr wrap="square" rtlCol="0">
            <a:spAutoFit/>
          </a:bodyPr>
          <a:lstStyle/>
          <a:p>
            <a:pPr algn="ctr"/>
            <a:r>
              <a:rPr lang="en-US" sz="1000" dirty="0">
                <a:solidFill>
                  <a:schemeClr val="bg1"/>
                </a:solidFill>
              </a:rPr>
              <a:t>Cadent engineer attends customers property to carry out gas service</a:t>
            </a:r>
          </a:p>
        </p:txBody>
      </p:sp>
      <p:cxnSp>
        <p:nvCxnSpPr>
          <p:cNvPr id="106" name="Straight Arrow Connector 105">
            <a:extLst>
              <a:ext uri="{FF2B5EF4-FFF2-40B4-BE49-F238E27FC236}">
                <a16:creationId xmlns:a16="http://schemas.microsoft.com/office/drawing/2014/main" id="{DD4B41ED-5D26-73B9-5513-76F38278AA54}"/>
              </a:ext>
            </a:extLst>
          </p:cNvPr>
          <p:cNvCxnSpPr>
            <a:cxnSpLocks/>
          </p:cNvCxnSpPr>
          <p:nvPr/>
        </p:nvCxnSpPr>
        <p:spPr>
          <a:xfrm>
            <a:off x="7338360" y="5384843"/>
            <a:ext cx="783589" cy="0"/>
          </a:xfrm>
          <a:prstGeom prst="straightConnector1">
            <a:avLst/>
          </a:prstGeom>
          <a:ln>
            <a:solidFill>
              <a:srgbClr val="00A05A"/>
            </a:solidFill>
            <a:tailEnd type="triangl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D00A0A80-DE0D-DD57-A6A4-C2C367BC272B}"/>
              </a:ext>
            </a:extLst>
          </p:cNvPr>
          <p:cNvSpPr txBox="1"/>
          <p:nvPr/>
        </p:nvSpPr>
        <p:spPr>
          <a:xfrm>
            <a:off x="8152052" y="5041392"/>
            <a:ext cx="1084494" cy="646331"/>
          </a:xfrm>
          <a:prstGeom prst="rect">
            <a:avLst/>
          </a:prstGeom>
          <a:noFill/>
        </p:spPr>
        <p:txBody>
          <a:bodyPr wrap="square" rtlCol="0">
            <a:spAutoFit/>
          </a:bodyPr>
          <a:lstStyle/>
          <a:p>
            <a:r>
              <a:rPr lang="en-US" sz="3600" dirty="0">
                <a:gradFill>
                  <a:gsLst>
                    <a:gs pos="0">
                      <a:srgbClr val="37B6AE"/>
                    </a:gs>
                    <a:gs pos="99930">
                      <a:srgbClr val="00A15A"/>
                    </a:gs>
                  </a:gsLst>
                  <a:lin ang="0" scaled="0"/>
                </a:gradFill>
                <a:latin typeface="Blackened Script" pitchFamily="2" charset="0"/>
              </a:rPr>
              <a:t>End</a:t>
            </a:r>
          </a:p>
        </p:txBody>
      </p:sp>
      <p:cxnSp>
        <p:nvCxnSpPr>
          <p:cNvPr id="111" name="Straight Connector 110">
            <a:extLst>
              <a:ext uri="{FF2B5EF4-FFF2-40B4-BE49-F238E27FC236}">
                <a16:creationId xmlns:a16="http://schemas.microsoft.com/office/drawing/2014/main" id="{847C7E4F-DB65-D19D-FA6B-5A2838A45F8A}"/>
              </a:ext>
            </a:extLst>
          </p:cNvPr>
          <p:cNvCxnSpPr/>
          <p:nvPr/>
        </p:nvCxnSpPr>
        <p:spPr>
          <a:xfrm flipH="1">
            <a:off x="3063040" y="3188379"/>
            <a:ext cx="6210282" cy="0"/>
          </a:xfrm>
          <a:prstGeom prst="line">
            <a:avLst/>
          </a:prstGeom>
          <a:ln>
            <a:solidFill>
              <a:srgbClr val="00A05A"/>
            </a:solidFill>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7DD267BC-BC80-C192-CADD-8B84EC2D30FA}"/>
              </a:ext>
            </a:extLst>
          </p:cNvPr>
          <p:cNvSpPr txBox="1"/>
          <p:nvPr/>
        </p:nvSpPr>
        <p:spPr>
          <a:xfrm rot="5400000">
            <a:off x="10571791" y="2919201"/>
            <a:ext cx="1457450" cy="307777"/>
          </a:xfrm>
          <a:prstGeom prst="rect">
            <a:avLst/>
          </a:prstGeom>
          <a:noFill/>
        </p:spPr>
        <p:txBody>
          <a:bodyPr wrap="none" rtlCol="0">
            <a:spAutoFit/>
          </a:bodyPr>
          <a:lstStyle/>
          <a:p>
            <a:r>
              <a:rPr lang="en-US" sz="1400" b="1" dirty="0">
                <a:latin typeface="+mj-lt"/>
              </a:rPr>
              <a:t>Cadent partner</a:t>
            </a:r>
          </a:p>
        </p:txBody>
      </p:sp>
      <p:sp>
        <p:nvSpPr>
          <p:cNvPr id="113" name="TextBox 112">
            <a:extLst>
              <a:ext uri="{FF2B5EF4-FFF2-40B4-BE49-F238E27FC236}">
                <a16:creationId xmlns:a16="http://schemas.microsoft.com/office/drawing/2014/main" id="{5E8567E1-B04E-5121-C5F6-9DD8B0C4C250}"/>
              </a:ext>
            </a:extLst>
          </p:cNvPr>
          <p:cNvSpPr txBox="1"/>
          <p:nvPr/>
        </p:nvSpPr>
        <p:spPr>
          <a:xfrm rot="5400000">
            <a:off x="10651140" y="5176264"/>
            <a:ext cx="1298753" cy="307777"/>
          </a:xfrm>
          <a:prstGeom prst="rect">
            <a:avLst/>
          </a:prstGeom>
          <a:noFill/>
        </p:spPr>
        <p:txBody>
          <a:bodyPr wrap="none" rtlCol="0">
            <a:spAutoFit/>
          </a:bodyPr>
          <a:lstStyle/>
          <a:p>
            <a:r>
              <a:rPr lang="en-US" sz="1400" b="1" dirty="0">
                <a:latin typeface="+mj-lt"/>
              </a:rPr>
              <a:t>Cadent </a:t>
            </a:r>
            <a:r>
              <a:rPr lang="en-US" sz="1400" b="1" dirty="0" err="1">
                <a:latin typeface="+mj-lt"/>
              </a:rPr>
              <a:t>SBtM</a:t>
            </a:r>
            <a:endParaRPr lang="en-US" sz="1400" b="1" dirty="0">
              <a:latin typeface="+mj-lt"/>
            </a:endParaRPr>
          </a:p>
        </p:txBody>
      </p:sp>
      <p:sp>
        <p:nvSpPr>
          <p:cNvPr id="116" name="TextBox 115">
            <a:extLst>
              <a:ext uri="{FF2B5EF4-FFF2-40B4-BE49-F238E27FC236}">
                <a16:creationId xmlns:a16="http://schemas.microsoft.com/office/drawing/2014/main" id="{375C6D6E-3D7A-310C-7ADE-62BB98216E7D}"/>
              </a:ext>
            </a:extLst>
          </p:cNvPr>
          <p:cNvSpPr txBox="1"/>
          <p:nvPr/>
        </p:nvSpPr>
        <p:spPr>
          <a:xfrm>
            <a:off x="8064171" y="6329153"/>
            <a:ext cx="3965654" cy="338554"/>
          </a:xfrm>
          <a:prstGeom prst="rect">
            <a:avLst/>
          </a:prstGeom>
          <a:noFill/>
        </p:spPr>
        <p:txBody>
          <a:bodyPr wrap="square">
            <a:spAutoFit/>
          </a:bodyPr>
          <a:lstStyle/>
          <a:p>
            <a:r>
              <a:rPr lang="en-GB" sz="800" b="1" dirty="0"/>
              <a:t>**</a:t>
            </a:r>
            <a:r>
              <a:rPr lang="en-GB" sz="800" dirty="0"/>
              <a:t>Details to be shared with Cadent</a:t>
            </a:r>
            <a:br>
              <a:rPr lang="en-GB" sz="800" dirty="0"/>
            </a:br>
            <a:r>
              <a:rPr lang="en-GB" sz="800" dirty="0"/>
              <a:t>https://</a:t>
            </a:r>
            <a:r>
              <a:rPr lang="en-GB" sz="800" dirty="0" err="1"/>
              <a:t>cadentgas.com</a:t>
            </a:r>
            <a:r>
              <a:rPr lang="en-GB" sz="800" dirty="0"/>
              <a:t>/help-advice/gas-safety-check-and-service-referral-form</a:t>
            </a:r>
          </a:p>
        </p:txBody>
      </p:sp>
      <p:sp>
        <p:nvSpPr>
          <p:cNvPr id="117" name="TextBox 116">
            <a:extLst>
              <a:ext uri="{FF2B5EF4-FFF2-40B4-BE49-F238E27FC236}">
                <a16:creationId xmlns:a16="http://schemas.microsoft.com/office/drawing/2014/main" id="{5BF15A50-10F7-794F-0CB1-D39AE339DAF2}"/>
              </a:ext>
            </a:extLst>
          </p:cNvPr>
          <p:cNvSpPr txBox="1"/>
          <p:nvPr/>
        </p:nvSpPr>
        <p:spPr>
          <a:xfrm>
            <a:off x="5164836" y="6329153"/>
            <a:ext cx="2768118" cy="215444"/>
          </a:xfrm>
          <a:prstGeom prst="rect">
            <a:avLst/>
          </a:prstGeom>
          <a:noFill/>
        </p:spPr>
        <p:txBody>
          <a:bodyPr wrap="square">
            <a:spAutoFit/>
          </a:bodyPr>
          <a:lstStyle/>
          <a:p>
            <a:r>
              <a:rPr lang="en-GB" sz="800" dirty="0"/>
              <a:t>*Refer to table on previous slide for eligibility criteria</a:t>
            </a:r>
          </a:p>
        </p:txBody>
      </p:sp>
      <p:sp>
        <p:nvSpPr>
          <p:cNvPr id="33" name="Rectangle 32">
            <a:extLst>
              <a:ext uri="{FF2B5EF4-FFF2-40B4-BE49-F238E27FC236}">
                <a16:creationId xmlns:a16="http://schemas.microsoft.com/office/drawing/2014/main" id="{C603D681-52EB-1541-128E-9095E6E07BDA}"/>
              </a:ext>
            </a:extLst>
          </p:cNvPr>
          <p:cNvSpPr/>
          <p:nvPr/>
        </p:nvSpPr>
        <p:spPr>
          <a:xfrm>
            <a:off x="8530225" y="187890"/>
            <a:ext cx="1635327" cy="302312"/>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Tree>
    <p:extLst>
      <p:ext uri="{BB962C8B-B14F-4D97-AF65-F5344CB8AC3E}">
        <p14:creationId xmlns:p14="http://schemas.microsoft.com/office/powerpoint/2010/main" val="3623354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Placeholder 29">
            <a:extLst>
              <a:ext uri="{FF2B5EF4-FFF2-40B4-BE49-F238E27FC236}">
                <a16:creationId xmlns:a16="http://schemas.microsoft.com/office/drawing/2014/main" id="{E74BCA3E-1440-9FAE-ABBC-8907F5A8AECF}"/>
              </a:ext>
            </a:extLst>
          </p:cNvPr>
          <p:cNvPicPr>
            <a:picLocks noGrp="1" noChangeAspect="1"/>
          </p:cNvPicPr>
          <p:nvPr>
            <p:ph type="pic" sz="quarter" idx="13"/>
          </p:nvPr>
        </p:nvPicPr>
        <p:blipFill>
          <a:blip r:embed="rId2"/>
          <a:srcRect l="26836" r="26836"/>
          <a:stretch>
            <a:fillRect/>
          </a:stretch>
        </p:blipFill>
        <p:spPr/>
      </p:pic>
      <p:sp>
        <p:nvSpPr>
          <p:cNvPr id="6" name="Content Placeholder 2">
            <a:extLst>
              <a:ext uri="{FF2B5EF4-FFF2-40B4-BE49-F238E27FC236}">
                <a16:creationId xmlns:a16="http://schemas.microsoft.com/office/drawing/2014/main" id="{8D57724E-4A9A-7277-3A96-2D6A67ED1570}"/>
              </a:ext>
            </a:extLst>
          </p:cNvPr>
          <p:cNvSpPr txBox="1">
            <a:spLocks/>
          </p:cNvSpPr>
          <p:nvPr/>
        </p:nvSpPr>
        <p:spPr>
          <a:xfrm>
            <a:off x="515936" y="2635075"/>
            <a:ext cx="3017375" cy="2719697"/>
          </a:xfrm>
          <a:prstGeom prst="rect">
            <a:avLst/>
          </a:prstGeom>
        </p:spPr>
        <p:txBody>
          <a:bodyPr vert="horz" lIns="0" tIns="0" rIns="0" bIns="0" numCol="1" spcCol="720000" rtlCol="0">
            <a:normAutofit fontScale="92500" lnSpcReduction="20000"/>
          </a:bodyPr>
          <a:lstStyle>
            <a:lvl1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1pPr>
            <a:lvl2pPr marL="0" indent="0" algn="l" defTabSz="914400" rtl="0" eaLnBrk="1" latinLnBrk="0" hangingPunct="1">
              <a:lnSpc>
                <a:spcPct val="100000"/>
              </a:lnSpc>
              <a:spcBef>
                <a:spcPts val="1200"/>
              </a:spcBef>
              <a:buClr>
                <a:schemeClr val="accent1"/>
              </a:buClr>
              <a:buFont typeface="Arial" panose="020B0604020202020204" pitchFamily="34" charset="0"/>
              <a:buNone/>
              <a:defRPr sz="1400" kern="1200">
                <a:solidFill>
                  <a:schemeClr val="tx1"/>
                </a:solidFill>
                <a:latin typeface="+mn-lt"/>
                <a:ea typeface="+mn-ea"/>
                <a:cs typeface="+mn-cs"/>
              </a:defRPr>
            </a:lvl2pPr>
            <a:lvl3pPr marL="144000" indent="-144000" algn="l" defTabSz="914400" rtl="0" eaLnBrk="1" latinLnBrk="0" hangingPunct="1">
              <a:lnSpc>
                <a:spcPct val="100000"/>
              </a:lnSpc>
              <a:spcBef>
                <a:spcPts val="1200"/>
              </a:spcBef>
              <a:buClr>
                <a:schemeClr val="accent1"/>
              </a:buClr>
              <a:buSzPct val="100000"/>
              <a:buFont typeface="Arial" panose="020B0604020202020204" pitchFamily="34" charset="0"/>
              <a:buChar char="•"/>
              <a:defRPr sz="1400" kern="1200">
                <a:solidFill>
                  <a:schemeClr val="tx1"/>
                </a:solidFill>
                <a:latin typeface="+mn-lt"/>
                <a:ea typeface="+mn-ea"/>
                <a:cs typeface="+mn-cs"/>
              </a:defRPr>
            </a:lvl3pPr>
            <a:lvl4pPr marL="288000" indent="-144000" algn="l" defTabSz="914400" rtl="0" eaLnBrk="1" latinLnBrk="0" hangingPunct="1">
              <a:lnSpc>
                <a:spcPct val="100000"/>
              </a:lnSpc>
              <a:spcBef>
                <a:spcPts val="1200"/>
              </a:spcBef>
              <a:buClr>
                <a:schemeClr val="accent1"/>
              </a:buClr>
              <a:buSzPct val="60000"/>
              <a:buFont typeface="Courier New" panose="02070309020205020404" pitchFamily="49" charset="0"/>
              <a:buChar char="o"/>
              <a:defRPr sz="1400" kern="1200">
                <a:solidFill>
                  <a:schemeClr val="tx1"/>
                </a:solidFill>
                <a:latin typeface="+mn-lt"/>
                <a:ea typeface="+mn-ea"/>
                <a:cs typeface="+mn-cs"/>
              </a:defRPr>
            </a:lvl4pPr>
            <a:lvl5pPr marL="432000" indent="-144000" algn="l" defTabSz="914400" rtl="0" eaLnBrk="1" latinLnBrk="0" hangingPunct="1">
              <a:lnSpc>
                <a:spcPct val="100000"/>
              </a:lnSpc>
              <a:spcBef>
                <a:spcPts val="1200"/>
              </a:spcBef>
              <a:buClr>
                <a:schemeClr val="accent1"/>
              </a:buClr>
              <a:buSzPct val="60000"/>
              <a:buFont typeface="Courier New" panose="02070309020205020404" pitchFamily="49" charset="0"/>
              <a:buChar char="o"/>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0" dirty="0">
                <a:solidFill>
                  <a:srgbClr val="00B050"/>
                </a:solidFill>
              </a:rPr>
              <a:t>The gas service referral form can be accessed and should be completed and submitted using the following link - </a:t>
            </a:r>
            <a:r>
              <a:rPr lang="en-GB" dirty="0">
                <a:solidFill>
                  <a:schemeClr val="accent2">
                    <a:lumMod val="75000"/>
                  </a:schemeClr>
                </a:solidFill>
                <a:hlinkClick r:id="rId3">
                  <a:extLst>
                    <a:ext uri="{A12FA001-AC4F-418D-AE19-62706E023703}">
                      <ahyp:hlinkClr xmlns:ahyp="http://schemas.microsoft.com/office/drawing/2018/hyperlinkcolor" val="tx"/>
                    </a:ext>
                  </a:extLst>
                </a:hlinkClick>
              </a:rPr>
              <a:t>Referral for Services Beyond the Meter</a:t>
            </a:r>
            <a:endParaRPr lang="en-GB" b="0" dirty="0">
              <a:solidFill>
                <a:schemeClr val="accent2">
                  <a:lumMod val="75000"/>
                </a:schemeClr>
              </a:solidFill>
            </a:endParaRPr>
          </a:p>
          <a:p>
            <a:r>
              <a:rPr lang="en-GB" b="0" dirty="0">
                <a:solidFill>
                  <a:srgbClr val="00B050"/>
                </a:solidFill>
              </a:rPr>
              <a:t>A video on how to raise a referral can be accessed – </a:t>
            </a:r>
            <a:r>
              <a:rPr lang="pt-BR" dirty="0">
                <a:solidFill>
                  <a:schemeClr val="accent2">
                    <a:lumMod val="75000"/>
                  </a:schemeClr>
                </a:solidFill>
                <a:hlinkClick r:id="rId4">
                  <a:extLst>
                    <a:ext uri="{A12FA001-AC4F-418D-AE19-62706E023703}">
                      <ahyp:hlinkClr xmlns:ahyp="http://schemas.microsoft.com/office/drawing/2018/hyperlinkcolor" val="tx"/>
                    </a:ext>
                  </a:extLst>
                </a:hlinkClick>
              </a:rPr>
              <a:t>SBtM referral video 2025.mp4</a:t>
            </a:r>
            <a:endParaRPr lang="en-GB" b="0" dirty="0">
              <a:solidFill>
                <a:schemeClr val="accent2">
                  <a:lumMod val="75000"/>
                </a:schemeClr>
              </a:solidFill>
            </a:endParaRPr>
          </a:p>
          <a:p>
            <a:r>
              <a:rPr lang="en-GB" b="0" dirty="0">
                <a:solidFill>
                  <a:srgbClr val="00B050"/>
                </a:solidFill>
              </a:rPr>
              <a:t>Upon submission of the referral form, kindly inform the customer that they can anticipate a call within 10 working days, Monday to Friday, 08:00 – 16:30, or at the earliest convenience through our best endeavours.</a:t>
            </a:r>
          </a:p>
          <a:p>
            <a:endParaRPr lang="en-US" dirty="0"/>
          </a:p>
        </p:txBody>
      </p:sp>
      <p:sp>
        <p:nvSpPr>
          <p:cNvPr id="7" name="Free-form: Shape 2">
            <a:extLst>
              <a:ext uri="{FF2B5EF4-FFF2-40B4-BE49-F238E27FC236}">
                <a16:creationId xmlns:a16="http://schemas.microsoft.com/office/drawing/2014/main" id="{4CD97139-221C-8756-89C6-9D09D11A2EA7}"/>
              </a:ext>
            </a:extLst>
          </p:cNvPr>
          <p:cNvSpPr/>
          <p:nvPr/>
        </p:nvSpPr>
        <p:spPr>
          <a:xfrm>
            <a:off x="1105117" y="297141"/>
            <a:ext cx="6054" cy="1912"/>
          </a:xfrm>
          <a:custGeom>
            <a:avLst/>
            <a:gdLst>
              <a:gd name="connsiteX0" fmla="*/ 0 w 1912"/>
              <a:gd name="connsiteY0" fmla="*/ 0 h 1912"/>
              <a:gd name="connsiteX1" fmla="*/ 1912 w 1912"/>
              <a:gd name="connsiteY1" fmla="*/ 0 h 1912"/>
              <a:gd name="connsiteX2" fmla="*/ 1912 w 1912"/>
              <a:gd name="connsiteY2" fmla="*/ 1912 h 1912"/>
              <a:gd name="connsiteX3" fmla="*/ 0 w 1912"/>
              <a:gd name="connsiteY3" fmla="*/ 1912 h 1912"/>
              <a:gd name="connsiteX4" fmla="*/ 0 w 1912"/>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2" h="1912">
                <a:moveTo>
                  <a:pt x="0" y="0"/>
                </a:moveTo>
                <a:lnTo>
                  <a:pt x="1912" y="0"/>
                </a:lnTo>
                <a:lnTo>
                  <a:pt x="1912"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8" name="Free-form: Shape 4">
            <a:extLst>
              <a:ext uri="{FF2B5EF4-FFF2-40B4-BE49-F238E27FC236}">
                <a16:creationId xmlns:a16="http://schemas.microsoft.com/office/drawing/2014/main" id="{AD80DD1C-8D23-2882-DCED-0A8DF21E4C3F}"/>
              </a:ext>
            </a:extLst>
          </p:cNvPr>
          <p:cNvSpPr/>
          <p:nvPr/>
        </p:nvSpPr>
        <p:spPr>
          <a:xfrm>
            <a:off x="1133308" y="297141"/>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7DAC4874-F697-D972-C14C-9131993C512E}"/>
              </a:ext>
            </a:extLst>
          </p:cNvPr>
          <p:cNvSpPr/>
          <p:nvPr/>
        </p:nvSpPr>
        <p:spPr>
          <a:xfrm>
            <a:off x="1050640" y="297910"/>
            <a:ext cx="6719" cy="2099"/>
          </a:xfrm>
          <a:custGeom>
            <a:avLst/>
            <a:gdLst>
              <a:gd name="connsiteX0" fmla="*/ 15 w 2122"/>
              <a:gd name="connsiteY0" fmla="*/ 1143 h 2099"/>
              <a:gd name="connsiteX1" fmla="*/ 1927 w 2122"/>
              <a:gd name="connsiteY1" fmla="*/ 2099 h 2099"/>
              <a:gd name="connsiteX2" fmla="*/ 652 w 2122"/>
              <a:gd name="connsiteY2" fmla="*/ 2099 h 2099"/>
              <a:gd name="connsiteX3" fmla="*/ 15 w 2122"/>
              <a:gd name="connsiteY3" fmla="*/ 1143 h 2099"/>
            </a:gdLst>
            <a:ahLst/>
            <a:cxnLst>
              <a:cxn ang="0">
                <a:pos x="connsiteX0" y="connsiteY0"/>
              </a:cxn>
              <a:cxn ang="0">
                <a:pos x="connsiteX1" y="connsiteY1"/>
              </a:cxn>
              <a:cxn ang="0">
                <a:pos x="connsiteX2" y="connsiteY2"/>
              </a:cxn>
              <a:cxn ang="0">
                <a:pos x="connsiteX3" y="connsiteY3"/>
              </a:cxn>
            </a:cxnLst>
            <a:rect l="l" t="t" r="r" b="b"/>
            <a:pathLst>
              <a:path w="2122" h="2099">
                <a:moveTo>
                  <a:pt x="15" y="1143"/>
                </a:moveTo>
                <a:cubicBezTo>
                  <a:pt x="-240" y="-705"/>
                  <a:pt x="2926" y="-259"/>
                  <a:pt x="1927" y="2099"/>
                </a:cubicBezTo>
                <a:lnTo>
                  <a:pt x="652" y="2099"/>
                </a:lnTo>
                <a:cubicBezTo>
                  <a:pt x="780" y="1271"/>
                  <a:pt x="397" y="1207"/>
                  <a:pt x="15" y="1143"/>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8924C915-9AC4-3CBC-B8C7-5F142B5CD1E6}"/>
              </a:ext>
            </a:extLst>
          </p:cNvPr>
          <p:cNvSpPr/>
          <p:nvPr/>
        </p:nvSpPr>
        <p:spPr>
          <a:xfrm>
            <a:off x="3195041" y="443397"/>
            <a:ext cx="14369" cy="13386"/>
          </a:xfrm>
          <a:custGeom>
            <a:avLst/>
            <a:gdLst>
              <a:gd name="connsiteX0" fmla="*/ 3825 w 4538"/>
              <a:gd name="connsiteY0" fmla="*/ 0 h 13386"/>
              <a:gd name="connsiteX1" fmla="*/ 4462 w 4538"/>
              <a:gd name="connsiteY1" fmla="*/ 2869 h 13386"/>
              <a:gd name="connsiteX2" fmla="*/ 2550 w 4538"/>
              <a:gd name="connsiteY2" fmla="*/ 6693 h 13386"/>
              <a:gd name="connsiteX3" fmla="*/ 2550 w 4538"/>
              <a:gd name="connsiteY3" fmla="*/ 13387 h 13386"/>
              <a:gd name="connsiteX4" fmla="*/ 0 w 4538"/>
              <a:gd name="connsiteY4" fmla="*/ 4781 h 13386"/>
              <a:gd name="connsiteX5" fmla="*/ 637 w 4538"/>
              <a:gd name="connsiteY5" fmla="*/ 2869 h 13386"/>
              <a:gd name="connsiteX6" fmla="*/ 3825 w 4538"/>
              <a:gd name="connsiteY6" fmla="*/ 0 h 1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8" h="13386">
                <a:moveTo>
                  <a:pt x="3825" y="0"/>
                </a:moveTo>
                <a:cubicBezTo>
                  <a:pt x="4569" y="149"/>
                  <a:pt x="4356" y="1742"/>
                  <a:pt x="4462" y="2869"/>
                </a:cubicBezTo>
                <a:cubicBezTo>
                  <a:pt x="5015" y="5928"/>
                  <a:pt x="2359" y="4186"/>
                  <a:pt x="2550" y="6693"/>
                </a:cubicBezTo>
                <a:cubicBezTo>
                  <a:pt x="2337" y="9647"/>
                  <a:pt x="4016" y="11262"/>
                  <a:pt x="2550" y="13387"/>
                </a:cubicBezTo>
                <a:cubicBezTo>
                  <a:pt x="935" y="11666"/>
                  <a:pt x="382" y="8351"/>
                  <a:pt x="0" y="4781"/>
                </a:cubicBezTo>
                <a:cubicBezTo>
                  <a:pt x="616" y="4760"/>
                  <a:pt x="489" y="3612"/>
                  <a:pt x="637" y="2869"/>
                </a:cubicBezTo>
                <a:cubicBezTo>
                  <a:pt x="1594" y="1742"/>
                  <a:pt x="3230" y="1679"/>
                  <a:pt x="3825"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1" name="Free-form: Shape 22">
            <a:extLst>
              <a:ext uri="{FF2B5EF4-FFF2-40B4-BE49-F238E27FC236}">
                <a16:creationId xmlns:a16="http://schemas.microsoft.com/office/drawing/2014/main" id="{65DC96B8-4E76-383A-B359-1C63D742F5F1}"/>
              </a:ext>
            </a:extLst>
          </p:cNvPr>
          <p:cNvSpPr/>
          <p:nvPr/>
        </p:nvSpPr>
        <p:spPr>
          <a:xfrm>
            <a:off x="3207153" y="448178"/>
            <a:ext cx="8138" cy="3075"/>
          </a:xfrm>
          <a:custGeom>
            <a:avLst/>
            <a:gdLst>
              <a:gd name="connsiteX0" fmla="*/ 1912 w 2570"/>
              <a:gd name="connsiteY0" fmla="*/ 0 h 3075"/>
              <a:gd name="connsiteX1" fmla="*/ 0 w 2570"/>
              <a:gd name="connsiteY1" fmla="*/ 2869 h 3075"/>
              <a:gd name="connsiteX2" fmla="*/ 1912 w 2570"/>
              <a:gd name="connsiteY2" fmla="*/ 0 h 3075"/>
            </a:gdLst>
            <a:ahLst/>
            <a:cxnLst>
              <a:cxn ang="0">
                <a:pos x="connsiteX0" y="connsiteY0"/>
              </a:cxn>
              <a:cxn ang="0">
                <a:pos x="connsiteX1" y="connsiteY1"/>
              </a:cxn>
              <a:cxn ang="0">
                <a:pos x="connsiteX2" y="connsiteY2"/>
              </a:cxn>
            </a:cxnLst>
            <a:rect l="l" t="t" r="r" b="b"/>
            <a:pathLst>
              <a:path w="2570" h="3075">
                <a:moveTo>
                  <a:pt x="1912" y="0"/>
                </a:moveTo>
                <a:cubicBezTo>
                  <a:pt x="3634" y="850"/>
                  <a:pt x="1615" y="3889"/>
                  <a:pt x="0" y="2869"/>
                </a:cubicBezTo>
                <a:cubicBezTo>
                  <a:pt x="64" y="1062"/>
                  <a:pt x="2104" y="2210"/>
                  <a:pt x="1912"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2" name="Free-form: Shape 26">
            <a:extLst>
              <a:ext uri="{FF2B5EF4-FFF2-40B4-BE49-F238E27FC236}">
                <a16:creationId xmlns:a16="http://schemas.microsoft.com/office/drawing/2014/main" id="{B9727383-F83E-A3C9-9188-30862B8C9A9A}"/>
              </a:ext>
            </a:extLst>
          </p:cNvPr>
          <p:cNvSpPr/>
          <p:nvPr/>
        </p:nvSpPr>
        <p:spPr>
          <a:xfrm>
            <a:off x="3168868" y="467303"/>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3" name="Free-form: Shape 29">
            <a:extLst>
              <a:ext uri="{FF2B5EF4-FFF2-40B4-BE49-F238E27FC236}">
                <a16:creationId xmlns:a16="http://schemas.microsoft.com/office/drawing/2014/main" id="{1897C5F8-0639-1FD4-6E68-9F827B25B08F}"/>
              </a:ext>
            </a:extLst>
          </p:cNvPr>
          <p:cNvSpPr/>
          <p:nvPr/>
        </p:nvSpPr>
        <p:spPr>
          <a:xfrm>
            <a:off x="3146225" y="471127"/>
            <a:ext cx="18602" cy="7639"/>
          </a:xfrm>
          <a:custGeom>
            <a:avLst/>
            <a:gdLst>
              <a:gd name="connsiteX0" fmla="*/ 4601 w 5875"/>
              <a:gd name="connsiteY0" fmla="*/ 0 h 7639"/>
              <a:gd name="connsiteX1" fmla="*/ 5876 w 5875"/>
              <a:gd name="connsiteY1" fmla="*/ 6693 h 7639"/>
              <a:gd name="connsiteX2" fmla="*/ 139 w 5875"/>
              <a:gd name="connsiteY2" fmla="*/ 4781 h 7639"/>
              <a:gd name="connsiteX3" fmla="*/ 1414 w 5875"/>
              <a:gd name="connsiteY3" fmla="*/ 956 h 7639"/>
              <a:gd name="connsiteX4" fmla="*/ 2689 w 5875"/>
              <a:gd name="connsiteY4" fmla="*/ 2869 h 7639"/>
              <a:gd name="connsiteX5" fmla="*/ 4601 w 5875"/>
              <a:gd name="connsiteY5" fmla="*/ 1912 h 7639"/>
              <a:gd name="connsiteX6" fmla="*/ 4601 w 5875"/>
              <a:gd name="connsiteY6" fmla="*/ 0 h 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75" h="7639">
                <a:moveTo>
                  <a:pt x="4601" y="0"/>
                </a:moveTo>
                <a:cubicBezTo>
                  <a:pt x="6428" y="128"/>
                  <a:pt x="4049" y="6566"/>
                  <a:pt x="5876" y="6693"/>
                </a:cubicBezTo>
                <a:cubicBezTo>
                  <a:pt x="3751" y="10136"/>
                  <a:pt x="3326" y="2932"/>
                  <a:pt x="139" y="4781"/>
                </a:cubicBezTo>
                <a:cubicBezTo>
                  <a:pt x="-647" y="1679"/>
                  <a:pt x="2200" y="4059"/>
                  <a:pt x="1414" y="956"/>
                </a:cubicBezTo>
                <a:cubicBezTo>
                  <a:pt x="1987" y="1381"/>
                  <a:pt x="2561" y="1806"/>
                  <a:pt x="2689" y="2869"/>
                </a:cubicBezTo>
                <a:cubicBezTo>
                  <a:pt x="3900" y="2146"/>
                  <a:pt x="3135" y="21"/>
                  <a:pt x="4601" y="1912"/>
                </a:cubicBezTo>
                <a:lnTo>
                  <a:pt x="4601"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4" name="Free-form: Shape 31">
            <a:extLst>
              <a:ext uri="{FF2B5EF4-FFF2-40B4-BE49-F238E27FC236}">
                <a16:creationId xmlns:a16="http://schemas.microsoft.com/office/drawing/2014/main" id="{3B8527E7-E994-4C83-FD2B-7CE4DD72C57D}"/>
              </a:ext>
            </a:extLst>
          </p:cNvPr>
          <p:cNvSpPr/>
          <p:nvPr/>
        </p:nvSpPr>
        <p:spPr>
          <a:xfrm>
            <a:off x="3168868" y="470837"/>
            <a:ext cx="8071" cy="4280"/>
          </a:xfrm>
          <a:custGeom>
            <a:avLst/>
            <a:gdLst>
              <a:gd name="connsiteX0" fmla="*/ 638 w 2549"/>
              <a:gd name="connsiteY0" fmla="*/ 290 h 4280"/>
              <a:gd name="connsiteX1" fmla="*/ 2550 w 2549"/>
              <a:gd name="connsiteY1" fmla="*/ 3159 h 4280"/>
              <a:gd name="connsiteX2" fmla="*/ 0 w 2549"/>
              <a:gd name="connsiteY2" fmla="*/ 3159 h 4280"/>
              <a:gd name="connsiteX3" fmla="*/ 638 w 2549"/>
              <a:gd name="connsiteY3" fmla="*/ 290 h 4280"/>
            </a:gdLst>
            <a:ahLst/>
            <a:cxnLst>
              <a:cxn ang="0">
                <a:pos x="connsiteX0" y="connsiteY0"/>
              </a:cxn>
              <a:cxn ang="0">
                <a:pos x="connsiteX1" y="connsiteY1"/>
              </a:cxn>
              <a:cxn ang="0">
                <a:pos x="connsiteX2" y="connsiteY2"/>
              </a:cxn>
              <a:cxn ang="0">
                <a:pos x="connsiteX3" y="connsiteY3"/>
              </a:cxn>
            </a:cxnLst>
            <a:rect l="l" t="t" r="r" b="b"/>
            <a:pathLst>
              <a:path w="2549" h="4280">
                <a:moveTo>
                  <a:pt x="638" y="290"/>
                </a:moveTo>
                <a:cubicBezTo>
                  <a:pt x="2911" y="-1197"/>
                  <a:pt x="1020" y="3541"/>
                  <a:pt x="2550" y="3159"/>
                </a:cubicBezTo>
                <a:cubicBezTo>
                  <a:pt x="2444" y="5538"/>
                  <a:pt x="383" y="3435"/>
                  <a:pt x="0" y="3159"/>
                </a:cubicBezTo>
                <a:cubicBezTo>
                  <a:pt x="340" y="2394"/>
                  <a:pt x="659" y="1607"/>
                  <a:pt x="638" y="29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5" name="Free-form: Shape 33">
            <a:extLst>
              <a:ext uri="{FF2B5EF4-FFF2-40B4-BE49-F238E27FC236}">
                <a16:creationId xmlns:a16="http://schemas.microsoft.com/office/drawing/2014/main" id="{2A86697D-A054-0FC5-C7C6-A4808AC812D3}"/>
              </a:ext>
            </a:extLst>
          </p:cNvPr>
          <p:cNvSpPr/>
          <p:nvPr/>
        </p:nvSpPr>
        <p:spPr>
          <a:xfrm>
            <a:off x="3201019" y="473040"/>
            <a:ext cx="6599" cy="2159"/>
          </a:xfrm>
          <a:custGeom>
            <a:avLst/>
            <a:gdLst>
              <a:gd name="connsiteX0" fmla="*/ 1299 w 2084"/>
              <a:gd name="connsiteY0" fmla="*/ 0 h 2159"/>
              <a:gd name="connsiteX1" fmla="*/ 24 w 2084"/>
              <a:gd name="connsiteY1" fmla="*/ 1912 h 2159"/>
              <a:gd name="connsiteX2" fmla="*/ 1299 w 2084"/>
              <a:gd name="connsiteY2" fmla="*/ 0 h 2159"/>
            </a:gdLst>
            <a:ahLst/>
            <a:cxnLst>
              <a:cxn ang="0">
                <a:pos x="connsiteX0" y="connsiteY0"/>
              </a:cxn>
              <a:cxn ang="0">
                <a:pos x="connsiteX1" y="connsiteY1"/>
              </a:cxn>
              <a:cxn ang="0">
                <a:pos x="connsiteX2" y="connsiteY2"/>
              </a:cxn>
            </a:cxnLst>
            <a:rect l="l" t="t" r="r" b="b"/>
            <a:pathLst>
              <a:path w="2084" h="2159">
                <a:moveTo>
                  <a:pt x="1299" y="0"/>
                </a:moveTo>
                <a:cubicBezTo>
                  <a:pt x="3467" y="1636"/>
                  <a:pt x="513" y="2656"/>
                  <a:pt x="24" y="1912"/>
                </a:cubicBezTo>
                <a:cubicBezTo>
                  <a:pt x="-231" y="1509"/>
                  <a:pt x="1618" y="786"/>
                  <a:pt x="1299"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6" name="Free-form: Shape 35">
            <a:extLst>
              <a:ext uri="{FF2B5EF4-FFF2-40B4-BE49-F238E27FC236}">
                <a16:creationId xmlns:a16="http://schemas.microsoft.com/office/drawing/2014/main" id="{C7BE3860-D66D-67F1-D67E-F752D8FFB6D3}"/>
              </a:ext>
            </a:extLst>
          </p:cNvPr>
          <p:cNvSpPr/>
          <p:nvPr/>
        </p:nvSpPr>
        <p:spPr>
          <a:xfrm>
            <a:off x="3211250" y="499798"/>
            <a:ext cx="8020" cy="1160"/>
          </a:xfrm>
          <a:custGeom>
            <a:avLst/>
            <a:gdLst>
              <a:gd name="connsiteX0" fmla="*/ 1256 w 2533"/>
              <a:gd name="connsiteY0" fmla="*/ 16 h 1160"/>
              <a:gd name="connsiteX1" fmla="*/ 2531 w 2533"/>
              <a:gd name="connsiteY1" fmla="*/ 16 h 1160"/>
              <a:gd name="connsiteX2" fmla="*/ 1256 w 2533"/>
              <a:gd name="connsiteY2" fmla="*/ 16 h 1160"/>
            </a:gdLst>
            <a:ahLst/>
            <a:cxnLst>
              <a:cxn ang="0">
                <a:pos x="connsiteX0" y="connsiteY0"/>
              </a:cxn>
              <a:cxn ang="0">
                <a:pos x="connsiteX1" y="connsiteY1"/>
              </a:cxn>
              <a:cxn ang="0">
                <a:pos x="connsiteX2" y="connsiteY2"/>
              </a:cxn>
            </a:cxnLst>
            <a:rect l="l" t="t" r="r" b="b"/>
            <a:pathLst>
              <a:path w="2533" h="1160">
                <a:moveTo>
                  <a:pt x="1256" y="16"/>
                </a:moveTo>
                <a:lnTo>
                  <a:pt x="2531" y="16"/>
                </a:lnTo>
                <a:cubicBezTo>
                  <a:pt x="2658" y="2714"/>
                  <a:pt x="-2229" y="-239"/>
                  <a:pt x="1256" y="16"/>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7" name="Free-form: Shape 37">
            <a:extLst>
              <a:ext uri="{FF2B5EF4-FFF2-40B4-BE49-F238E27FC236}">
                <a16:creationId xmlns:a16="http://schemas.microsoft.com/office/drawing/2014/main" id="{FD0F410B-4849-32EC-560F-0AED79D72B94}"/>
              </a:ext>
            </a:extLst>
          </p:cNvPr>
          <p:cNvSpPr/>
          <p:nvPr/>
        </p:nvSpPr>
        <p:spPr>
          <a:xfrm>
            <a:off x="1006279" y="552652"/>
            <a:ext cx="28257" cy="2600"/>
          </a:xfrm>
          <a:custGeom>
            <a:avLst/>
            <a:gdLst>
              <a:gd name="connsiteX0" fmla="*/ 8925 w 8924"/>
              <a:gd name="connsiteY0" fmla="*/ 688 h 2600"/>
              <a:gd name="connsiteX1" fmla="*/ 7012 w 8924"/>
              <a:gd name="connsiteY1" fmla="*/ 2600 h 2600"/>
              <a:gd name="connsiteX2" fmla="*/ 0 w 8924"/>
              <a:gd name="connsiteY2" fmla="*/ 2600 h 2600"/>
              <a:gd name="connsiteX3" fmla="*/ 2550 w 8924"/>
              <a:gd name="connsiteY3" fmla="*/ 1644 h 2600"/>
              <a:gd name="connsiteX4" fmla="*/ 5737 w 8924"/>
              <a:gd name="connsiteY4" fmla="*/ 1644 h 2600"/>
              <a:gd name="connsiteX5" fmla="*/ 8925 w 8924"/>
              <a:gd name="connsiteY5" fmla="*/ 688 h 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24" h="2600">
                <a:moveTo>
                  <a:pt x="8925" y="688"/>
                </a:moveTo>
                <a:cubicBezTo>
                  <a:pt x="8776" y="2069"/>
                  <a:pt x="7033" y="1028"/>
                  <a:pt x="7012" y="2600"/>
                </a:cubicBezTo>
                <a:lnTo>
                  <a:pt x="0" y="2600"/>
                </a:lnTo>
                <a:cubicBezTo>
                  <a:pt x="191" y="1304"/>
                  <a:pt x="1594" y="1814"/>
                  <a:pt x="2550" y="1644"/>
                </a:cubicBezTo>
                <a:lnTo>
                  <a:pt x="5737" y="1644"/>
                </a:lnTo>
                <a:cubicBezTo>
                  <a:pt x="7055" y="1092"/>
                  <a:pt x="7798" y="-1097"/>
                  <a:pt x="8925" y="688"/>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8" name="Free-form: Shape 38">
            <a:extLst>
              <a:ext uri="{FF2B5EF4-FFF2-40B4-BE49-F238E27FC236}">
                <a16:creationId xmlns:a16="http://schemas.microsoft.com/office/drawing/2014/main" id="{5AC7D181-85C9-CDFC-716D-177E3F71A103}"/>
              </a:ext>
            </a:extLst>
          </p:cNvPr>
          <p:cNvSpPr/>
          <p:nvPr/>
        </p:nvSpPr>
        <p:spPr>
          <a:xfrm>
            <a:off x="1048667" y="552384"/>
            <a:ext cx="4034" cy="1912"/>
          </a:xfrm>
          <a:custGeom>
            <a:avLst/>
            <a:gdLst>
              <a:gd name="connsiteX0" fmla="*/ 0 w 1274"/>
              <a:gd name="connsiteY0" fmla="*/ 0 h 1912"/>
              <a:gd name="connsiteX1" fmla="*/ 1275 w 1274"/>
              <a:gd name="connsiteY1" fmla="*/ 0 h 1912"/>
              <a:gd name="connsiteX2" fmla="*/ 1275 w 1274"/>
              <a:gd name="connsiteY2" fmla="*/ 1912 h 1912"/>
              <a:gd name="connsiteX3" fmla="*/ 0 w 1274"/>
              <a:gd name="connsiteY3" fmla="*/ 1912 h 1912"/>
              <a:gd name="connsiteX4" fmla="*/ 0 w 1274"/>
              <a:gd name="connsiteY4" fmla="*/ 0 h 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 h="1912">
                <a:moveTo>
                  <a:pt x="0" y="0"/>
                </a:moveTo>
                <a:lnTo>
                  <a:pt x="1275" y="0"/>
                </a:lnTo>
                <a:lnTo>
                  <a:pt x="1275" y="1912"/>
                </a:lnTo>
                <a:lnTo>
                  <a:pt x="0" y="1912"/>
                </a:lnTo>
                <a:lnTo>
                  <a:pt x="0" y="0"/>
                </a:ln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19" name="Free-form: Shape 39">
            <a:extLst>
              <a:ext uri="{FF2B5EF4-FFF2-40B4-BE49-F238E27FC236}">
                <a16:creationId xmlns:a16="http://schemas.microsoft.com/office/drawing/2014/main" id="{6810669B-8989-1E03-109E-7DEA83E854EC}"/>
              </a:ext>
            </a:extLst>
          </p:cNvPr>
          <p:cNvSpPr/>
          <p:nvPr/>
        </p:nvSpPr>
        <p:spPr>
          <a:xfrm>
            <a:off x="974052" y="554768"/>
            <a:ext cx="18175" cy="1568"/>
          </a:xfrm>
          <a:custGeom>
            <a:avLst/>
            <a:gdLst>
              <a:gd name="connsiteX0" fmla="*/ 5737 w 5740"/>
              <a:gd name="connsiteY0" fmla="*/ 484 h 1568"/>
              <a:gd name="connsiteX1" fmla="*/ 2550 w 5740"/>
              <a:gd name="connsiteY1" fmla="*/ 1440 h 1568"/>
              <a:gd name="connsiteX2" fmla="*/ 0 w 5740"/>
              <a:gd name="connsiteY2" fmla="*/ 484 h 1568"/>
              <a:gd name="connsiteX3" fmla="*/ 5737 w 5740"/>
              <a:gd name="connsiteY3" fmla="*/ 484 h 1568"/>
            </a:gdLst>
            <a:ahLst/>
            <a:cxnLst>
              <a:cxn ang="0">
                <a:pos x="connsiteX0" y="connsiteY0"/>
              </a:cxn>
              <a:cxn ang="0">
                <a:pos x="connsiteX1" y="connsiteY1"/>
              </a:cxn>
              <a:cxn ang="0">
                <a:pos x="connsiteX2" y="connsiteY2"/>
              </a:cxn>
              <a:cxn ang="0">
                <a:pos x="connsiteX3" y="connsiteY3"/>
              </a:cxn>
            </a:cxnLst>
            <a:rect l="l" t="t" r="r" b="b"/>
            <a:pathLst>
              <a:path w="5740" h="1568">
                <a:moveTo>
                  <a:pt x="5737" y="484"/>
                </a:moveTo>
                <a:cubicBezTo>
                  <a:pt x="5843" y="2566"/>
                  <a:pt x="3485" y="909"/>
                  <a:pt x="2550" y="1440"/>
                </a:cubicBezTo>
                <a:cubicBezTo>
                  <a:pt x="1551" y="1355"/>
                  <a:pt x="127" y="1908"/>
                  <a:pt x="0" y="484"/>
                </a:cubicBezTo>
                <a:cubicBezTo>
                  <a:pt x="2550" y="1313"/>
                  <a:pt x="4696" y="-940"/>
                  <a:pt x="5737" y="484"/>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0" name="Free-form: Shape 40">
            <a:extLst>
              <a:ext uri="{FF2B5EF4-FFF2-40B4-BE49-F238E27FC236}">
                <a16:creationId xmlns:a16="http://schemas.microsoft.com/office/drawing/2014/main" id="{74561E5E-D8D8-18EF-51CC-CB11BF1D7303}"/>
              </a:ext>
            </a:extLst>
          </p:cNvPr>
          <p:cNvSpPr/>
          <p:nvPr/>
        </p:nvSpPr>
        <p:spPr>
          <a:xfrm>
            <a:off x="1248288" y="555006"/>
            <a:ext cx="10557" cy="2210"/>
          </a:xfrm>
          <a:custGeom>
            <a:avLst/>
            <a:gdLst>
              <a:gd name="connsiteX0" fmla="*/ 2 w 3334"/>
              <a:gd name="connsiteY0" fmla="*/ 1203 h 2210"/>
              <a:gd name="connsiteX1" fmla="*/ 3189 w 3334"/>
              <a:gd name="connsiteY1" fmla="*/ 2159 h 2210"/>
              <a:gd name="connsiteX2" fmla="*/ 2 w 3334"/>
              <a:gd name="connsiteY2" fmla="*/ 1203 h 2210"/>
            </a:gdLst>
            <a:ahLst/>
            <a:cxnLst>
              <a:cxn ang="0">
                <a:pos x="connsiteX0" y="connsiteY0"/>
              </a:cxn>
              <a:cxn ang="0">
                <a:pos x="connsiteX1" y="connsiteY1"/>
              </a:cxn>
              <a:cxn ang="0">
                <a:pos x="connsiteX2" y="connsiteY2"/>
              </a:cxn>
            </a:cxnLst>
            <a:rect l="l" t="t" r="r" b="b"/>
            <a:pathLst>
              <a:path w="3334" h="2210">
                <a:moveTo>
                  <a:pt x="2" y="1203"/>
                </a:moveTo>
                <a:cubicBezTo>
                  <a:pt x="-104" y="-370"/>
                  <a:pt x="4167" y="-731"/>
                  <a:pt x="3189" y="2159"/>
                </a:cubicBezTo>
                <a:cubicBezTo>
                  <a:pt x="1659" y="2563"/>
                  <a:pt x="1808" y="417"/>
                  <a:pt x="2" y="1203"/>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1" name="Free-form: Shape 41">
            <a:extLst>
              <a:ext uri="{FF2B5EF4-FFF2-40B4-BE49-F238E27FC236}">
                <a16:creationId xmlns:a16="http://schemas.microsoft.com/office/drawing/2014/main" id="{ACDE5783-22F1-A758-0C29-136084CA1136}"/>
              </a:ext>
            </a:extLst>
          </p:cNvPr>
          <p:cNvSpPr/>
          <p:nvPr/>
        </p:nvSpPr>
        <p:spPr>
          <a:xfrm>
            <a:off x="689715" y="556169"/>
            <a:ext cx="12108" cy="1993"/>
          </a:xfrm>
          <a:custGeom>
            <a:avLst/>
            <a:gdLst>
              <a:gd name="connsiteX0" fmla="*/ 3825 w 3824"/>
              <a:gd name="connsiteY0" fmla="*/ 39 h 1993"/>
              <a:gd name="connsiteX1" fmla="*/ 0 w 3824"/>
              <a:gd name="connsiteY1" fmla="*/ 1952 h 1993"/>
              <a:gd name="connsiteX2" fmla="*/ 3825 w 3824"/>
              <a:gd name="connsiteY2" fmla="*/ 39 h 1993"/>
            </a:gdLst>
            <a:ahLst/>
            <a:cxnLst>
              <a:cxn ang="0">
                <a:pos x="connsiteX0" y="connsiteY0"/>
              </a:cxn>
              <a:cxn ang="0">
                <a:pos x="connsiteX1" y="connsiteY1"/>
              </a:cxn>
              <a:cxn ang="0">
                <a:pos x="connsiteX2" y="connsiteY2"/>
              </a:cxn>
            </a:cxnLst>
            <a:rect l="l" t="t" r="r" b="b"/>
            <a:pathLst>
              <a:path w="3824" h="1993">
                <a:moveTo>
                  <a:pt x="3825" y="39"/>
                </a:moveTo>
                <a:cubicBezTo>
                  <a:pt x="3230" y="1697"/>
                  <a:pt x="1827" y="2143"/>
                  <a:pt x="0" y="1952"/>
                </a:cubicBezTo>
                <a:cubicBezTo>
                  <a:pt x="64" y="-492"/>
                  <a:pt x="2125" y="61"/>
                  <a:pt x="3825" y="39"/>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2" name="Free-form: Shape 42">
            <a:extLst>
              <a:ext uri="{FF2B5EF4-FFF2-40B4-BE49-F238E27FC236}">
                <a16:creationId xmlns:a16="http://schemas.microsoft.com/office/drawing/2014/main" id="{69CA9DFF-3F4A-982B-4F2D-13DB3191661C}"/>
              </a:ext>
            </a:extLst>
          </p:cNvPr>
          <p:cNvSpPr/>
          <p:nvPr/>
        </p:nvSpPr>
        <p:spPr>
          <a:xfrm>
            <a:off x="694014" y="573420"/>
            <a:ext cx="17903" cy="2868"/>
          </a:xfrm>
          <a:custGeom>
            <a:avLst/>
            <a:gdLst>
              <a:gd name="connsiteX0" fmla="*/ 5654 w 5654"/>
              <a:gd name="connsiteY0" fmla="*/ 0 h 2868"/>
              <a:gd name="connsiteX1" fmla="*/ 555 w 5654"/>
              <a:gd name="connsiteY1" fmla="*/ 2869 h 2868"/>
              <a:gd name="connsiteX2" fmla="*/ 5654 w 5654"/>
              <a:gd name="connsiteY2" fmla="*/ 0 h 2868"/>
            </a:gdLst>
            <a:ahLst/>
            <a:cxnLst>
              <a:cxn ang="0">
                <a:pos x="connsiteX0" y="connsiteY0"/>
              </a:cxn>
              <a:cxn ang="0">
                <a:pos x="connsiteX1" y="connsiteY1"/>
              </a:cxn>
              <a:cxn ang="0">
                <a:pos x="connsiteX2" y="connsiteY2"/>
              </a:cxn>
            </a:cxnLst>
            <a:rect l="l" t="t" r="r" b="b"/>
            <a:pathLst>
              <a:path w="5654" h="2868">
                <a:moveTo>
                  <a:pt x="5654" y="0"/>
                </a:moveTo>
                <a:cubicBezTo>
                  <a:pt x="5357" y="3039"/>
                  <a:pt x="1426" y="659"/>
                  <a:pt x="555" y="2869"/>
                </a:cubicBezTo>
                <a:cubicBezTo>
                  <a:pt x="-1889" y="149"/>
                  <a:pt x="4464" y="616"/>
                  <a:pt x="5654" y="0"/>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3" name="Free-form: Shape 43">
            <a:extLst>
              <a:ext uri="{FF2B5EF4-FFF2-40B4-BE49-F238E27FC236}">
                <a16:creationId xmlns:a16="http://schemas.microsoft.com/office/drawing/2014/main" id="{D6F6768A-0D7E-F3D0-0F32-636E70327047}"/>
              </a:ext>
            </a:extLst>
          </p:cNvPr>
          <p:cNvSpPr/>
          <p:nvPr/>
        </p:nvSpPr>
        <p:spPr>
          <a:xfrm>
            <a:off x="3257621" y="427883"/>
            <a:ext cx="7583" cy="5378"/>
          </a:xfrm>
          <a:custGeom>
            <a:avLst/>
            <a:gdLst>
              <a:gd name="connsiteX0" fmla="*/ 422 w 2395"/>
              <a:gd name="connsiteY0" fmla="*/ 959 h 5378"/>
              <a:gd name="connsiteX1" fmla="*/ 1060 w 2395"/>
              <a:gd name="connsiteY1" fmla="*/ 3 h 5378"/>
              <a:gd name="connsiteX2" fmla="*/ 2335 w 2395"/>
              <a:gd name="connsiteY2" fmla="*/ 1915 h 5378"/>
              <a:gd name="connsiteX3" fmla="*/ 1718 w 2395"/>
              <a:gd name="connsiteY3" fmla="*/ 5379 h 5378"/>
              <a:gd name="connsiteX4" fmla="*/ 422 w 2395"/>
              <a:gd name="connsiteY4" fmla="*/ 959 h 5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5" h="5378">
                <a:moveTo>
                  <a:pt x="422" y="959"/>
                </a:moveTo>
                <a:cubicBezTo>
                  <a:pt x="-555" y="449"/>
                  <a:pt x="380" y="-40"/>
                  <a:pt x="1060" y="3"/>
                </a:cubicBezTo>
                <a:cubicBezTo>
                  <a:pt x="1336" y="853"/>
                  <a:pt x="1612" y="1703"/>
                  <a:pt x="2335" y="1915"/>
                </a:cubicBezTo>
                <a:cubicBezTo>
                  <a:pt x="2526" y="4125"/>
                  <a:pt x="2250" y="4274"/>
                  <a:pt x="1718" y="5379"/>
                </a:cubicBezTo>
                <a:cubicBezTo>
                  <a:pt x="-576" y="4571"/>
                  <a:pt x="1846" y="1766"/>
                  <a:pt x="422" y="959"/>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4" name="Free-form: Shape 44">
            <a:extLst>
              <a:ext uri="{FF2B5EF4-FFF2-40B4-BE49-F238E27FC236}">
                <a16:creationId xmlns:a16="http://schemas.microsoft.com/office/drawing/2014/main" id="{B3F19CB4-57D8-2FCA-EF46-1B16FDBBA27B}"/>
              </a:ext>
            </a:extLst>
          </p:cNvPr>
          <p:cNvSpPr/>
          <p:nvPr/>
        </p:nvSpPr>
        <p:spPr>
          <a:xfrm>
            <a:off x="917602" y="515090"/>
            <a:ext cx="8071" cy="2769"/>
          </a:xfrm>
          <a:custGeom>
            <a:avLst/>
            <a:gdLst>
              <a:gd name="connsiteX0" fmla="*/ 1912 w 2549"/>
              <a:gd name="connsiteY0" fmla="*/ 2 h 2769"/>
              <a:gd name="connsiteX1" fmla="*/ 2550 w 2549"/>
              <a:gd name="connsiteY1" fmla="*/ 1914 h 2769"/>
              <a:gd name="connsiteX2" fmla="*/ 0 w 2549"/>
              <a:gd name="connsiteY2" fmla="*/ 1914 h 2769"/>
              <a:gd name="connsiteX3" fmla="*/ 1912 w 2549"/>
              <a:gd name="connsiteY3" fmla="*/ 2 h 2769"/>
            </a:gdLst>
            <a:ahLst/>
            <a:cxnLst>
              <a:cxn ang="0">
                <a:pos x="connsiteX0" y="connsiteY0"/>
              </a:cxn>
              <a:cxn ang="0">
                <a:pos x="connsiteX1" y="connsiteY1"/>
              </a:cxn>
              <a:cxn ang="0">
                <a:pos x="connsiteX2" y="connsiteY2"/>
              </a:cxn>
              <a:cxn ang="0">
                <a:pos x="connsiteX3" y="connsiteY3"/>
              </a:cxn>
            </a:cxnLst>
            <a:rect l="l" t="t" r="r" b="b"/>
            <a:pathLst>
              <a:path w="2549" h="2769">
                <a:moveTo>
                  <a:pt x="1912" y="2"/>
                </a:moveTo>
                <a:cubicBezTo>
                  <a:pt x="1806" y="1107"/>
                  <a:pt x="2061" y="1702"/>
                  <a:pt x="2550" y="1914"/>
                </a:cubicBezTo>
                <a:cubicBezTo>
                  <a:pt x="2401" y="4379"/>
                  <a:pt x="1445" y="597"/>
                  <a:pt x="0" y="1914"/>
                </a:cubicBezTo>
                <a:cubicBezTo>
                  <a:pt x="276" y="745"/>
                  <a:pt x="807" y="-41"/>
                  <a:pt x="1912" y="2"/>
                </a:cubicBezTo>
                <a:close/>
              </a:path>
            </a:pathLst>
          </a:custGeom>
          <a:gradFill>
            <a:gsLst>
              <a:gs pos="0">
                <a:srgbClr val="6CC9F3"/>
              </a:gs>
              <a:gs pos="80000">
                <a:schemeClr val="accent4"/>
              </a:gs>
            </a:gsLst>
            <a:lin ang="7631680" scaled="1"/>
          </a:gradFill>
          <a:ln w="7327" cap="flat">
            <a:noFill/>
            <a:prstDash val="solid"/>
            <a:miter/>
          </a:ln>
        </p:spPr>
        <p:txBody>
          <a:bodyPr rtlCol="0" anchor="ctr"/>
          <a:lstStyle/>
          <a:p>
            <a:endParaRPr lang="en-GB"/>
          </a:p>
        </p:txBody>
      </p:sp>
      <p:sp>
        <p:nvSpPr>
          <p:cNvPr id="27" name="TextBox 26">
            <a:extLst>
              <a:ext uri="{FF2B5EF4-FFF2-40B4-BE49-F238E27FC236}">
                <a16:creationId xmlns:a16="http://schemas.microsoft.com/office/drawing/2014/main" id="{C0685FF5-3F34-EA0D-25A3-D72D876694BF}"/>
              </a:ext>
            </a:extLst>
          </p:cNvPr>
          <p:cNvSpPr txBox="1"/>
          <p:nvPr/>
        </p:nvSpPr>
        <p:spPr>
          <a:xfrm>
            <a:off x="375958" y="763513"/>
            <a:ext cx="2499226" cy="707886"/>
          </a:xfrm>
          <a:prstGeom prst="rect">
            <a:avLst/>
          </a:prstGeom>
          <a:noFill/>
        </p:spPr>
        <p:txBody>
          <a:bodyPr wrap="square">
            <a:spAutoFit/>
          </a:bodyPr>
          <a:lstStyle/>
          <a:p>
            <a:r>
              <a:rPr lang="en-GB" sz="4000" b="1" spc="-150" dirty="0">
                <a:solidFill>
                  <a:schemeClr val="tx1"/>
                </a:solidFill>
              </a:rPr>
              <a:t>Making a</a:t>
            </a:r>
            <a:endParaRPr lang="en-GB" sz="4000" b="1" spc="-150" dirty="0">
              <a:solidFill>
                <a:schemeClr val="accent1"/>
              </a:solidFill>
            </a:endParaRPr>
          </a:p>
        </p:txBody>
      </p:sp>
      <p:sp>
        <p:nvSpPr>
          <p:cNvPr id="28" name="Title 4">
            <a:extLst>
              <a:ext uri="{FF2B5EF4-FFF2-40B4-BE49-F238E27FC236}">
                <a16:creationId xmlns:a16="http://schemas.microsoft.com/office/drawing/2014/main" id="{DE71F0AB-B092-6AC9-6FD3-7AB43A600E4A}"/>
              </a:ext>
            </a:extLst>
          </p:cNvPr>
          <p:cNvSpPr txBox="1">
            <a:spLocks/>
          </p:cNvSpPr>
          <p:nvPr/>
        </p:nvSpPr>
        <p:spPr>
          <a:xfrm>
            <a:off x="515936" y="1445247"/>
            <a:ext cx="2502471" cy="508094"/>
          </a:xfrm>
          <a:prstGeom prst="rect">
            <a:avLst/>
          </a:prstGeom>
          <a:noFill/>
        </p:spPr>
        <p:txBody>
          <a:bodyPr vert="horz" lIns="0" tIns="0" rIns="0" bIns="0" rtlCol="0" anchor="t">
            <a:noAutofit/>
          </a:bodyPr>
          <a:lstStyle>
            <a:lvl1pPr>
              <a:lnSpc>
                <a:spcPct val="60000"/>
              </a:lnSpc>
              <a:spcBef>
                <a:spcPct val="0"/>
              </a:spcBef>
              <a:buNone/>
              <a:defRPr sz="6600" b="0" spc="-150" baseline="0">
                <a:gradFill>
                  <a:gsLst>
                    <a:gs pos="0">
                      <a:schemeClr val="accent2"/>
                    </a:gs>
                    <a:gs pos="80000">
                      <a:schemeClr val="accent1"/>
                    </a:gs>
                  </a:gsLst>
                  <a:lin ang="4200000" scaled="0"/>
                </a:gradFill>
                <a:latin typeface="Blackened Script" pitchFamily="2" charset="0"/>
                <a:ea typeface="+mj-ea"/>
                <a:cs typeface="+mj-cs"/>
              </a:defRPr>
            </a:lvl1pPr>
          </a:lstStyle>
          <a:p>
            <a:r>
              <a:rPr lang="en-GB" dirty="0">
                <a:gradFill>
                  <a:gsLst>
                    <a:gs pos="0">
                      <a:srgbClr val="36B5AE"/>
                    </a:gs>
                    <a:gs pos="80000">
                      <a:srgbClr val="00A05A"/>
                    </a:gs>
                  </a:gsLst>
                  <a:lin ang="4200000" scaled="0"/>
                </a:gradFill>
              </a:rPr>
              <a:t>referral</a:t>
            </a:r>
          </a:p>
        </p:txBody>
      </p:sp>
      <p:pic>
        <p:nvPicPr>
          <p:cNvPr id="36" name="Picture 35">
            <a:extLst>
              <a:ext uri="{FF2B5EF4-FFF2-40B4-BE49-F238E27FC236}">
                <a16:creationId xmlns:a16="http://schemas.microsoft.com/office/drawing/2014/main" id="{D06DE4AC-924F-E219-32B0-1B2292B5079A}"/>
              </a:ext>
            </a:extLst>
          </p:cNvPr>
          <p:cNvPicPr>
            <a:picLocks noChangeAspect="1"/>
          </p:cNvPicPr>
          <p:nvPr/>
        </p:nvPicPr>
        <p:blipFill>
          <a:blip r:embed="rId5"/>
          <a:stretch>
            <a:fillRect/>
          </a:stretch>
        </p:blipFill>
        <p:spPr>
          <a:xfrm>
            <a:off x="7366995" y="3008885"/>
            <a:ext cx="1275381" cy="1363338"/>
          </a:xfrm>
          <a:prstGeom prst="rect">
            <a:avLst/>
          </a:prstGeom>
        </p:spPr>
      </p:pic>
      <p:pic>
        <p:nvPicPr>
          <p:cNvPr id="3" name="Picture 2">
            <a:extLst>
              <a:ext uri="{FF2B5EF4-FFF2-40B4-BE49-F238E27FC236}">
                <a16:creationId xmlns:a16="http://schemas.microsoft.com/office/drawing/2014/main" id="{4E542653-4186-64CB-85B1-21B7B1B5F970}"/>
              </a:ext>
            </a:extLst>
          </p:cNvPr>
          <p:cNvPicPr>
            <a:picLocks noChangeAspect="1"/>
          </p:cNvPicPr>
          <p:nvPr/>
        </p:nvPicPr>
        <p:blipFill>
          <a:blip r:embed="rId6"/>
          <a:stretch>
            <a:fillRect/>
          </a:stretch>
        </p:blipFill>
        <p:spPr>
          <a:xfrm>
            <a:off x="3664748" y="1904522"/>
            <a:ext cx="3679376" cy="3408834"/>
          </a:xfrm>
          <a:prstGeom prst="rect">
            <a:avLst/>
          </a:prstGeom>
        </p:spPr>
      </p:pic>
    </p:spTree>
    <p:extLst>
      <p:ext uri="{BB962C8B-B14F-4D97-AF65-F5344CB8AC3E}">
        <p14:creationId xmlns:p14="http://schemas.microsoft.com/office/powerpoint/2010/main" val="739490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75256-0D7A-9509-F0AF-C89BA288898E}"/>
              </a:ext>
            </a:extLst>
          </p:cNvPr>
          <p:cNvSpPr>
            <a:spLocks noGrp="1"/>
          </p:cNvSpPr>
          <p:nvPr>
            <p:ph type="title"/>
          </p:nvPr>
        </p:nvSpPr>
        <p:spPr/>
        <p:txBody>
          <a:bodyPr vert="horz" lIns="91440" tIns="45720" rIns="91440" bIns="45720" rtlCol="0" anchor="ctr">
            <a:normAutofit/>
          </a:bodyPr>
          <a:lstStyle/>
          <a:p>
            <a:pPr>
              <a:lnSpc>
                <a:spcPct val="90000"/>
              </a:lnSpc>
            </a:pPr>
            <a:r>
              <a:rPr lang="en-US" sz="3600" dirty="0"/>
              <a:t>More information </a:t>
            </a:r>
          </a:p>
        </p:txBody>
      </p:sp>
      <p:sp>
        <p:nvSpPr>
          <p:cNvPr id="4" name="Slide Number Placeholder 3">
            <a:extLst>
              <a:ext uri="{FF2B5EF4-FFF2-40B4-BE49-F238E27FC236}">
                <a16:creationId xmlns:a16="http://schemas.microsoft.com/office/drawing/2014/main" id="{513A885A-2A45-89AA-83F7-6AAABC629FF2}"/>
              </a:ext>
            </a:extLst>
          </p:cNvPr>
          <p:cNvSpPr>
            <a:spLocks noGrp="1"/>
          </p:cNvSpPr>
          <p:nvPr>
            <p:ph type="sldNum" sz="quarter" idx="11"/>
          </p:nvPr>
        </p:nvSpPr>
        <p:spPr/>
        <p:txBody>
          <a:bodyPr vert="horz" lIns="91440" tIns="45720" rIns="91440" bIns="45720" rtlCol="0" anchor="ctr">
            <a:normAutofit lnSpcReduction="10000"/>
          </a:bodyPr>
          <a:lstStyle/>
          <a:p>
            <a:pPr>
              <a:spcAft>
                <a:spcPts val="600"/>
              </a:spcAft>
              <a:defRPr/>
            </a:pPr>
            <a:fld id="{A8B7E462-AA7B-4427-9DF0-5AABDADAA92F}" type="slidenum">
              <a:rPr lang="en-US" sz="1200">
                <a:solidFill>
                  <a:schemeClr val="tx1">
                    <a:lumMod val="75000"/>
                    <a:lumOff val="25000"/>
                  </a:schemeClr>
                </a:solidFill>
                <a:latin typeface="Calibri" panose="020F0502020204030204"/>
              </a:rPr>
              <a:pPr>
                <a:spcAft>
                  <a:spcPts val="600"/>
                </a:spcAft>
                <a:defRPr/>
              </a:pPr>
              <a:t>16</a:t>
            </a:fld>
            <a:endParaRPr lang="en-US" sz="1200">
              <a:solidFill>
                <a:schemeClr val="tx1">
                  <a:lumMod val="75000"/>
                  <a:lumOff val="25000"/>
                </a:schemeClr>
              </a:solidFill>
              <a:latin typeface="Calibri" panose="020F0502020204030204"/>
            </a:endParaRPr>
          </a:p>
        </p:txBody>
      </p:sp>
      <p:sp>
        <p:nvSpPr>
          <p:cNvPr id="6" name="Content Placeholder 5">
            <a:extLst>
              <a:ext uri="{FF2B5EF4-FFF2-40B4-BE49-F238E27FC236}">
                <a16:creationId xmlns:a16="http://schemas.microsoft.com/office/drawing/2014/main" id="{6518DB79-D56F-72E6-4FB2-48D9E898DCF9}"/>
              </a:ext>
            </a:extLst>
          </p:cNvPr>
          <p:cNvSpPr>
            <a:spLocks noGrp="1"/>
          </p:cNvSpPr>
          <p:nvPr>
            <p:ph type="body" sz="quarter" idx="12"/>
          </p:nvPr>
        </p:nvSpPr>
        <p:spPr>
          <a:xfrm>
            <a:off x="515938" y="1686561"/>
            <a:ext cx="5973762" cy="3856989"/>
          </a:xfrm>
        </p:spPr>
        <p:txBody>
          <a:bodyPr vert="horz" lIns="91440" tIns="45720" rIns="91440" bIns="45720" rtlCol="0" anchor="ctr">
            <a:normAutofit/>
          </a:bodyPr>
          <a:lstStyle/>
          <a:p>
            <a:pPr marL="342900" indent="-285750">
              <a:lnSpc>
                <a:spcPct val="90000"/>
              </a:lnSpc>
              <a:buFont typeface="Arial" panose="020B0604020202020204" pitchFamily="34" charset="0"/>
              <a:buChar char="•"/>
            </a:pPr>
            <a:r>
              <a:rPr lang="en-GB" sz="1800" b="1" dirty="0">
                <a:solidFill>
                  <a:schemeClr val="tx1"/>
                </a:solidFill>
              </a:rPr>
              <a:t>Check our website </a:t>
            </a:r>
          </a:p>
          <a:p>
            <a:pPr marL="57150">
              <a:lnSpc>
                <a:spcPct val="90000"/>
              </a:lnSpc>
            </a:pPr>
            <a:r>
              <a:rPr lang="en-GB" sz="1800" dirty="0">
                <a:solidFill>
                  <a:schemeClr val="tx1"/>
                </a:solidFill>
              </a:rPr>
              <a:t>Visit www.cadentgas.com/theft-of-gas or visit the Stay Energy Safe website </a:t>
            </a:r>
            <a:r>
              <a:rPr lang="en-GB" sz="1800" dirty="0">
                <a:solidFill>
                  <a:schemeClr val="tx1"/>
                </a:solidFill>
                <a:hlinkClick r:id="rId3"/>
              </a:rPr>
              <a:t>www.stayenergysafe.co.uk</a:t>
            </a:r>
            <a:r>
              <a:rPr lang="en-GB" sz="1800" dirty="0">
                <a:solidFill>
                  <a:schemeClr val="tx1"/>
                </a:solidFill>
              </a:rPr>
              <a:t> for more information and reporting</a:t>
            </a:r>
            <a:endParaRPr lang="en-GB" sz="1800" dirty="0">
              <a:solidFill>
                <a:schemeClr val="tx1"/>
              </a:solidFill>
              <a:hlinkClick r:id="rId4">
                <a:extLst>
                  <a:ext uri="{A12FA001-AC4F-418D-AE19-62706E023703}">
                    <ahyp:hlinkClr xmlns:ahyp="http://schemas.microsoft.com/office/drawing/2018/hyperlinkcolor" val="tx"/>
                  </a:ext>
                </a:extLst>
              </a:hlinkClick>
            </a:endParaRPr>
          </a:p>
          <a:p>
            <a:pPr marL="342900" indent="-285750">
              <a:lnSpc>
                <a:spcPct val="90000"/>
              </a:lnSpc>
              <a:buFont typeface="Arial" panose="020B0604020202020204" pitchFamily="34" charset="0"/>
              <a:buChar char="•"/>
            </a:pPr>
            <a:r>
              <a:rPr lang="en-US" sz="1800" b="1" dirty="0">
                <a:solidFill>
                  <a:schemeClr val="tx1"/>
                </a:solidFill>
              </a:rPr>
              <a:t>Leaflets and posters</a:t>
            </a:r>
            <a:endParaRPr lang="en-US" sz="1800" dirty="0">
              <a:solidFill>
                <a:schemeClr val="tx1"/>
              </a:solidFill>
            </a:endParaRPr>
          </a:p>
          <a:p>
            <a:pPr marL="57150">
              <a:lnSpc>
                <a:spcPct val="90000"/>
              </a:lnSpc>
            </a:pPr>
            <a:r>
              <a:rPr lang="en-US" sz="1800" b="0" dirty="0">
                <a:solidFill>
                  <a:schemeClr val="tx1"/>
                </a:solidFill>
              </a:rPr>
              <a:t>Supporting information is available for you and to display in community </a:t>
            </a:r>
            <a:r>
              <a:rPr lang="en-US" sz="1800" b="0" dirty="0" err="1">
                <a:solidFill>
                  <a:schemeClr val="tx1"/>
                </a:solidFill>
              </a:rPr>
              <a:t>centres</a:t>
            </a:r>
            <a:r>
              <a:rPr lang="en-US" sz="1800" b="0" dirty="0">
                <a:solidFill>
                  <a:schemeClr val="tx1"/>
                </a:solidFill>
              </a:rPr>
              <a:t> and offices.   </a:t>
            </a:r>
          </a:p>
          <a:p>
            <a:pPr marL="285750" indent="-228600">
              <a:lnSpc>
                <a:spcPct val="90000"/>
              </a:lnSpc>
              <a:buFont typeface="Arial" panose="020B0604020202020204" pitchFamily="34" charset="0"/>
              <a:buChar char="•"/>
            </a:pPr>
            <a:r>
              <a:rPr lang="en-US" sz="1800" b="1" dirty="0">
                <a:solidFill>
                  <a:schemeClr val="tx1"/>
                </a:solidFill>
              </a:rPr>
              <a:t>Any questions?</a:t>
            </a:r>
            <a:endParaRPr lang="en-US" sz="1800" dirty="0">
              <a:solidFill>
                <a:schemeClr val="tx1"/>
              </a:solidFill>
            </a:endParaRPr>
          </a:p>
          <a:p>
            <a:pPr indent="-228600">
              <a:lnSpc>
                <a:spcPct val="90000"/>
              </a:lnSpc>
              <a:buFont typeface="Arial" panose="020B0604020202020204" pitchFamily="34" charset="0"/>
              <a:buChar char="•"/>
            </a:pPr>
            <a:endParaRPr lang="en-US" sz="1500" dirty="0">
              <a:solidFill>
                <a:schemeClr val="tx1"/>
              </a:solidFill>
            </a:endParaRPr>
          </a:p>
        </p:txBody>
      </p:sp>
    </p:spTree>
    <p:extLst>
      <p:ext uri="{BB962C8B-B14F-4D97-AF65-F5344CB8AC3E}">
        <p14:creationId xmlns:p14="http://schemas.microsoft.com/office/powerpoint/2010/main" val="86741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B9D04-8483-5652-E129-E033CA18F0F3}"/>
              </a:ext>
            </a:extLst>
          </p:cNvPr>
          <p:cNvSpPr>
            <a:spLocks noGrp="1"/>
          </p:cNvSpPr>
          <p:nvPr>
            <p:ph type="title"/>
          </p:nvPr>
        </p:nvSpPr>
        <p:spPr>
          <a:xfrm>
            <a:off x="305788" y="567745"/>
            <a:ext cx="11160125" cy="849312"/>
          </a:xfrm>
        </p:spPr>
        <p:txBody>
          <a:bodyPr/>
          <a:lstStyle/>
          <a:p>
            <a:r>
              <a:rPr lang="en-GB" dirty="0"/>
              <a:t>Energy theft is on the rise…</a:t>
            </a:r>
          </a:p>
        </p:txBody>
      </p:sp>
      <p:sp>
        <p:nvSpPr>
          <p:cNvPr id="5" name="Slide Number Placeholder 4">
            <a:extLst>
              <a:ext uri="{FF2B5EF4-FFF2-40B4-BE49-F238E27FC236}">
                <a16:creationId xmlns:a16="http://schemas.microsoft.com/office/drawing/2014/main" id="{93A52958-E119-F673-57C3-099955A9D04B}"/>
              </a:ext>
            </a:extLst>
          </p:cNvPr>
          <p:cNvSpPr>
            <a:spLocks noGrp="1"/>
          </p:cNvSpPr>
          <p:nvPr>
            <p:ph type="sldNum" sz="quarter" idx="11"/>
          </p:nvPr>
        </p:nvSpPr>
        <p:spPr/>
        <p:txBody>
          <a:bodyPr/>
          <a:lstStyle/>
          <a:p>
            <a:fld id="{A8B7E462-AA7B-4427-9DF0-5AABDADAA92F}" type="slidenum">
              <a:rPr lang="en-GB" smtClean="0"/>
              <a:t>2</a:t>
            </a:fld>
            <a:endParaRPr lang="en-GB"/>
          </a:p>
        </p:txBody>
      </p:sp>
      <p:sp>
        <p:nvSpPr>
          <p:cNvPr id="3" name="Content Placeholder 2">
            <a:extLst>
              <a:ext uri="{FF2B5EF4-FFF2-40B4-BE49-F238E27FC236}">
                <a16:creationId xmlns:a16="http://schemas.microsoft.com/office/drawing/2014/main" id="{7CFD782A-777C-E3B9-5545-34D5C82E5FCF}"/>
              </a:ext>
            </a:extLst>
          </p:cNvPr>
          <p:cNvSpPr>
            <a:spLocks noGrp="1"/>
          </p:cNvSpPr>
          <p:nvPr>
            <p:ph type="body" sz="quarter" idx="13"/>
          </p:nvPr>
        </p:nvSpPr>
        <p:spPr>
          <a:xfrm>
            <a:off x="548641" y="2027504"/>
            <a:ext cx="3893574" cy="4043094"/>
          </a:xfrm>
        </p:spPr>
        <p:txBody>
          <a:bodyPr>
            <a:normAutofit/>
          </a:bodyPr>
          <a:lstStyle/>
          <a:p>
            <a:pPr>
              <a:lnSpc>
                <a:spcPct val="107000"/>
              </a:lnSpc>
              <a:spcAft>
                <a:spcPts val="80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EBF7E589-AE8E-372D-6D63-55A06EC753AB}"/>
              </a:ext>
            </a:extLst>
          </p:cNvPr>
          <p:cNvPicPr>
            <a:picLocks noChangeAspect="1"/>
          </p:cNvPicPr>
          <p:nvPr/>
        </p:nvPicPr>
        <p:blipFill>
          <a:blip r:embed="rId3"/>
          <a:stretch>
            <a:fillRect/>
          </a:stretch>
        </p:blipFill>
        <p:spPr>
          <a:xfrm>
            <a:off x="975742" y="2410511"/>
            <a:ext cx="2990908" cy="3083342"/>
          </a:xfrm>
          <a:prstGeom prst="rect">
            <a:avLst/>
          </a:prstGeom>
        </p:spPr>
      </p:pic>
      <p:pic>
        <p:nvPicPr>
          <p:cNvPr id="27" name="Picture 26">
            <a:extLst>
              <a:ext uri="{FF2B5EF4-FFF2-40B4-BE49-F238E27FC236}">
                <a16:creationId xmlns:a16="http://schemas.microsoft.com/office/drawing/2014/main" id="{A595004A-A01F-40D9-81F9-0426B0044088}"/>
              </a:ext>
            </a:extLst>
          </p:cNvPr>
          <p:cNvPicPr>
            <a:picLocks noChangeAspect="1"/>
          </p:cNvPicPr>
          <p:nvPr/>
        </p:nvPicPr>
        <p:blipFill>
          <a:blip r:embed="rId4"/>
          <a:stretch>
            <a:fillRect/>
          </a:stretch>
        </p:blipFill>
        <p:spPr>
          <a:xfrm>
            <a:off x="5360937" y="2500982"/>
            <a:ext cx="1075157" cy="464144"/>
          </a:xfrm>
          <a:prstGeom prst="rect">
            <a:avLst/>
          </a:prstGeom>
        </p:spPr>
      </p:pic>
      <p:pic>
        <p:nvPicPr>
          <p:cNvPr id="1026" name="Picture 2" descr="Gas Safe Register - Wikipedia">
            <a:extLst>
              <a:ext uri="{FF2B5EF4-FFF2-40B4-BE49-F238E27FC236}">
                <a16:creationId xmlns:a16="http://schemas.microsoft.com/office/drawing/2014/main" id="{7FC760BC-2478-0AB6-0242-1332409B15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36768" y="5493853"/>
            <a:ext cx="666922" cy="71534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5888C7C9-5582-E23E-D55A-78FCDBB8D467}"/>
              </a:ext>
            </a:extLst>
          </p:cNvPr>
          <p:cNvSpPr txBox="1"/>
          <p:nvPr/>
        </p:nvSpPr>
        <p:spPr>
          <a:xfrm>
            <a:off x="7178992" y="2565437"/>
            <a:ext cx="3893574" cy="1533305"/>
          </a:xfrm>
          <a:prstGeom prst="rect">
            <a:avLst/>
          </a:prstGeom>
          <a:noFill/>
        </p:spPr>
        <p:txBody>
          <a:bodyPr wrap="square">
            <a:spAutoFit/>
          </a:bodyPr>
          <a:lstStyle/>
          <a:p>
            <a:r>
              <a:rPr lang="en-GB" sz="1800" dirty="0"/>
              <a:t>Energy theft is an increasing issue.</a:t>
            </a:r>
          </a:p>
          <a:p>
            <a:pPr>
              <a:lnSpc>
                <a:spcPct val="107000"/>
              </a:lnSpc>
              <a:spcAft>
                <a:spcPts val="80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The cost-of-living crisis has potentially increased the risk of energy theft and illegal connections in homes and business properties.</a:t>
            </a:r>
          </a:p>
        </p:txBody>
      </p:sp>
      <p:pic>
        <p:nvPicPr>
          <p:cNvPr id="15" name="Picture 14">
            <a:extLst>
              <a:ext uri="{FF2B5EF4-FFF2-40B4-BE49-F238E27FC236}">
                <a16:creationId xmlns:a16="http://schemas.microsoft.com/office/drawing/2014/main" id="{F2434621-7F6C-B7E8-D83B-F07B774BC187}"/>
              </a:ext>
            </a:extLst>
          </p:cNvPr>
          <p:cNvPicPr>
            <a:picLocks noChangeAspect="1"/>
          </p:cNvPicPr>
          <p:nvPr/>
        </p:nvPicPr>
        <p:blipFill>
          <a:blip r:embed="rId6"/>
          <a:stretch>
            <a:fillRect/>
          </a:stretch>
        </p:blipFill>
        <p:spPr>
          <a:xfrm>
            <a:off x="9430757" y="4817225"/>
            <a:ext cx="1349257" cy="501708"/>
          </a:xfrm>
          <a:prstGeom prst="rect">
            <a:avLst/>
          </a:prstGeom>
        </p:spPr>
      </p:pic>
      <p:pic>
        <p:nvPicPr>
          <p:cNvPr id="16" name="Picture 15">
            <a:extLst>
              <a:ext uri="{FF2B5EF4-FFF2-40B4-BE49-F238E27FC236}">
                <a16:creationId xmlns:a16="http://schemas.microsoft.com/office/drawing/2014/main" id="{0C1F8727-8782-E2BC-983E-1F64E4175C2C}"/>
              </a:ext>
            </a:extLst>
          </p:cNvPr>
          <p:cNvPicPr>
            <a:picLocks noChangeAspect="1"/>
          </p:cNvPicPr>
          <p:nvPr/>
        </p:nvPicPr>
        <p:blipFill>
          <a:blip r:embed="rId7"/>
          <a:stretch>
            <a:fillRect/>
          </a:stretch>
        </p:blipFill>
        <p:spPr>
          <a:xfrm>
            <a:off x="7444519" y="4736939"/>
            <a:ext cx="1118350" cy="618464"/>
          </a:xfrm>
          <a:prstGeom prst="rect">
            <a:avLst/>
          </a:prstGeom>
        </p:spPr>
      </p:pic>
      <p:pic>
        <p:nvPicPr>
          <p:cNvPr id="17" name="Picture 16">
            <a:extLst>
              <a:ext uri="{FF2B5EF4-FFF2-40B4-BE49-F238E27FC236}">
                <a16:creationId xmlns:a16="http://schemas.microsoft.com/office/drawing/2014/main" id="{2B16C63C-A1C9-4DD5-81BD-3B2C36CDA1D7}"/>
              </a:ext>
            </a:extLst>
          </p:cNvPr>
          <p:cNvPicPr>
            <a:picLocks noChangeAspect="1"/>
          </p:cNvPicPr>
          <p:nvPr/>
        </p:nvPicPr>
        <p:blipFill rotWithShape="1">
          <a:blip r:embed="rId8"/>
          <a:srcRect t="13054" b="21543"/>
          <a:stretch/>
        </p:blipFill>
        <p:spPr>
          <a:xfrm>
            <a:off x="5148806" y="4603460"/>
            <a:ext cx="1557818" cy="715473"/>
          </a:xfrm>
          <a:prstGeom prst="rect">
            <a:avLst/>
          </a:prstGeom>
        </p:spPr>
      </p:pic>
      <p:pic>
        <p:nvPicPr>
          <p:cNvPr id="18" name="Picture 17">
            <a:extLst>
              <a:ext uri="{FF2B5EF4-FFF2-40B4-BE49-F238E27FC236}">
                <a16:creationId xmlns:a16="http://schemas.microsoft.com/office/drawing/2014/main" id="{073F0438-B9FC-4AF3-9F53-3647C83D94FD}"/>
              </a:ext>
            </a:extLst>
          </p:cNvPr>
          <p:cNvPicPr>
            <a:picLocks noChangeAspect="1"/>
          </p:cNvPicPr>
          <p:nvPr/>
        </p:nvPicPr>
        <p:blipFill>
          <a:blip r:embed="rId9"/>
          <a:stretch>
            <a:fillRect/>
          </a:stretch>
        </p:blipFill>
        <p:spPr>
          <a:xfrm>
            <a:off x="5345077" y="3594757"/>
            <a:ext cx="1039733" cy="454294"/>
          </a:xfrm>
          <a:prstGeom prst="rect">
            <a:avLst/>
          </a:prstGeom>
        </p:spPr>
      </p:pic>
    </p:spTree>
    <p:extLst>
      <p:ext uri="{BB962C8B-B14F-4D97-AF65-F5344CB8AC3E}">
        <p14:creationId xmlns:p14="http://schemas.microsoft.com/office/powerpoint/2010/main" val="232105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103F1E1-F9CE-C788-14DB-0520EBC802EB}"/>
              </a:ext>
            </a:extLst>
          </p:cNvPr>
          <p:cNvSpPr>
            <a:spLocks noGrp="1"/>
          </p:cNvSpPr>
          <p:nvPr>
            <p:ph type="title"/>
          </p:nvPr>
        </p:nvSpPr>
        <p:spPr/>
        <p:txBody>
          <a:bodyPr/>
          <a:lstStyle/>
          <a:p>
            <a:r>
              <a:rPr lang="en-GB" dirty="0"/>
              <a:t>Have you ever come across gas theft or meter tampering?</a:t>
            </a:r>
            <a:br>
              <a:rPr lang="en-GB" dirty="0"/>
            </a:br>
            <a:br>
              <a:rPr lang="en-GB" dirty="0"/>
            </a:br>
            <a:r>
              <a:rPr lang="en-GB" dirty="0"/>
              <a:t>Do you know what it is?</a:t>
            </a:r>
          </a:p>
        </p:txBody>
      </p:sp>
      <p:sp>
        <p:nvSpPr>
          <p:cNvPr id="4" name="Footer Placeholder 3">
            <a:extLst>
              <a:ext uri="{FF2B5EF4-FFF2-40B4-BE49-F238E27FC236}">
                <a16:creationId xmlns:a16="http://schemas.microsoft.com/office/drawing/2014/main" id="{62302A18-152E-8375-2729-C34396A5F03D}"/>
              </a:ext>
            </a:extLst>
          </p:cNvPr>
          <p:cNvSpPr>
            <a:spLocks noGrp="1"/>
          </p:cNvSpPr>
          <p:nvPr>
            <p:ph type="ftr" sz="quarter" idx="11"/>
          </p:nvPr>
        </p:nvSpPr>
        <p:spPr/>
        <p:txBody>
          <a:bodyPr/>
          <a:lstStyle/>
          <a:p>
            <a:r>
              <a:rPr lang="en-US" dirty="0"/>
              <a:t>Quick poll</a:t>
            </a:r>
            <a:endParaRPr lang="en-GB" dirty="0"/>
          </a:p>
        </p:txBody>
      </p:sp>
      <p:sp>
        <p:nvSpPr>
          <p:cNvPr id="7" name="Picture Placeholder 6">
            <a:extLst>
              <a:ext uri="{FF2B5EF4-FFF2-40B4-BE49-F238E27FC236}">
                <a16:creationId xmlns:a16="http://schemas.microsoft.com/office/drawing/2014/main" id="{C102EAC4-B9D7-2658-7EA1-B5C1F3380CB8}"/>
              </a:ext>
            </a:extLst>
          </p:cNvPr>
          <p:cNvSpPr>
            <a:spLocks noGrp="1"/>
          </p:cNvSpPr>
          <p:nvPr>
            <p:ph type="pic" sz="quarter" idx="13"/>
          </p:nvPr>
        </p:nvSpPr>
        <p:spPr/>
        <p:txBody>
          <a:bodyPr/>
          <a:lstStyle/>
          <a:p>
            <a:r>
              <a:rPr lang="en-GB" dirty="0"/>
              <a:t>Poll </a:t>
            </a:r>
          </a:p>
        </p:txBody>
      </p:sp>
    </p:spTree>
    <p:extLst>
      <p:ext uri="{BB962C8B-B14F-4D97-AF65-F5344CB8AC3E}">
        <p14:creationId xmlns:p14="http://schemas.microsoft.com/office/powerpoint/2010/main" val="14081907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A6AF63-C860-E9D7-AD64-73EB52CB88CC}"/>
              </a:ext>
            </a:extLst>
          </p:cNvPr>
          <p:cNvSpPr>
            <a:spLocks noGrp="1"/>
          </p:cNvSpPr>
          <p:nvPr>
            <p:ph type="title"/>
          </p:nvPr>
        </p:nvSpPr>
        <p:spPr/>
        <p:txBody>
          <a:bodyPr/>
          <a:lstStyle/>
          <a:p>
            <a:r>
              <a:rPr lang="en-GB" dirty="0"/>
              <a:t>Do you know what a gas meter looks like? </a:t>
            </a:r>
          </a:p>
        </p:txBody>
      </p:sp>
      <p:sp>
        <p:nvSpPr>
          <p:cNvPr id="4" name="Slide Number Placeholder 3">
            <a:extLst>
              <a:ext uri="{FF2B5EF4-FFF2-40B4-BE49-F238E27FC236}">
                <a16:creationId xmlns:a16="http://schemas.microsoft.com/office/drawing/2014/main" id="{F6065395-5EBA-2CD3-4970-685271DFED42}"/>
              </a:ext>
            </a:extLst>
          </p:cNvPr>
          <p:cNvSpPr>
            <a:spLocks noGrp="1"/>
          </p:cNvSpPr>
          <p:nvPr>
            <p:ph type="sldNum" sz="quarter" idx="11"/>
          </p:nvPr>
        </p:nvSpPr>
        <p:spPr/>
        <p:txBody>
          <a:bodyPr/>
          <a:lstStyle/>
          <a:p>
            <a:fld id="{A8B7E462-AA7B-4427-9DF0-5AABDADAA92F}" type="slidenum">
              <a:rPr lang="en-GB" smtClean="0"/>
              <a:pPr/>
              <a:t>4</a:t>
            </a:fld>
            <a:endParaRPr lang="en-GB" dirty="0"/>
          </a:p>
        </p:txBody>
      </p:sp>
      <p:sp>
        <p:nvSpPr>
          <p:cNvPr id="5" name="Text Placeholder 4">
            <a:extLst>
              <a:ext uri="{FF2B5EF4-FFF2-40B4-BE49-F238E27FC236}">
                <a16:creationId xmlns:a16="http://schemas.microsoft.com/office/drawing/2014/main" id="{5226AC79-9AE7-C850-7E07-BC3DE8FAD8EE}"/>
              </a:ext>
            </a:extLst>
          </p:cNvPr>
          <p:cNvSpPr>
            <a:spLocks noGrp="1"/>
          </p:cNvSpPr>
          <p:nvPr>
            <p:ph type="body" sz="quarter" idx="13"/>
          </p:nvPr>
        </p:nvSpPr>
        <p:spPr/>
        <p:txBody>
          <a:bodyPr/>
          <a:lstStyle/>
          <a:p>
            <a:r>
              <a:rPr lang="en-GB" dirty="0"/>
              <a:t>Gas meters are found inside and outside homes, normally in boxes. There are various types of meter, but they will look something like this. </a:t>
            </a:r>
          </a:p>
          <a:p>
            <a:r>
              <a:rPr lang="en-GB" dirty="0"/>
              <a:t>Do you know where your meter is at home? </a:t>
            </a:r>
          </a:p>
        </p:txBody>
      </p:sp>
      <p:pic>
        <p:nvPicPr>
          <p:cNvPr id="8" name="Picture 7">
            <a:extLst>
              <a:ext uri="{FF2B5EF4-FFF2-40B4-BE49-F238E27FC236}">
                <a16:creationId xmlns:a16="http://schemas.microsoft.com/office/drawing/2014/main" id="{1C811CF1-D402-C9E8-593E-A40A8EE39B8B}"/>
              </a:ext>
            </a:extLst>
          </p:cNvPr>
          <p:cNvPicPr>
            <a:picLocks noChangeAspect="1"/>
          </p:cNvPicPr>
          <p:nvPr/>
        </p:nvPicPr>
        <p:blipFill>
          <a:blip r:embed="rId3"/>
          <a:stretch>
            <a:fillRect/>
          </a:stretch>
        </p:blipFill>
        <p:spPr>
          <a:xfrm>
            <a:off x="5741106" y="2060574"/>
            <a:ext cx="4622096" cy="3682767"/>
          </a:xfrm>
          <a:prstGeom prst="rect">
            <a:avLst/>
          </a:prstGeom>
        </p:spPr>
      </p:pic>
    </p:spTree>
    <p:extLst>
      <p:ext uri="{BB962C8B-B14F-4D97-AF65-F5344CB8AC3E}">
        <p14:creationId xmlns:p14="http://schemas.microsoft.com/office/powerpoint/2010/main" val="369287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D9A52938-DBE8-710C-C6AF-00CE98BAA0EB}"/>
              </a:ext>
            </a:extLst>
          </p:cNvPr>
          <p:cNvSpPr>
            <a:spLocks noGrp="1"/>
          </p:cNvSpPr>
          <p:nvPr>
            <p:ph type="title"/>
          </p:nvPr>
        </p:nvSpPr>
        <p:spPr>
          <a:xfrm>
            <a:off x="309067" y="375999"/>
            <a:ext cx="7955756" cy="432245"/>
          </a:xfrm>
        </p:spPr>
        <p:txBody>
          <a:bodyPr anchor="t">
            <a:normAutofit/>
          </a:bodyPr>
          <a:lstStyle/>
          <a:p>
            <a:r>
              <a:rPr lang="en-GB" dirty="0"/>
              <a:t>Gas theft examples</a:t>
            </a:r>
          </a:p>
        </p:txBody>
      </p:sp>
      <p:sp>
        <p:nvSpPr>
          <p:cNvPr id="6" name="Slide Number Placeholder 5">
            <a:extLst>
              <a:ext uri="{FF2B5EF4-FFF2-40B4-BE49-F238E27FC236}">
                <a16:creationId xmlns:a16="http://schemas.microsoft.com/office/drawing/2014/main" id="{88CBFC35-FD29-7AA5-0434-A7AF86F50323}"/>
              </a:ext>
            </a:extLst>
          </p:cNvPr>
          <p:cNvSpPr>
            <a:spLocks noGrp="1"/>
          </p:cNvSpPr>
          <p:nvPr>
            <p:ph type="sldNum" sz="quarter" idx="12"/>
          </p:nvPr>
        </p:nvSpPr>
        <p:spPr>
          <a:xfrm>
            <a:off x="11353800" y="6372225"/>
            <a:ext cx="535781" cy="273051"/>
          </a:xfrm>
        </p:spPr>
        <p:txBody>
          <a:bodyPr anchor="b">
            <a:normAutofit/>
          </a:bodyPr>
          <a:lstStyle/>
          <a:p>
            <a:pPr>
              <a:spcAft>
                <a:spcPts val="600"/>
              </a:spcAft>
            </a:pPr>
            <a:fld id="{A8B7E462-AA7B-4427-9DF0-5AABDADAA92F}" type="slidenum">
              <a:rPr lang="en-GB" smtClean="0"/>
              <a:pPr>
                <a:spcAft>
                  <a:spcPts val="600"/>
                </a:spcAft>
              </a:pPr>
              <a:t>5</a:t>
            </a:fld>
            <a:endParaRPr lang="en-GB"/>
          </a:p>
        </p:txBody>
      </p:sp>
      <p:pic>
        <p:nvPicPr>
          <p:cNvPr id="10" name="Picture 9">
            <a:extLst>
              <a:ext uri="{FF2B5EF4-FFF2-40B4-BE49-F238E27FC236}">
                <a16:creationId xmlns:a16="http://schemas.microsoft.com/office/drawing/2014/main" id="{EF1604A2-C835-DFCE-3C5F-C1F450BAC6CF}"/>
              </a:ext>
            </a:extLst>
          </p:cNvPr>
          <p:cNvPicPr>
            <a:picLocks noChangeAspect="1"/>
          </p:cNvPicPr>
          <p:nvPr/>
        </p:nvPicPr>
        <p:blipFill>
          <a:blip r:embed="rId3"/>
          <a:stretch>
            <a:fillRect/>
          </a:stretch>
        </p:blipFill>
        <p:spPr>
          <a:xfrm>
            <a:off x="734417" y="1598049"/>
            <a:ext cx="4352925" cy="2171700"/>
          </a:xfrm>
          <a:prstGeom prst="rect">
            <a:avLst/>
          </a:prstGeom>
        </p:spPr>
      </p:pic>
      <p:sp>
        <p:nvSpPr>
          <p:cNvPr id="11" name="TextBox 10">
            <a:extLst>
              <a:ext uri="{FF2B5EF4-FFF2-40B4-BE49-F238E27FC236}">
                <a16:creationId xmlns:a16="http://schemas.microsoft.com/office/drawing/2014/main" id="{CFF46B6A-9EAD-ED5F-CBAD-330918132D88}"/>
              </a:ext>
            </a:extLst>
          </p:cNvPr>
          <p:cNvSpPr txBox="1"/>
          <p:nvPr/>
        </p:nvSpPr>
        <p:spPr>
          <a:xfrm>
            <a:off x="482005" y="1582568"/>
            <a:ext cx="287337" cy="369332"/>
          </a:xfrm>
          <a:prstGeom prst="rect">
            <a:avLst/>
          </a:prstGeom>
          <a:noFill/>
        </p:spPr>
        <p:txBody>
          <a:bodyPr wrap="square" rtlCol="0">
            <a:spAutoFit/>
          </a:bodyPr>
          <a:lstStyle/>
          <a:p>
            <a:r>
              <a:rPr lang="en-GB" dirty="0"/>
              <a:t>1</a:t>
            </a:r>
          </a:p>
        </p:txBody>
      </p:sp>
      <p:pic>
        <p:nvPicPr>
          <p:cNvPr id="13" name="Picture 12">
            <a:extLst>
              <a:ext uri="{FF2B5EF4-FFF2-40B4-BE49-F238E27FC236}">
                <a16:creationId xmlns:a16="http://schemas.microsoft.com/office/drawing/2014/main" id="{71565D3F-9A4D-C2ED-7BAB-5108FD9B4BD2}"/>
              </a:ext>
            </a:extLst>
          </p:cNvPr>
          <p:cNvPicPr>
            <a:picLocks noChangeAspect="1"/>
          </p:cNvPicPr>
          <p:nvPr/>
        </p:nvPicPr>
        <p:blipFill>
          <a:blip r:embed="rId4"/>
          <a:stretch>
            <a:fillRect/>
          </a:stretch>
        </p:blipFill>
        <p:spPr>
          <a:xfrm>
            <a:off x="5777706" y="1598049"/>
            <a:ext cx="2047875" cy="2100385"/>
          </a:xfrm>
          <a:prstGeom prst="rect">
            <a:avLst/>
          </a:prstGeom>
        </p:spPr>
      </p:pic>
      <p:sp>
        <p:nvSpPr>
          <p:cNvPr id="14" name="TextBox 13">
            <a:extLst>
              <a:ext uri="{FF2B5EF4-FFF2-40B4-BE49-F238E27FC236}">
                <a16:creationId xmlns:a16="http://schemas.microsoft.com/office/drawing/2014/main" id="{42BBE87B-6289-E739-C6A8-9353BFC5243B}"/>
              </a:ext>
            </a:extLst>
          </p:cNvPr>
          <p:cNvSpPr txBox="1"/>
          <p:nvPr/>
        </p:nvSpPr>
        <p:spPr>
          <a:xfrm>
            <a:off x="5433814" y="1539235"/>
            <a:ext cx="287337" cy="369332"/>
          </a:xfrm>
          <a:prstGeom prst="rect">
            <a:avLst/>
          </a:prstGeom>
          <a:noFill/>
        </p:spPr>
        <p:txBody>
          <a:bodyPr wrap="square" rtlCol="0">
            <a:spAutoFit/>
          </a:bodyPr>
          <a:lstStyle/>
          <a:p>
            <a:r>
              <a:rPr lang="en-GB" dirty="0"/>
              <a:t>2</a:t>
            </a:r>
          </a:p>
        </p:txBody>
      </p:sp>
      <p:pic>
        <p:nvPicPr>
          <p:cNvPr id="19" name="Picture 18">
            <a:extLst>
              <a:ext uri="{FF2B5EF4-FFF2-40B4-BE49-F238E27FC236}">
                <a16:creationId xmlns:a16="http://schemas.microsoft.com/office/drawing/2014/main" id="{999A21B3-3600-3D38-20D1-49BE7A2FDC84}"/>
              </a:ext>
            </a:extLst>
          </p:cNvPr>
          <p:cNvPicPr>
            <a:picLocks noChangeAspect="1"/>
          </p:cNvPicPr>
          <p:nvPr/>
        </p:nvPicPr>
        <p:blipFill>
          <a:blip r:embed="rId5"/>
          <a:stretch>
            <a:fillRect/>
          </a:stretch>
        </p:blipFill>
        <p:spPr>
          <a:xfrm>
            <a:off x="8372872" y="1539235"/>
            <a:ext cx="2047875" cy="2098649"/>
          </a:xfrm>
          <a:prstGeom prst="rect">
            <a:avLst/>
          </a:prstGeom>
        </p:spPr>
      </p:pic>
      <p:sp>
        <p:nvSpPr>
          <p:cNvPr id="20" name="TextBox 19">
            <a:extLst>
              <a:ext uri="{FF2B5EF4-FFF2-40B4-BE49-F238E27FC236}">
                <a16:creationId xmlns:a16="http://schemas.microsoft.com/office/drawing/2014/main" id="{B3AAEBEE-D6E0-916F-B95C-BEF964FBF072}"/>
              </a:ext>
            </a:extLst>
          </p:cNvPr>
          <p:cNvSpPr txBox="1"/>
          <p:nvPr/>
        </p:nvSpPr>
        <p:spPr>
          <a:xfrm>
            <a:off x="7977486" y="1539235"/>
            <a:ext cx="287337" cy="369332"/>
          </a:xfrm>
          <a:prstGeom prst="rect">
            <a:avLst/>
          </a:prstGeom>
          <a:noFill/>
        </p:spPr>
        <p:txBody>
          <a:bodyPr wrap="square" rtlCol="0">
            <a:spAutoFit/>
          </a:bodyPr>
          <a:lstStyle/>
          <a:p>
            <a:r>
              <a:rPr lang="en-GB" dirty="0"/>
              <a:t>3</a:t>
            </a:r>
          </a:p>
        </p:txBody>
      </p:sp>
      <p:pic>
        <p:nvPicPr>
          <p:cNvPr id="23" name="Picture 22">
            <a:extLst>
              <a:ext uri="{FF2B5EF4-FFF2-40B4-BE49-F238E27FC236}">
                <a16:creationId xmlns:a16="http://schemas.microsoft.com/office/drawing/2014/main" id="{90D591A5-2707-9B2E-DD7F-8EE104222B16}"/>
              </a:ext>
            </a:extLst>
          </p:cNvPr>
          <p:cNvPicPr>
            <a:picLocks noChangeAspect="1"/>
          </p:cNvPicPr>
          <p:nvPr/>
        </p:nvPicPr>
        <p:blipFill>
          <a:blip r:embed="rId6"/>
          <a:stretch>
            <a:fillRect/>
          </a:stretch>
        </p:blipFill>
        <p:spPr>
          <a:xfrm>
            <a:off x="769342" y="3990247"/>
            <a:ext cx="2035042" cy="2205376"/>
          </a:xfrm>
          <a:prstGeom prst="rect">
            <a:avLst/>
          </a:prstGeom>
        </p:spPr>
      </p:pic>
      <p:sp>
        <p:nvSpPr>
          <p:cNvPr id="25" name="TextBox 24">
            <a:extLst>
              <a:ext uri="{FF2B5EF4-FFF2-40B4-BE49-F238E27FC236}">
                <a16:creationId xmlns:a16="http://schemas.microsoft.com/office/drawing/2014/main" id="{0C5B36CD-1D28-A428-A6A9-60386F0EA7D9}"/>
              </a:ext>
            </a:extLst>
          </p:cNvPr>
          <p:cNvSpPr txBox="1"/>
          <p:nvPr/>
        </p:nvSpPr>
        <p:spPr>
          <a:xfrm>
            <a:off x="456606" y="3894013"/>
            <a:ext cx="287337" cy="369332"/>
          </a:xfrm>
          <a:prstGeom prst="rect">
            <a:avLst/>
          </a:prstGeom>
          <a:noFill/>
        </p:spPr>
        <p:txBody>
          <a:bodyPr wrap="square" rtlCol="0">
            <a:spAutoFit/>
          </a:bodyPr>
          <a:lstStyle/>
          <a:p>
            <a:r>
              <a:rPr lang="en-GB" dirty="0"/>
              <a:t>4</a:t>
            </a:r>
          </a:p>
        </p:txBody>
      </p:sp>
      <p:pic>
        <p:nvPicPr>
          <p:cNvPr id="28" name="Picture 27">
            <a:extLst>
              <a:ext uri="{FF2B5EF4-FFF2-40B4-BE49-F238E27FC236}">
                <a16:creationId xmlns:a16="http://schemas.microsoft.com/office/drawing/2014/main" id="{5D6FA9F0-732D-99DB-0BDA-FB70442DA4F7}"/>
              </a:ext>
            </a:extLst>
          </p:cNvPr>
          <p:cNvPicPr>
            <a:picLocks noChangeAspect="1"/>
          </p:cNvPicPr>
          <p:nvPr/>
        </p:nvPicPr>
        <p:blipFill>
          <a:blip r:embed="rId7"/>
          <a:stretch>
            <a:fillRect/>
          </a:stretch>
        </p:blipFill>
        <p:spPr>
          <a:xfrm>
            <a:off x="2878268" y="4007085"/>
            <a:ext cx="2144439" cy="2171700"/>
          </a:xfrm>
          <a:prstGeom prst="rect">
            <a:avLst/>
          </a:prstGeom>
        </p:spPr>
      </p:pic>
      <p:pic>
        <p:nvPicPr>
          <p:cNvPr id="30" name="Picture 29">
            <a:extLst>
              <a:ext uri="{FF2B5EF4-FFF2-40B4-BE49-F238E27FC236}">
                <a16:creationId xmlns:a16="http://schemas.microsoft.com/office/drawing/2014/main" id="{CC6BD066-BB50-042F-3F93-EE4E3EA10339}"/>
              </a:ext>
            </a:extLst>
          </p:cNvPr>
          <p:cNvPicPr>
            <a:picLocks noChangeAspect="1"/>
          </p:cNvPicPr>
          <p:nvPr/>
        </p:nvPicPr>
        <p:blipFill>
          <a:blip r:embed="rId8"/>
          <a:stretch>
            <a:fillRect/>
          </a:stretch>
        </p:blipFill>
        <p:spPr>
          <a:xfrm>
            <a:off x="5087342" y="4015930"/>
            <a:ext cx="2124075" cy="2209800"/>
          </a:xfrm>
          <a:prstGeom prst="rect">
            <a:avLst/>
          </a:prstGeom>
        </p:spPr>
      </p:pic>
      <p:pic>
        <p:nvPicPr>
          <p:cNvPr id="32" name="Picture 31">
            <a:extLst>
              <a:ext uri="{FF2B5EF4-FFF2-40B4-BE49-F238E27FC236}">
                <a16:creationId xmlns:a16="http://schemas.microsoft.com/office/drawing/2014/main" id="{96B92F3D-6824-7035-70E6-FA6C738AE693}"/>
              </a:ext>
            </a:extLst>
          </p:cNvPr>
          <p:cNvPicPr>
            <a:picLocks noChangeAspect="1"/>
          </p:cNvPicPr>
          <p:nvPr/>
        </p:nvPicPr>
        <p:blipFill>
          <a:blip r:embed="rId9"/>
          <a:stretch>
            <a:fillRect/>
          </a:stretch>
        </p:blipFill>
        <p:spPr>
          <a:xfrm>
            <a:off x="8121154" y="4015930"/>
            <a:ext cx="2144439" cy="2226218"/>
          </a:xfrm>
          <a:prstGeom prst="rect">
            <a:avLst/>
          </a:prstGeom>
        </p:spPr>
      </p:pic>
      <p:sp>
        <p:nvSpPr>
          <p:cNvPr id="33" name="TextBox 32">
            <a:extLst>
              <a:ext uri="{FF2B5EF4-FFF2-40B4-BE49-F238E27FC236}">
                <a16:creationId xmlns:a16="http://schemas.microsoft.com/office/drawing/2014/main" id="{EA7AA82D-903A-F42A-3E6B-84F6D81A80E2}"/>
              </a:ext>
            </a:extLst>
          </p:cNvPr>
          <p:cNvSpPr txBox="1"/>
          <p:nvPr/>
        </p:nvSpPr>
        <p:spPr>
          <a:xfrm>
            <a:off x="7825581" y="3990247"/>
            <a:ext cx="287337" cy="369332"/>
          </a:xfrm>
          <a:prstGeom prst="rect">
            <a:avLst/>
          </a:prstGeom>
          <a:noFill/>
        </p:spPr>
        <p:txBody>
          <a:bodyPr wrap="square" rtlCol="0">
            <a:spAutoFit/>
          </a:bodyPr>
          <a:lstStyle/>
          <a:p>
            <a:r>
              <a:rPr lang="en-GB" dirty="0"/>
              <a:t>5</a:t>
            </a:r>
          </a:p>
        </p:txBody>
      </p:sp>
      <p:sp>
        <p:nvSpPr>
          <p:cNvPr id="35" name="TextBox 34">
            <a:extLst>
              <a:ext uri="{FF2B5EF4-FFF2-40B4-BE49-F238E27FC236}">
                <a16:creationId xmlns:a16="http://schemas.microsoft.com/office/drawing/2014/main" id="{0290CEB9-E5B2-9D23-A34A-4247F48FA967}"/>
              </a:ext>
            </a:extLst>
          </p:cNvPr>
          <p:cNvSpPr txBox="1"/>
          <p:nvPr/>
        </p:nvSpPr>
        <p:spPr>
          <a:xfrm>
            <a:off x="190500" y="862147"/>
            <a:ext cx="11699081" cy="646331"/>
          </a:xfrm>
          <a:prstGeom prst="rect">
            <a:avLst/>
          </a:prstGeom>
          <a:noFill/>
        </p:spPr>
        <p:txBody>
          <a:bodyPr wrap="square">
            <a:spAutoFit/>
          </a:bodyPr>
          <a:lstStyle/>
          <a:p>
            <a:pPr lvl="0" algn="ctr">
              <a:buSzPts val="1000"/>
              <a:tabLst>
                <a:tab pos="457200" algn="l"/>
              </a:tabLst>
            </a:pPr>
            <a:r>
              <a:rPr lang="en-GB" sz="1800" b="1" dirty="0">
                <a:effectLst/>
              </a:rPr>
              <a:t> Smell of gas </a:t>
            </a:r>
            <a:r>
              <a:rPr lang="en-GB" sz="1800" b="0" dirty="0">
                <a:effectLst/>
              </a:rPr>
              <a:t>– The smell of gas around the meter means that </a:t>
            </a:r>
            <a:r>
              <a:rPr lang="en-GB" sz="1800" b="0" dirty="0"/>
              <a:t>something is definitely </a:t>
            </a:r>
            <a:r>
              <a:rPr lang="en-GB" sz="1800" b="0" dirty="0">
                <a:effectLst/>
              </a:rPr>
              <a:t>wrong, and unsafe!</a:t>
            </a:r>
            <a:r>
              <a:rPr lang="en-GB" dirty="0"/>
              <a:t> </a:t>
            </a:r>
            <a:r>
              <a:rPr lang="en-GB" sz="1800" b="1" dirty="0">
                <a:effectLst/>
              </a:rPr>
              <a:t>Any smell of gas, anywhere </a:t>
            </a:r>
            <a:r>
              <a:rPr lang="en-GB" sz="1800" b="0" dirty="0">
                <a:effectLst/>
              </a:rPr>
              <a:t>should be reported to the Gas Emergency Service on 0800 111 999</a:t>
            </a:r>
          </a:p>
        </p:txBody>
      </p:sp>
      <p:sp>
        <p:nvSpPr>
          <p:cNvPr id="4" name="Content Placeholder 7">
            <a:extLst>
              <a:ext uri="{FF2B5EF4-FFF2-40B4-BE49-F238E27FC236}">
                <a16:creationId xmlns:a16="http://schemas.microsoft.com/office/drawing/2014/main" id="{02924FEA-5F20-0DA9-7937-9CD720F85914}"/>
              </a:ext>
            </a:extLst>
          </p:cNvPr>
          <p:cNvSpPr txBox="1">
            <a:spLocks/>
          </p:cNvSpPr>
          <p:nvPr/>
        </p:nvSpPr>
        <p:spPr>
          <a:xfrm>
            <a:off x="2804384" y="6358853"/>
            <a:ext cx="6572620" cy="368746"/>
          </a:xfrm>
          <a:prstGeom prst="rect">
            <a:avLst/>
          </a:prstGeom>
          <a:noFill/>
          <a:ln>
            <a:solidFill>
              <a:schemeClr val="bg2"/>
            </a:solidFill>
          </a:ln>
        </p:spPr>
        <p:txBody>
          <a:bodyPr vert="horz" lIns="0" tIns="0" rIns="0" bIns="0" rtlCol="0" anchor="t">
            <a:noAutofit/>
          </a:bodyPr>
          <a:lstStyle>
            <a:defPPr>
              <a:defRPr lang="en-US"/>
            </a:defPPr>
            <a:lvl1pPr marL="0" indent="0" algn="l" defTabSz="914377" rtl="0" eaLnBrk="1" latinLnBrk="0" hangingPunct="1">
              <a:lnSpc>
                <a:spcPct val="90000"/>
              </a:lnSpc>
              <a:spcBef>
                <a:spcPts val="1200"/>
              </a:spcBef>
              <a:buFont typeface="Arial" panose="020B0604020202020204" pitchFamily="34" charset="0"/>
              <a:buNone/>
              <a:defRPr sz="2000" kern="1200">
                <a:solidFill>
                  <a:schemeClr val="tx2"/>
                </a:solidFill>
                <a:latin typeface="+mn-lt"/>
                <a:ea typeface="+mn-ea"/>
                <a:cs typeface="+mn-cs"/>
              </a:defRPr>
            </a:lvl1pPr>
            <a:lvl2pPr marL="230182" indent="-230182" algn="l" defTabSz="914377" rtl="0" eaLnBrk="1" latinLnBrk="0" hangingPunct="1">
              <a:lnSpc>
                <a:spcPct val="90000"/>
              </a:lnSpc>
              <a:spcBef>
                <a:spcPts val="600"/>
              </a:spcBef>
              <a:buFont typeface="Wingdings" panose="05000000000000000000" pitchFamily="2" charset="2"/>
              <a:buChar char="§"/>
              <a:defRPr sz="1867" kern="1200">
                <a:solidFill>
                  <a:schemeClr val="tx2"/>
                </a:solidFill>
                <a:latin typeface="+mn-lt"/>
                <a:ea typeface="+mn-ea"/>
                <a:cs typeface="+mn-cs"/>
              </a:defRPr>
            </a:lvl2pPr>
            <a:lvl3pPr marL="454014" indent="-200020" algn="l" defTabSz="914377" rtl="0" eaLnBrk="1" latinLnBrk="0" hangingPunct="1">
              <a:lnSpc>
                <a:spcPct val="90000"/>
              </a:lnSpc>
              <a:spcBef>
                <a:spcPts val="600"/>
              </a:spcBef>
              <a:buFont typeface="Arial" panose="020B0604020202020204" pitchFamily="34" charset="0"/>
              <a:buChar char="–"/>
              <a:defRPr sz="1600" kern="1200">
                <a:solidFill>
                  <a:schemeClr val="tx2"/>
                </a:solidFill>
                <a:latin typeface="+mn-lt"/>
                <a:ea typeface="+mn-ea"/>
                <a:cs typeface="+mn-cs"/>
              </a:defRPr>
            </a:lvl3pPr>
            <a:lvl4pPr marL="612759" indent="-149222" algn="l" defTabSz="914377" rtl="0" eaLnBrk="1" latinLnBrk="0" hangingPunct="1">
              <a:lnSpc>
                <a:spcPct val="90000"/>
              </a:lnSpc>
              <a:spcBef>
                <a:spcPts val="300"/>
              </a:spcBef>
              <a:buFont typeface="Wingdings" panose="05000000000000000000" pitchFamily="2" charset="2"/>
              <a:buChar char="§"/>
              <a:defRPr sz="1467" kern="1200">
                <a:solidFill>
                  <a:schemeClr val="tx2"/>
                </a:solidFill>
                <a:latin typeface="+mn-lt"/>
                <a:ea typeface="+mn-ea"/>
                <a:cs typeface="+mn-cs"/>
              </a:defRPr>
            </a:lvl4pPr>
            <a:lvl5pPr marL="819130" indent="-192083" algn="l" defTabSz="914377" rtl="0" eaLnBrk="1" latinLnBrk="0" hangingPunct="1">
              <a:lnSpc>
                <a:spcPct val="90000"/>
              </a:lnSpc>
              <a:spcBef>
                <a:spcPts val="300"/>
              </a:spcBef>
              <a:buFont typeface="Arial" panose="020B0604020202020204" pitchFamily="34" charset="0"/>
              <a:buChar char="–"/>
              <a:defRPr sz="1467"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r>
              <a:rPr lang="en-GB" sz="1600" b="1" dirty="0">
                <a:solidFill>
                  <a:srgbClr val="FF0000"/>
                </a:solidFill>
                <a:cs typeface="Arial"/>
              </a:rPr>
              <a:t>Please do not share these images externally. For internal use only. </a:t>
            </a:r>
          </a:p>
        </p:txBody>
      </p:sp>
    </p:spTree>
    <p:extLst>
      <p:ext uri="{BB962C8B-B14F-4D97-AF65-F5344CB8AC3E}">
        <p14:creationId xmlns:p14="http://schemas.microsoft.com/office/powerpoint/2010/main" val="39990776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85C4B-4A63-4AEF-9160-A5F920F395B4}"/>
              </a:ext>
            </a:extLst>
          </p:cNvPr>
          <p:cNvSpPr>
            <a:spLocks noGrp="1"/>
          </p:cNvSpPr>
          <p:nvPr>
            <p:ph type="title"/>
          </p:nvPr>
        </p:nvSpPr>
        <p:spPr>
          <a:xfrm>
            <a:off x="733426" y="659953"/>
            <a:ext cx="7955756" cy="584953"/>
          </a:xfrm>
        </p:spPr>
        <p:txBody>
          <a:bodyPr/>
          <a:lstStyle/>
          <a:p>
            <a:r>
              <a:rPr lang="en-GB" dirty="0"/>
              <a:t>A huge safety risk… </a:t>
            </a:r>
          </a:p>
        </p:txBody>
      </p:sp>
      <p:sp>
        <p:nvSpPr>
          <p:cNvPr id="5" name="Text Placeholder 4">
            <a:extLst>
              <a:ext uri="{FF2B5EF4-FFF2-40B4-BE49-F238E27FC236}">
                <a16:creationId xmlns:a16="http://schemas.microsoft.com/office/drawing/2014/main" id="{75C191AC-50D0-0C80-ED7B-649E3BD16C19}"/>
              </a:ext>
            </a:extLst>
          </p:cNvPr>
          <p:cNvSpPr>
            <a:spLocks noGrp="1"/>
          </p:cNvSpPr>
          <p:nvPr>
            <p:ph idx="1"/>
          </p:nvPr>
        </p:nvSpPr>
        <p:spPr>
          <a:xfrm>
            <a:off x="733426" y="1116661"/>
            <a:ext cx="3298747" cy="296628"/>
          </a:xfrm>
        </p:spPr>
        <p:txBody>
          <a:bodyPr/>
          <a:lstStyle/>
          <a:p>
            <a:r>
              <a:rPr lang="en-GB" dirty="0" err="1"/>
              <a:t>Illford</a:t>
            </a:r>
            <a:r>
              <a:rPr lang="en-GB" dirty="0"/>
              <a:t> </a:t>
            </a:r>
          </a:p>
          <a:p>
            <a:endParaRPr lang="en-GB" dirty="0"/>
          </a:p>
        </p:txBody>
      </p:sp>
      <p:sp>
        <p:nvSpPr>
          <p:cNvPr id="4" name="Slide Number Placeholder 3">
            <a:extLst>
              <a:ext uri="{FF2B5EF4-FFF2-40B4-BE49-F238E27FC236}">
                <a16:creationId xmlns:a16="http://schemas.microsoft.com/office/drawing/2014/main" id="{3BC4166B-6903-4433-C59C-554F770127A3}"/>
              </a:ext>
            </a:extLst>
          </p:cNvPr>
          <p:cNvSpPr>
            <a:spLocks noGrp="1"/>
          </p:cNvSpPr>
          <p:nvPr>
            <p:ph type="sldNum" sz="quarter" idx="12"/>
          </p:nvPr>
        </p:nvSpPr>
        <p:spPr/>
        <p:txBody>
          <a:bodyPr/>
          <a:lstStyle/>
          <a:p>
            <a:fld id="{A8B7E462-AA7B-4427-9DF0-5AABDADAA92F}" type="slidenum">
              <a:rPr lang="en-GB" smtClean="0"/>
              <a:pPr/>
              <a:t>6</a:t>
            </a:fld>
            <a:endParaRPr lang="en-GB" dirty="0"/>
          </a:p>
        </p:txBody>
      </p:sp>
      <p:pic>
        <p:nvPicPr>
          <p:cNvPr id="6" name="Picture 5">
            <a:hlinkClick r:id="rId3"/>
            <a:extLst>
              <a:ext uri="{FF2B5EF4-FFF2-40B4-BE49-F238E27FC236}">
                <a16:creationId xmlns:a16="http://schemas.microsoft.com/office/drawing/2014/main" id="{77ECEDA2-E908-D12E-1FB3-12E665D9E198}"/>
              </a:ext>
            </a:extLst>
          </p:cNvPr>
          <p:cNvPicPr>
            <a:picLocks noChangeAspect="1"/>
          </p:cNvPicPr>
          <p:nvPr/>
        </p:nvPicPr>
        <p:blipFill>
          <a:blip r:embed="rId4"/>
          <a:stretch>
            <a:fillRect/>
          </a:stretch>
        </p:blipFill>
        <p:spPr>
          <a:xfrm>
            <a:off x="733426" y="1495913"/>
            <a:ext cx="3657600" cy="2580542"/>
          </a:xfrm>
          <a:prstGeom prst="rect">
            <a:avLst/>
          </a:prstGeom>
        </p:spPr>
      </p:pic>
      <p:grpSp>
        <p:nvGrpSpPr>
          <p:cNvPr id="12" name="Group 11">
            <a:extLst>
              <a:ext uri="{FF2B5EF4-FFF2-40B4-BE49-F238E27FC236}">
                <a16:creationId xmlns:a16="http://schemas.microsoft.com/office/drawing/2014/main" id="{2D8626F4-06E6-5DDE-4781-40E383C2D235}"/>
              </a:ext>
            </a:extLst>
          </p:cNvPr>
          <p:cNvGrpSpPr/>
          <p:nvPr/>
        </p:nvGrpSpPr>
        <p:grpSpPr>
          <a:xfrm>
            <a:off x="5342439" y="1495913"/>
            <a:ext cx="4727264" cy="2682392"/>
            <a:chOff x="5342439" y="2575408"/>
            <a:chExt cx="4727264" cy="2682392"/>
          </a:xfrm>
        </p:grpSpPr>
        <p:pic>
          <p:nvPicPr>
            <p:cNvPr id="8" name="Picture 7">
              <a:extLst>
                <a:ext uri="{FF2B5EF4-FFF2-40B4-BE49-F238E27FC236}">
                  <a16:creationId xmlns:a16="http://schemas.microsoft.com/office/drawing/2014/main" id="{77BF26EF-2DF2-D830-A296-D1F570F18D5F}"/>
                </a:ext>
              </a:extLst>
            </p:cNvPr>
            <p:cNvPicPr>
              <a:picLocks noChangeAspect="1"/>
            </p:cNvPicPr>
            <p:nvPr/>
          </p:nvPicPr>
          <p:blipFill>
            <a:blip r:embed="rId5"/>
            <a:stretch>
              <a:fillRect/>
            </a:stretch>
          </p:blipFill>
          <p:spPr>
            <a:xfrm>
              <a:off x="5342439" y="2575408"/>
              <a:ext cx="2368048" cy="2682391"/>
            </a:xfrm>
            <a:prstGeom prst="rect">
              <a:avLst/>
            </a:prstGeom>
          </p:spPr>
        </p:pic>
        <p:pic>
          <p:nvPicPr>
            <p:cNvPr id="10" name="Picture 9">
              <a:extLst>
                <a:ext uri="{FF2B5EF4-FFF2-40B4-BE49-F238E27FC236}">
                  <a16:creationId xmlns:a16="http://schemas.microsoft.com/office/drawing/2014/main" id="{97442C2A-10F3-FB97-7220-B70C6F841B29}"/>
                </a:ext>
              </a:extLst>
            </p:cNvPr>
            <p:cNvPicPr>
              <a:picLocks noChangeAspect="1"/>
            </p:cNvPicPr>
            <p:nvPr/>
          </p:nvPicPr>
          <p:blipFill>
            <a:blip r:embed="rId6"/>
            <a:stretch>
              <a:fillRect/>
            </a:stretch>
          </p:blipFill>
          <p:spPr>
            <a:xfrm>
              <a:off x="8021904" y="2575408"/>
              <a:ext cx="2047799" cy="2682392"/>
            </a:xfrm>
            <a:prstGeom prst="rect">
              <a:avLst/>
            </a:prstGeom>
          </p:spPr>
        </p:pic>
      </p:grpSp>
      <p:sp>
        <p:nvSpPr>
          <p:cNvPr id="11" name="Text Placeholder 4">
            <a:extLst>
              <a:ext uri="{FF2B5EF4-FFF2-40B4-BE49-F238E27FC236}">
                <a16:creationId xmlns:a16="http://schemas.microsoft.com/office/drawing/2014/main" id="{B98ECF91-81A7-3470-3096-CC69645BADE1}"/>
              </a:ext>
            </a:extLst>
          </p:cNvPr>
          <p:cNvSpPr txBox="1">
            <a:spLocks/>
          </p:cNvSpPr>
          <p:nvPr/>
        </p:nvSpPr>
        <p:spPr>
          <a:xfrm>
            <a:off x="5342439" y="1116661"/>
            <a:ext cx="3298747" cy="296628"/>
          </a:xfrm>
          <a:prstGeom prst="rect">
            <a:avLst/>
          </a:prstGeom>
        </p:spPr>
        <p:txBody>
          <a:bodyPr vert="horz" lIns="0" tIns="0" rIns="0" bIns="0" rtlCol="0">
            <a:noAutofit/>
          </a:bodyPr>
          <a:lstStyle>
            <a:lvl1pPr marL="0" indent="0" algn="l" defTabSz="914377" rtl="0" eaLnBrk="1" latinLnBrk="0" hangingPunct="1">
              <a:lnSpc>
                <a:spcPct val="90000"/>
              </a:lnSpc>
              <a:spcBef>
                <a:spcPts val="1200"/>
              </a:spcBef>
              <a:buFont typeface="Arial" panose="020B0604020202020204" pitchFamily="34" charset="0"/>
              <a:buNone/>
              <a:defRPr sz="2000" kern="1200">
                <a:solidFill>
                  <a:schemeClr val="tx2"/>
                </a:solidFill>
                <a:latin typeface="+mn-lt"/>
                <a:ea typeface="+mn-ea"/>
                <a:cs typeface="+mn-cs"/>
              </a:defRPr>
            </a:lvl1pPr>
            <a:lvl2pPr marL="230182" indent="-230182" algn="l" defTabSz="914377" rtl="0" eaLnBrk="1" latinLnBrk="0" hangingPunct="1">
              <a:lnSpc>
                <a:spcPct val="90000"/>
              </a:lnSpc>
              <a:spcBef>
                <a:spcPts val="600"/>
              </a:spcBef>
              <a:buFont typeface="Wingdings" panose="05000000000000000000" pitchFamily="2" charset="2"/>
              <a:buChar char="§"/>
              <a:defRPr sz="1867" kern="1200">
                <a:solidFill>
                  <a:schemeClr val="tx2"/>
                </a:solidFill>
                <a:latin typeface="+mn-lt"/>
                <a:ea typeface="+mn-ea"/>
                <a:cs typeface="+mn-cs"/>
              </a:defRPr>
            </a:lvl2pPr>
            <a:lvl3pPr marL="454014" indent="-200020" algn="l" defTabSz="914377" rtl="0" eaLnBrk="1" latinLnBrk="0" hangingPunct="1">
              <a:lnSpc>
                <a:spcPct val="90000"/>
              </a:lnSpc>
              <a:spcBef>
                <a:spcPts val="600"/>
              </a:spcBef>
              <a:buFont typeface="Arial" panose="020B0604020202020204" pitchFamily="34" charset="0"/>
              <a:buChar char="–"/>
              <a:defRPr sz="1600" kern="1200">
                <a:solidFill>
                  <a:schemeClr val="tx2"/>
                </a:solidFill>
                <a:latin typeface="+mn-lt"/>
                <a:ea typeface="+mn-ea"/>
                <a:cs typeface="+mn-cs"/>
              </a:defRPr>
            </a:lvl3pPr>
            <a:lvl4pPr marL="612759" indent="-149222" algn="l" defTabSz="914377" rtl="0" eaLnBrk="1" latinLnBrk="0" hangingPunct="1">
              <a:lnSpc>
                <a:spcPct val="90000"/>
              </a:lnSpc>
              <a:spcBef>
                <a:spcPts val="300"/>
              </a:spcBef>
              <a:buFont typeface="Wingdings" panose="05000000000000000000" pitchFamily="2" charset="2"/>
              <a:buChar char="§"/>
              <a:defRPr sz="1467" kern="1200">
                <a:solidFill>
                  <a:schemeClr val="tx2"/>
                </a:solidFill>
                <a:latin typeface="+mn-lt"/>
                <a:ea typeface="+mn-ea"/>
                <a:cs typeface="+mn-cs"/>
              </a:defRPr>
            </a:lvl4pPr>
            <a:lvl5pPr marL="819130" indent="-192083" algn="l" defTabSz="914377" rtl="0" eaLnBrk="1" latinLnBrk="0" hangingPunct="1">
              <a:lnSpc>
                <a:spcPct val="90000"/>
              </a:lnSpc>
              <a:spcBef>
                <a:spcPts val="300"/>
              </a:spcBef>
              <a:buFont typeface="Arial" panose="020B0604020202020204" pitchFamily="34" charset="0"/>
              <a:buChar char="–"/>
              <a:defRPr sz="1467"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r>
              <a:rPr lang="en-GB" dirty="0"/>
              <a:t>Croydon </a:t>
            </a:r>
          </a:p>
          <a:p>
            <a:endParaRPr lang="en-GB" dirty="0"/>
          </a:p>
        </p:txBody>
      </p:sp>
      <p:sp>
        <p:nvSpPr>
          <p:cNvPr id="13" name="Title 6">
            <a:extLst>
              <a:ext uri="{FF2B5EF4-FFF2-40B4-BE49-F238E27FC236}">
                <a16:creationId xmlns:a16="http://schemas.microsoft.com/office/drawing/2014/main" id="{BD93FDB2-E38F-AB64-4B4F-C416DB1F4419}"/>
              </a:ext>
            </a:extLst>
          </p:cNvPr>
          <p:cNvSpPr txBox="1">
            <a:spLocks/>
          </p:cNvSpPr>
          <p:nvPr/>
        </p:nvSpPr>
        <p:spPr>
          <a:xfrm>
            <a:off x="733426" y="4299318"/>
            <a:ext cx="2105024" cy="392720"/>
          </a:xfrm>
          <a:prstGeom prst="rect">
            <a:avLst/>
          </a:prstGeom>
        </p:spPr>
        <p:txBody>
          <a:bodyPr vert="horz" lIns="0" tIns="0" rIns="0" bIns="0" rtlCol="0" anchor="t" anchorCtr="0">
            <a:noAutofit/>
          </a:bodyPr>
          <a:lstStyle>
            <a:lvl1pPr algn="l" defTabSz="914377" rtl="0" eaLnBrk="1" latinLnBrk="0" hangingPunct="1">
              <a:lnSpc>
                <a:spcPct val="85000"/>
              </a:lnSpc>
              <a:spcBef>
                <a:spcPct val="0"/>
              </a:spcBef>
              <a:buNone/>
              <a:defRPr sz="3067" b="1" kern="1200" spc="-151">
                <a:solidFill>
                  <a:schemeClr val="tx2"/>
                </a:solidFill>
                <a:latin typeface="+mj-lt"/>
                <a:ea typeface="+mj-ea"/>
                <a:cs typeface="+mj-cs"/>
              </a:defRPr>
            </a:lvl1pPr>
          </a:lstStyle>
          <a:p>
            <a:r>
              <a:rPr lang="en-GB" dirty="0"/>
              <a:t>Other risks</a:t>
            </a:r>
          </a:p>
        </p:txBody>
      </p:sp>
      <p:sp>
        <p:nvSpPr>
          <p:cNvPr id="14" name="Content Placeholder 7">
            <a:extLst>
              <a:ext uri="{FF2B5EF4-FFF2-40B4-BE49-F238E27FC236}">
                <a16:creationId xmlns:a16="http://schemas.microsoft.com/office/drawing/2014/main" id="{9057DA22-D639-7A7F-BFD3-DFBE0B52F5DD}"/>
              </a:ext>
            </a:extLst>
          </p:cNvPr>
          <p:cNvSpPr txBox="1">
            <a:spLocks/>
          </p:cNvSpPr>
          <p:nvPr/>
        </p:nvSpPr>
        <p:spPr>
          <a:xfrm>
            <a:off x="685430" y="4720514"/>
            <a:ext cx="11506570" cy="1283146"/>
          </a:xfrm>
          <a:prstGeom prst="rect">
            <a:avLst/>
          </a:prstGeom>
        </p:spPr>
        <p:txBody>
          <a:bodyPr vert="horz" lIns="0" tIns="0" rIns="0" bIns="0" rtlCol="0">
            <a:noAutofit/>
          </a:bodyPr>
          <a:lstStyle>
            <a:lvl1pPr marL="0" indent="0" algn="l" defTabSz="914377" rtl="0" eaLnBrk="1" latinLnBrk="0" hangingPunct="1">
              <a:lnSpc>
                <a:spcPct val="90000"/>
              </a:lnSpc>
              <a:spcBef>
                <a:spcPts val="1200"/>
              </a:spcBef>
              <a:buFont typeface="Arial" panose="020B0604020202020204" pitchFamily="34" charset="0"/>
              <a:buNone/>
              <a:defRPr sz="2000" kern="1200">
                <a:solidFill>
                  <a:schemeClr val="tx2"/>
                </a:solidFill>
                <a:latin typeface="+mn-lt"/>
                <a:ea typeface="+mn-ea"/>
                <a:cs typeface="+mn-cs"/>
              </a:defRPr>
            </a:lvl1pPr>
            <a:lvl2pPr marL="230182" indent="-230182" algn="l" defTabSz="914377" rtl="0" eaLnBrk="1" latinLnBrk="0" hangingPunct="1">
              <a:lnSpc>
                <a:spcPct val="90000"/>
              </a:lnSpc>
              <a:spcBef>
                <a:spcPts val="600"/>
              </a:spcBef>
              <a:buFont typeface="Wingdings" panose="05000000000000000000" pitchFamily="2" charset="2"/>
              <a:buChar char="§"/>
              <a:defRPr sz="1867" kern="1200">
                <a:solidFill>
                  <a:schemeClr val="tx2"/>
                </a:solidFill>
                <a:latin typeface="+mn-lt"/>
                <a:ea typeface="+mn-ea"/>
                <a:cs typeface="+mn-cs"/>
              </a:defRPr>
            </a:lvl2pPr>
            <a:lvl3pPr marL="454014" indent="-200020" algn="l" defTabSz="914377" rtl="0" eaLnBrk="1" latinLnBrk="0" hangingPunct="1">
              <a:lnSpc>
                <a:spcPct val="90000"/>
              </a:lnSpc>
              <a:spcBef>
                <a:spcPts val="600"/>
              </a:spcBef>
              <a:buFont typeface="Arial" panose="020B0604020202020204" pitchFamily="34" charset="0"/>
              <a:buChar char="–"/>
              <a:defRPr sz="1600" kern="1200">
                <a:solidFill>
                  <a:schemeClr val="tx2"/>
                </a:solidFill>
                <a:latin typeface="+mn-lt"/>
                <a:ea typeface="+mn-ea"/>
                <a:cs typeface="+mn-cs"/>
              </a:defRPr>
            </a:lvl3pPr>
            <a:lvl4pPr marL="612759" indent="-149222" algn="l" defTabSz="914377" rtl="0" eaLnBrk="1" latinLnBrk="0" hangingPunct="1">
              <a:lnSpc>
                <a:spcPct val="90000"/>
              </a:lnSpc>
              <a:spcBef>
                <a:spcPts val="300"/>
              </a:spcBef>
              <a:buFont typeface="Wingdings" panose="05000000000000000000" pitchFamily="2" charset="2"/>
              <a:buChar char="§"/>
              <a:defRPr sz="1467" kern="1200">
                <a:solidFill>
                  <a:schemeClr val="tx2"/>
                </a:solidFill>
                <a:latin typeface="+mn-lt"/>
                <a:ea typeface="+mn-ea"/>
                <a:cs typeface="+mn-cs"/>
              </a:defRPr>
            </a:lvl4pPr>
            <a:lvl5pPr marL="819130" indent="-192083" algn="l" defTabSz="914377" rtl="0" eaLnBrk="1" latinLnBrk="0" hangingPunct="1">
              <a:lnSpc>
                <a:spcPct val="90000"/>
              </a:lnSpc>
              <a:spcBef>
                <a:spcPts val="300"/>
              </a:spcBef>
              <a:buFont typeface="Arial" panose="020B0604020202020204" pitchFamily="34" charset="0"/>
              <a:buChar char="–"/>
              <a:defRPr sz="1467"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r>
              <a:rPr lang="en-GB" dirty="0"/>
              <a:t>As well as the obvious safety risk, there are criminal and financial implications.</a:t>
            </a:r>
          </a:p>
          <a:p>
            <a:r>
              <a:rPr lang="en-GB" dirty="0"/>
              <a:t>The maximum penalty for gas theft in the UK is 5years in prison and a fine of up to £2000. </a:t>
            </a:r>
          </a:p>
          <a:p>
            <a:pPr algn="ctr"/>
            <a:r>
              <a:rPr lang="en-GB" sz="3200" b="1" dirty="0"/>
              <a:t>It’s really not worth it.</a:t>
            </a:r>
          </a:p>
        </p:txBody>
      </p:sp>
    </p:spTree>
    <p:extLst>
      <p:ext uri="{BB962C8B-B14F-4D97-AF65-F5344CB8AC3E}">
        <p14:creationId xmlns:p14="http://schemas.microsoft.com/office/powerpoint/2010/main" val="2412987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8CC07-66A5-1115-85F8-672D385A67FA}"/>
              </a:ext>
            </a:extLst>
          </p:cNvPr>
          <p:cNvSpPr>
            <a:spLocks noGrp="1"/>
          </p:cNvSpPr>
          <p:nvPr>
            <p:ph type="title"/>
          </p:nvPr>
        </p:nvSpPr>
        <p:spPr>
          <a:xfrm>
            <a:off x="473854" y="671823"/>
            <a:ext cx="9787745" cy="1273176"/>
          </a:xfrm>
        </p:spPr>
        <p:txBody>
          <a:bodyPr/>
          <a:lstStyle/>
          <a:p>
            <a:r>
              <a:rPr lang="en-GB" dirty="0"/>
              <a:t>…so we developed a national gas theft awareness campaign</a:t>
            </a:r>
          </a:p>
        </p:txBody>
      </p:sp>
      <p:sp>
        <p:nvSpPr>
          <p:cNvPr id="4" name="Slide Number Placeholder 3">
            <a:extLst>
              <a:ext uri="{FF2B5EF4-FFF2-40B4-BE49-F238E27FC236}">
                <a16:creationId xmlns:a16="http://schemas.microsoft.com/office/drawing/2014/main" id="{5B064212-08E7-AF9F-F486-6D31FA31E146}"/>
              </a:ext>
            </a:extLst>
          </p:cNvPr>
          <p:cNvSpPr>
            <a:spLocks noGrp="1"/>
          </p:cNvSpPr>
          <p:nvPr>
            <p:ph type="sldNum" sz="quarter" idx="11"/>
          </p:nvPr>
        </p:nvSpPr>
        <p:spPr/>
        <p:txBody>
          <a:bodyPr/>
          <a:lstStyle/>
          <a:p>
            <a:fld id="{A8B7E462-AA7B-4427-9DF0-5AABDADAA92F}" type="slidenum">
              <a:rPr lang="en-GB" smtClean="0"/>
              <a:pPr/>
              <a:t>7</a:t>
            </a:fld>
            <a:endParaRPr lang="en-GB" dirty="0"/>
          </a:p>
        </p:txBody>
      </p:sp>
      <p:sp>
        <p:nvSpPr>
          <p:cNvPr id="6" name="Text Placeholder 5">
            <a:extLst>
              <a:ext uri="{FF2B5EF4-FFF2-40B4-BE49-F238E27FC236}">
                <a16:creationId xmlns:a16="http://schemas.microsoft.com/office/drawing/2014/main" id="{F710BCB8-D114-5885-9886-B3442913F668}"/>
              </a:ext>
            </a:extLst>
          </p:cNvPr>
          <p:cNvSpPr>
            <a:spLocks noGrp="1"/>
          </p:cNvSpPr>
          <p:nvPr>
            <p:ph type="body" sz="quarter" idx="13"/>
          </p:nvPr>
        </p:nvSpPr>
        <p:spPr>
          <a:xfrm>
            <a:off x="660400" y="2160144"/>
            <a:ext cx="3200400" cy="4010024"/>
          </a:xfrm>
        </p:spPr>
        <p:txBody>
          <a:bodyPr/>
          <a:lstStyle/>
          <a:p>
            <a:r>
              <a:rPr lang="en-GB" sz="1600" dirty="0">
                <a:latin typeface="Arial" panose="020B0604020202020204" pitchFamily="34" charset="0"/>
                <a:cs typeface="Arial" panose="020B0604020202020204" pitchFamily="34" charset="0"/>
              </a:rPr>
              <a:t>We reached over 30m people to increase public awareness of the dangers of gas theft, specifically meter tampering. This was developed in 2024 together with the gas industry and fronted by Stay Energy Safe. </a:t>
            </a:r>
          </a:p>
          <a:p>
            <a:endParaRPr lang="en-GB" dirty="0"/>
          </a:p>
        </p:txBody>
      </p:sp>
      <p:pic>
        <p:nvPicPr>
          <p:cNvPr id="8" name="Video 7">
            <a:hlinkClick r:id="" action="ppaction://media"/>
            <a:extLst>
              <a:ext uri="{FF2B5EF4-FFF2-40B4-BE49-F238E27FC236}">
                <a16:creationId xmlns:a16="http://schemas.microsoft.com/office/drawing/2014/main" id="{3EBF4A45-CD16-D1C0-0172-4D508D46D2A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092991" y="1944999"/>
            <a:ext cx="3020701" cy="3020701"/>
          </a:xfrm>
          <a:prstGeom prst="rect">
            <a:avLst/>
          </a:prstGeom>
        </p:spPr>
      </p:pic>
      <p:pic>
        <p:nvPicPr>
          <p:cNvPr id="3" name="Picture 2" descr="A blue circle with yellow text&#10;&#10;Description automatically generated">
            <a:extLst>
              <a:ext uri="{FF2B5EF4-FFF2-40B4-BE49-F238E27FC236}">
                <a16:creationId xmlns:a16="http://schemas.microsoft.com/office/drawing/2014/main" id="{E579F013-4BA9-B654-1313-49F926C3AD72}"/>
              </a:ext>
            </a:extLst>
          </p:cNvPr>
          <p:cNvPicPr>
            <a:picLocks noChangeAspect="1"/>
          </p:cNvPicPr>
          <p:nvPr/>
        </p:nvPicPr>
        <p:blipFill>
          <a:blip r:embed="rId6"/>
          <a:stretch>
            <a:fillRect/>
          </a:stretch>
        </p:blipFill>
        <p:spPr>
          <a:xfrm>
            <a:off x="1157732" y="3717755"/>
            <a:ext cx="2013712" cy="2468422"/>
          </a:xfrm>
          <a:prstGeom prst="rect">
            <a:avLst/>
          </a:prstGeom>
        </p:spPr>
      </p:pic>
      <p:pic>
        <p:nvPicPr>
          <p:cNvPr id="7" name="Picture 6">
            <a:extLst>
              <a:ext uri="{FF2B5EF4-FFF2-40B4-BE49-F238E27FC236}">
                <a16:creationId xmlns:a16="http://schemas.microsoft.com/office/drawing/2014/main" id="{27D49EB3-1B57-935E-EA23-39C8E91E4092}"/>
              </a:ext>
            </a:extLst>
          </p:cNvPr>
          <p:cNvPicPr>
            <a:picLocks noChangeAspect="1"/>
          </p:cNvPicPr>
          <p:nvPr/>
        </p:nvPicPr>
        <p:blipFill>
          <a:blip r:embed="rId7"/>
          <a:stretch>
            <a:fillRect/>
          </a:stretch>
        </p:blipFill>
        <p:spPr>
          <a:xfrm>
            <a:off x="9548712" y="1872392"/>
            <a:ext cx="2476789" cy="1346394"/>
          </a:xfrm>
          <a:prstGeom prst="rect">
            <a:avLst/>
          </a:prstGeom>
        </p:spPr>
      </p:pic>
      <p:pic>
        <p:nvPicPr>
          <p:cNvPr id="10" name="Picture 9">
            <a:extLst>
              <a:ext uri="{FF2B5EF4-FFF2-40B4-BE49-F238E27FC236}">
                <a16:creationId xmlns:a16="http://schemas.microsoft.com/office/drawing/2014/main" id="{D58B913F-2361-8191-B735-1E221D39F551}"/>
              </a:ext>
            </a:extLst>
          </p:cNvPr>
          <p:cNvPicPr>
            <a:picLocks noChangeAspect="1"/>
          </p:cNvPicPr>
          <p:nvPr/>
        </p:nvPicPr>
        <p:blipFill>
          <a:blip r:embed="rId8"/>
          <a:stretch>
            <a:fillRect/>
          </a:stretch>
        </p:blipFill>
        <p:spPr>
          <a:xfrm>
            <a:off x="9588659" y="3206267"/>
            <a:ext cx="2562375" cy="2041214"/>
          </a:xfrm>
          <a:prstGeom prst="rect">
            <a:avLst/>
          </a:prstGeom>
        </p:spPr>
      </p:pic>
      <p:pic>
        <p:nvPicPr>
          <p:cNvPr id="12" name="Picture 11">
            <a:extLst>
              <a:ext uri="{FF2B5EF4-FFF2-40B4-BE49-F238E27FC236}">
                <a16:creationId xmlns:a16="http://schemas.microsoft.com/office/drawing/2014/main" id="{FFD912F9-082F-3C71-6356-1CC5986720A7}"/>
              </a:ext>
            </a:extLst>
          </p:cNvPr>
          <p:cNvPicPr>
            <a:picLocks noChangeAspect="1"/>
          </p:cNvPicPr>
          <p:nvPr/>
        </p:nvPicPr>
        <p:blipFill>
          <a:blip r:embed="rId9"/>
          <a:stretch>
            <a:fillRect/>
          </a:stretch>
        </p:blipFill>
        <p:spPr>
          <a:xfrm>
            <a:off x="7146906" y="1438082"/>
            <a:ext cx="2368592" cy="5070668"/>
          </a:xfrm>
          <a:prstGeom prst="rect">
            <a:avLst/>
          </a:prstGeom>
        </p:spPr>
      </p:pic>
    </p:spTree>
    <p:extLst>
      <p:ext uri="{BB962C8B-B14F-4D97-AF65-F5344CB8AC3E}">
        <p14:creationId xmlns:p14="http://schemas.microsoft.com/office/powerpoint/2010/main" val="414622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5464"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100000">
                <p:cTn id="7" repeatCount="indefinite"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9B48C-C715-29DD-5126-315AE0894989}"/>
              </a:ext>
            </a:extLst>
          </p:cNvPr>
          <p:cNvSpPr>
            <a:spLocks noGrp="1"/>
          </p:cNvSpPr>
          <p:nvPr>
            <p:ph type="title"/>
          </p:nvPr>
        </p:nvSpPr>
        <p:spPr/>
        <p:txBody>
          <a:bodyPr/>
          <a:lstStyle/>
          <a:p>
            <a:r>
              <a:rPr lang="en-GB" dirty="0"/>
              <a:t>Staying vigilant</a:t>
            </a:r>
          </a:p>
        </p:txBody>
      </p:sp>
      <p:sp>
        <p:nvSpPr>
          <p:cNvPr id="4" name="Slide Number Placeholder 3">
            <a:extLst>
              <a:ext uri="{FF2B5EF4-FFF2-40B4-BE49-F238E27FC236}">
                <a16:creationId xmlns:a16="http://schemas.microsoft.com/office/drawing/2014/main" id="{4D0B6572-C560-DE0D-1EEC-AC6F890328B0}"/>
              </a:ext>
            </a:extLst>
          </p:cNvPr>
          <p:cNvSpPr>
            <a:spLocks noGrp="1"/>
          </p:cNvSpPr>
          <p:nvPr>
            <p:ph type="sldNum" sz="quarter" idx="11"/>
          </p:nvPr>
        </p:nvSpPr>
        <p:spPr/>
        <p:txBody>
          <a:bodyPr/>
          <a:lstStyle/>
          <a:p>
            <a:fld id="{A8B7E462-AA7B-4427-9DF0-5AABDADAA92F}" type="slidenum">
              <a:rPr lang="en-GB" smtClean="0"/>
              <a:pPr/>
              <a:t>8</a:t>
            </a:fld>
            <a:endParaRPr lang="en-GB" dirty="0"/>
          </a:p>
        </p:txBody>
      </p:sp>
      <p:sp>
        <p:nvSpPr>
          <p:cNvPr id="6" name="Text Placeholder 5">
            <a:extLst>
              <a:ext uri="{FF2B5EF4-FFF2-40B4-BE49-F238E27FC236}">
                <a16:creationId xmlns:a16="http://schemas.microsoft.com/office/drawing/2014/main" id="{DF4E0B1D-C3CB-BCF4-B7E3-59D0728F5059}"/>
              </a:ext>
            </a:extLst>
          </p:cNvPr>
          <p:cNvSpPr>
            <a:spLocks noGrp="1"/>
          </p:cNvSpPr>
          <p:nvPr>
            <p:ph type="body" sz="quarter" idx="13"/>
          </p:nvPr>
        </p:nvSpPr>
        <p:spPr>
          <a:xfrm>
            <a:off x="607302" y="2061124"/>
            <a:ext cx="3346450" cy="4010024"/>
          </a:xfrm>
        </p:spPr>
        <p:txBody>
          <a:bodyPr/>
          <a:lstStyle/>
          <a:p>
            <a:r>
              <a:rPr lang="en-GB" b="1" dirty="0"/>
              <a:t>Vulnerable people may be tempted to steal out of need and be unaware of the huge safety risks.</a:t>
            </a:r>
          </a:p>
          <a:p>
            <a:endParaRPr lang="en-GB" b="1" dirty="0"/>
          </a:p>
        </p:txBody>
      </p:sp>
      <p:sp>
        <p:nvSpPr>
          <p:cNvPr id="5" name="Content Placeholder 4">
            <a:extLst>
              <a:ext uri="{FF2B5EF4-FFF2-40B4-BE49-F238E27FC236}">
                <a16:creationId xmlns:a16="http://schemas.microsoft.com/office/drawing/2014/main" id="{C8EA39FD-5594-277D-CE12-12135796AFD4}"/>
              </a:ext>
            </a:extLst>
          </p:cNvPr>
          <p:cNvSpPr>
            <a:spLocks noGrp="1"/>
          </p:cNvSpPr>
          <p:nvPr>
            <p:ph sz="quarter" idx="12"/>
          </p:nvPr>
        </p:nvSpPr>
        <p:spPr/>
        <p:txBody>
          <a:bodyPr numCol="1"/>
          <a:lstStyle/>
          <a:p>
            <a:pPr marL="171450" indent="-171450">
              <a:buFont typeface="Arial" panose="020B0604020202020204" pitchFamily="34" charset="0"/>
              <a:buChar char="•"/>
            </a:pPr>
            <a:r>
              <a:rPr lang="en-GB" sz="1600" dirty="0"/>
              <a:t>Someone in a very deprived situation, unable to pay their bills</a:t>
            </a:r>
          </a:p>
          <a:p>
            <a:pPr marL="171450" indent="-171450">
              <a:buFont typeface="Arial" panose="020B0604020202020204" pitchFamily="34" charset="0"/>
              <a:buChar char="•"/>
            </a:pPr>
            <a:r>
              <a:rPr lang="en-GB" sz="1600" dirty="0"/>
              <a:t>Someone reluctant to let people in their home or near their gas or electricity meter</a:t>
            </a:r>
          </a:p>
          <a:p>
            <a:pPr marL="171450" indent="-171450">
              <a:buFont typeface="Arial" panose="020B0604020202020204" pitchFamily="34" charset="0"/>
              <a:buChar char="•"/>
            </a:pPr>
            <a:r>
              <a:rPr lang="en-GB" sz="1600" dirty="0"/>
              <a:t>Someone with links to criminals or rogue tradesmen</a:t>
            </a:r>
          </a:p>
          <a:p>
            <a:pPr marL="171450" indent="-171450">
              <a:buFont typeface="Arial" panose="020B0604020202020204" pitchFamily="34" charset="0"/>
              <a:buChar char="•"/>
            </a:pPr>
            <a:r>
              <a:rPr lang="en-GB" sz="1600" dirty="0"/>
              <a:t>Someone who is savvy on social media and therefore may be aware of ‘free energy groups’ in the UK</a:t>
            </a:r>
          </a:p>
          <a:p>
            <a:pPr marL="171450" indent="-171450">
              <a:buFont typeface="Arial" panose="020B0604020202020204" pitchFamily="34" charset="0"/>
              <a:buChar char="•"/>
            </a:pPr>
            <a:endParaRPr lang="en-GB" sz="1600" dirty="0"/>
          </a:p>
          <a:p>
            <a:pPr marL="171450" indent="-171450">
              <a:buFont typeface="Arial" panose="020B0604020202020204" pitchFamily="34" charset="0"/>
              <a:buChar char="•"/>
            </a:pPr>
            <a:endParaRPr lang="en-GB" dirty="0"/>
          </a:p>
          <a:p>
            <a:r>
              <a:rPr lang="en-GB" sz="2000" b="1" dirty="0"/>
              <a:t>Please try to identify these people to offer support and advice to help prevent dangerous meter tampering.  </a:t>
            </a:r>
          </a:p>
          <a:p>
            <a:endParaRPr lang="en-GB" dirty="0"/>
          </a:p>
        </p:txBody>
      </p:sp>
    </p:spTree>
    <p:extLst>
      <p:ext uri="{BB962C8B-B14F-4D97-AF65-F5344CB8AC3E}">
        <p14:creationId xmlns:p14="http://schemas.microsoft.com/office/powerpoint/2010/main" val="387582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CA6B6-EB53-C9E7-AD5F-0E95F3E2A254}"/>
              </a:ext>
            </a:extLst>
          </p:cNvPr>
          <p:cNvSpPr>
            <a:spLocks noGrp="1"/>
          </p:cNvSpPr>
          <p:nvPr>
            <p:ph type="title"/>
          </p:nvPr>
        </p:nvSpPr>
        <p:spPr>
          <a:xfrm>
            <a:off x="263526" y="329753"/>
            <a:ext cx="7955756" cy="1325563"/>
          </a:xfrm>
        </p:spPr>
        <p:txBody>
          <a:bodyPr/>
          <a:lstStyle/>
          <a:p>
            <a:r>
              <a:rPr lang="en-GB" dirty="0"/>
              <a:t>Report any suspicions</a:t>
            </a:r>
          </a:p>
        </p:txBody>
      </p:sp>
      <p:sp>
        <p:nvSpPr>
          <p:cNvPr id="4" name="Slide Number Placeholder 3">
            <a:extLst>
              <a:ext uri="{FF2B5EF4-FFF2-40B4-BE49-F238E27FC236}">
                <a16:creationId xmlns:a16="http://schemas.microsoft.com/office/drawing/2014/main" id="{4DBD1338-4CED-FEDA-7250-294A5FF5B0CA}"/>
              </a:ext>
            </a:extLst>
          </p:cNvPr>
          <p:cNvSpPr>
            <a:spLocks noGrp="1"/>
          </p:cNvSpPr>
          <p:nvPr>
            <p:ph type="sldNum" sz="quarter" idx="11"/>
          </p:nvPr>
        </p:nvSpPr>
        <p:spPr/>
        <p:txBody>
          <a:bodyPr/>
          <a:lstStyle/>
          <a:p>
            <a:fld id="{A8B7E462-AA7B-4427-9DF0-5AABDADAA92F}" type="slidenum">
              <a:rPr lang="en-GB" smtClean="0"/>
              <a:pPr/>
              <a:t>9</a:t>
            </a:fld>
            <a:endParaRPr lang="en-GB" dirty="0"/>
          </a:p>
        </p:txBody>
      </p:sp>
      <p:sp>
        <p:nvSpPr>
          <p:cNvPr id="5" name="Content Placeholder 4">
            <a:extLst>
              <a:ext uri="{FF2B5EF4-FFF2-40B4-BE49-F238E27FC236}">
                <a16:creationId xmlns:a16="http://schemas.microsoft.com/office/drawing/2014/main" id="{18C68775-6361-E48C-DD2D-B3476A378F6E}"/>
              </a:ext>
            </a:extLst>
          </p:cNvPr>
          <p:cNvSpPr>
            <a:spLocks noGrp="1"/>
          </p:cNvSpPr>
          <p:nvPr>
            <p:ph sz="quarter" idx="12"/>
          </p:nvPr>
        </p:nvSpPr>
        <p:spPr>
          <a:xfrm>
            <a:off x="4445000" y="1855343"/>
            <a:ext cx="7281862" cy="4689920"/>
          </a:xfrm>
        </p:spPr>
        <p:txBody>
          <a:bodyPr numCol="1">
            <a:normAutofit/>
          </a:bodyPr>
          <a:lstStyle/>
          <a:p>
            <a:r>
              <a:rPr lang="en-GB" sz="1800" dirty="0"/>
              <a:t>If you think someone is tampering with their meter, or tempted to do this, or allowing others to do so on their property, please report it 100% anonymously to:</a:t>
            </a:r>
          </a:p>
          <a:p>
            <a:br>
              <a:rPr lang="en-GB" sz="1800" dirty="0"/>
            </a:br>
            <a:r>
              <a:rPr lang="en-GB" sz="1800" b="1" dirty="0"/>
              <a:t>Stay Energy Safe </a:t>
            </a:r>
            <a:r>
              <a:rPr lang="en-GB" sz="1800" dirty="0"/>
              <a:t>– go to the </a:t>
            </a:r>
            <a:r>
              <a:rPr lang="en-GB" sz="1800" dirty="0">
                <a:hlinkClick r:id="rId3"/>
              </a:rPr>
              <a:t>https://www.stayenergysafe.co.uk</a:t>
            </a:r>
            <a:r>
              <a:rPr lang="en-GB" sz="1800" dirty="0"/>
              <a:t> to submit a report anonymously or call 0800 023 2777 to speak to one of the Stay Energy Safe Team (this service is run by Crimestoppers).</a:t>
            </a:r>
          </a:p>
          <a:p>
            <a:pPr algn="just">
              <a:spcAft>
                <a:spcPts val="1125"/>
              </a:spcAft>
            </a:pPr>
            <a:r>
              <a:rPr lang="en-GB" sz="1800" dirty="0"/>
              <a:t>Important note: If you are in a property or street and smell gas or suspect a gas leak, immediately call the Gas Emergency Service on 0800 111 999. </a:t>
            </a:r>
          </a:p>
          <a:p>
            <a:pPr algn="just">
              <a:spcAft>
                <a:spcPts val="1125"/>
              </a:spcAft>
            </a:pPr>
            <a:r>
              <a:rPr lang="en-GB" sz="1800" dirty="0"/>
              <a:t>Gas theft is a dangerous and serious crime, so it’s important to be vigilant and report any suspicions you have.</a:t>
            </a:r>
          </a:p>
          <a:p>
            <a:endParaRPr lang="en-GB" sz="1800" dirty="0"/>
          </a:p>
        </p:txBody>
      </p:sp>
      <p:sp>
        <p:nvSpPr>
          <p:cNvPr id="6" name="Text Placeholder 5">
            <a:extLst>
              <a:ext uri="{FF2B5EF4-FFF2-40B4-BE49-F238E27FC236}">
                <a16:creationId xmlns:a16="http://schemas.microsoft.com/office/drawing/2014/main" id="{C8CC2FF2-58A7-33DA-B71B-B327433A0DB8}"/>
              </a:ext>
            </a:extLst>
          </p:cNvPr>
          <p:cNvSpPr>
            <a:spLocks noGrp="1"/>
          </p:cNvSpPr>
          <p:nvPr>
            <p:ph type="body" sz="quarter" idx="13"/>
          </p:nvPr>
        </p:nvSpPr>
        <p:spPr/>
        <p:txBody>
          <a:bodyPr/>
          <a:lstStyle/>
          <a:p>
            <a:r>
              <a:rPr lang="en-GB" b="1" dirty="0"/>
              <a:t>We really appreciate your support in helping to prevent this growing and dangerous trend to safeguard vulnerable people.   </a:t>
            </a:r>
          </a:p>
          <a:p>
            <a:endParaRPr lang="en-GB" dirty="0"/>
          </a:p>
        </p:txBody>
      </p:sp>
    </p:spTree>
    <p:extLst>
      <p:ext uri="{BB962C8B-B14F-4D97-AF65-F5344CB8AC3E}">
        <p14:creationId xmlns:p14="http://schemas.microsoft.com/office/powerpoint/2010/main" val="422809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OP Brief_Exec Level">
  <a:themeElements>
    <a:clrScheme name="Cadent">
      <a:dk1>
        <a:sysClr val="windowText" lastClr="000000"/>
      </a:dk1>
      <a:lt1>
        <a:sysClr val="window" lastClr="FFFFFF"/>
      </a:lt1>
      <a:dk2>
        <a:srgbClr val="373A36"/>
      </a:dk2>
      <a:lt2>
        <a:srgbClr val="FA4616"/>
      </a:lt2>
      <a:accent1>
        <a:srgbClr val="00426A"/>
      </a:accent1>
      <a:accent2>
        <a:srgbClr val="69B3E7"/>
      </a:accent2>
      <a:accent3>
        <a:srgbClr val="004C45"/>
      </a:accent3>
      <a:accent4>
        <a:srgbClr val="A0DAB3"/>
      </a:accent4>
      <a:accent5>
        <a:srgbClr val="41273B"/>
      </a:accent5>
      <a:accent6>
        <a:srgbClr val="FDDA24"/>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effectLst/>
      </a:spPr>
      <a:bodyPr rtlCol="0" anchor="ctr"/>
      <a:lstStyle>
        <a:defPPr algn="ctr">
          <a:defRPr>
            <a:ln>
              <a:noFill/>
            </a:ln>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dent_PowerPoint_Template_v5.potx" id="{0B5684BD-3BBA-49BC-BD31-814385A24CBC}" vid="{D6CB0727-51DA-4590-BB36-4BADA3E55677}"/>
    </a:ext>
  </a:extLst>
</a:theme>
</file>

<file path=ppt/theme/theme2.xml><?xml version="1.0" encoding="utf-8"?>
<a:theme xmlns:a="http://schemas.openxmlformats.org/drawingml/2006/main" name="Cadent Template 2021">
  <a:themeElements>
    <a:clrScheme name="Cadent Theme">
      <a:dk1>
        <a:srgbClr val="373A36"/>
      </a:dk1>
      <a:lt1>
        <a:sysClr val="window" lastClr="FFFFFF"/>
      </a:lt1>
      <a:dk2>
        <a:srgbClr val="000000"/>
      </a:dk2>
      <a:lt2>
        <a:srgbClr val="AFB0AF"/>
      </a:lt2>
      <a:accent1>
        <a:srgbClr val="E84B0F"/>
      </a:accent1>
      <a:accent2>
        <a:srgbClr val="EF7D25"/>
      </a:accent2>
      <a:accent3>
        <a:srgbClr val="95519A"/>
      </a:accent3>
      <a:accent4>
        <a:srgbClr val="0682C6"/>
      </a:accent4>
      <a:accent5>
        <a:srgbClr val="F7A600"/>
      </a:accent5>
      <a:accent6>
        <a:srgbClr val="00A05A"/>
      </a:accent6>
      <a:hlink>
        <a:srgbClr val="0783C6"/>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7976</TotalTime>
  <Words>2625</Words>
  <Application>Microsoft Office PowerPoint</Application>
  <PresentationFormat>Widescreen</PresentationFormat>
  <Paragraphs>240</Paragraphs>
  <Slides>16</Slides>
  <Notes>11</Notes>
  <HiddenSlides>0</HiddenSlides>
  <MMClips>1</MMClips>
  <ScaleCrop>false</ScaleCrop>
  <HeadingPairs>
    <vt:vector size="4" baseType="variant">
      <vt:variant>
        <vt:lpstr>Theme</vt:lpstr>
      </vt:variant>
      <vt:variant>
        <vt:i4>2</vt:i4>
      </vt:variant>
      <vt:variant>
        <vt:lpstr>Slide Titles</vt:lpstr>
      </vt:variant>
      <vt:variant>
        <vt:i4>16</vt:i4>
      </vt:variant>
    </vt:vector>
  </HeadingPairs>
  <TitlesOfParts>
    <vt:vector size="18" baseType="lpstr">
      <vt:lpstr>ADOP Brief_Exec Level</vt:lpstr>
      <vt:lpstr>Cadent Template 2021</vt:lpstr>
      <vt:lpstr>Gas theft and meter tampering:  Keeping your communities safe</vt:lpstr>
      <vt:lpstr>Energy theft is on the rise…</vt:lpstr>
      <vt:lpstr>Have you ever come across gas theft or meter tampering?  Do you know what it is?</vt:lpstr>
      <vt:lpstr>Do you know what a gas meter looks like? </vt:lpstr>
      <vt:lpstr>Gas theft examples</vt:lpstr>
      <vt:lpstr>A huge safety risk… </vt:lpstr>
      <vt:lpstr>…so we developed a national gas theft awareness campaign</vt:lpstr>
      <vt:lpstr>Staying vigilant</vt:lpstr>
      <vt:lpstr>Report any suspicions</vt:lpstr>
      <vt:lpstr>How we can help</vt:lpstr>
      <vt:lpstr>Services Beyond the Meter </vt:lpstr>
      <vt:lpstr>PowerPoint Presentation</vt:lpstr>
      <vt:lpstr>PowerPoint Presentation</vt:lpstr>
      <vt:lpstr>Cadent partner referral process</vt:lpstr>
      <vt:lpstr>PowerPoint Presentation</vt:lpstr>
      <vt:lpstr>More informa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PAC Review   Doc Ref: Document Title</dc:title>
  <dc:creator>Percy, Faye</dc:creator>
  <cp:lastModifiedBy>Vhora, Aamina</cp:lastModifiedBy>
  <cp:revision>58</cp:revision>
  <dcterms:created xsi:type="dcterms:W3CDTF">2022-03-17T13:55:41Z</dcterms:created>
  <dcterms:modified xsi:type="dcterms:W3CDTF">2025-10-07T14:5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b435a31-4a51-492c-a5f9-db703ab5f2e4_Enabled">
    <vt:lpwstr>true</vt:lpwstr>
  </property>
  <property fmtid="{D5CDD505-2E9C-101B-9397-08002B2CF9AE}" pid="3" name="MSIP_Label_4b435a31-4a51-492c-a5f9-db703ab5f2e4_SetDate">
    <vt:lpwstr>2024-09-02T08:46:35Z</vt:lpwstr>
  </property>
  <property fmtid="{D5CDD505-2E9C-101B-9397-08002B2CF9AE}" pid="4" name="MSIP_Label_4b435a31-4a51-492c-a5f9-db703ab5f2e4_Method">
    <vt:lpwstr>Standard</vt:lpwstr>
  </property>
  <property fmtid="{D5CDD505-2E9C-101B-9397-08002B2CF9AE}" pid="5" name="MSIP_Label_4b435a31-4a51-492c-a5f9-db703ab5f2e4_Name">
    <vt:lpwstr>Cadent - Official</vt:lpwstr>
  </property>
  <property fmtid="{D5CDD505-2E9C-101B-9397-08002B2CF9AE}" pid="6" name="MSIP_Label_4b435a31-4a51-492c-a5f9-db703ab5f2e4_SiteId">
    <vt:lpwstr>de0d74aa-9914-4bb9-9235-fbefe83b1769</vt:lpwstr>
  </property>
  <property fmtid="{D5CDD505-2E9C-101B-9397-08002B2CF9AE}" pid="7" name="MSIP_Label_4b435a31-4a51-492c-a5f9-db703ab5f2e4_ActionId">
    <vt:lpwstr>cdf0c054-619b-4d4d-8f76-2f35c94ad314</vt:lpwstr>
  </property>
  <property fmtid="{D5CDD505-2E9C-101B-9397-08002B2CF9AE}" pid="8" name="MSIP_Label_4b435a31-4a51-492c-a5f9-db703ab5f2e4_ContentBits">
    <vt:lpwstr>0</vt:lpwstr>
  </property>
  <property fmtid="{D5CDD505-2E9C-101B-9397-08002B2CF9AE}" pid="9" name="_NewReviewCycle">
    <vt:lpwstr/>
  </property>
</Properties>
</file>